
<file path=[Content_Types].xml><?xml version="1.0" encoding="utf-8"?>
<Types xmlns="http://schemas.openxmlformats.org/package/2006/content-types">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jpg" ContentType="image/jpeg"/>
  <Default Extension="mp4" ContentType="video/mp4"/>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3.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4.xml" ContentType="application/vnd.openxmlformats-officedocument.theme+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5.xml" ContentType="application/vnd.openxmlformats-officedocument.theme+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theme/theme6.xml" ContentType="application/vnd.openxmlformats-officedocument.theme+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theme/theme9.xml" ContentType="application/vnd.openxmlformats-officedocument.theme+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theme/theme10.xml" ContentType="application/vnd.openxmlformats-officedocument.theme+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theme/theme11.xml" ContentType="application/vnd.openxmlformats-officedocument.theme+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theme/theme12.xml" ContentType="application/vnd.openxmlformats-officedocument.theme+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theme/theme13.xml" ContentType="application/vnd.openxmlformats-officedocument.theme+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theme/theme14.xml" ContentType="application/vnd.openxmlformats-officedocument.theme+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theme/theme15.xml" ContentType="application/vnd.openxmlformats-officedocument.theme+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theme/theme16.xml" ContentType="application/vnd.openxmlformats-officedocument.theme+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theme/theme17.xml" ContentType="application/vnd.openxmlformats-officedocument.theme+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theme/theme18.xml" ContentType="application/vnd.openxmlformats-officedocument.theme+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theme/theme19.xml" ContentType="application/vnd.openxmlformats-officedocument.theme+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theme/theme20.xml" ContentType="application/vnd.openxmlformats-officedocument.theme+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theme/theme21.xml" ContentType="application/vnd.openxmlformats-officedocument.theme+xml"/>
  <Override PartName="/ppt/theme/theme22.xml" ContentType="application/vnd.openxmlformats-officedocument.theme+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theme/theme23.xml" ContentType="application/vnd.openxmlformats-officedocument.theme+xml"/>
  <Override PartName="/ppt/slideLayouts/slideLayout516.xml" ContentType="application/vnd.openxmlformats-officedocument.presentationml.slideLayout+xml"/>
  <Override PartName="/ppt/theme/theme24.xml" ContentType="application/vnd.openxmlformats-officedocument.theme+xml"/>
  <Override PartName="/ppt/slideLayouts/slideLayout517.xml" ContentType="application/vnd.openxmlformats-officedocument.presentationml.slideLayout+xml"/>
  <Override PartName="/ppt/theme/theme25.xml" ContentType="application/vnd.openxmlformats-officedocument.theme+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theme/theme26.xml" ContentType="application/vnd.openxmlformats-officedocument.theme+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theme/theme27.xml" ContentType="application/vnd.openxmlformats-officedocument.theme+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theme/theme28.xml" ContentType="application/vnd.openxmlformats-officedocument.theme+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theme/theme29.xml" ContentType="application/vnd.openxmlformats-officedocument.theme+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theme/theme30.xml" ContentType="application/vnd.openxmlformats-officedocument.theme+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theme/theme31.xml" ContentType="application/vnd.openxmlformats-officedocument.theme+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theme/theme32.xml" ContentType="application/vnd.openxmlformats-officedocument.theme+xml"/>
  <Override PartName="/ppt/theme/theme33.xml" ContentType="application/vnd.openxmlformats-officedocument.theme+xml"/>
  <Override PartName="/ppt/theme/theme3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omments/comment1.xml" ContentType="application/vnd.openxmlformats-officedocument.presentationml.comment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tags/tag9.xml" ContentType="application/vnd.openxmlformats-officedocument.presentationml.tags+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849" r:id="rId4"/>
    <p:sldMasterId id="2147485002" r:id="rId5"/>
    <p:sldMasterId id="2147485018" r:id="rId6"/>
    <p:sldMasterId id="2147485055" r:id="rId7"/>
    <p:sldMasterId id="2147485083" r:id="rId8"/>
    <p:sldMasterId id="2147485116" r:id="rId9"/>
    <p:sldMasterId id="2147485131" r:id="rId10"/>
    <p:sldMasterId id="2147485150" r:id="rId11"/>
    <p:sldMasterId id="2147485152" r:id="rId12"/>
    <p:sldMasterId id="2147485186" r:id="rId13"/>
    <p:sldMasterId id="2147485219" r:id="rId14"/>
    <p:sldMasterId id="2147485242" r:id="rId15"/>
    <p:sldMasterId id="2147485274" r:id="rId16"/>
    <p:sldMasterId id="2147485306" r:id="rId17"/>
    <p:sldMasterId id="2147485377" r:id="rId18"/>
    <p:sldMasterId id="2147485397" r:id="rId19"/>
    <p:sldMasterId id="2147485441" r:id="rId20"/>
    <p:sldMasterId id="2147485474" r:id="rId21"/>
    <p:sldMasterId id="2147485503" r:id="rId22"/>
    <p:sldMasterId id="2147485534" r:id="rId23"/>
    <p:sldMasterId id="2147485560" r:id="rId24"/>
    <p:sldMasterId id="2147485565" r:id="rId25"/>
    <p:sldMasterId id="2147485567" r:id="rId26"/>
    <p:sldMasterId id="2147485571" r:id="rId27"/>
    <p:sldMasterId id="2147485573" r:id="rId28"/>
    <p:sldMasterId id="2147485590" r:id="rId29"/>
    <p:sldMasterId id="2147485614" r:id="rId30"/>
    <p:sldMasterId id="2147485638" r:id="rId31"/>
    <p:sldMasterId id="2147485662" r:id="rId32"/>
    <p:sldMasterId id="2147485696" r:id="rId33"/>
    <p:sldMasterId id="2147485721" r:id="rId34"/>
    <p:sldMasterId id="2147485755" r:id="rId35"/>
  </p:sldMasterIdLst>
  <p:notesMasterIdLst>
    <p:notesMasterId r:id="rId112"/>
  </p:notesMasterIdLst>
  <p:handoutMasterIdLst>
    <p:handoutMasterId r:id="rId113"/>
  </p:handoutMasterIdLst>
  <p:sldIdLst>
    <p:sldId id="1649" r:id="rId36"/>
    <p:sldId id="1818" r:id="rId37"/>
    <p:sldId id="1775" r:id="rId38"/>
    <p:sldId id="1776" r:id="rId39"/>
    <p:sldId id="1774" r:id="rId40"/>
    <p:sldId id="1655" r:id="rId41"/>
    <p:sldId id="1659" r:id="rId42"/>
    <p:sldId id="1733" r:id="rId43"/>
    <p:sldId id="1734" r:id="rId44"/>
    <p:sldId id="1735" r:id="rId45"/>
    <p:sldId id="1736" r:id="rId46"/>
    <p:sldId id="1737" r:id="rId47"/>
    <p:sldId id="1738" r:id="rId48"/>
    <p:sldId id="1657" r:id="rId49"/>
    <p:sldId id="1742" r:id="rId50"/>
    <p:sldId id="1701" r:id="rId51"/>
    <p:sldId id="1743" r:id="rId52"/>
    <p:sldId id="1675" r:id="rId53"/>
    <p:sldId id="1777" r:id="rId54"/>
    <p:sldId id="1778" r:id="rId55"/>
    <p:sldId id="1779" r:id="rId56"/>
    <p:sldId id="1780" r:id="rId57"/>
    <p:sldId id="1795" r:id="rId58"/>
    <p:sldId id="1794" r:id="rId59"/>
    <p:sldId id="1796" r:id="rId60"/>
    <p:sldId id="1797" r:id="rId61"/>
    <p:sldId id="1798" r:id="rId62"/>
    <p:sldId id="1799" r:id="rId63"/>
    <p:sldId id="1800" r:id="rId64"/>
    <p:sldId id="1801" r:id="rId65"/>
    <p:sldId id="1802" r:id="rId66"/>
    <p:sldId id="1803" r:id="rId67"/>
    <p:sldId id="1804" r:id="rId68"/>
    <p:sldId id="1805" r:id="rId69"/>
    <p:sldId id="1806" r:id="rId70"/>
    <p:sldId id="1807" r:id="rId71"/>
    <p:sldId id="1808" r:id="rId72"/>
    <p:sldId id="1809" r:id="rId73"/>
    <p:sldId id="1810" r:id="rId74"/>
    <p:sldId id="1811" r:id="rId75"/>
    <p:sldId id="1812" r:id="rId76"/>
    <p:sldId id="1813" r:id="rId77"/>
    <p:sldId id="1814" r:id="rId78"/>
    <p:sldId id="1815" r:id="rId79"/>
    <p:sldId id="1816" r:id="rId80"/>
    <p:sldId id="1817" r:id="rId81"/>
    <p:sldId id="1750" r:id="rId82"/>
    <p:sldId id="1773" r:id="rId83"/>
    <p:sldId id="1819" r:id="rId84"/>
    <p:sldId id="1820" r:id="rId85"/>
    <p:sldId id="1821" r:id="rId86"/>
    <p:sldId id="1749" r:id="rId87"/>
    <p:sldId id="1822" r:id="rId88"/>
    <p:sldId id="1823" r:id="rId89"/>
    <p:sldId id="1824" r:id="rId90"/>
    <p:sldId id="1825" r:id="rId91"/>
    <p:sldId id="1826" r:id="rId92"/>
    <p:sldId id="1827" r:id="rId93"/>
    <p:sldId id="1828" r:id="rId94"/>
    <p:sldId id="1829" r:id="rId95"/>
    <p:sldId id="1830" r:id="rId96"/>
    <p:sldId id="1831" r:id="rId97"/>
    <p:sldId id="1832" r:id="rId98"/>
    <p:sldId id="1833" r:id="rId99"/>
    <p:sldId id="1835" r:id="rId100"/>
    <p:sldId id="1836" r:id="rId101"/>
    <p:sldId id="1837" r:id="rId102"/>
    <p:sldId id="1838" r:id="rId103"/>
    <p:sldId id="1839" r:id="rId104"/>
    <p:sldId id="1840" r:id="rId105"/>
    <p:sldId id="1841" r:id="rId106"/>
    <p:sldId id="1843" r:id="rId107"/>
    <p:sldId id="1844" r:id="rId108"/>
    <p:sldId id="1845" r:id="rId109"/>
    <p:sldId id="1846" r:id="rId110"/>
    <p:sldId id="1633" r:id="rId111"/>
  </p:sldIdLst>
  <p:sldSz cx="12188825" cy="6858000"/>
  <p:notesSz cx="7010400" cy="9296400"/>
  <p:defaultTextStyle>
    <a:defPPr>
      <a:defRPr lang="en-US"/>
    </a:defPPr>
    <a:lvl1pPr marL="0" algn="l" defTabSz="914274" rtl="0" eaLnBrk="1" latinLnBrk="0" hangingPunct="1">
      <a:defRPr sz="1800" kern="1200">
        <a:solidFill>
          <a:schemeClr val="tx1"/>
        </a:solidFill>
        <a:latin typeface="+mn-lt"/>
        <a:ea typeface="+mn-ea"/>
        <a:cs typeface="+mn-cs"/>
      </a:defRPr>
    </a:lvl1pPr>
    <a:lvl2pPr marL="457137" algn="l" defTabSz="914274" rtl="0" eaLnBrk="1" latinLnBrk="0" hangingPunct="1">
      <a:defRPr sz="1800" kern="1200">
        <a:solidFill>
          <a:schemeClr val="tx1"/>
        </a:solidFill>
        <a:latin typeface="+mn-lt"/>
        <a:ea typeface="+mn-ea"/>
        <a:cs typeface="+mn-cs"/>
      </a:defRPr>
    </a:lvl2pPr>
    <a:lvl3pPr marL="914274" algn="l" defTabSz="914274" rtl="0" eaLnBrk="1" latinLnBrk="0" hangingPunct="1">
      <a:defRPr sz="1800" kern="1200">
        <a:solidFill>
          <a:schemeClr val="tx1"/>
        </a:solidFill>
        <a:latin typeface="+mn-lt"/>
        <a:ea typeface="+mn-ea"/>
        <a:cs typeface="+mn-cs"/>
      </a:defRPr>
    </a:lvl3pPr>
    <a:lvl4pPr marL="1371411" algn="l" defTabSz="914274" rtl="0" eaLnBrk="1" latinLnBrk="0" hangingPunct="1">
      <a:defRPr sz="1800" kern="1200">
        <a:solidFill>
          <a:schemeClr val="tx1"/>
        </a:solidFill>
        <a:latin typeface="+mn-lt"/>
        <a:ea typeface="+mn-ea"/>
        <a:cs typeface="+mn-cs"/>
      </a:defRPr>
    </a:lvl4pPr>
    <a:lvl5pPr marL="1828547" algn="l" defTabSz="914274" rtl="0" eaLnBrk="1" latinLnBrk="0" hangingPunct="1">
      <a:defRPr sz="1800" kern="1200">
        <a:solidFill>
          <a:schemeClr val="tx1"/>
        </a:solidFill>
        <a:latin typeface="+mn-lt"/>
        <a:ea typeface="+mn-ea"/>
        <a:cs typeface="+mn-cs"/>
      </a:defRPr>
    </a:lvl5pPr>
    <a:lvl6pPr marL="2285685" algn="l" defTabSz="914274" rtl="0" eaLnBrk="1" latinLnBrk="0" hangingPunct="1">
      <a:defRPr sz="1800" kern="1200">
        <a:solidFill>
          <a:schemeClr val="tx1"/>
        </a:solidFill>
        <a:latin typeface="+mn-lt"/>
        <a:ea typeface="+mn-ea"/>
        <a:cs typeface="+mn-cs"/>
      </a:defRPr>
    </a:lvl6pPr>
    <a:lvl7pPr marL="2742821" algn="l" defTabSz="914274" rtl="0" eaLnBrk="1" latinLnBrk="0" hangingPunct="1">
      <a:defRPr sz="1800" kern="1200">
        <a:solidFill>
          <a:schemeClr val="tx1"/>
        </a:solidFill>
        <a:latin typeface="+mn-lt"/>
        <a:ea typeface="+mn-ea"/>
        <a:cs typeface="+mn-cs"/>
      </a:defRPr>
    </a:lvl7pPr>
    <a:lvl8pPr marL="3199958" algn="l" defTabSz="914274" rtl="0" eaLnBrk="1" latinLnBrk="0" hangingPunct="1">
      <a:defRPr sz="1800" kern="1200">
        <a:solidFill>
          <a:schemeClr val="tx1"/>
        </a:solidFill>
        <a:latin typeface="+mn-lt"/>
        <a:ea typeface="+mn-ea"/>
        <a:cs typeface="+mn-cs"/>
      </a:defRPr>
    </a:lvl8pPr>
    <a:lvl9pPr marL="3657096" algn="l" defTabSz="914274"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096EFC5D-5275-44E1-85ED-2B53EE60F7CD}">
          <p14:sldIdLst>
            <p14:sldId id="1649"/>
            <p14:sldId id="1818"/>
          </p14:sldIdLst>
        </p14:section>
        <p14:section name="Why the cloud?" id="{7863C747-087E-4A2D-B131-CABEF2B06BE5}">
          <p14:sldIdLst>
            <p14:sldId id="1775"/>
            <p14:sldId id="1776"/>
            <p14:sldId id="1774"/>
            <p14:sldId id="1655"/>
          </p14:sldIdLst>
        </p14:section>
        <p14:section name="About Microsoft Azure" id="{B2862A4A-788A-430D-85B9-F318FEE9D4AE}">
          <p14:sldIdLst>
            <p14:sldId id="1659"/>
            <p14:sldId id="1733"/>
            <p14:sldId id="1734"/>
            <p14:sldId id="1735"/>
            <p14:sldId id="1736"/>
            <p14:sldId id="1737"/>
            <p14:sldId id="1738"/>
            <p14:sldId id="1657"/>
            <p14:sldId id="1742"/>
            <p14:sldId id="1701"/>
            <p14:sldId id="1743"/>
            <p14:sldId id="1675"/>
            <p14:sldId id="1777"/>
            <p14:sldId id="1778"/>
            <p14:sldId id="1779"/>
            <p14:sldId id="1780"/>
            <p14:sldId id="1795"/>
            <p14:sldId id="1794"/>
            <p14:sldId id="1796"/>
            <p14:sldId id="1797"/>
            <p14:sldId id="1798"/>
            <p14:sldId id="1799"/>
            <p14:sldId id="1800"/>
            <p14:sldId id="1801"/>
            <p14:sldId id="1802"/>
            <p14:sldId id="1803"/>
            <p14:sldId id="1804"/>
            <p14:sldId id="1805"/>
            <p14:sldId id="1806"/>
            <p14:sldId id="1807"/>
            <p14:sldId id="1808"/>
            <p14:sldId id="1809"/>
            <p14:sldId id="1810"/>
            <p14:sldId id="1811"/>
            <p14:sldId id="1812"/>
            <p14:sldId id="1813"/>
            <p14:sldId id="1814"/>
            <p14:sldId id="1815"/>
            <p14:sldId id="1816"/>
            <p14:sldId id="1817"/>
            <p14:sldId id="1750"/>
            <p14:sldId id="1773"/>
            <p14:sldId id="1819"/>
            <p14:sldId id="1820"/>
            <p14:sldId id="1821"/>
            <p14:sldId id="1749"/>
            <p14:sldId id="1822"/>
            <p14:sldId id="1823"/>
            <p14:sldId id="1824"/>
            <p14:sldId id="1825"/>
            <p14:sldId id="1826"/>
            <p14:sldId id="1827"/>
            <p14:sldId id="1828"/>
            <p14:sldId id="1829"/>
            <p14:sldId id="1830"/>
            <p14:sldId id="1831"/>
            <p14:sldId id="1832"/>
            <p14:sldId id="1833"/>
            <p14:sldId id="1835"/>
            <p14:sldId id="1836"/>
            <p14:sldId id="1837"/>
            <p14:sldId id="1838"/>
            <p14:sldId id="1839"/>
            <p14:sldId id="1840"/>
            <p14:sldId id="1841"/>
            <p14:sldId id="1843"/>
            <p14:sldId id="1844"/>
            <p14:sldId id="1845"/>
            <p14:sldId id="1846"/>
          </p14:sldIdLst>
        </p14:section>
        <p14:section name="Exit" id="{DAC3DB5A-7765-4FC1-92C1-48A9CC4E4917}">
          <p14:sldIdLst>
            <p14:sldId id="1633"/>
          </p14:sldIdLst>
        </p14:section>
      </p14:sectionLst>
    </p:ext>
    <p:ext uri="{EFAFB233-063F-42B5-8137-9DF3F51BA10A}">
      <p15:sldGuideLst xmlns:p15="http://schemas.microsoft.com/office/powerpoint/2012/main">
        <p15:guide id="1" orient="horz" pos="1195">
          <p15:clr>
            <a:srgbClr val="A4A3A4"/>
          </p15:clr>
        </p15:guide>
        <p15:guide id="2" pos="3839">
          <p15:clr>
            <a:srgbClr val="A4A3A4"/>
          </p15:clr>
        </p15:guide>
        <p15:guide id="3" pos="186">
          <p15:clr>
            <a:srgbClr val="A4A3A4"/>
          </p15:clr>
        </p15:guide>
        <p15:guide id="4" pos="7515">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1"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53535"/>
    <a:srgbClr val="007DDA"/>
    <a:srgbClr val="008AF2"/>
    <a:srgbClr val="004086"/>
    <a:srgbClr val="92D050"/>
    <a:srgbClr val="003630"/>
    <a:srgbClr val="0072C6"/>
    <a:srgbClr val="0079D6"/>
    <a:srgbClr val="008FFA"/>
    <a:srgbClr val="0075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5596" autoAdjust="0"/>
    <p:restoredTop sz="69850" autoAdjust="0"/>
  </p:normalViewPr>
  <p:slideViewPr>
    <p:cSldViewPr>
      <p:cViewPr varScale="1">
        <p:scale>
          <a:sx n="64" d="100"/>
          <a:sy n="64" d="100"/>
        </p:scale>
        <p:origin x="1068" y="60"/>
      </p:cViewPr>
      <p:guideLst>
        <p:guide orient="horz" pos="1195"/>
        <p:guide pos="3839"/>
        <p:guide pos="186"/>
        <p:guide pos="7515"/>
      </p:guideLst>
    </p:cSldViewPr>
  </p:slideViewPr>
  <p:outlineViewPr>
    <p:cViewPr>
      <p:scale>
        <a:sx n="33" d="100"/>
        <a:sy n="33" d="100"/>
      </p:scale>
      <p:origin x="0" y="0"/>
    </p:cViewPr>
  </p:outlineViewPr>
  <p:notesTextViewPr>
    <p:cViewPr>
      <p:scale>
        <a:sx n="3" d="2"/>
        <a:sy n="3" d="2"/>
      </p:scale>
      <p:origin x="0" y="0"/>
    </p:cViewPr>
  </p:notesTextViewPr>
  <p:sorterViewPr>
    <p:cViewPr>
      <p:scale>
        <a:sx n="53" d="100"/>
        <a:sy n="53" d="100"/>
      </p:scale>
      <p:origin x="0" y="0"/>
    </p:cViewPr>
  </p:sorterViewPr>
  <p:notesViewPr>
    <p:cSldViewPr showGuides="1">
      <p:cViewPr varScale="1">
        <p:scale>
          <a:sx n="63" d="100"/>
          <a:sy n="63" d="100"/>
        </p:scale>
        <p:origin x="3115" y="29"/>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3.xml"/><Relationship Id="rId117" Type="http://schemas.openxmlformats.org/officeDocument/2006/relationships/theme" Target="theme/theme1.xml"/><Relationship Id="rId21" Type="http://schemas.openxmlformats.org/officeDocument/2006/relationships/slideMaster" Target="slideMasters/slideMaster18.xml"/><Relationship Id="rId42" Type="http://schemas.openxmlformats.org/officeDocument/2006/relationships/slide" Target="slides/slide7.xml"/><Relationship Id="rId47" Type="http://schemas.openxmlformats.org/officeDocument/2006/relationships/slide" Target="slides/slide12.xml"/><Relationship Id="rId63" Type="http://schemas.openxmlformats.org/officeDocument/2006/relationships/slide" Target="slides/slide28.xml"/><Relationship Id="rId68" Type="http://schemas.openxmlformats.org/officeDocument/2006/relationships/slide" Target="slides/slide33.xml"/><Relationship Id="rId84" Type="http://schemas.openxmlformats.org/officeDocument/2006/relationships/slide" Target="slides/slide49.xml"/><Relationship Id="rId89" Type="http://schemas.openxmlformats.org/officeDocument/2006/relationships/slide" Target="slides/slide54.xml"/><Relationship Id="rId112" Type="http://schemas.openxmlformats.org/officeDocument/2006/relationships/notesMaster" Target="notesMasters/notesMaster1.xml"/><Relationship Id="rId16" Type="http://schemas.openxmlformats.org/officeDocument/2006/relationships/slideMaster" Target="slideMasters/slideMaster13.xml"/><Relationship Id="rId107" Type="http://schemas.openxmlformats.org/officeDocument/2006/relationships/slide" Target="slides/slide72.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Master" Target="slideMasters/slideMaster29.xml"/><Relationship Id="rId37" Type="http://schemas.openxmlformats.org/officeDocument/2006/relationships/slide" Target="slides/slide2.xml"/><Relationship Id="rId40" Type="http://schemas.openxmlformats.org/officeDocument/2006/relationships/slide" Target="slides/slide5.xml"/><Relationship Id="rId45" Type="http://schemas.openxmlformats.org/officeDocument/2006/relationships/slide" Target="slides/slide10.xml"/><Relationship Id="rId53" Type="http://schemas.openxmlformats.org/officeDocument/2006/relationships/slide" Target="slides/slide18.xml"/><Relationship Id="rId58" Type="http://schemas.openxmlformats.org/officeDocument/2006/relationships/slide" Target="slides/slide23.xml"/><Relationship Id="rId66" Type="http://schemas.openxmlformats.org/officeDocument/2006/relationships/slide" Target="slides/slide31.xml"/><Relationship Id="rId74" Type="http://schemas.openxmlformats.org/officeDocument/2006/relationships/slide" Target="slides/slide39.xml"/><Relationship Id="rId79" Type="http://schemas.openxmlformats.org/officeDocument/2006/relationships/slide" Target="slides/slide44.xml"/><Relationship Id="rId87" Type="http://schemas.openxmlformats.org/officeDocument/2006/relationships/slide" Target="slides/slide52.xml"/><Relationship Id="rId102" Type="http://schemas.openxmlformats.org/officeDocument/2006/relationships/slide" Target="slides/slide67.xml"/><Relationship Id="rId110" Type="http://schemas.openxmlformats.org/officeDocument/2006/relationships/slide" Target="slides/slide75.xml"/><Relationship Id="rId115" Type="http://schemas.openxmlformats.org/officeDocument/2006/relationships/presProps" Target="presProps.xml"/><Relationship Id="rId5" Type="http://schemas.openxmlformats.org/officeDocument/2006/relationships/slideMaster" Target="slideMasters/slideMaster2.xml"/><Relationship Id="rId61" Type="http://schemas.openxmlformats.org/officeDocument/2006/relationships/slide" Target="slides/slide26.xml"/><Relationship Id="rId82" Type="http://schemas.openxmlformats.org/officeDocument/2006/relationships/slide" Target="slides/slide47.xml"/><Relationship Id="rId90" Type="http://schemas.openxmlformats.org/officeDocument/2006/relationships/slide" Target="slides/slide55.xml"/><Relationship Id="rId95" Type="http://schemas.openxmlformats.org/officeDocument/2006/relationships/slide" Target="slides/slide60.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Master" Target="slideMasters/slideMaster27.xml"/><Relationship Id="rId35" Type="http://schemas.openxmlformats.org/officeDocument/2006/relationships/slideMaster" Target="slideMasters/slideMaster32.xml"/><Relationship Id="rId43" Type="http://schemas.openxmlformats.org/officeDocument/2006/relationships/slide" Target="slides/slide8.xml"/><Relationship Id="rId48" Type="http://schemas.openxmlformats.org/officeDocument/2006/relationships/slide" Target="slides/slide13.xml"/><Relationship Id="rId56" Type="http://schemas.openxmlformats.org/officeDocument/2006/relationships/slide" Target="slides/slide21.xml"/><Relationship Id="rId64" Type="http://schemas.openxmlformats.org/officeDocument/2006/relationships/slide" Target="slides/slide29.xml"/><Relationship Id="rId69" Type="http://schemas.openxmlformats.org/officeDocument/2006/relationships/slide" Target="slides/slide34.xml"/><Relationship Id="rId77" Type="http://schemas.openxmlformats.org/officeDocument/2006/relationships/slide" Target="slides/slide42.xml"/><Relationship Id="rId100" Type="http://schemas.openxmlformats.org/officeDocument/2006/relationships/slide" Target="slides/slide65.xml"/><Relationship Id="rId105" Type="http://schemas.openxmlformats.org/officeDocument/2006/relationships/slide" Target="slides/slide70.xml"/><Relationship Id="rId113" Type="http://schemas.openxmlformats.org/officeDocument/2006/relationships/handoutMaster" Target="handoutMasters/handoutMaster1.xml"/><Relationship Id="rId118"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slide" Target="slides/slide16.xml"/><Relationship Id="rId72" Type="http://schemas.openxmlformats.org/officeDocument/2006/relationships/slide" Target="slides/slide37.xml"/><Relationship Id="rId80" Type="http://schemas.openxmlformats.org/officeDocument/2006/relationships/slide" Target="slides/slide45.xml"/><Relationship Id="rId85" Type="http://schemas.openxmlformats.org/officeDocument/2006/relationships/slide" Target="slides/slide50.xml"/><Relationship Id="rId93" Type="http://schemas.openxmlformats.org/officeDocument/2006/relationships/slide" Target="slides/slide58.xml"/><Relationship Id="rId98" Type="http://schemas.openxmlformats.org/officeDocument/2006/relationships/slide" Target="slides/slide63.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Master" Target="slideMasters/slideMaster30.xml"/><Relationship Id="rId38" Type="http://schemas.openxmlformats.org/officeDocument/2006/relationships/slide" Target="slides/slide3.xml"/><Relationship Id="rId46" Type="http://schemas.openxmlformats.org/officeDocument/2006/relationships/slide" Target="slides/slide11.xml"/><Relationship Id="rId59" Type="http://schemas.openxmlformats.org/officeDocument/2006/relationships/slide" Target="slides/slide24.xml"/><Relationship Id="rId67" Type="http://schemas.openxmlformats.org/officeDocument/2006/relationships/slide" Target="slides/slide32.xml"/><Relationship Id="rId103" Type="http://schemas.openxmlformats.org/officeDocument/2006/relationships/slide" Target="slides/slide68.xml"/><Relationship Id="rId108" Type="http://schemas.openxmlformats.org/officeDocument/2006/relationships/slide" Target="slides/slide73.xml"/><Relationship Id="rId116" Type="http://schemas.openxmlformats.org/officeDocument/2006/relationships/viewProps" Target="viewProps.xml"/><Relationship Id="rId20" Type="http://schemas.openxmlformats.org/officeDocument/2006/relationships/slideMaster" Target="slideMasters/slideMaster17.xml"/><Relationship Id="rId41" Type="http://schemas.openxmlformats.org/officeDocument/2006/relationships/slide" Target="slides/slide6.xml"/><Relationship Id="rId54" Type="http://schemas.openxmlformats.org/officeDocument/2006/relationships/slide" Target="slides/slide19.xml"/><Relationship Id="rId62" Type="http://schemas.openxmlformats.org/officeDocument/2006/relationships/slide" Target="slides/slide27.xml"/><Relationship Id="rId70" Type="http://schemas.openxmlformats.org/officeDocument/2006/relationships/slide" Target="slides/slide35.xml"/><Relationship Id="rId75" Type="http://schemas.openxmlformats.org/officeDocument/2006/relationships/slide" Target="slides/slide40.xml"/><Relationship Id="rId83" Type="http://schemas.openxmlformats.org/officeDocument/2006/relationships/slide" Target="slides/slide48.xml"/><Relationship Id="rId88" Type="http://schemas.openxmlformats.org/officeDocument/2006/relationships/slide" Target="slides/slide53.xml"/><Relationship Id="rId91" Type="http://schemas.openxmlformats.org/officeDocument/2006/relationships/slide" Target="slides/slide56.xml"/><Relationship Id="rId96" Type="http://schemas.openxmlformats.org/officeDocument/2006/relationships/slide" Target="slides/slide61.xml"/><Relationship Id="rId111" Type="http://schemas.openxmlformats.org/officeDocument/2006/relationships/slide" Target="slides/slide76.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Master" Target="slideMasters/slideMaster25.xml"/><Relationship Id="rId36" Type="http://schemas.openxmlformats.org/officeDocument/2006/relationships/slide" Target="slides/slide1.xml"/><Relationship Id="rId49" Type="http://schemas.openxmlformats.org/officeDocument/2006/relationships/slide" Target="slides/slide14.xml"/><Relationship Id="rId57" Type="http://schemas.openxmlformats.org/officeDocument/2006/relationships/slide" Target="slides/slide22.xml"/><Relationship Id="rId106" Type="http://schemas.openxmlformats.org/officeDocument/2006/relationships/slide" Target="slides/slide71.xml"/><Relationship Id="rId114" Type="http://schemas.openxmlformats.org/officeDocument/2006/relationships/commentAuthors" Target="commentAuthors.xml"/><Relationship Id="rId10" Type="http://schemas.openxmlformats.org/officeDocument/2006/relationships/slideMaster" Target="slideMasters/slideMaster7.xml"/><Relationship Id="rId31" Type="http://schemas.openxmlformats.org/officeDocument/2006/relationships/slideMaster" Target="slideMasters/slideMaster28.xml"/><Relationship Id="rId44" Type="http://schemas.openxmlformats.org/officeDocument/2006/relationships/slide" Target="slides/slide9.xml"/><Relationship Id="rId52" Type="http://schemas.openxmlformats.org/officeDocument/2006/relationships/slide" Target="slides/slide17.xml"/><Relationship Id="rId60" Type="http://schemas.openxmlformats.org/officeDocument/2006/relationships/slide" Target="slides/slide25.xml"/><Relationship Id="rId65" Type="http://schemas.openxmlformats.org/officeDocument/2006/relationships/slide" Target="slides/slide30.xml"/><Relationship Id="rId73" Type="http://schemas.openxmlformats.org/officeDocument/2006/relationships/slide" Target="slides/slide38.xml"/><Relationship Id="rId78" Type="http://schemas.openxmlformats.org/officeDocument/2006/relationships/slide" Target="slides/slide43.xml"/><Relationship Id="rId81" Type="http://schemas.openxmlformats.org/officeDocument/2006/relationships/slide" Target="slides/slide46.xml"/><Relationship Id="rId86" Type="http://schemas.openxmlformats.org/officeDocument/2006/relationships/slide" Target="slides/slide51.xml"/><Relationship Id="rId94" Type="http://schemas.openxmlformats.org/officeDocument/2006/relationships/slide" Target="slides/slide59.xml"/><Relationship Id="rId99" Type="http://schemas.openxmlformats.org/officeDocument/2006/relationships/slide" Target="slides/slide64.xml"/><Relationship Id="rId101" Type="http://schemas.openxmlformats.org/officeDocument/2006/relationships/slide" Target="slides/slide66.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4.xml"/><Relationship Id="rId109" Type="http://schemas.openxmlformats.org/officeDocument/2006/relationships/slide" Target="slides/slide74.xml"/><Relationship Id="rId34" Type="http://schemas.openxmlformats.org/officeDocument/2006/relationships/slideMaster" Target="slideMasters/slideMaster31.xml"/><Relationship Id="rId50" Type="http://schemas.openxmlformats.org/officeDocument/2006/relationships/slide" Target="slides/slide15.xml"/><Relationship Id="rId55" Type="http://schemas.openxmlformats.org/officeDocument/2006/relationships/slide" Target="slides/slide20.xml"/><Relationship Id="rId76" Type="http://schemas.openxmlformats.org/officeDocument/2006/relationships/slide" Target="slides/slide41.xml"/><Relationship Id="rId97" Type="http://schemas.openxmlformats.org/officeDocument/2006/relationships/slide" Target="slides/slide62.xml"/><Relationship Id="rId104" Type="http://schemas.openxmlformats.org/officeDocument/2006/relationships/slide" Target="slides/slide69.xml"/><Relationship Id="rId7" Type="http://schemas.openxmlformats.org/officeDocument/2006/relationships/slideMaster" Target="slideMasters/slideMaster4.xml"/><Relationship Id="rId71" Type="http://schemas.openxmlformats.org/officeDocument/2006/relationships/slide" Target="slides/slide36.xml"/><Relationship Id="rId92" Type="http://schemas.openxmlformats.org/officeDocument/2006/relationships/slide" Target="slides/slide57.xml"/><Relationship Id="rId2" Type="http://schemas.openxmlformats.org/officeDocument/2006/relationships/customXml" Target="../customXml/item2.xml"/><Relationship Id="rId29" Type="http://schemas.openxmlformats.org/officeDocument/2006/relationships/slideMaster" Target="slideMasters/slideMaster26.xml"/></Relationships>
</file>

<file path=ppt/comments/comment1.xml><?xml version="1.0" encoding="utf-8"?>
<p:cmLst xmlns:a="http://schemas.openxmlformats.org/drawingml/2006/main" xmlns:r="http://schemas.openxmlformats.org/officeDocument/2006/relationships" xmlns:p="http://schemas.openxmlformats.org/presentationml/2006/main">
  <p:cm authorId="2" dt="2016-03-24T12:20:16.863" idx="1">
    <p:pos x="10" y="10"/>
    <p:text>Talk about dynamic compute + input/output bindings</p:text>
    <p:extLst>
      <p:ext uri="{C676402C-5697-4E1C-873F-D02D1690AC5C}">
        <p15:threadingInfo xmlns:p15="http://schemas.microsoft.com/office/powerpoint/2012/main" timeZoneBias="420"/>
      </p:ext>
    </p:extLst>
  </p:cm>
</p: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3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970939" y="0"/>
            <a:ext cx="3037840" cy="464820"/>
          </a:xfrm>
          <a:prstGeom prst="rect">
            <a:avLst/>
          </a:prstGeom>
        </p:spPr>
        <p:txBody>
          <a:bodyPr vert="horz" lIns="93175" tIns="46587" rIns="93175" bIns="46587" rtlCol="0"/>
          <a:lstStyle>
            <a:lvl1pPr algn="r">
              <a:defRPr sz="1200"/>
            </a:lvl1pPr>
          </a:lstStyle>
          <a:p>
            <a:fld id="{7B22242A-0727-46E8-9D2C-7C53C71231AC}" type="datetime8">
              <a:rPr lang="en-US" smtClean="0">
                <a:latin typeface="Segoe UI" pitchFamily="34" charset="0"/>
              </a:rPr>
              <a:t>5/26/2016 8:21 AM</a:t>
            </a:fld>
            <a:endParaRPr lang="en-US" dirty="0">
              <a:latin typeface="Segoe UI" pitchFamily="34" charset="0"/>
            </a:endParaRPr>
          </a:p>
        </p:txBody>
      </p:sp>
      <p:sp>
        <p:nvSpPr>
          <p:cNvPr id="8" name="Footer Placeholder 7"/>
          <p:cNvSpPr>
            <a:spLocks noGrp="1"/>
          </p:cNvSpPr>
          <p:nvPr>
            <p:ph type="ftr" sz="quarter" idx="2"/>
          </p:nvPr>
        </p:nvSpPr>
        <p:spPr>
          <a:xfrm>
            <a:off x="0" y="8829966"/>
            <a:ext cx="5923788" cy="337974"/>
          </a:xfrm>
          <a:prstGeom prst="rect">
            <a:avLst/>
          </a:prstGeom>
        </p:spPr>
        <p:txBody>
          <a:bodyPr vert="horz" lIns="93175" tIns="46587" rIns="93175" bIns="46587" rtlCol="0" anchor="b"/>
          <a:lstStyle>
            <a:lvl1pPr algn="l">
              <a:defRPr sz="1200"/>
            </a:lvl1pPr>
          </a:lstStyle>
          <a:p>
            <a:pPr marL="406020" defTabSz="931436"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912104" y="8829967"/>
            <a:ext cx="1096673" cy="464820"/>
          </a:xfrm>
          <a:prstGeom prst="rect">
            <a:avLst/>
          </a:prstGeom>
        </p:spPr>
        <p:txBody>
          <a:bodyPr vert="horz" lIns="93175" tIns="46587" rIns="93175" bIns="46587"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407988" y="696913"/>
            <a:ext cx="6194425" cy="3486150"/>
          </a:xfrm>
          <a:prstGeom prst="rect">
            <a:avLst/>
          </a:prstGeom>
          <a:noFill/>
          <a:ln w="12700">
            <a:solidFill>
              <a:prstClr val="black"/>
            </a:solidFill>
          </a:ln>
        </p:spPr>
        <p:txBody>
          <a:bodyPr vert="horz" lIns="93175" tIns="46587" rIns="93175" bIns="46587" rtlCol="0" anchor="ctr"/>
          <a:lstStyle/>
          <a:p>
            <a:endParaRPr lang="en-US" dirty="0"/>
          </a:p>
        </p:txBody>
      </p:sp>
      <p:sp>
        <p:nvSpPr>
          <p:cNvPr id="10" name="Footer Placeholder 9"/>
          <p:cNvSpPr>
            <a:spLocks noGrp="1"/>
          </p:cNvSpPr>
          <p:nvPr>
            <p:ph type="ftr" sz="quarter" idx="4"/>
          </p:nvPr>
        </p:nvSpPr>
        <p:spPr>
          <a:xfrm>
            <a:off x="0" y="8831580"/>
            <a:ext cx="6052312" cy="361897"/>
          </a:xfrm>
          <a:prstGeom prst="rect">
            <a:avLst/>
          </a:prstGeom>
        </p:spPr>
        <p:txBody>
          <a:bodyPr vert="horz" lIns="93175" tIns="46587" rIns="93175" bIns="46587" rtlCol="0" anchor="b"/>
          <a:lstStyle>
            <a:lvl1pPr marL="582340" indent="0" algn="l">
              <a:defRPr sz="1200"/>
            </a:lvl1p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970939" y="0"/>
            <a:ext cx="3037840" cy="464820"/>
          </a:xfrm>
          <a:prstGeom prst="rect">
            <a:avLst/>
          </a:prstGeom>
        </p:spPr>
        <p:txBody>
          <a:bodyPr vert="horz" lIns="93175" tIns="46587" rIns="93175" bIns="46587" rtlCol="0"/>
          <a:lstStyle>
            <a:lvl1pPr algn="r">
              <a:defRPr sz="1200">
                <a:latin typeface="Segoe UI" pitchFamily="34" charset="0"/>
              </a:defRPr>
            </a:lvl1pPr>
          </a:lstStyle>
          <a:p>
            <a:fld id="{DDCD61BB-790A-4EFE-904A-F3FC061E4182}" type="datetime8">
              <a:rPr lang="en-US" smtClean="0"/>
              <a:t>5/26/2016 8:21 AM</a:t>
            </a:fld>
            <a:endParaRPr lang="en-US" dirty="0"/>
          </a:p>
        </p:txBody>
      </p:sp>
      <p:sp>
        <p:nvSpPr>
          <p:cNvPr id="12" name="Notes Placeholder 11"/>
          <p:cNvSpPr>
            <a:spLocks noGrp="1"/>
          </p:cNvSpPr>
          <p:nvPr>
            <p:ph type="body" sz="quarter" idx="3"/>
          </p:nvPr>
        </p:nvSpPr>
        <p:spPr>
          <a:xfrm>
            <a:off x="701040" y="4415791"/>
            <a:ext cx="5608320" cy="4183380"/>
          </a:xfrm>
          <a:prstGeom prst="rect">
            <a:avLst/>
          </a:prstGeom>
        </p:spPr>
        <p:txBody>
          <a:bodyPr vert="horz" lIns="93175" tIns="46587" rIns="93175" bIns="46587"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6040627" y="8829967"/>
            <a:ext cx="968150" cy="464820"/>
          </a:xfrm>
          <a:prstGeom prst="rect">
            <a:avLst/>
          </a:prstGeom>
        </p:spPr>
        <p:txBody>
          <a:bodyPr vert="horz" lIns="93175" tIns="46587" rIns="93175" bIns="46587"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274" rtl="0" eaLnBrk="1" latinLnBrk="0" hangingPunct="1">
      <a:lnSpc>
        <a:spcPct val="90000"/>
      </a:lnSpc>
      <a:spcAft>
        <a:spcPts val="333"/>
      </a:spcAft>
      <a:defRPr sz="900" kern="1200">
        <a:solidFill>
          <a:schemeClr val="tx1"/>
        </a:solidFill>
        <a:latin typeface="Segoe UI Light" pitchFamily="34" charset="0"/>
        <a:ea typeface="+mn-ea"/>
        <a:cs typeface="+mn-cs"/>
      </a:defRPr>
    </a:lvl1pPr>
    <a:lvl2pPr marL="212960" indent="-10581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2pPr>
    <a:lvl3pPr marL="328038"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3pPr>
    <a:lvl4pPr marL="482798" indent="-146823"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4pPr>
    <a:lvl5pPr marL="615072"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5pPr>
    <a:lvl6pPr marL="2285685" algn="l" defTabSz="914274" rtl="0" eaLnBrk="1" latinLnBrk="0" hangingPunct="1">
      <a:defRPr sz="1200" kern="1200">
        <a:solidFill>
          <a:schemeClr val="tx1"/>
        </a:solidFill>
        <a:latin typeface="+mn-lt"/>
        <a:ea typeface="+mn-ea"/>
        <a:cs typeface="+mn-cs"/>
      </a:defRPr>
    </a:lvl6pPr>
    <a:lvl7pPr marL="2742821" algn="l" defTabSz="914274" rtl="0" eaLnBrk="1" latinLnBrk="0" hangingPunct="1">
      <a:defRPr sz="1200" kern="1200">
        <a:solidFill>
          <a:schemeClr val="tx1"/>
        </a:solidFill>
        <a:latin typeface="+mn-lt"/>
        <a:ea typeface="+mn-ea"/>
        <a:cs typeface="+mn-cs"/>
      </a:defRPr>
    </a:lvl7pPr>
    <a:lvl8pPr marL="3199958" algn="l" defTabSz="914274" rtl="0" eaLnBrk="1" latinLnBrk="0" hangingPunct="1">
      <a:defRPr sz="1200" kern="1200">
        <a:solidFill>
          <a:schemeClr val="tx1"/>
        </a:solidFill>
        <a:latin typeface="+mn-lt"/>
        <a:ea typeface="+mn-ea"/>
        <a:cs typeface="+mn-cs"/>
      </a:defRPr>
    </a:lvl8pPr>
    <a:lvl9pPr marL="3657096" algn="l" defTabSz="91427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3" Type="http://schemas.openxmlformats.org/officeDocument/2006/relationships/hyperlink" Target="https://azure.microsoft.com/en-us/documentation/articles/hdinsight-hadoop-develop-deploy-streaming-jobs/" TargetMode="External"/><Relationship Id="rId7" Type="http://schemas.openxmlformats.org/officeDocument/2006/relationships/hyperlink" Target="https://go.microsoft.com/fwlink/?linkid=525005&amp;clcid=0x409" TargetMode="External"/><Relationship Id="rId2" Type="http://schemas.openxmlformats.org/officeDocument/2006/relationships/slide" Target="../slides/slide63.xml"/><Relationship Id="rId1" Type="http://schemas.openxmlformats.org/officeDocument/2006/relationships/notesMaster" Target="../notesMasters/notesMaster1.xml"/><Relationship Id="rId6" Type="http://schemas.openxmlformats.org/officeDocument/2006/relationships/hyperlink" Target="http://hortonworks.com/hdp/" TargetMode="External"/><Relationship Id="rId5" Type="http://schemas.openxmlformats.org/officeDocument/2006/relationships/hyperlink" Target="https://go.microsoft.com/fwlink/?linkid=619287&amp;clcid=0x409" TargetMode="External"/><Relationship Id="rId4" Type="http://schemas.openxmlformats.org/officeDocument/2006/relationships/hyperlink" Target="https://azure.microsoft.com/en-us/documentation/articles/hdinsight-develop-deploy-java-mapreduce/" TargetMode="Externa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3" Type="http://schemas.openxmlformats.org/officeDocument/2006/relationships/hyperlink" Target="http://www.how-old.net/" TargetMode="External"/><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4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a:p>
        </p:txBody>
      </p:sp>
      <p:sp>
        <p:nvSpPr>
          <p:cNvPr id="61444" name="Header Placeholder 3"/>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lnSpc>
                <a:spcPct val="90000"/>
              </a:lnSpc>
              <a:spcBef>
                <a:spcPct val="30000"/>
              </a:spcBef>
              <a:spcAft>
                <a:spcPts val="344"/>
              </a:spcAft>
              <a:defRPr sz="900">
                <a:solidFill>
                  <a:schemeClr val="tx1"/>
                </a:solidFill>
                <a:latin typeface="Segoe UI Light" panose="020B0502040204020203" pitchFamily="34" charset="0"/>
                <a:ea typeface="MS PGothic" panose="020B0600070205080204" pitchFamily="34" charset="-128"/>
              </a:defRPr>
            </a:lvl1pPr>
            <a:lvl2pPr marL="757066" indent="-291179">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2pPr>
            <a:lvl3pPr marL="1164717"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3pPr>
            <a:lvl4pPr marL="1630604"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4pPr>
            <a:lvl5pPr marL="2096491"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5pPr>
            <a:lvl6pPr marL="2562377"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6pPr>
            <a:lvl7pPr marL="3028264"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7pPr>
            <a:lvl8pPr marL="3494151"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8pPr>
            <a:lvl9pPr marL="3960038"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9pPr>
          </a:lstStyle>
          <a:p>
            <a:pPr marL="0" marR="0" lvl="0" indent="0" defTabSz="949568" eaLnBrk="1" fontAlgn="base" latinLnBrk="0" hangingPunct="1">
              <a:lnSpc>
                <a:spcPct val="100000"/>
              </a:lnSpc>
              <a:spcBef>
                <a:spcPct val="0"/>
              </a:spcBef>
              <a:spcAft>
                <a:spcPct val="0"/>
              </a:spcAft>
              <a:buClrTx/>
              <a:buSzTx/>
              <a:buFontTx/>
              <a:buNone/>
              <a:tabLst/>
              <a:defRPr/>
            </a:pPr>
            <a:endParaRPr kumimoji="0" lang="en-US" altLang="en-US" sz="1200" b="0" i="0" u="none" strike="noStrike" kern="0" cap="none" spc="0" normalizeH="0" baseline="0" noProof="0">
              <a:ln>
                <a:noFill/>
              </a:ln>
              <a:solidFill>
                <a:schemeClr val="tx1"/>
              </a:solidFill>
              <a:effectLst/>
              <a:uLnTx/>
              <a:uFillTx/>
              <a:latin typeface="Segoe UI" panose="020B0502040204020203" pitchFamily="34" charset="0"/>
              <a:ea typeface="MS PGothic" panose="020B0600070205080204" pitchFamily="34" charset="-128"/>
            </a:endParaRPr>
          </a:p>
        </p:txBody>
      </p:sp>
      <p:sp>
        <p:nvSpPr>
          <p:cNvPr id="5" name="Footer Placeholder 4"/>
          <p:cNvSpPr>
            <a:spLocks noGrp="1"/>
          </p:cNvSpPr>
          <p:nvPr>
            <p:ph type="ftr" sz="quarter" idx="4"/>
          </p:nvPr>
        </p:nvSpPr>
        <p:spPr>
          <a:xfrm>
            <a:off x="0" y="8831580"/>
            <a:ext cx="6052312" cy="361897"/>
          </a:xfrm>
        </p:spPr>
        <p:txBody>
          <a:bodyPr rtlCol="0"/>
          <a:lstStyle/>
          <a:p>
            <a:pPr marL="0" marR="0" lvl="0" indent="0" defTabSz="931467"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gradFill>
                  <a:gsLst>
                    <a:gs pos="0">
                      <a:prstClr val="black"/>
                    </a:gs>
                    <a:gs pos="100000">
                      <a:prstClr val="black"/>
                    </a:gs>
                  </a:gsLst>
                  <a:lin ang="5400000" scaled="0"/>
                </a:gradFill>
                <a:effectLst/>
                <a:uLnTx/>
                <a:uFillTx/>
                <a:ea typeface="Segoe UI" pitchFamily="34" charset="0"/>
              </a:rPr>
              <a:t>© 2014 Microsoft Corporation. All rights reserved. MICROSOFT MAKES NO WARRANTIES, EXPRESS, IMPLIED OR STATUTORY, AS TO THE INFORMATION IN THIS PRESENTATION.</a:t>
            </a:r>
          </a:p>
        </p:txBody>
      </p:sp>
      <p:sp>
        <p:nvSpPr>
          <p:cNvPr id="61446" name="Date Placeholder 5"/>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30000"/>
              </a:spcBef>
              <a:spcAft>
                <a:spcPts val="344"/>
              </a:spcAft>
              <a:defRPr sz="900">
                <a:solidFill>
                  <a:schemeClr val="tx1"/>
                </a:solidFill>
                <a:latin typeface="Segoe UI Light" panose="020B0502040204020203" pitchFamily="34" charset="0"/>
                <a:ea typeface="MS PGothic" panose="020B0600070205080204" pitchFamily="34" charset="-128"/>
              </a:defRPr>
            </a:lvl1pPr>
            <a:lvl2pPr marL="757066" indent="-291179">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2pPr>
            <a:lvl3pPr marL="1164717"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3pPr>
            <a:lvl4pPr marL="1630604"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4pPr>
            <a:lvl5pPr marL="2096491"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5pPr>
            <a:lvl6pPr marL="2562377"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6pPr>
            <a:lvl7pPr marL="3028264"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7pPr>
            <a:lvl8pPr marL="3494151"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8pPr>
            <a:lvl9pPr marL="3960038"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9pPr>
          </a:lstStyle>
          <a:p>
            <a:pPr marL="0" marR="0" lvl="0" indent="0" defTabSz="914400" eaLnBrk="1" fontAlgn="auto" latinLnBrk="0" hangingPunct="1">
              <a:lnSpc>
                <a:spcPct val="100000"/>
              </a:lnSpc>
              <a:spcBef>
                <a:spcPct val="0"/>
              </a:spcBef>
              <a:spcAft>
                <a:spcPct val="0"/>
              </a:spcAft>
              <a:buClrTx/>
              <a:buSzTx/>
              <a:buFontTx/>
              <a:buNone/>
              <a:tabLst/>
              <a:defRPr/>
            </a:pPr>
            <a:fld id="{F8483CD5-B6A2-4D11-8621-B0D21269BC89}" type="datetime8">
              <a:rPr kumimoji="0" lang="en-US" altLang="en-US" sz="1200" b="0" i="0" u="none" strike="noStrike" kern="0" cap="none" spc="0" normalizeH="0" baseline="0" noProof="0">
                <a:ln>
                  <a:noFill/>
                </a:ln>
                <a:solidFill>
                  <a:schemeClr val="tx1"/>
                </a:solidFill>
                <a:effectLst/>
                <a:uLnTx/>
                <a:uFillTx/>
                <a:latin typeface="Segoe UI" panose="020B0502040204020203" pitchFamily="34" charset="0"/>
                <a:ea typeface="MS PGothic" panose="020B0600070205080204" pitchFamily="34" charset="-128"/>
              </a:rPr>
              <a:pPr marL="0" marR="0" lvl="0" indent="0" defTabSz="914400" eaLnBrk="1" fontAlgn="auto" latinLnBrk="0" hangingPunct="1">
                <a:lnSpc>
                  <a:spcPct val="100000"/>
                </a:lnSpc>
                <a:spcBef>
                  <a:spcPct val="0"/>
                </a:spcBef>
                <a:spcAft>
                  <a:spcPct val="0"/>
                </a:spcAft>
                <a:buClrTx/>
                <a:buSzTx/>
                <a:buFontTx/>
                <a:buNone/>
                <a:tabLst/>
                <a:defRPr/>
              </a:pPr>
              <a:t>5/26/2016 8:21 AM</a:t>
            </a:fld>
            <a:endParaRPr kumimoji="0" lang="en-US" altLang="en-US" sz="1200" b="0" i="0" u="none" strike="noStrike" kern="0" cap="none" spc="0" normalizeH="0" baseline="0" noProof="0">
              <a:ln>
                <a:noFill/>
              </a:ln>
              <a:solidFill>
                <a:schemeClr val="tx1"/>
              </a:solidFill>
              <a:effectLst/>
              <a:uLnTx/>
              <a:uFillTx/>
              <a:latin typeface="Segoe UI" panose="020B0502040204020203" pitchFamily="34" charset="0"/>
              <a:ea typeface="MS PGothic" panose="020B0600070205080204" pitchFamily="34" charset="-128"/>
            </a:endParaRPr>
          </a:p>
        </p:txBody>
      </p:sp>
      <p:sp>
        <p:nvSpPr>
          <p:cNvPr id="61447" name="Slide Number Placehold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30000"/>
              </a:spcBef>
              <a:spcAft>
                <a:spcPts val="344"/>
              </a:spcAft>
              <a:defRPr sz="900">
                <a:solidFill>
                  <a:schemeClr val="tx1"/>
                </a:solidFill>
                <a:latin typeface="Segoe UI Light" panose="020B0502040204020203" pitchFamily="34" charset="0"/>
                <a:ea typeface="MS PGothic" panose="020B0600070205080204" pitchFamily="34" charset="-128"/>
              </a:defRPr>
            </a:lvl1pPr>
            <a:lvl2pPr marL="757066" indent="-291179">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2pPr>
            <a:lvl3pPr marL="1164717"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3pPr>
            <a:lvl4pPr marL="1630604"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4pPr>
            <a:lvl5pPr marL="2096491"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5pPr>
            <a:lvl6pPr marL="2562377"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6pPr>
            <a:lvl7pPr marL="3028264"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7pPr>
            <a:lvl8pPr marL="3494151"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8pPr>
            <a:lvl9pPr marL="3960038"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9pPr>
          </a:lstStyle>
          <a:p>
            <a:pPr marL="0" marR="0" lvl="0" indent="0" defTabSz="914400" eaLnBrk="1" fontAlgn="auto" latinLnBrk="0" hangingPunct="1">
              <a:lnSpc>
                <a:spcPct val="100000"/>
              </a:lnSpc>
              <a:spcBef>
                <a:spcPct val="0"/>
              </a:spcBef>
              <a:spcAft>
                <a:spcPct val="0"/>
              </a:spcAft>
              <a:buClrTx/>
              <a:buSzTx/>
              <a:buFontTx/>
              <a:buNone/>
              <a:tabLst/>
              <a:defRPr/>
            </a:pPr>
            <a:fld id="{FA9C7F1D-5209-40B0-A59C-8AB81A72FC1E}" type="slidenum">
              <a:rPr kumimoji="0" lang="en-US" altLang="en-US" sz="1200" b="0" i="0" u="none" strike="noStrike" kern="0" cap="none" spc="0" normalizeH="0" baseline="0" noProof="0">
                <a:ln>
                  <a:noFill/>
                </a:ln>
                <a:solidFill>
                  <a:schemeClr val="tx1"/>
                </a:solidFill>
                <a:effectLst/>
                <a:uLnTx/>
                <a:uFillTx/>
                <a:latin typeface="Segoe UI" panose="020B0502040204020203" pitchFamily="34" charset="0"/>
                <a:ea typeface="MS PGothic" panose="020B0600070205080204" pitchFamily="34" charset="-128"/>
              </a:rPr>
              <a:pPr marL="0" marR="0" lvl="0" indent="0" defTabSz="914400" eaLnBrk="1" fontAlgn="auto" latinLnBrk="0" hangingPunct="1">
                <a:lnSpc>
                  <a:spcPct val="100000"/>
                </a:lnSpc>
                <a:spcBef>
                  <a:spcPct val="0"/>
                </a:spcBef>
                <a:spcAft>
                  <a:spcPct val="0"/>
                </a:spcAft>
                <a:buClrTx/>
                <a:buSzTx/>
                <a:buFontTx/>
                <a:buNone/>
                <a:tabLst/>
                <a:defRPr/>
              </a:pPr>
              <a:t>1</a:t>
            </a:fld>
            <a:endParaRPr kumimoji="0" lang="en-US" altLang="en-US" sz="1200" b="0" i="0" u="none" strike="noStrike" kern="0" cap="none" spc="0" normalizeH="0" baseline="0" noProof="0">
              <a:ln>
                <a:noFill/>
              </a:ln>
              <a:solidFill>
                <a:schemeClr val="tx1"/>
              </a:solidFill>
              <a:effectLst/>
              <a:uLnTx/>
              <a:uFillTx/>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424248110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6/2016 8:21 AM</a:t>
            </a:fld>
            <a:endParaRPr kumimoji="0" lang="en-US" alt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alt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9993618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a:t>Points to land:</a:t>
            </a:r>
          </a:p>
          <a:p>
            <a:pPr marL="285750" indent="-285750">
              <a:buFont typeface="Arial" panose="020B0604020202020204" pitchFamily="34" charset="0"/>
              <a:buChar char="•"/>
            </a:pPr>
            <a:r>
              <a:rPr lang="en-US" dirty="0"/>
              <a:t>Imagine what you could do…</a:t>
            </a:r>
          </a:p>
          <a:p>
            <a:pPr marL="0" indent="0">
              <a:buNone/>
            </a:pPr>
            <a:r>
              <a:rPr lang="en-US" dirty="0">
                <a:sym typeface="Wingdings" panose="05000000000000000000" pitchFamily="2" charset="2"/>
              </a:rPr>
              <a:t> </a:t>
            </a:r>
            <a:r>
              <a:rPr lang="en-US" dirty="0"/>
              <a:t>360,000 concurrent cores</a:t>
            </a:r>
          </a:p>
          <a:p>
            <a:pPr marL="0" indent="0">
              <a:buNone/>
            </a:pPr>
            <a:r>
              <a:rPr lang="en-US" dirty="0">
                <a:sym typeface="Wingdings" panose="05000000000000000000" pitchFamily="2" charset="2"/>
              </a:rPr>
              <a:t> </a:t>
            </a:r>
            <a:r>
              <a:rPr lang="en-US" dirty="0"/>
              <a:t>Have EA tell the story</a:t>
            </a:r>
          </a:p>
          <a:p>
            <a:pPr marL="0" indent="0">
              <a:buNone/>
            </a:pPr>
            <a:r>
              <a:rPr lang="en-US" dirty="0">
                <a:sym typeface="Wingdings" panose="05000000000000000000" pitchFamily="2" charset="2"/>
              </a:rPr>
              <a:t> </a:t>
            </a:r>
            <a:r>
              <a:rPr lang="en-US" dirty="0"/>
              <a:t>Assume we don't run out of capacity</a:t>
            </a:r>
          </a:p>
          <a:p>
            <a:pPr marL="285750" indent="-285750">
              <a:buFont typeface="Arial" panose="020B0604020202020204" pitchFamily="34" charset="0"/>
              <a:buChar char="•"/>
            </a:pP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C52CFDC-D2D5-4B9F-BA75-89F771E01AE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4453967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WPC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6/2016 8:2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3584273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0" dirty="0">
                <a:gradFill>
                  <a:gsLst>
                    <a:gs pos="2917">
                      <a:schemeClr val="tx1"/>
                    </a:gs>
                    <a:gs pos="30000">
                      <a:schemeClr val="tx1"/>
                    </a:gs>
                  </a:gsLst>
                  <a:lin ang="5400000" scaled="0"/>
                </a:gradFill>
              </a:rPr>
              <a:t>What are the key things to call out on agility here? Ease of use?</a:t>
            </a:r>
          </a:p>
          <a:p>
            <a:endParaRPr lang="en-US" sz="1200" b="0" baseline="0" dirty="0">
              <a:latin typeface="Segoe UI Light" panose="020B0502040204020203" pitchFamily="34" charset="0"/>
            </a:endParaRPr>
          </a:p>
          <a:p>
            <a:pPr marL="285750" marR="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dirty="0">
                <a:latin typeface="Segoe UI Light" panose="020B0502040204020203" pitchFamily="34" charset="0"/>
              </a:rPr>
              <a:t>App Service has everything you need to build apps that target both web and mobile clients from a single app back-end.</a:t>
            </a:r>
          </a:p>
          <a:p>
            <a:pPr marL="285750" marR="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dirty="0">
                <a:latin typeface="Segoe UI Light" panose="020B0502040204020203" pitchFamily="34" charset="0"/>
              </a:rPr>
              <a:t>Using API Apps, you can connect your app to dozens of popular services like Office 365 and salesforce.com in minutes, and integrate your own APIs so they can be used within any app.</a:t>
            </a:r>
            <a:endParaRPr lang="en-US" sz="1200" dirty="0"/>
          </a:p>
          <a:p>
            <a:pPr marL="285750" indent="-285750">
              <a:buFont typeface="Arial" panose="020B0604020202020204" pitchFamily="34" charset="0"/>
              <a:buChar char="•"/>
            </a:pPr>
            <a:r>
              <a:rPr lang="en-US" baseline="0" dirty="0"/>
              <a:t>And finally with Logic Apps, you can automate business processes using a simple no-code experience.</a:t>
            </a:r>
          </a:p>
          <a:p>
            <a:pPr marL="285750" indent="-285750">
              <a:buFont typeface="Arial" panose="020B0604020202020204" pitchFamily="34" charset="0"/>
              <a:buChar char="•"/>
            </a:pPr>
            <a:endParaRPr lang="en-US" baseline="0" dirty="0"/>
          </a:p>
          <a:p>
            <a:pPr>
              <a:defRPr/>
            </a:pPr>
            <a:r>
              <a:rPr lang="en-US" sz="1200" kern="1200" dirty="0">
                <a:solidFill>
                  <a:schemeClr val="tx1"/>
                </a:solidFill>
                <a:effectLst/>
                <a:latin typeface="+mn-lt"/>
                <a:ea typeface="+mn-ea"/>
                <a:cs typeface="+mn-cs"/>
              </a:rPr>
              <a:t>App Service is the preferred option for building web or mobile applications because it provides the productivity, scale, performance, and deployment options for most requirements. Use App Service when you want to focus on building unique differentiation for your app and need the infrastructure to just work. Additionally, it’s great for building an API layer which can be exposed to customers, partners and employees securely using the related API Management service. You can use App Service in conjunction with the many other Azure services (</a:t>
            </a:r>
            <a:r>
              <a:rPr lang="en-US" sz="1200" kern="1200" dirty="0" err="1">
                <a:solidFill>
                  <a:schemeClr val="tx1"/>
                </a:solidFill>
                <a:effectLst/>
                <a:latin typeface="+mn-lt"/>
                <a:ea typeface="+mn-ea"/>
                <a:cs typeface="+mn-cs"/>
              </a:rPr>
              <a:t>Redis</a:t>
            </a:r>
            <a:r>
              <a:rPr lang="en-US" sz="1200" kern="1200" dirty="0">
                <a:solidFill>
                  <a:schemeClr val="tx1"/>
                </a:solidFill>
                <a:effectLst/>
                <a:latin typeface="+mn-lt"/>
                <a:ea typeface="+mn-ea"/>
                <a:cs typeface="+mn-cs"/>
              </a:rPr>
              <a:t> Cache or Azure Traffic Manager for instance) to build and deploy powerful apps quickly. </a:t>
            </a:r>
            <a:endParaRPr lang="en-US" dirty="0"/>
          </a:p>
          <a:p>
            <a:r>
              <a:rPr lang="en-US" dirty="0"/>
              <a:t>Perhaps mention </a:t>
            </a:r>
            <a:r>
              <a:rPr lang="en-US" dirty="0" err="1"/>
              <a:t>Yochay’s</a:t>
            </a:r>
            <a:r>
              <a:rPr lang="en-US" dirty="0"/>
              <a:t> session</a:t>
            </a:r>
            <a:r>
              <a:rPr lang="en-US" baseline="0" dirty="0"/>
              <a:t> on Friday </a:t>
            </a:r>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base" latinLnBrk="0" hangingPunct="1">
              <a:lnSpc>
                <a:spcPct val="100000"/>
              </a:lnSpc>
              <a:spcBef>
                <a:spcPct val="0"/>
              </a:spcBef>
              <a:spcAft>
                <a:spcPct val="0"/>
              </a:spcAft>
              <a:buClrTx/>
              <a:buSzTx/>
              <a:buFontTx/>
              <a:buNone/>
              <a:tabLst/>
              <a:defRPr/>
            </a:pPr>
            <a:fld id="{D87653DB-B31F-428D-9506-C3E312885146}" type="slidenum">
              <a:rPr kumimoji="0" lang="en-US" sz="1200" b="0" i="0" u="none" strike="noStrike" kern="1200" cap="none" spc="0" normalizeH="0" baseline="0" noProof="0" smtClean="0">
                <a:ln>
                  <a:noFill/>
                </a:ln>
                <a:solidFill>
                  <a:prstClr val="black"/>
                </a:solidFill>
                <a:effectLst/>
                <a:uLnTx/>
                <a:uFillTx/>
                <a:latin typeface="Calibri"/>
                <a:ea typeface="MS PGothic" panose="020B0600070205080204" pitchFamily="34" charset="-128"/>
                <a:cs typeface="+mn-cs"/>
              </a:rPr>
              <a:pPr marL="0" marR="0" lvl="0" indent="0" algn="r" defTabSz="932688" rtl="0" eaLnBrk="1" fontAlgn="base" latinLnBrk="0" hangingPunct="1">
                <a:lnSpc>
                  <a:spcPct val="100000"/>
                </a:lnSpc>
                <a:spcBef>
                  <a:spcPct val="0"/>
                </a:spcBef>
                <a:spcAft>
                  <a:spcPct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a:ea typeface="MS PGothic" panose="020B0600070205080204" pitchFamily="34" charset="-128"/>
              <a:cs typeface="+mn-cs"/>
            </a:endParaRPr>
          </a:p>
        </p:txBody>
      </p:sp>
    </p:spTree>
    <p:extLst>
      <p:ext uri="{BB962C8B-B14F-4D97-AF65-F5344CB8AC3E}">
        <p14:creationId xmlns:p14="http://schemas.microsoft.com/office/powerpoint/2010/main" val="265937549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sz="1200" kern="1200" dirty="0">
                <a:solidFill>
                  <a:schemeClr val="tx1"/>
                </a:solidFill>
                <a:effectLst/>
                <a:latin typeface="+mn-lt"/>
                <a:ea typeface="+mn-ea"/>
                <a:cs typeface="+mn-cs"/>
              </a:rPr>
              <a:t>Azure Functions has now entered public preview. Azure Functions offers a </a:t>
            </a:r>
            <a:r>
              <a:rPr lang="en-US" sz="1200" kern="1200" dirty="0" err="1">
                <a:solidFill>
                  <a:schemeClr val="tx1"/>
                </a:solidFill>
                <a:effectLst/>
                <a:latin typeface="+mn-lt"/>
                <a:ea typeface="+mn-ea"/>
                <a:cs typeface="+mn-cs"/>
              </a:rPr>
              <a:t>serverless</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microcompute</a:t>
            </a:r>
            <a:r>
              <a:rPr lang="en-US" sz="1200" kern="1200" dirty="0">
                <a:solidFill>
                  <a:schemeClr val="tx1"/>
                </a:solidFill>
                <a:effectLst/>
                <a:latin typeface="+mn-lt"/>
                <a:ea typeface="+mn-ea"/>
                <a:cs typeface="+mn-cs"/>
              </a:rPr>
              <a:t>, event-driven service with full Azure platform integration that extends the existing Azure application platform with capabilities to implement code triggered by events occurring in other Azure services, SaaS products, and on-premises systems:</a:t>
            </a:r>
          </a:p>
          <a:p>
            <a:pPr lvl="0" rtl="0"/>
            <a:r>
              <a:rPr lang="en-US" sz="1200" b="1" i="0" kern="1200" dirty="0">
                <a:solidFill>
                  <a:schemeClr val="tx1"/>
                </a:solidFill>
                <a:effectLst/>
                <a:latin typeface="+mn-lt"/>
                <a:ea typeface="+mn-ea"/>
                <a:cs typeface="+mn-cs"/>
              </a:rPr>
              <a:t>Respond to any event: </a:t>
            </a:r>
            <a:r>
              <a:rPr lang="en-US" sz="1200" b="0" i="0" kern="1200" dirty="0">
                <a:solidFill>
                  <a:schemeClr val="tx1"/>
                </a:solidFill>
                <a:effectLst/>
                <a:latin typeface="+mn-lt"/>
                <a:ea typeface="+mn-ea"/>
                <a:cs typeface="+mn-cs"/>
              </a:rPr>
              <a:t>Azure Functions extends Azure’s market leading PaaS platform, extending the existing </a:t>
            </a:r>
            <a:r>
              <a:rPr lang="en-US" sz="1200" b="0" i="0" kern="1200" dirty="0" err="1">
                <a:solidFill>
                  <a:schemeClr val="tx1"/>
                </a:solidFill>
                <a:effectLst/>
                <a:latin typeface="+mn-lt"/>
                <a:ea typeface="+mn-ea"/>
                <a:cs typeface="+mn-cs"/>
              </a:rPr>
              <a:t>WebJobs</a:t>
            </a:r>
            <a:r>
              <a:rPr lang="en-US" sz="1200" b="0" i="0" kern="1200" dirty="0">
                <a:solidFill>
                  <a:schemeClr val="tx1"/>
                </a:solidFill>
                <a:effectLst/>
                <a:latin typeface="+mn-lt"/>
                <a:ea typeface="+mn-ea"/>
                <a:cs typeface="+mn-cs"/>
              </a:rPr>
              <a:t> infrastructure to let developers easily implement code that reacts to events generated from across the breadth of Azure. Whether you want to respond to changes in Azure storage containers, events emitted in SaaS products that support Web Hooks, or by calls to an HTTP endpoint. They're all easy to set up and require minimal configuration. </a:t>
            </a:r>
          </a:p>
          <a:p>
            <a:pPr lvl="0" rtl="0"/>
            <a:r>
              <a:rPr lang="en-US" sz="1200" b="1" i="0" kern="1200" dirty="0">
                <a:solidFill>
                  <a:schemeClr val="tx1"/>
                </a:solidFill>
                <a:effectLst/>
                <a:latin typeface="+mn-lt"/>
                <a:ea typeface="+mn-ea"/>
                <a:cs typeface="+mn-cs"/>
              </a:rPr>
              <a:t>Develop your way: </a:t>
            </a:r>
            <a:r>
              <a:rPr lang="en-US" sz="1200" i="0" kern="1200" dirty="0">
                <a:solidFill>
                  <a:schemeClr val="tx1"/>
                </a:solidFill>
                <a:effectLst/>
                <a:latin typeface="+mn-lt"/>
                <a:ea typeface="+mn-ea"/>
                <a:cs typeface="+mn-cs"/>
              </a:rPr>
              <a:t>Implement events in a variety of languages (JavaScript, C#, Python and PHP), as well as scripting options like Bash, Batch, and PowerShell, using an intuitive web based user experience or upload and trigger pre-compiled executables built in the development tool of your choice.</a:t>
            </a:r>
            <a:r>
              <a:rPr lang="en-US" sz="1200" b="1" i="0" kern="1200" dirty="0">
                <a:solidFill>
                  <a:schemeClr val="tx1"/>
                </a:solidFill>
                <a:effectLst/>
                <a:latin typeface="+mn-lt"/>
                <a:ea typeface="+mn-ea"/>
                <a:cs typeface="+mn-cs"/>
              </a:rPr>
              <a:t> </a:t>
            </a:r>
            <a:endParaRPr lang="en-US" sz="1200" i="0" kern="1200" dirty="0">
              <a:solidFill>
                <a:schemeClr val="tx1"/>
              </a:solidFill>
              <a:effectLst/>
              <a:latin typeface="+mn-lt"/>
              <a:ea typeface="+mn-ea"/>
              <a:cs typeface="+mn-cs"/>
            </a:endParaRPr>
          </a:p>
          <a:p>
            <a:pPr lvl="0" rtl="0"/>
            <a:r>
              <a:rPr lang="en-US" sz="1200" b="1" i="0" kern="1200" dirty="0">
                <a:solidFill>
                  <a:schemeClr val="tx1"/>
                </a:solidFill>
                <a:effectLst/>
                <a:latin typeface="+mn-lt"/>
                <a:ea typeface="+mn-ea"/>
                <a:cs typeface="+mn-cs"/>
              </a:rPr>
              <a:t>Integrated DevOps:</a:t>
            </a:r>
            <a:r>
              <a:rPr lang="en-US" sz="1200" i="0" kern="1200" dirty="0">
                <a:solidFill>
                  <a:schemeClr val="tx1"/>
                </a:solidFill>
                <a:effectLst/>
                <a:latin typeface="+mn-lt"/>
                <a:ea typeface="+mn-ea"/>
                <a:cs typeface="+mn-cs"/>
              </a:rPr>
              <a:t> Quickly and easily iterate on your Azure Functions with continuous deployment using Visual Studio Team Services, GitHub or </a:t>
            </a:r>
            <a:r>
              <a:rPr lang="en-US" sz="1200" i="0" kern="1200" dirty="0" err="1">
                <a:solidFill>
                  <a:schemeClr val="tx1"/>
                </a:solidFill>
                <a:effectLst/>
                <a:latin typeface="+mn-lt"/>
                <a:ea typeface="+mn-ea"/>
                <a:cs typeface="+mn-cs"/>
              </a:rPr>
              <a:t>BitBucket</a:t>
            </a:r>
            <a:r>
              <a:rPr lang="en-US" sz="1200" i="0" kern="1200" dirty="0">
                <a:solidFill>
                  <a:schemeClr val="tx1"/>
                </a:solidFill>
                <a:effectLst/>
                <a:latin typeface="+mn-lt"/>
                <a:ea typeface="+mn-ea"/>
                <a:cs typeface="+mn-cs"/>
              </a:rPr>
              <a:t>. Monitor and troubleshoot your Azure Functions using the embedded logging environment.</a:t>
            </a:r>
          </a:p>
          <a:p>
            <a:pPr lvl="0" rtl="0"/>
            <a:r>
              <a:rPr lang="en-US" sz="1200" b="1" i="0" kern="1200" dirty="0">
                <a:solidFill>
                  <a:schemeClr val="tx1"/>
                </a:solidFill>
                <a:effectLst/>
                <a:latin typeface="+mn-lt"/>
                <a:ea typeface="+mn-ea"/>
                <a:cs typeface="+mn-cs"/>
              </a:rPr>
              <a:t>Pay for what you use: </a:t>
            </a:r>
            <a:r>
              <a:rPr lang="en-US" sz="1200" i="0" kern="1200" dirty="0">
                <a:solidFill>
                  <a:schemeClr val="tx1"/>
                </a:solidFill>
                <a:effectLst/>
                <a:latin typeface="+mn-lt"/>
                <a:ea typeface="+mn-ea"/>
                <a:cs typeface="+mn-cs"/>
              </a:rPr>
              <a:t>With Azure Functions you will only be charged for the time your code is running. When an Azure Function is invoked it will be provided with as many resources as it needs to execute only for as long as it is executing.</a:t>
            </a:r>
          </a:p>
          <a:p>
            <a:pPr lvl="0" rtl="0"/>
            <a:r>
              <a:rPr lang="en-US" sz="1200" b="1" i="0" kern="1200" dirty="0">
                <a:solidFill>
                  <a:schemeClr val="tx1"/>
                </a:solidFill>
                <a:effectLst/>
                <a:latin typeface="+mn-lt"/>
                <a:ea typeface="+mn-ea"/>
                <a:cs typeface="+mn-cs"/>
              </a:rPr>
              <a:t>Built for the Enterprise:</a:t>
            </a:r>
            <a:r>
              <a:rPr lang="en-US" sz="1200" i="0" kern="1200" dirty="0">
                <a:solidFill>
                  <a:schemeClr val="tx1"/>
                </a:solidFill>
                <a:effectLst/>
                <a:latin typeface="+mn-lt"/>
                <a:ea typeface="+mn-ea"/>
                <a:cs typeface="+mn-cs"/>
              </a:rPr>
              <a:t> Invoke your functions when events occur in internal APIs or business systems, then output the results to your on-premises databases or business solutions. Make your Azure Functions truly secure by hosting them on an App Service Environment that can be configured to be addressable only from internal networks.</a:t>
            </a:r>
          </a:p>
          <a:p>
            <a:pPr lvl="0" rtl="0"/>
            <a:r>
              <a:rPr lang="en-US" sz="1200" b="1" i="0" kern="1200" dirty="0">
                <a:solidFill>
                  <a:schemeClr val="tx1"/>
                </a:solidFill>
                <a:effectLst/>
                <a:latin typeface="+mn-lt"/>
                <a:ea typeface="+mn-ea"/>
                <a:cs typeface="+mn-cs"/>
              </a:rPr>
              <a:t>Fully open-source, </a:t>
            </a:r>
            <a:r>
              <a:rPr lang="en-US" sz="1200" b="0" i="0" kern="1200" dirty="0">
                <a:solidFill>
                  <a:schemeClr val="tx1"/>
                </a:solidFill>
                <a:effectLst/>
                <a:latin typeface="+mn-lt"/>
                <a:ea typeface="+mn-ea"/>
                <a:cs typeface="+mn-cs"/>
              </a:rPr>
              <a:t>based upon the Kudu project and with an open source SDK and open source portal experience.</a:t>
            </a:r>
          </a:p>
          <a:p>
            <a:r>
              <a:rPr lang="en-US" dirty="0">
                <a:effectLst/>
              </a:rPr>
              <a:t>Events happen, all the time.  Users browse your website, data is uploaded/downloaded or moved, messages are sent and received. All across the IT landscape actions are creating events, but are you taking full advantage of them? Imagine if you could react to events happening across your app portfolio in real time, what would you do? Maybe a photo gets saved to some storage area, the act of the photo being saved generates an event that could be intercepted to start a process to check the photo for interesting data. It wouldn’t matter how the photo was saved, it just matters that it was. Azure Functions extends Azure’s application platform by offering </a:t>
            </a:r>
            <a:r>
              <a:rPr lang="en-US" dirty="0" err="1">
                <a:effectLst/>
              </a:rPr>
              <a:t>serverless</a:t>
            </a:r>
            <a:r>
              <a:rPr lang="en-US" dirty="0">
                <a:effectLst/>
              </a:rPr>
              <a:t> compute for event-driven solutions. Azure Functions lets developers easily handle tasks that respond to events common in web and mobile applications, </a:t>
            </a:r>
            <a:r>
              <a:rPr lang="en-US" dirty="0" err="1">
                <a:effectLst/>
              </a:rPr>
              <a:t>IoT</a:t>
            </a:r>
            <a:r>
              <a:rPr lang="en-US" dirty="0">
                <a:effectLst/>
              </a:rPr>
              <a:t> and big data scenarios. Azure Functions works with Azure and third party services, automatically scales out to meet demand and only charges for the time your function runs. With an open source runtime, developers will be able host Functions anywhere - on Azure, in your datacenter or on other clouds. Azure Functions allows developers to program functions in JavaScript, C#, Python and PHP or scripting options such as Bash, Batch, and PowerShell using either an intuitive, web-based development environment that allows you to develop directly against your function or by uploading pre-compiled function written in the development tool of your choice. Pre built </a:t>
            </a:r>
            <a:r>
              <a:rPr lang="en-US" dirty="0" err="1">
                <a:effectLst/>
              </a:rPr>
              <a:t>Input/Output</a:t>
            </a:r>
            <a:r>
              <a:rPr lang="en-US" dirty="0">
                <a:effectLst/>
              </a:rPr>
              <a:t> bindings provide a means of pulling or pushing data to many of the most common Azure 3rd party services, saving developers from having to build these bindings themselves. However, the open source nature of Azure Functions allows you to build your own bindings for services not already supported.</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C9095CD6-0A44-4E02-9A31-9477FA89C6CC}"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84357200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WPC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5/26/2016 8:26 AM</a:t>
            </a:fld>
            <a:endParaRPr kumimoji="0" lang="en-US" sz="1200" b="0" i="0" u="none" strike="noStrike" kern="1200" cap="none" spc="0" normalizeH="0" baseline="0" noProof="0" dirty="0">
              <a:ln>
                <a:noFill/>
              </a:ln>
              <a:solidFill>
                <a:prstClr val="black"/>
              </a:solidFill>
              <a:effectLst/>
              <a:uLnTx/>
              <a:uFillTx/>
              <a:latin typeface="Segoe UI"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Segoe UI" pitchFamily="34" charset="0"/>
              <a:ea typeface="MS PGothic" panose="020B0600070205080204" pitchFamily="34" charset="-128"/>
              <a:cs typeface="+mn-cs"/>
            </a:endParaRPr>
          </a:p>
        </p:txBody>
      </p:sp>
    </p:spTree>
    <p:extLst>
      <p:ext uri="{BB962C8B-B14F-4D97-AF65-F5344CB8AC3E}">
        <p14:creationId xmlns:p14="http://schemas.microsoft.com/office/powerpoint/2010/main" val="301688538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rPr>
              <a:t>Build 2015</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31467"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6/2016 8:26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87825107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6/20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9682051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WPC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5/26/2016 8:26 AM</a:t>
            </a:fld>
            <a:endParaRPr kumimoji="0" lang="en-US" sz="1200" b="0" i="0" u="none" strike="noStrike" kern="1200" cap="none" spc="0" normalizeH="0" baseline="0" noProof="0" dirty="0">
              <a:ln>
                <a:noFill/>
              </a:ln>
              <a:solidFill>
                <a:prstClr val="black"/>
              </a:solidFill>
              <a:effectLst/>
              <a:uLnTx/>
              <a:uFillTx/>
              <a:latin typeface="Segoe UI"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Segoe UI" pitchFamily="34" charset="0"/>
              <a:ea typeface="MS PGothic" panose="020B0600070205080204" pitchFamily="34" charset="-128"/>
              <a:cs typeface="+mn-cs"/>
            </a:endParaRPr>
          </a:p>
        </p:txBody>
      </p:sp>
    </p:spTree>
    <p:extLst>
      <p:ext uri="{BB962C8B-B14F-4D97-AF65-F5344CB8AC3E}">
        <p14:creationId xmlns:p14="http://schemas.microsoft.com/office/powerpoint/2010/main" val="424461911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1" u="sng" baseline="0" dirty="0"/>
              <a:t>Talking Points:</a:t>
            </a:r>
          </a:p>
          <a:p>
            <a:pPr marL="0" indent="0">
              <a:buFont typeface="Arial" panose="020B0604020202020204" pitchFamily="34" charset="0"/>
              <a:buNone/>
            </a:pPr>
            <a:endParaRPr lang="en-US" baseline="0" dirty="0"/>
          </a:p>
          <a:p>
            <a:pPr marL="0" indent="0">
              <a:buFont typeface="Arial" panose="020B0604020202020204" pitchFamily="34" charset="0"/>
              <a:buNone/>
            </a:pPr>
            <a:r>
              <a:rPr lang="en-US" b="1" baseline="0" dirty="0"/>
              <a:t> </a:t>
            </a:r>
            <a:r>
              <a:rPr lang="en-US" sz="900" kern="1200" dirty="0">
                <a:solidFill>
                  <a:schemeClr val="tx1"/>
                </a:solidFill>
                <a:effectLst/>
                <a:latin typeface="Segoe UI Light" pitchFamily="34" charset="0"/>
                <a:ea typeface="MS PGothic" panose="020B0600070205080204" pitchFamily="34" charset="-128"/>
                <a:cs typeface="ＭＳ Ｐゴシック" charset="0"/>
              </a:rPr>
              <a:t>With Azure </a:t>
            </a:r>
            <a:r>
              <a:rPr lang="en-US" sz="900" kern="1200" dirty="0" err="1">
                <a:solidFill>
                  <a:schemeClr val="tx1"/>
                </a:solidFill>
                <a:effectLst/>
                <a:latin typeface="Segoe UI Light" pitchFamily="34" charset="0"/>
                <a:ea typeface="MS PGothic" panose="020B0600070205080204" pitchFamily="34" charset="-128"/>
                <a:cs typeface="ＭＳ Ｐゴシック" charset="0"/>
              </a:rPr>
              <a:t>IoT</a:t>
            </a:r>
            <a:r>
              <a:rPr lang="en-US" sz="900" kern="1200" dirty="0">
                <a:solidFill>
                  <a:schemeClr val="tx1"/>
                </a:solidFill>
                <a:effectLst/>
                <a:latin typeface="Segoe UI Light" pitchFamily="34" charset="0"/>
                <a:ea typeface="MS PGothic" panose="020B0600070205080204" pitchFamily="34" charset="-128"/>
                <a:cs typeface="ＭＳ Ｐゴシック" charset="0"/>
              </a:rPr>
              <a:t> Suite we give</a:t>
            </a:r>
            <a:r>
              <a:rPr lang="en-US" sz="900" kern="1200" baseline="0" dirty="0">
                <a:solidFill>
                  <a:schemeClr val="tx1"/>
                </a:solidFill>
                <a:effectLst/>
                <a:latin typeface="Segoe UI Light" pitchFamily="34" charset="0"/>
                <a:ea typeface="MS PGothic" panose="020B0600070205080204" pitchFamily="34" charset="-128"/>
                <a:cs typeface="ＭＳ Ｐゴシック" charset="0"/>
              </a:rPr>
              <a:t> you a very comprehensive solution that’s designed to help you connect your devices, whether a few hundred or millions across the world, analyze all the data coming from these devices and take action from the insights by integrating with your back end systems.  </a:t>
            </a:r>
            <a:r>
              <a:rPr lang="en-US" sz="900" kern="1200" baseline="0" dirty="0" err="1">
                <a:solidFill>
                  <a:schemeClr val="tx1"/>
                </a:solidFill>
                <a:effectLst/>
                <a:latin typeface="Segoe UI Light" pitchFamily="34" charset="0"/>
                <a:ea typeface="MS PGothic" panose="020B0600070205080204" pitchFamily="34" charset="-128"/>
                <a:cs typeface="ＭＳ Ｐゴシック" charset="0"/>
              </a:rPr>
              <a:t>IoT</a:t>
            </a:r>
            <a:r>
              <a:rPr lang="en-US" sz="900" kern="1200" baseline="0" dirty="0">
                <a:solidFill>
                  <a:schemeClr val="tx1"/>
                </a:solidFill>
                <a:effectLst/>
                <a:latin typeface="Segoe UI Light" pitchFamily="34" charset="0"/>
                <a:ea typeface="MS PGothic" panose="020B0600070205080204" pitchFamily="34" charset="-128"/>
                <a:cs typeface="ＭＳ Ｐゴシック" charset="0"/>
              </a:rPr>
              <a:t> Suite bring together and offer the following capabilities:</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900" b="0" kern="1200" baseline="0" dirty="0">
                <a:solidFill>
                  <a:schemeClr val="tx1"/>
                </a:solidFill>
                <a:effectLst/>
                <a:latin typeface="Segoe UI Light" pitchFamily="34" charset="0"/>
                <a:ea typeface="MS PGothic" panose="020B0600070205080204" pitchFamily="34" charset="-128"/>
                <a:cs typeface="ＭＳ Ｐゴシック" charset="0"/>
              </a:rPr>
              <a:t>Device connectivity and security: Connect to millions of devices simultaneously. E</a:t>
            </a:r>
            <a:r>
              <a:rPr lang="en-US" sz="900" b="0" i="0" kern="1200" dirty="0">
                <a:solidFill>
                  <a:schemeClr val="tx1"/>
                </a:solidFill>
                <a:effectLst/>
                <a:latin typeface="Segoe UI Light" pitchFamily="34" charset="0"/>
                <a:ea typeface="MS PGothic" panose="020B0600070205080204" pitchFamily="34" charset="-128"/>
                <a:cs typeface="ＭＳ Ｐゴシック" charset="0"/>
              </a:rPr>
              <a:t>nhance security of your </a:t>
            </a:r>
            <a:r>
              <a:rPr lang="en-US" sz="900" b="0" i="0" kern="1200" dirty="0" err="1">
                <a:solidFill>
                  <a:schemeClr val="tx1"/>
                </a:solidFill>
                <a:effectLst/>
                <a:latin typeface="Segoe UI Light" pitchFamily="34" charset="0"/>
                <a:ea typeface="MS PGothic" panose="020B0600070205080204" pitchFamily="34" charset="-128"/>
                <a:cs typeface="ＭＳ Ｐゴシック" charset="0"/>
              </a:rPr>
              <a:t>IoT</a:t>
            </a:r>
            <a:r>
              <a:rPr lang="en-US" sz="900" b="0" i="0" kern="1200" dirty="0">
                <a:solidFill>
                  <a:schemeClr val="tx1"/>
                </a:solidFill>
                <a:effectLst/>
                <a:latin typeface="Segoe UI Light" pitchFamily="34" charset="0"/>
                <a:ea typeface="MS PGothic" panose="020B0600070205080204" pitchFamily="34" charset="-128"/>
                <a:cs typeface="ＭＳ Ｐゴシック" charset="0"/>
              </a:rPr>
              <a:t> solutions by taking advantage of per-device authentication to communicate with devices that have the appropriate credentials. Revoke access rights to specific devices to maintain the integrity of your system.  </a:t>
            </a:r>
            <a:endParaRPr lang="en-US" sz="900" b="0" kern="1200" baseline="0" dirty="0">
              <a:solidFill>
                <a:schemeClr val="tx1"/>
              </a:solidFill>
              <a:effectLst/>
              <a:latin typeface="Segoe UI Light" pitchFamily="34" charset="0"/>
              <a:ea typeface="MS PGothic" panose="020B0600070205080204" pitchFamily="34" charset="-128"/>
              <a:cs typeface="ＭＳ Ｐゴシック" charset="0"/>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900" b="0" kern="1200" baseline="0" dirty="0">
                <a:solidFill>
                  <a:schemeClr val="tx1"/>
                </a:solidFill>
                <a:effectLst/>
                <a:latin typeface="Segoe UI Light" pitchFamily="34" charset="0"/>
                <a:ea typeface="MS PGothic" panose="020B0600070205080204" pitchFamily="34" charset="-128"/>
                <a:cs typeface="ＭＳ Ｐゴシック" charset="0"/>
              </a:rPr>
              <a:t>Data Ingestion &amp; Command &amp; Control: </a:t>
            </a:r>
            <a:r>
              <a:rPr lang="en-US" sz="900" b="0" i="0" kern="1200" dirty="0">
                <a:solidFill>
                  <a:schemeClr val="tx1"/>
                </a:solidFill>
                <a:effectLst/>
                <a:latin typeface="Segoe UI Light" pitchFamily="34" charset="0"/>
                <a:ea typeface="MS PGothic" panose="020B0600070205080204" pitchFamily="34" charset="-128"/>
                <a:cs typeface="ＭＳ Ｐゴシック" charset="0"/>
              </a:rPr>
              <a:t>Establish reliable, bi-directional communication with these assets, even if they are intermittently connected, and analyze—and act on—incoming telemetry data. </a:t>
            </a:r>
            <a:endParaRPr lang="en-US" sz="900" b="0" kern="1200" baseline="0" dirty="0">
              <a:solidFill>
                <a:schemeClr val="tx1"/>
              </a:solidFill>
              <a:effectLst/>
              <a:latin typeface="Segoe UI Light" pitchFamily="34" charset="0"/>
              <a:ea typeface="MS PGothic" panose="020B0600070205080204" pitchFamily="34" charset="-128"/>
              <a:cs typeface="ＭＳ Ｐゴシック" charset="0"/>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900" b="0" kern="1200" baseline="0" dirty="0">
                <a:solidFill>
                  <a:schemeClr val="tx1"/>
                </a:solidFill>
                <a:effectLst/>
                <a:latin typeface="Segoe UI Light" pitchFamily="34" charset="0"/>
                <a:ea typeface="MS PGothic" panose="020B0600070205080204" pitchFamily="34" charset="-128"/>
                <a:cs typeface="ＭＳ Ｐゴシック" charset="0"/>
              </a:rPr>
              <a:t>Workflow automation: </a:t>
            </a:r>
            <a:r>
              <a:rPr lang="en-US" sz="900" kern="1200" dirty="0">
                <a:solidFill>
                  <a:schemeClr val="tx1"/>
                </a:solidFill>
                <a:effectLst/>
                <a:latin typeface="Segoe UI Light" pitchFamily="34" charset="0"/>
                <a:ea typeface="MS PGothic" panose="020B0600070205080204" pitchFamily="34" charset="-128"/>
                <a:cs typeface="ＭＳ Ｐゴシック" charset="0"/>
              </a:rPr>
              <a:t>Integrates with your company’s existing back-end systems to enable you to make the best use of the data and processes you already have.</a:t>
            </a:r>
            <a:r>
              <a:rPr lang="en-US" sz="900" kern="1200" baseline="0" dirty="0">
                <a:solidFill>
                  <a:schemeClr val="tx1"/>
                </a:solidFill>
                <a:effectLst/>
                <a:latin typeface="Segoe UI Light" pitchFamily="34" charset="0"/>
                <a:ea typeface="MS PGothic" panose="020B0600070205080204" pitchFamily="34" charset="-128"/>
                <a:cs typeface="ＭＳ Ｐゴシック" charset="0"/>
              </a:rPr>
              <a:t> </a:t>
            </a:r>
            <a:r>
              <a:rPr lang="en-US" sz="900" b="0" kern="1200" baseline="0" dirty="0">
                <a:solidFill>
                  <a:schemeClr val="tx1"/>
                </a:solidFill>
                <a:effectLst/>
                <a:latin typeface="Segoe UI Light" pitchFamily="34" charset="0"/>
                <a:ea typeface="MS PGothic" panose="020B0600070205080204" pitchFamily="34" charset="-128"/>
                <a:cs typeface="ＭＳ Ｐゴシック" charset="0"/>
              </a:rPr>
              <a:t>Whether it’s as simple as sending a text or integrating with your CRM or EPP system</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900" b="0" kern="1200" baseline="0" dirty="0">
                <a:solidFill>
                  <a:schemeClr val="tx1"/>
                </a:solidFill>
                <a:effectLst/>
                <a:latin typeface="Segoe UI Light" pitchFamily="34" charset="0"/>
                <a:ea typeface="MS PGothic" panose="020B0600070205080204" pitchFamily="34" charset="-128"/>
                <a:cs typeface="ＭＳ Ｐゴシック" charset="0"/>
              </a:rPr>
              <a:t>Dashboards &amp; Visualization: Create powerful and rich visualization experience and finally</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900" kern="1200" baseline="0" dirty="0">
                <a:solidFill>
                  <a:schemeClr val="tx1"/>
                </a:solidFill>
                <a:effectLst/>
                <a:latin typeface="Segoe UI Light" pitchFamily="34" charset="0"/>
                <a:ea typeface="MS PGothic" panose="020B0600070205080204" pitchFamily="34" charset="-128"/>
                <a:cs typeface="ＭＳ Ｐゴシック" charset="0"/>
              </a:rPr>
              <a:t>Preconfigured solutions: One of the biggest value we can provide is helping you develop </a:t>
            </a:r>
            <a:r>
              <a:rPr lang="en-US" sz="900" kern="1200" baseline="0" dirty="0" err="1">
                <a:solidFill>
                  <a:schemeClr val="tx1"/>
                </a:solidFill>
                <a:effectLst/>
                <a:latin typeface="Segoe UI Light" pitchFamily="34" charset="0"/>
                <a:ea typeface="MS PGothic" panose="020B0600070205080204" pitchFamily="34" charset="-128"/>
                <a:cs typeface="ＭＳ Ｐゴシック" charset="0"/>
              </a:rPr>
              <a:t>IoT</a:t>
            </a:r>
            <a:r>
              <a:rPr lang="en-US" sz="900" kern="1200" baseline="0" dirty="0">
                <a:solidFill>
                  <a:schemeClr val="tx1"/>
                </a:solidFill>
                <a:effectLst/>
                <a:latin typeface="Segoe UI Light" pitchFamily="34" charset="0"/>
                <a:ea typeface="MS PGothic" panose="020B0600070205080204" pitchFamily="34" charset="-128"/>
                <a:cs typeface="ＭＳ Ｐゴシック" charset="0"/>
              </a:rPr>
              <a:t> solutions faster. This will not only allow you to do more </a:t>
            </a:r>
            <a:r>
              <a:rPr lang="en-US" sz="900" kern="1200" baseline="0" dirty="0" err="1">
                <a:solidFill>
                  <a:schemeClr val="tx1"/>
                </a:solidFill>
                <a:effectLst/>
                <a:latin typeface="Segoe UI Light" pitchFamily="34" charset="0"/>
                <a:ea typeface="MS PGothic" panose="020B0600070205080204" pitchFamily="34" charset="-128"/>
                <a:cs typeface="ＭＳ Ｐゴシック" charset="0"/>
              </a:rPr>
              <a:t>PoCs</a:t>
            </a:r>
            <a:r>
              <a:rPr lang="en-US" sz="900" kern="1200" baseline="0" dirty="0">
                <a:solidFill>
                  <a:schemeClr val="tx1"/>
                </a:solidFill>
                <a:effectLst/>
                <a:latin typeface="Segoe UI Light" pitchFamily="34" charset="0"/>
                <a:ea typeface="MS PGothic" panose="020B0600070205080204" pitchFamily="34" charset="-128"/>
                <a:cs typeface="ＭＳ Ｐゴシック" charset="0"/>
              </a:rPr>
              <a:t> and pilots, it will also help accelerate the long project cycles we spoke about earlier.  We do this by offering preconfigured solutions for the more common </a:t>
            </a:r>
            <a:r>
              <a:rPr lang="en-US" sz="900" kern="1200" baseline="0" dirty="0" err="1">
                <a:solidFill>
                  <a:schemeClr val="tx1"/>
                </a:solidFill>
                <a:effectLst/>
                <a:latin typeface="Segoe UI Light" pitchFamily="34" charset="0"/>
                <a:ea typeface="MS PGothic" panose="020B0600070205080204" pitchFamily="34" charset="-128"/>
                <a:cs typeface="ＭＳ Ｐゴシック" charset="0"/>
              </a:rPr>
              <a:t>IoT</a:t>
            </a:r>
            <a:r>
              <a:rPr lang="en-US" sz="900" kern="1200" baseline="0" dirty="0">
                <a:solidFill>
                  <a:schemeClr val="tx1"/>
                </a:solidFill>
                <a:effectLst/>
                <a:latin typeface="Segoe UI Light" pitchFamily="34" charset="0"/>
                <a:ea typeface="MS PGothic" panose="020B0600070205080204" pitchFamily="34" charset="-128"/>
                <a:cs typeface="ＭＳ Ｐゴシック" charset="0"/>
              </a:rPr>
              <a:t> scenarios.</a:t>
            </a:r>
          </a:p>
          <a:p>
            <a:pPr marL="0" indent="0">
              <a:buFont typeface="Arial" panose="020B0604020202020204" pitchFamily="34" charset="0"/>
              <a:buNone/>
            </a:pPr>
            <a:endParaRPr lang="en-US" sz="900" b="0" kern="1200" baseline="0" dirty="0">
              <a:solidFill>
                <a:schemeClr val="tx1"/>
              </a:solidFill>
              <a:effectLst/>
              <a:latin typeface="Segoe UI Light" pitchFamily="34" charset="0"/>
              <a:ea typeface="MS PGothic" panose="020B0600070205080204" pitchFamily="34" charset="-128"/>
              <a:cs typeface="ＭＳ Ｐゴシック" charset="0"/>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US" sz="900" b="0" kern="1200" baseline="0" dirty="0">
              <a:solidFill>
                <a:schemeClr val="tx1"/>
              </a:solidFill>
              <a:effectLst/>
              <a:latin typeface="Segoe UI Light" pitchFamily="34" charset="0"/>
              <a:ea typeface="MS PGothic" panose="020B0600070205080204" pitchFamily="34" charset="-128"/>
              <a:cs typeface="ＭＳ Ｐゴシック" charset="0"/>
            </a:endParaRPr>
          </a:p>
          <a:p>
            <a:endParaRPr lang="en-US" dirty="0"/>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6/2016 8:26 AM</a:t>
            </a:fld>
            <a:endParaRPr kumimoji="0" lang="en-US" alt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a:t>
            </a:fld>
            <a:endParaRPr kumimoji="0" lang="en-US" alt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2841692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1799"/>
              </a:spcBef>
            </a:pPr>
            <a:r>
              <a:rPr lang="en-US" sz="900" dirty="0"/>
              <a:t>So in a nut</a:t>
            </a:r>
            <a:r>
              <a:rPr lang="en-US" sz="900" baseline="0" dirty="0"/>
              <a:t>shell Cloud is all about:</a:t>
            </a:r>
            <a:endParaRPr lang="en-US" sz="900" dirty="0"/>
          </a:p>
          <a:p>
            <a:pPr>
              <a:spcBef>
                <a:spcPts val="1799"/>
              </a:spcBef>
            </a:pPr>
            <a:r>
              <a:rPr lang="en-US" sz="900" dirty="0"/>
              <a:t>Speed - Rapidly setup environments to drive business priorities</a:t>
            </a:r>
          </a:p>
          <a:p>
            <a:pPr>
              <a:spcBef>
                <a:spcPts val="1799"/>
              </a:spcBef>
            </a:pPr>
            <a:r>
              <a:rPr lang="en-US" sz="900" dirty="0"/>
              <a:t>Scale - Scale to meet peak demands </a:t>
            </a:r>
          </a:p>
          <a:p>
            <a:pPr>
              <a:spcBef>
                <a:spcPts val="1799"/>
              </a:spcBef>
            </a:pPr>
            <a:r>
              <a:rPr lang="en-US" sz="900" dirty="0"/>
              <a:t>Economics - Increase daily activities, efficiency and reduced cost.</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A94919F-9FC7-4638-A41A-3D980986B2E8}"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97851227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ing</a:t>
            </a:r>
            <a:r>
              <a:rPr lang="en-US" baseline="0" dirty="0"/>
              <a:t> Points:</a:t>
            </a:r>
          </a:p>
          <a:p>
            <a:pPr marL="171450" indent="-171450">
              <a:buFont typeface="Arial" panose="020B0604020202020204" pitchFamily="34" charset="0"/>
              <a:buChar char="•"/>
            </a:pPr>
            <a:r>
              <a:rPr lang="en-US" baseline="0" dirty="0"/>
              <a:t>You are taken to a list of devices, where you can ping a device, send a command, turn device on or off, and set threshold for a specific device thru adding rules.</a:t>
            </a:r>
          </a:p>
          <a:p>
            <a:pPr marL="171450" indent="-171450">
              <a:buFont typeface="Arial" panose="020B0604020202020204" pitchFamily="34" charset="0"/>
              <a:buChar char="•"/>
            </a:pPr>
            <a:r>
              <a:rPr lang="en-US" baseline="0" dirty="0"/>
              <a:t>You can also add a device (bottom left corner + sign), and we given you the option to add a virtual device to help you quickly test your hypothesis</a:t>
            </a:r>
          </a:p>
          <a:p>
            <a:pPr marL="171450" indent="-171450">
              <a:buFont typeface="Arial" panose="020B0604020202020204" pitchFamily="34" charset="0"/>
              <a:buChar char="•"/>
            </a:pPr>
            <a:endParaRPr lang="en-US" baseline="0" dirty="0"/>
          </a:p>
          <a:p>
            <a:pPr marL="0" indent="0">
              <a:buFont typeface="Arial" panose="020B0604020202020204" pitchFamily="34" charset="0"/>
              <a:buNone/>
            </a:pPr>
            <a:r>
              <a:rPr lang="en-US" baseline="0" dirty="0"/>
              <a:t>Transition: Lets take a look at the rule setting</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6/2016 8:26 AM</a:t>
            </a:fld>
            <a:endParaRPr kumimoji="0" lang="en-US" alt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3</a:t>
            </a:fld>
            <a:endParaRPr kumimoji="0" lang="en-US" alt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12833290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ing</a:t>
            </a:r>
            <a:r>
              <a:rPr lang="en-US" baseline="0" dirty="0"/>
              <a:t> Points:</a:t>
            </a:r>
          </a:p>
          <a:p>
            <a:pPr marL="171450" indent="-171450">
              <a:buFont typeface="Arial" panose="020B0604020202020204" pitchFamily="34" charset="0"/>
              <a:buChar char="•"/>
            </a:pPr>
            <a:r>
              <a:rPr lang="en-US" baseline="0" dirty="0"/>
              <a:t>You can set a single or multiple rules to a device based on various data sets.  </a:t>
            </a:r>
          </a:p>
          <a:p>
            <a:pPr marL="171450" indent="-171450">
              <a:buFont typeface="Arial" panose="020B0604020202020204" pitchFamily="34" charset="0"/>
              <a:buChar char="•"/>
            </a:pPr>
            <a:r>
              <a:rPr lang="en-US" baseline="0" dirty="0"/>
              <a:t>If you want to set a more complicated rule, so you can go under the hood and directly into event processor service (e.g. stream analytics) in Azure.</a:t>
            </a:r>
          </a:p>
          <a:p>
            <a:pPr marL="171450" indent="-171450">
              <a:buFont typeface="Arial" panose="020B0604020202020204" pitchFamily="34" charset="0"/>
              <a:buChar char="•"/>
            </a:pPr>
            <a:r>
              <a:rPr lang="en-US" baseline="0" dirty="0"/>
              <a:t>Azure IoT Suite is designed to be extensible and can be tailored to your needs.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6/2016 8:26 AM</a:t>
            </a:fld>
            <a:endParaRPr kumimoji="0" lang="en-US" alt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4</a:t>
            </a:fld>
            <a:endParaRPr kumimoji="0" lang="en-US" alt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63805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6/2016 8:26 AM</a:t>
            </a:fld>
            <a:endParaRPr kumimoji="0" lang="en-US" alt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5</a:t>
            </a:fld>
            <a:endParaRPr kumimoji="0" lang="en-US" alt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78354179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sv-SE" dirty="0"/>
              <a:t>Now let’s focus on Microsoft Azure</a:t>
            </a:r>
            <a:r>
              <a:rPr lang="sv-SE" baseline="0" dirty="0"/>
              <a:t> SQL Database the PaaS service!</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C52CFDC-D2D5-4B9F-BA75-89F771E01AE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65591809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rtl="0"/>
            <a:r>
              <a:rPr lang="en-US" b="1" dirty="0">
                <a:effectLst/>
                <a:latin typeface="Segoe UI" panose="020B0502040204020203" pitchFamily="34" charset="0"/>
              </a:rPr>
              <a:t>Slide Objectives:</a:t>
            </a:r>
            <a:endParaRPr lang="en-US" dirty="0">
              <a:effectLst/>
            </a:endParaRPr>
          </a:p>
          <a:p>
            <a:pPr rtl="0"/>
            <a:r>
              <a:rPr lang="en-US" dirty="0">
                <a:effectLst/>
                <a:latin typeface="Segoe UI" panose="020B0502040204020203" pitchFamily="34" charset="0"/>
              </a:rPr>
              <a:t>Show Microsoft’ continuous Private to Public Cloud Offering</a:t>
            </a:r>
            <a:r>
              <a:rPr lang="en-US" baseline="0" dirty="0">
                <a:effectLst/>
                <a:latin typeface="Segoe UI" panose="020B0502040204020203" pitchFamily="34" charset="0"/>
              </a:rPr>
              <a:t>, but this presentation will focus on Microsoft’s relational database </a:t>
            </a:r>
            <a:r>
              <a:rPr lang="en-US" baseline="0" dirty="0" err="1">
                <a:effectLst/>
                <a:latin typeface="Segoe UI" panose="020B0502040204020203" pitchFamily="34" charset="0"/>
              </a:rPr>
              <a:t>PaaS</a:t>
            </a:r>
            <a:r>
              <a:rPr lang="en-US" baseline="0" dirty="0">
                <a:effectLst/>
                <a:latin typeface="Segoe UI" panose="020B0502040204020203" pitchFamily="34" charset="0"/>
              </a:rPr>
              <a:t> offering.</a:t>
            </a:r>
            <a:endParaRPr lang="en-US" dirty="0">
              <a:effectLst/>
            </a:endParaRPr>
          </a:p>
          <a:p>
            <a:pPr rtl="0"/>
            <a:r>
              <a:rPr lang="en-US" b="1" dirty="0">
                <a:effectLst/>
                <a:latin typeface="Segoe UI" panose="020B0502040204020203" pitchFamily="34" charset="0"/>
              </a:rPr>
              <a:t>Transition:</a:t>
            </a:r>
            <a:endParaRPr lang="en-US" dirty="0">
              <a:effectLst/>
            </a:endParaRPr>
          </a:p>
          <a:p>
            <a:pPr>
              <a:spcBef>
                <a:spcPct val="0"/>
              </a:spcBef>
            </a:pPr>
            <a:r>
              <a:rPr lang="en-US" dirty="0"/>
              <a:t>Microsoft provides a</a:t>
            </a:r>
            <a:r>
              <a:rPr lang="en-US" baseline="0" dirty="0"/>
              <a:t> continuous solution from private cloud to the public cloud. No matter where you are on your technology roadmap we have a solution to fit your needs. </a:t>
            </a:r>
          </a:p>
          <a:p>
            <a:pPr>
              <a:spcBef>
                <a:spcPct val="0"/>
              </a:spcBef>
            </a:pPr>
            <a:r>
              <a:rPr lang="en-US" baseline="0" dirty="0"/>
              <a:t>We are a trusted advisor and platform in the traditional enterprise and ISV space with new </a:t>
            </a:r>
            <a:r>
              <a:rPr lang="en-US" baseline="0" dirty="0" err="1"/>
              <a:t>IaaS</a:t>
            </a:r>
            <a:r>
              <a:rPr lang="en-US" baseline="0" dirty="0"/>
              <a:t> offerings that making it easier to bring this same level of trust and ease of use to the public cloud. </a:t>
            </a:r>
            <a:r>
              <a:rPr lang="en-US" sz="800" b="1" baseline="0" dirty="0"/>
              <a:t>However, Microsoft Azure SQL Database extends SQL Server capabilities to the cloud by offering SQL Server as a relational database service.</a:t>
            </a:r>
            <a:endParaRPr lang="en-US" sz="800" dirty="0">
              <a:effectLst/>
            </a:endParaRPr>
          </a:p>
          <a:p>
            <a:pPr rtl="0"/>
            <a:r>
              <a:rPr lang="en-US" sz="1000" b="1" dirty="0">
                <a:effectLst/>
                <a:latin typeface="Segoe UI" panose="020B0502040204020203" pitchFamily="34" charset="0"/>
              </a:rPr>
              <a:t>Speaking Points:</a:t>
            </a:r>
            <a:endParaRPr lang="en-US" sz="1000" dirty="0">
              <a:effectLst/>
            </a:endParaRPr>
          </a:p>
          <a:p>
            <a:pPr rtl="0"/>
            <a:r>
              <a:rPr lang="en-US" dirty="0">
                <a:effectLst/>
                <a:latin typeface="Segoe UI" panose="020B0502040204020203" pitchFamily="34" charset="0"/>
              </a:rPr>
              <a:t>SQL</a:t>
            </a:r>
            <a:r>
              <a:rPr lang="en-US" baseline="0" dirty="0">
                <a:effectLst/>
                <a:latin typeface="Segoe UI" panose="020B0502040204020203" pitchFamily="34" charset="0"/>
              </a:rPr>
              <a:t> Database provides SQL Server as a relational service.</a:t>
            </a:r>
            <a:endParaRPr lang="en-US" dirty="0">
              <a:effectLst/>
            </a:endParaRPr>
          </a:p>
          <a:p>
            <a:pPr rtl="0"/>
            <a:endParaRPr lang="en-US" dirty="0">
              <a:effectLst/>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9</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46669187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F743D80-E441-4DE6-AD4D-A3326A9B767E}"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3527208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a:effectLst/>
                <a:latin typeface="Segoe UI" panose="020B0502040204020203" pitchFamily="34" charset="0"/>
              </a:rPr>
              <a:t>Slide Objectives:</a:t>
            </a:r>
            <a:endParaRPr lang="en-US" dirty="0">
              <a:effectLst/>
            </a:endParaRPr>
          </a:p>
          <a:p>
            <a:pPr rtl="0"/>
            <a:r>
              <a:rPr lang="en-US" dirty="0">
                <a:effectLst/>
                <a:latin typeface="Segoe UI" panose="020B0502040204020203" pitchFamily="34" charset="0"/>
              </a:rPr>
              <a:t>Understand that</a:t>
            </a:r>
            <a:r>
              <a:rPr lang="en-US" baseline="0" dirty="0">
                <a:effectLst/>
                <a:latin typeface="Segoe UI" panose="020B0502040204020203" pitchFamily="34" charset="0"/>
              </a:rPr>
              <a:t> while there are physical SQL Server boxes behind the scenes, when connecting to SQL Database, you are not connecting to a physical server, but to a TDS endpoint.</a:t>
            </a:r>
            <a:endParaRPr lang="en-US" dirty="0">
              <a:effectLst/>
            </a:endParaRPr>
          </a:p>
          <a:p>
            <a:pPr rtl="0"/>
            <a:r>
              <a:rPr lang="en-US" b="1" dirty="0">
                <a:effectLst/>
                <a:latin typeface="Segoe UI" panose="020B0502040204020203" pitchFamily="34" charset="0"/>
              </a:rPr>
              <a:t>Transition:</a:t>
            </a:r>
            <a:endParaRPr lang="en-US" dirty="0">
              <a:effectLst/>
            </a:endParaRPr>
          </a:p>
          <a:p>
            <a:pPr rtl="0"/>
            <a:r>
              <a:rPr lang="en-US" dirty="0">
                <a:effectLst/>
                <a:latin typeface="Segoe UI" panose="020B0502040204020203" pitchFamily="34" charset="0"/>
              </a:rPr>
              <a:t>The key to understanding SQL Database</a:t>
            </a:r>
            <a:r>
              <a:rPr lang="en-US" baseline="0" dirty="0">
                <a:effectLst/>
                <a:latin typeface="Segoe UI" panose="020B0502040204020203" pitchFamily="34" charset="0"/>
              </a:rPr>
              <a:t> is understanding while SQL Database is SQL Server, we do not interact with them in the same physical manner. </a:t>
            </a:r>
            <a:endParaRPr lang="en-US" dirty="0">
              <a:effectLst/>
            </a:endParaRPr>
          </a:p>
          <a:p>
            <a:pPr rtl="0"/>
            <a:r>
              <a:rPr lang="en-US" b="1" dirty="0">
                <a:effectLst/>
                <a:latin typeface="Segoe UI" panose="020B0502040204020203" pitchFamily="34" charset="0"/>
              </a:rPr>
              <a:t>Speaking Points:</a:t>
            </a:r>
            <a:endParaRPr lang="en-US" dirty="0">
              <a:effectLst/>
            </a:endParaRPr>
          </a:p>
          <a:p>
            <a:pPr rtl="0"/>
            <a:r>
              <a:rPr lang="en-US" dirty="0">
                <a:effectLst/>
                <a:latin typeface="Segoe UI" panose="020B0502040204020203" pitchFamily="34" charset="0"/>
              </a:rPr>
              <a:t>In an on-premises</a:t>
            </a:r>
            <a:r>
              <a:rPr lang="en-US" baseline="0" dirty="0">
                <a:effectLst/>
                <a:latin typeface="Segoe UI" panose="020B0502040204020203" pitchFamily="34" charset="0"/>
              </a:rPr>
              <a:t> environment, we typically have physical access to the actual </a:t>
            </a:r>
            <a:r>
              <a:rPr lang="en-US" dirty="0">
                <a:effectLst/>
                <a:latin typeface="Segoe UI" panose="020B0502040204020203" pitchFamily="34" charset="0"/>
              </a:rPr>
              <a:t>SQL Server </a:t>
            </a:r>
            <a:r>
              <a:rPr lang="en-US" dirty="0" err="1">
                <a:effectLst/>
                <a:latin typeface="Segoe UI" panose="020B0502040204020203" pitchFamily="34" charset="0"/>
              </a:rPr>
              <a:t>server</a:t>
            </a:r>
            <a:r>
              <a:rPr lang="en-US" dirty="0">
                <a:effectLst/>
                <a:latin typeface="Segoe UI" panose="020B0502040204020203" pitchFamily="34" charset="0"/>
              </a:rPr>
              <a:t>.</a:t>
            </a:r>
            <a:endParaRPr lang="en-US" dirty="0">
              <a:effectLst/>
            </a:endParaRPr>
          </a:p>
          <a:p>
            <a:pPr rtl="0"/>
            <a:r>
              <a:rPr lang="en-US" dirty="0">
                <a:effectLst/>
                <a:latin typeface="Segoe UI" panose="020B0502040204020203" pitchFamily="34" charset="0"/>
              </a:rPr>
              <a:t>In</a:t>
            </a:r>
            <a:r>
              <a:rPr lang="en-US" baseline="0" dirty="0">
                <a:effectLst/>
                <a:latin typeface="Segoe UI" panose="020B0502040204020203" pitchFamily="34" charset="0"/>
              </a:rPr>
              <a:t> Microsoft Azure, we do not have physical access to the actual server.</a:t>
            </a:r>
            <a:endParaRPr lang="en-US" dirty="0">
              <a:effectLst/>
            </a:endParaRPr>
          </a:p>
          <a:p>
            <a:pPr rtl="0"/>
            <a:r>
              <a:rPr lang="en-US" b="1" dirty="0">
                <a:effectLst/>
                <a:latin typeface="Segoe UI" panose="020B0502040204020203" pitchFamily="34" charset="0"/>
              </a:rPr>
              <a:t>Notes:</a:t>
            </a:r>
            <a:endParaRPr lang="en-US" dirty="0">
              <a:effectLst/>
            </a:endParaRPr>
          </a:p>
          <a:p>
            <a:pPr rtl="0"/>
            <a:r>
              <a:rPr lang="en-US" dirty="0">
                <a:effectLst/>
                <a:latin typeface="Segoe UI" panose="020B0502040204020203" pitchFamily="34" charset="0"/>
              </a:rPr>
              <a:t>It is</a:t>
            </a:r>
            <a:r>
              <a:rPr lang="en-US" baseline="0" dirty="0">
                <a:effectLst/>
                <a:latin typeface="Segoe UI" panose="020B0502040204020203" pitchFamily="34" charset="0"/>
              </a:rPr>
              <a:t> important that the attendee understands that it IS INDEED SQL Server at the platform layer. There are physical boxes running SQL Server 2012 Enterprise Edition. However, due to the nature of the Azure environment to provide the high-availability and scalability necessary, access to the physical boxes is currently not supported.</a:t>
            </a:r>
            <a:endParaRPr lang="en-US" dirty="0">
              <a:effectLst/>
            </a:endParaRPr>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246874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a:effectLst/>
                <a:latin typeface="Segoe UI" panose="020B0502040204020203" pitchFamily="34" charset="0"/>
              </a:rPr>
              <a:t>Slide Objectives:</a:t>
            </a:r>
            <a:endParaRPr lang="en-US" dirty="0">
              <a:effectLst/>
            </a:endParaRPr>
          </a:p>
          <a:p>
            <a:pPr rtl="0"/>
            <a:r>
              <a:rPr lang="en-US" dirty="0">
                <a:effectLst/>
                <a:latin typeface="Segoe UI" panose="020B0502040204020203" pitchFamily="34" charset="0"/>
              </a:rPr>
              <a:t>Understand the overall</a:t>
            </a:r>
            <a:r>
              <a:rPr lang="en-US" baseline="0" dirty="0">
                <a:effectLst/>
                <a:latin typeface="Segoe UI" panose="020B0502040204020203" pitchFamily="34" charset="0"/>
              </a:rPr>
              <a:t> concepts and benefits of SQL Database</a:t>
            </a:r>
            <a:endParaRPr lang="en-US" dirty="0">
              <a:effectLst/>
            </a:endParaRPr>
          </a:p>
          <a:p>
            <a:pPr rtl="0"/>
            <a:r>
              <a:rPr lang="en-US" b="1" dirty="0">
                <a:effectLst/>
                <a:latin typeface="Segoe UI" panose="020B0502040204020203" pitchFamily="34" charset="0"/>
              </a:rPr>
              <a:t>Transition:</a:t>
            </a:r>
            <a:endParaRPr lang="en-US" dirty="0">
              <a:effectLst/>
            </a:endParaRPr>
          </a:p>
          <a:p>
            <a:pPr rtl="0"/>
            <a:r>
              <a:rPr lang="en-US" dirty="0">
                <a:effectLst/>
                <a:latin typeface="Segoe UI" panose="020B0502040204020203" pitchFamily="34" charset="0"/>
              </a:rPr>
              <a:t>Let’s clear up</a:t>
            </a:r>
            <a:r>
              <a:rPr lang="en-US" baseline="0" dirty="0">
                <a:effectLst/>
                <a:latin typeface="Segoe UI" panose="020B0502040204020203" pitchFamily="34" charset="0"/>
              </a:rPr>
              <a:t> any confusion and look at the basics of what SQL Database really is and some of its benefits. </a:t>
            </a:r>
            <a:endParaRPr lang="en-US" dirty="0">
              <a:effectLst/>
            </a:endParaRPr>
          </a:p>
          <a:p>
            <a:pPr rtl="0"/>
            <a:r>
              <a:rPr lang="en-US" b="1" dirty="0">
                <a:effectLst/>
                <a:latin typeface="Segoe UI" panose="020B0502040204020203" pitchFamily="34" charset="0"/>
              </a:rPr>
              <a:t>Speaking Points:</a:t>
            </a:r>
            <a:endParaRPr lang="en-US" dirty="0">
              <a:effectLst/>
            </a:endParaRPr>
          </a:p>
          <a:p>
            <a:pPr rtl="0"/>
            <a:r>
              <a:rPr lang="en-US" dirty="0">
                <a:effectLst/>
                <a:latin typeface="Segoe UI" panose="020B0502040204020203" pitchFamily="34" charset="0"/>
              </a:rPr>
              <a:t>The same great SQL Server database technology that you know, love, and use on-premises provided</a:t>
            </a:r>
            <a:r>
              <a:rPr lang="en-US" baseline="0" dirty="0">
                <a:effectLst/>
                <a:latin typeface="Segoe UI" panose="020B0502040204020203" pitchFamily="34" charset="0"/>
              </a:rPr>
              <a:t> as a service</a:t>
            </a:r>
            <a:endParaRPr lang="en-US" dirty="0">
              <a:effectLst/>
            </a:endParaRPr>
          </a:p>
          <a:p>
            <a:pPr rtl="0"/>
            <a:r>
              <a:rPr lang="en-US" dirty="0">
                <a:effectLst/>
                <a:latin typeface="Segoe UI" panose="020B0502040204020203" pitchFamily="34" charset="0"/>
              </a:rPr>
              <a:t>Enterprise-ready</a:t>
            </a:r>
            <a:r>
              <a:rPr lang="en-US" baseline="0" dirty="0">
                <a:effectLst/>
                <a:latin typeface="Segoe UI" panose="020B0502040204020203" pitchFamily="34" charset="0"/>
              </a:rPr>
              <a:t> </a:t>
            </a:r>
          </a:p>
          <a:p>
            <a:pPr rtl="0"/>
            <a:r>
              <a:rPr lang="en-US" baseline="0" dirty="0">
                <a:effectLst/>
                <a:latin typeface="Segoe UI" panose="020B0502040204020203" pitchFamily="34" charset="0"/>
              </a:rPr>
              <a:t>Automatic support for High-Availability</a:t>
            </a:r>
          </a:p>
          <a:p>
            <a:pPr rtl="0"/>
            <a:r>
              <a:rPr lang="en-US" baseline="0" dirty="0">
                <a:effectLst/>
                <a:latin typeface="Segoe UI" panose="020B0502040204020203" pitchFamily="34" charset="0"/>
              </a:rPr>
              <a:t>Designed to scale on-demand to provide the same great elasticity</a:t>
            </a:r>
            <a:endParaRPr lang="en-US" dirty="0">
              <a:effectLst/>
            </a:endParaRPr>
          </a:p>
          <a:p>
            <a:pPr rtl="0"/>
            <a:r>
              <a:rPr lang="en-US" b="1" dirty="0">
                <a:effectLst/>
                <a:latin typeface="Segoe UI" panose="020B0502040204020203" pitchFamily="34" charset="0"/>
              </a:rPr>
              <a:t>Notes:</a:t>
            </a:r>
            <a:endParaRPr lang="en-US" dirty="0">
              <a:effectLst/>
            </a:endParaRPr>
          </a:p>
          <a:p>
            <a:pPr rtl="0"/>
            <a:r>
              <a:rPr lang="en-US" dirty="0">
                <a:effectLst/>
                <a:latin typeface="Segoe UI" panose="020B0502040204020203" pitchFamily="34" charset="0"/>
              </a:rPr>
              <a:t>High-availability – 3 copies of the database free for the cost of the one database. Always</a:t>
            </a:r>
            <a:r>
              <a:rPr lang="en-US" baseline="0" dirty="0">
                <a:effectLst/>
                <a:latin typeface="Segoe UI" panose="020B0502040204020203" pitchFamily="34" charset="0"/>
              </a:rPr>
              <a:t> in sync. The cost to do this on-premises isn’t cheap. This is </a:t>
            </a:r>
            <a:r>
              <a:rPr lang="en-US" b="1" baseline="0" dirty="0">
                <a:effectLst/>
                <a:latin typeface="Segoe UI" panose="020B0502040204020203" pitchFamily="34" charset="0"/>
              </a:rPr>
              <a:t>FREE</a:t>
            </a:r>
            <a:r>
              <a:rPr lang="en-US" baseline="0" dirty="0">
                <a:effectLst/>
                <a:latin typeface="Segoe UI" panose="020B0502040204020203" pitchFamily="34" charset="0"/>
              </a:rPr>
              <a:t> in SQL Database.</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1802465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a:effectLst/>
                <a:latin typeface="Segoe UI" panose="020B0502040204020203" pitchFamily="34" charset="0"/>
              </a:rPr>
              <a:t>Slide Objectives:</a:t>
            </a:r>
            <a:endParaRPr lang="en-US" dirty="0">
              <a:effectLst/>
            </a:endParaRPr>
          </a:p>
          <a:p>
            <a:pPr rtl="0"/>
            <a:r>
              <a:rPr lang="en-US" dirty="0">
                <a:effectLst/>
                <a:latin typeface="Segoe UI" panose="020B0502040204020203" pitchFamily="34" charset="0"/>
              </a:rPr>
              <a:t>Understand the overall</a:t>
            </a:r>
            <a:r>
              <a:rPr lang="en-US" baseline="0" dirty="0">
                <a:effectLst/>
                <a:latin typeface="Segoe UI" panose="020B0502040204020203" pitchFamily="34" charset="0"/>
              </a:rPr>
              <a:t> concepts and benefits of SQL Database</a:t>
            </a:r>
            <a:endParaRPr lang="en-US" dirty="0">
              <a:effectLst/>
            </a:endParaRPr>
          </a:p>
          <a:p>
            <a:pPr rtl="0"/>
            <a:r>
              <a:rPr lang="en-US" b="1" dirty="0">
                <a:effectLst/>
                <a:latin typeface="Segoe UI" panose="020B0502040204020203" pitchFamily="34" charset="0"/>
              </a:rPr>
              <a:t>Transition:</a:t>
            </a:r>
            <a:endParaRPr lang="en-US" dirty="0">
              <a:effectLst/>
            </a:endParaRPr>
          </a:p>
          <a:p>
            <a:pPr rtl="0"/>
            <a:r>
              <a:rPr lang="en-US" dirty="0">
                <a:effectLst/>
                <a:latin typeface="Segoe UI" panose="020B0502040204020203" pitchFamily="34" charset="0"/>
              </a:rPr>
              <a:t>Let’s clear up</a:t>
            </a:r>
            <a:r>
              <a:rPr lang="en-US" baseline="0" dirty="0">
                <a:effectLst/>
                <a:latin typeface="Segoe UI" panose="020B0502040204020203" pitchFamily="34" charset="0"/>
              </a:rPr>
              <a:t> any confusion and look at the basics of what SQL Database really is and some of its benefits. </a:t>
            </a:r>
            <a:endParaRPr lang="en-US" dirty="0">
              <a:effectLst/>
            </a:endParaRPr>
          </a:p>
          <a:p>
            <a:pPr rtl="0"/>
            <a:r>
              <a:rPr lang="en-US" b="1" dirty="0">
                <a:effectLst/>
                <a:latin typeface="Segoe UI" panose="020B0502040204020203" pitchFamily="34" charset="0"/>
              </a:rPr>
              <a:t>Speaking Points:</a:t>
            </a:r>
            <a:endParaRPr lang="en-US" dirty="0">
              <a:effectLst/>
            </a:endParaRPr>
          </a:p>
          <a:p>
            <a:pPr rtl="0"/>
            <a:r>
              <a:rPr lang="en-US" dirty="0">
                <a:effectLst/>
                <a:latin typeface="Segoe UI" panose="020B0502040204020203" pitchFamily="34" charset="0"/>
              </a:rPr>
              <a:t>The same great SQL Server database technology that you know, love, and use on-premises provided</a:t>
            </a:r>
            <a:r>
              <a:rPr lang="en-US" baseline="0" dirty="0">
                <a:effectLst/>
                <a:latin typeface="Segoe UI" panose="020B0502040204020203" pitchFamily="34" charset="0"/>
              </a:rPr>
              <a:t> as a service</a:t>
            </a:r>
            <a:endParaRPr lang="en-US" dirty="0">
              <a:effectLst/>
            </a:endParaRPr>
          </a:p>
          <a:p>
            <a:pPr rtl="0"/>
            <a:r>
              <a:rPr lang="en-US" dirty="0">
                <a:effectLst/>
                <a:latin typeface="Segoe UI" panose="020B0502040204020203" pitchFamily="34" charset="0"/>
              </a:rPr>
              <a:t>Enterprise-ready</a:t>
            </a:r>
            <a:r>
              <a:rPr lang="en-US" baseline="0" dirty="0">
                <a:effectLst/>
                <a:latin typeface="Segoe UI" panose="020B0502040204020203" pitchFamily="34" charset="0"/>
              </a:rPr>
              <a:t> </a:t>
            </a:r>
          </a:p>
          <a:p>
            <a:pPr rtl="0"/>
            <a:r>
              <a:rPr lang="en-US" baseline="0" dirty="0">
                <a:effectLst/>
                <a:latin typeface="Segoe UI" panose="020B0502040204020203" pitchFamily="34" charset="0"/>
              </a:rPr>
              <a:t>Automatic support for High-Availability</a:t>
            </a:r>
          </a:p>
          <a:p>
            <a:pPr rtl="0"/>
            <a:r>
              <a:rPr lang="en-US" baseline="0" dirty="0">
                <a:effectLst/>
                <a:latin typeface="Segoe UI" panose="020B0502040204020203" pitchFamily="34" charset="0"/>
              </a:rPr>
              <a:t>Designed to scale on-demand to provide the same great elasticity</a:t>
            </a:r>
            <a:endParaRPr lang="en-US" dirty="0">
              <a:effectLst/>
            </a:endParaRPr>
          </a:p>
          <a:p>
            <a:pPr rtl="0"/>
            <a:r>
              <a:rPr lang="en-US" b="1" dirty="0">
                <a:effectLst/>
                <a:latin typeface="Segoe UI" panose="020B0502040204020203" pitchFamily="34" charset="0"/>
              </a:rPr>
              <a:t>Notes:</a:t>
            </a:r>
            <a:endParaRPr lang="en-US" dirty="0">
              <a:effectLst/>
            </a:endParaRPr>
          </a:p>
          <a:p>
            <a:pPr rtl="0"/>
            <a:r>
              <a:rPr lang="en-US" dirty="0">
                <a:effectLst/>
                <a:latin typeface="Segoe UI" panose="020B0502040204020203" pitchFamily="34" charset="0"/>
              </a:rPr>
              <a:t>High-availability – 3 copies of the database free for the cost of the one database. Always</a:t>
            </a:r>
            <a:r>
              <a:rPr lang="en-US" baseline="0" dirty="0">
                <a:effectLst/>
                <a:latin typeface="Segoe UI" panose="020B0502040204020203" pitchFamily="34" charset="0"/>
              </a:rPr>
              <a:t> in sync. The cost to do this on-premises isn’t cheap. This is </a:t>
            </a:r>
            <a:r>
              <a:rPr lang="en-US" b="1" baseline="0" dirty="0">
                <a:effectLst/>
                <a:latin typeface="Segoe UI" panose="020B0502040204020203" pitchFamily="34" charset="0"/>
              </a:rPr>
              <a:t>FREE</a:t>
            </a:r>
            <a:r>
              <a:rPr lang="en-US" baseline="0" dirty="0">
                <a:effectLst/>
                <a:latin typeface="Segoe UI" panose="020B0502040204020203" pitchFamily="34" charset="0"/>
              </a:rPr>
              <a:t> in SQL Database.</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8357878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sv-SE" dirty="0"/>
              <a:t>Now let’s focus on </a:t>
            </a:r>
            <a:r>
              <a:rPr lang="sv-SE" baseline="0" dirty="0"/>
              <a:t>the new Microsoft Azure DocumentDB Service!</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C52CFDC-D2D5-4B9F-BA75-89F771E01AE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4</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9378971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83530375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gradFill>
                  <a:gsLst>
                    <a:gs pos="0">
                      <a:srgbClr val="FFFFFF"/>
                    </a:gs>
                    <a:gs pos="100000">
                      <a:srgbClr val="FFFFFF"/>
                    </a:gs>
                  </a:gsLst>
                  <a:lin ang="5400000" scaled="0"/>
                </a:gradFill>
                <a:ea typeface="Segoe UI" pitchFamily="34" charset="0"/>
                <a:cs typeface="Segoe UI" pitchFamily="34" charset="0"/>
              </a:rPr>
              <a:t>Hi,</a:t>
            </a:r>
            <a:r>
              <a:rPr lang="en-US" sz="1200" baseline="0" dirty="0">
                <a:gradFill>
                  <a:gsLst>
                    <a:gs pos="0">
                      <a:srgbClr val="FFFFFF"/>
                    </a:gs>
                    <a:gs pos="100000">
                      <a:srgbClr val="FFFFFF"/>
                    </a:gs>
                  </a:gsLst>
                  <a:lin ang="5400000" scaled="0"/>
                </a:gradFill>
                <a:ea typeface="Segoe UI" pitchFamily="34" charset="0"/>
                <a:cs typeface="Segoe UI" pitchFamily="34" charset="0"/>
              </a:rPr>
              <a:t> I’m ___, and I’m excited to discuss Microsoft’s Cortana Intelligence Suite, and the value it can deliver to your organization. </a:t>
            </a:r>
            <a:endParaRPr lang="en-US" sz="1200" dirty="0">
              <a:gradFill>
                <a:gsLst>
                  <a:gs pos="0">
                    <a:srgbClr val="FFFFFF"/>
                  </a:gs>
                  <a:gs pos="100000">
                    <a:srgbClr val="FFFFFF"/>
                  </a:gs>
                </a:gsLst>
                <a:lin ang="5400000" scaled="0"/>
              </a:gradFill>
              <a:ea typeface="Segoe UI" pitchFamily="34" charset="0"/>
              <a:cs typeface="Segoe UI" pitchFamily="34" charset="0"/>
            </a:endParaRPr>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CD5F8F-46C9-46A5-9E1B-00B0A72B40B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7</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93497718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you will find an overview of all of the </a:t>
            </a:r>
            <a:r>
              <a:rPr lang="en-US" baseline="0" dirty="0"/>
              <a:t>services that Microsoft has to offer.</a:t>
            </a:r>
          </a:p>
          <a:p>
            <a:endParaRPr lang="en-US" baseline="0" dirty="0"/>
          </a:p>
          <a:p>
            <a:r>
              <a:rPr lang="en-US" baseline="0" dirty="0"/>
              <a:t>The solutions that you may be familiar with, highlighted in GREEN, are elements included in Cortana Intelligence.</a:t>
            </a:r>
          </a:p>
          <a:p>
            <a:endParaRPr lang="en-US" baseline="0" dirty="0"/>
          </a:p>
          <a:p>
            <a:r>
              <a:rPr lang="en-US" b="1" baseline="0" dirty="0"/>
              <a:t>T: Let’s take a look at the whole architecture.</a:t>
            </a:r>
            <a:endParaRPr lang="en-US" b="1"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6/2016 8:2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8312838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Segoe UI Light" pitchFamily="34" charset="0"/>
                <a:ea typeface="+mn-ea"/>
                <a:cs typeface="+mn-cs"/>
              </a:rPr>
              <a:t>Today, </a:t>
            </a:r>
            <a:r>
              <a:rPr lang="en-US" sz="1200" kern="1200" baseline="0" dirty="0">
                <a:solidFill>
                  <a:schemeClr val="tx1"/>
                </a:solidFill>
                <a:effectLst/>
                <a:latin typeface="Segoe UI Light" pitchFamily="34" charset="0"/>
                <a:ea typeface="+mn-ea"/>
                <a:cs typeface="+mn-cs"/>
              </a:rPr>
              <a:t>t</a:t>
            </a:r>
            <a:r>
              <a:rPr lang="en-US" sz="1200" kern="1200" dirty="0">
                <a:solidFill>
                  <a:schemeClr val="tx1"/>
                </a:solidFill>
                <a:effectLst/>
                <a:latin typeface="Segoe UI Light" pitchFamily="34" charset="0"/>
                <a:ea typeface="+mn-ea"/>
                <a:cs typeface="+mn-cs"/>
              </a:rPr>
              <a:t>he world around us is rapidly changing, faster than at any other point in history. This is an</a:t>
            </a:r>
            <a:r>
              <a:rPr lang="en-US" sz="1200" kern="1200" baseline="0" dirty="0">
                <a:solidFill>
                  <a:schemeClr val="tx1"/>
                </a:solidFill>
                <a:effectLst/>
                <a:latin typeface="Segoe UI Light" pitchFamily="34" charset="0"/>
                <a:ea typeface="+mn-ea"/>
                <a:cs typeface="+mn-cs"/>
              </a:rPr>
              <a:t> indicator </a:t>
            </a:r>
            <a:r>
              <a:rPr lang="en-US" sz="1200" kern="1200" dirty="0">
                <a:solidFill>
                  <a:schemeClr val="tx1"/>
                </a:solidFill>
                <a:effectLst/>
                <a:latin typeface="Segoe UI Light" pitchFamily="34" charset="0"/>
                <a:ea typeface="+mn-ea"/>
                <a:cs typeface="+mn-cs"/>
              </a:rPr>
              <a:t>of the</a:t>
            </a:r>
            <a:r>
              <a:rPr lang="en-US" sz="1200" dirty="0"/>
              <a:t> </a:t>
            </a:r>
            <a:r>
              <a:rPr lang="en-US" sz="1200" b="1" dirty="0"/>
              <a:t>fourth industrial revolution</a:t>
            </a:r>
            <a:r>
              <a:rPr lang="en-US" sz="1200" baseline="0" dirty="0"/>
              <a:t> that is </a:t>
            </a:r>
            <a:r>
              <a:rPr lang="en-US" sz="1200" dirty="0"/>
              <a:t>emerging, largely driven by the </a:t>
            </a:r>
            <a:r>
              <a:rPr lang="en-US" sz="1200" baseline="0" dirty="0"/>
              <a:t>rise of Big Data, the growth of the cloud</a:t>
            </a:r>
            <a:r>
              <a:rPr lang="en-US" sz="1200" dirty="0"/>
              <a:t>,</a:t>
            </a:r>
            <a:r>
              <a:rPr lang="en-US" sz="1200" baseline="0" dirty="0"/>
              <a:t> and a new </a:t>
            </a:r>
            <a:r>
              <a:rPr lang="en-US" sz="1200" dirty="0"/>
              <a:t>era </a:t>
            </a:r>
            <a:r>
              <a:rPr lang="en-US" sz="1200" baseline="0" dirty="0"/>
              <a:t>of intelligence capabilitie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baseline="0" dirty="0">
              <a:solidFill>
                <a:schemeClr val="tx1"/>
              </a:solidFill>
              <a:effectLst/>
              <a:latin typeface="Segoe UI Light" pitchFamily="34" charset="0"/>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Segoe UI Light" pitchFamily="34" charset="0"/>
                <a:ea typeface="+mn-ea"/>
                <a:cs typeface="+mn-cs"/>
              </a:rPr>
              <a:t>Thanks to the exponential proliferation of small, inexpensive chips and processors, computers are as ubiquitous as the people who use them – from traditional computers, tablets and phones to sensors and wearables.  Machines are everywhere,</a:t>
            </a:r>
            <a:r>
              <a:rPr lang="en-US" sz="1200" kern="1200" baseline="0" dirty="0">
                <a:solidFill>
                  <a:schemeClr val="tx1"/>
                </a:solidFill>
                <a:effectLst/>
                <a:latin typeface="Segoe UI Light" pitchFamily="34" charset="0"/>
                <a:ea typeface="+mn-ea"/>
                <a:cs typeface="+mn-cs"/>
              </a:rPr>
              <a:t> </a:t>
            </a:r>
            <a:r>
              <a:rPr lang="en-US" sz="1200" kern="1200" dirty="0">
                <a:solidFill>
                  <a:schemeClr val="tx1"/>
                </a:solidFill>
                <a:effectLst/>
                <a:latin typeface="Segoe UI Light" pitchFamily="34" charset="0"/>
                <a:ea typeface="+mn-ea"/>
                <a:cs typeface="+mn-cs"/>
              </a:rPr>
              <a:t>constantly creating, collecting and making sense of the data in our midst. With the magic of machine learning and the limitless computing power of the cloud, this data is giving rise to intelligence that is augmenting human capabilities in exciting new ways.</a:t>
            </a:r>
            <a:r>
              <a:rPr lang="en-US" sz="1200" kern="1200" baseline="0" dirty="0">
                <a:solidFill>
                  <a:schemeClr val="tx1"/>
                </a:solidFill>
                <a:effectLst/>
                <a:latin typeface="Segoe UI Light" pitchFamily="34" charset="0"/>
                <a:ea typeface="+mn-ea"/>
                <a:cs typeface="+mn-cs"/>
              </a:rPr>
              <a:t>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baseline="0" dirty="0">
              <a:solidFill>
                <a:schemeClr val="tx1"/>
              </a:solidFill>
              <a:effectLst/>
              <a:latin typeface="Segoe UI Light" pitchFamily="34" charset="0"/>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Segoe UI Light" pitchFamily="34" charset="0"/>
                <a:ea typeface="+mn-ea"/>
                <a:cs typeface="+mn-cs"/>
              </a:rPr>
              <a:t>Together, these technologies have the power to disrupt almost every industry, which</a:t>
            </a:r>
            <a:r>
              <a:rPr lang="en-US" sz="1200" kern="1200" baseline="0" dirty="0">
                <a:solidFill>
                  <a:schemeClr val="tx1"/>
                </a:solidFill>
                <a:effectLst/>
                <a:latin typeface="Segoe UI Light" pitchFamily="34" charset="0"/>
                <a:ea typeface="+mn-ea"/>
                <a:cs typeface="+mn-cs"/>
              </a:rPr>
              <a:t> is</a:t>
            </a:r>
            <a:r>
              <a:rPr lang="en-US" sz="1200" kern="1200" dirty="0">
                <a:solidFill>
                  <a:schemeClr val="tx1"/>
                </a:solidFill>
                <a:effectLst/>
                <a:latin typeface="Segoe UI Light" pitchFamily="34" charset="0"/>
                <a:ea typeface="+mn-ea"/>
                <a:cs typeface="+mn-cs"/>
              </a:rPr>
              <a:t> why this</a:t>
            </a:r>
            <a:r>
              <a:rPr lang="en-US" sz="1200" kern="1200" baseline="0" dirty="0">
                <a:solidFill>
                  <a:schemeClr val="tx1"/>
                </a:solidFill>
                <a:effectLst/>
                <a:latin typeface="Segoe UI Light" pitchFamily="34" charset="0"/>
                <a:ea typeface="+mn-ea"/>
                <a:cs typeface="+mn-cs"/>
              </a:rPr>
              <a:t> era is being heralded as the </a:t>
            </a:r>
            <a:r>
              <a:rPr lang="en-US" sz="1200" kern="1200" dirty="0">
                <a:solidFill>
                  <a:schemeClr val="tx1"/>
                </a:solidFill>
                <a:effectLst/>
                <a:latin typeface="Segoe UI Light" pitchFamily="34" charset="0"/>
                <a:ea typeface="+mn-ea"/>
                <a:cs typeface="+mn-cs"/>
              </a:rPr>
              <a:t>fourth industrial revolution.</a:t>
            </a:r>
            <a:r>
              <a:rPr lang="en-US" sz="1200" kern="1200" baseline="0" dirty="0">
                <a:solidFill>
                  <a:schemeClr val="tx1"/>
                </a:solidFill>
                <a:effectLst/>
                <a:latin typeface="Segoe UI Light" pitchFamily="34" charset="0"/>
                <a:ea typeface="+mn-ea"/>
                <a:cs typeface="+mn-cs"/>
              </a:rPr>
              <a:t> The </a:t>
            </a:r>
            <a:r>
              <a:rPr lang="en-US" sz="1200" kern="1200" dirty="0">
                <a:solidFill>
                  <a:schemeClr val="tx1"/>
                </a:solidFill>
                <a:effectLst/>
                <a:latin typeface="Segoe UI Light" pitchFamily="34" charset="0"/>
                <a:ea typeface="+mn-ea"/>
                <a:cs typeface="+mn-cs"/>
              </a:rPr>
              <a:t>breadth and depth of these changes is resulting in the transformation of entire systems of production, management, and governance.</a:t>
            </a:r>
            <a:r>
              <a:rPr lang="en-US" sz="1200" kern="1200" baseline="0" dirty="0">
                <a:solidFill>
                  <a:schemeClr val="tx1"/>
                </a:solidFill>
                <a:effectLst/>
                <a:latin typeface="Segoe UI Light" pitchFamily="34" charset="0"/>
                <a:ea typeface="+mn-ea"/>
                <a:cs typeface="+mn-cs"/>
              </a:rPr>
              <a:t>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baseline="0" dirty="0">
              <a:solidFill>
                <a:schemeClr val="tx1"/>
              </a:solidFill>
              <a:effectLst/>
              <a:latin typeface="Segoe UI Light" pitchFamily="34" charset="0"/>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Segoe UI Light" pitchFamily="34" charset="0"/>
                <a:ea typeface="+mn-ea"/>
                <a:cs typeface="+mn-cs"/>
              </a:rPr>
              <a:t>At Microsoft, our ambition is to democratize the fourth industrial revolution </a:t>
            </a:r>
            <a:r>
              <a:rPr lang="en-US" sz="1200" kern="1200" dirty="0">
                <a:solidFill>
                  <a:schemeClr val="tx1"/>
                </a:solidFill>
                <a:effectLst/>
                <a:latin typeface="Segoe UI Light" pitchFamily="34" charset="0"/>
                <a:ea typeface="+mn-ea"/>
                <a:cs typeface="+mn-cs"/>
              </a:rPr>
              <a:t>by providing the building blocks to empower organizations</a:t>
            </a:r>
            <a:r>
              <a:rPr lang="en-US" sz="1200" kern="1200" baseline="0" dirty="0">
                <a:solidFill>
                  <a:schemeClr val="tx1"/>
                </a:solidFill>
                <a:effectLst/>
                <a:latin typeface="Segoe UI Light" pitchFamily="34" charset="0"/>
                <a:ea typeface="+mn-ea"/>
                <a:cs typeface="+mn-cs"/>
              </a:rPr>
              <a:t> </a:t>
            </a:r>
            <a:r>
              <a:rPr lang="en-US" sz="1200" kern="1200" dirty="0">
                <a:solidFill>
                  <a:schemeClr val="tx1"/>
                </a:solidFill>
                <a:effectLst/>
                <a:latin typeface="Segoe UI Light" pitchFamily="34" charset="0"/>
                <a:ea typeface="+mn-ea"/>
                <a:cs typeface="+mn-cs"/>
              </a:rPr>
              <a:t>large &amp; small – enabling them to build, innovate and transform, and allowing them to get started quickly and see real business impact</a:t>
            </a:r>
            <a:r>
              <a:rPr lang="en-US" sz="1200" kern="1200" baseline="0" dirty="0">
                <a:solidFill>
                  <a:schemeClr val="tx1"/>
                </a:solidFill>
                <a:effectLst/>
                <a:latin typeface="Segoe UI Light" pitchFamily="34" charset="0"/>
                <a:ea typeface="+mn-ea"/>
                <a:cs typeface="+mn-cs"/>
              </a:rPr>
              <a:t> and </a:t>
            </a:r>
            <a:r>
              <a:rPr lang="en-US" sz="1200" kern="1200" dirty="0">
                <a:solidFill>
                  <a:schemeClr val="tx1"/>
                </a:solidFill>
                <a:effectLst/>
                <a:latin typeface="Segoe UI Light" pitchFamily="34" charset="0"/>
                <a:ea typeface="+mn-ea"/>
                <a:cs typeface="+mn-cs"/>
              </a:rPr>
              <a:t>results fast.</a:t>
            </a:r>
            <a:r>
              <a:rPr lang="en-US" sz="1200" kern="1200" baseline="0" dirty="0">
                <a:solidFill>
                  <a:schemeClr val="tx1"/>
                </a:solidFill>
                <a:effectLst/>
                <a:latin typeface="Segoe UI Light" pitchFamily="34" charset="0"/>
                <a:ea typeface="+mn-ea"/>
                <a:cs typeface="+mn-cs"/>
              </a:rPr>
              <a:t> </a:t>
            </a:r>
            <a:r>
              <a:rPr lang="en-US" sz="1200" kern="1200" dirty="0">
                <a:solidFill>
                  <a:schemeClr val="tx1"/>
                </a:solidFill>
                <a:effectLst/>
                <a:latin typeface="Segoe UI Light" pitchFamily="34" charset="0"/>
                <a:ea typeface="+mn-ea"/>
                <a:cs typeface="+mn-cs"/>
              </a:rPr>
              <a:t>We believe an organization’s </a:t>
            </a:r>
            <a:r>
              <a:rPr lang="en-US" sz="1200" b="1" kern="1200" dirty="0">
                <a:solidFill>
                  <a:schemeClr val="tx1"/>
                </a:solidFill>
                <a:effectLst/>
                <a:latin typeface="Segoe UI Light" pitchFamily="34" charset="0"/>
                <a:ea typeface="+mn-ea"/>
                <a:cs typeface="+mn-cs"/>
              </a:rPr>
              <a:t>data is a key strategic asset</a:t>
            </a:r>
            <a:r>
              <a:rPr lang="en-US" sz="1200" kern="1200" dirty="0">
                <a:solidFill>
                  <a:schemeClr val="tx1"/>
                </a:solidFill>
                <a:effectLst/>
                <a:latin typeface="Segoe UI Light" pitchFamily="34" charset="0"/>
                <a:ea typeface="+mn-ea"/>
                <a:cs typeface="+mn-cs"/>
              </a:rPr>
              <a:t> which, when </a:t>
            </a:r>
            <a:r>
              <a:rPr lang="en-US" sz="1200" b="1" kern="1200" dirty="0">
                <a:solidFill>
                  <a:schemeClr val="tx1"/>
                </a:solidFill>
                <a:effectLst/>
                <a:latin typeface="Segoe UI Light" pitchFamily="34" charset="0"/>
                <a:ea typeface="+mn-ea"/>
                <a:cs typeface="+mn-cs"/>
              </a:rPr>
              <a:t>combined with the</a:t>
            </a:r>
            <a:r>
              <a:rPr lang="en-US" sz="1200" b="1" kern="1200" baseline="0" dirty="0">
                <a:solidFill>
                  <a:schemeClr val="tx1"/>
                </a:solidFill>
                <a:effectLst/>
                <a:latin typeface="Segoe UI Light" pitchFamily="34" charset="0"/>
                <a:ea typeface="+mn-ea"/>
                <a:cs typeface="+mn-cs"/>
              </a:rPr>
              <a:t> </a:t>
            </a:r>
            <a:r>
              <a:rPr lang="en-US" sz="1200" b="1" kern="1200" dirty="0">
                <a:solidFill>
                  <a:schemeClr val="tx1"/>
                </a:solidFill>
                <a:effectLst/>
                <a:latin typeface="Segoe UI Light" pitchFamily="34" charset="0"/>
                <a:ea typeface="+mn-ea"/>
                <a:cs typeface="+mn-cs"/>
              </a:rPr>
              <a:t>cloud </a:t>
            </a:r>
            <a:r>
              <a:rPr lang="en-US" sz="1200" b="0" kern="1200" dirty="0">
                <a:solidFill>
                  <a:schemeClr val="tx1"/>
                </a:solidFill>
                <a:effectLst/>
                <a:latin typeface="Segoe UI Light" pitchFamily="34" charset="0"/>
                <a:ea typeface="+mn-ea"/>
                <a:cs typeface="+mn-cs"/>
              </a:rPr>
              <a:t>and the potential </a:t>
            </a:r>
            <a:r>
              <a:rPr lang="en-US" sz="1200" b="0" kern="1200" baseline="0" dirty="0">
                <a:solidFill>
                  <a:schemeClr val="tx1"/>
                </a:solidFill>
                <a:effectLst/>
                <a:latin typeface="Segoe UI Light" pitchFamily="34" charset="0"/>
                <a:ea typeface="+mn-ea"/>
                <a:cs typeface="+mn-cs"/>
              </a:rPr>
              <a:t>of </a:t>
            </a:r>
            <a:r>
              <a:rPr lang="en-US" sz="1200" b="1" kern="1200" dirty="0">
                <a:solidFill>
                  <a:schemeClr val="tx1"/>
                </a:solidFill>
                <a:effectLst/>
                <a:latin typeface="Segoe UI Light" pitchFamily="34" charset="0"/>
                <a:ea typeface="+mn-ea"/>
                <a:cs typeface="+mn-cs"/>
              </a:rPr>
              <a:t>intelligence capabilities</a:t>
            </a:r>
            <a:r>
              <a:rPr lang="en-US" sz="1200" kern="1200" dirty="0">
                <a:solidFill>
                  <a:schemeClr val="tx1"/>
                </a:solidFill>
                <a:effectLst/>
                <a:latin typeface="Segoe UI Light" pitchFamily="34" charset="0"/>
                <a:ea typeface="+mn-ea"/>
                <a:cs typeface="+mn-cs"/>
              </a:rPr>
              <a:t>, provides the opportunity to</a:t>
            </a:r>
            <a:r>
              <a:rPr lang="en-US" sz="1200" kern="1200" baseline="0" dirty="0">
                <a:solidFill>
                  <a:schemeClr val="tx1"/>
                </a:solidFill>
                <a:effectLst/>
                <a:latin typeface="Segoe UI Light" pitchFamily="34" charset="0"/>
                <a:ea typeface="+mn-ea"/>
                <a:cs typeface="+mn-cs"/>
              </a:rPr>
              <a:t> </a:t>
            </a:r>
            <a:r>
              <a:rPr lang="en-US" sz="1200" kern="1200" dirty="0">
                <a:solidFill>
                  <a:schemeClr val="tx1"/>
                </a:solidFill>
                <a:effectLst/>
                <a:latin typeface="Segoe UI Light" pitchFamily="34" charset="0"/>
                <a:ea typeface="+mn-ea"/>
                <a:cs typeface="+mn-cs"/>
              </a:rPr>
              <a:t>automate</a:t>
            </a:r>
            <a:r>
              <a:rPr lang="en-US" sz="1200" kern="1200" baseline="0" dirty="0">
                <a:solidFill>
                  <a:schemeClr val="tx1"/>
                </a:solidFill>
                <a:effectLst/>
                <a:latin typeface="Segoe UI Light" pitchFamily="34" charset="0"/>
                <a:ea typeface="+mn-ea"/>
                <a:cs typeface="+mn-cs"/>
              </a:rPr>
              <a:t>, </a:t>
            </a:r>
            <a:r>
              <a:rPr lang="en-US" sz="1200" kern="1200" dirty="0">
                <a:solidFill>
                  <a:schemeClr val="tx1"/>
                </a:solidFill>
                <a:effectLst/>
                <a:latin typeface="Segoe UI Light" pitchFamily="34" charset="0"/>
                <a:ea typeface="+mn-ea"/>
                <a:cs typeface="+mn-cs"/>
              </a:rPr>
              <a:t>innovate and increase the speed of business. </a:t>
            </a:r>
            <a:endParaRPr lang="en-US" sz="1200" kern="1200" baseline="0" dirty="0">
              <a:solidFill>
                <a:schemeClr val="tx1"/>
              </a:solidFill>
              <a:effectLst/>
              <a:latin typeface="Segoe UI Light" pitchFamily="34" charset="0"/>
              <a:ea typeface="+mn-ea"/>
              <a:cs typeface="+mn-cs"/>
            </a:endParaRPr>
          </a:p>
          <a:p>
            <a:endParaRPr lang="en-US" sz="1200" b="1" dirty="0"/>
          </a:p>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a:t>&lt;Transition&gt;:</a:t>
            </a:r>
            <a:r>
              <a:rPr lang="en-US" sz="1200" b="1" baseline="0" dirty="0"/>
              <a:t> Our Cortana Intelligence Suite is designed to help you capitalize on these trends. </a:t>
            </a:r>
            <a:endParaRPr lang="en-US" sz="1200" b="1"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CD5F8F-46C9-46A5-9E1B-00B0A72B40B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9</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97243534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Cortana Intelligence is Microsoft’s fully managed </a:t>
            </a:r>
            <a:r>
              <a:rPr lang="en-US" sz="900" b="1" kern="1200" dirty="0">
                <a:solidFill>
                  <a:schemeClr val="tx1"/>
                </a:solidFill>
                <a:effectLst/>
                <a:latin typeface="Segoe UI Light" pitchFamily="34" charset="0"/>
                <a:ea typeface="+mn-ea"/>
                <a:cs typeface="+mn-cs"/>
              </a:rPr>
              <a:t>intelligent, big data and advanced analytics</a:t>
            </a:r>
            <a:r>
              <a:rPr lang="en-US" sz="900" kern="1200" dirty="0">
                <a:solidFill>
                  <a:schemeClr val="tx1"/>
                </a:solidFill>
                <a:effectLst/>
                <a:latin typeface="Segoe UI Light" pitchFamily="34" charset="0"/>
                <a:ea typeface="+mn-ea"/>
                <a:cs typeface="+mn-cs"/>
              </a:rPr>
              <a:t> offering in the cloud,</a:t>
            </a:r>
            <a:r>
              <a:rPr lang="en-US" sz="900" kern="1200" baseline="0" dirty="0">
                <a:solidFill>
                  <a:schemeClr val="tx1"/>
                </a:solidFill>
                <a:effectLst/>
                <a:latin typeface="Segoe UI Light" pitchFamily="34" charset="0"/>
                <a:ea typeface="+mn-ea"/>
                <a:cs typeface="+mn-cs"/>
              </a:rPr>
              <a:t> designed to help </a:t>
            </a:r>
            <a:r>
              <a:rPr lang="en-US" sz="900" dirty="0">
                <a:gradFill>
                  <a:gsLst>
                    <a:gs pos="0">
                      <a:srgbClr val="FFFFFF"/>
                    </a:gs>
                    <a:gs pos="100000">
                      <a:srgbClr val="FFFFFF"/>
                    </a:gs>
                  </a:gsLst>
                  <a:lin ang="5400000" scaled="0"/>
                </a:gradFill>
              </a:rPr>
              <a:t>you </a:t>
            </a:r>
            <a:r>
              <a:rPr lang="en-US" sz="900" b="1" dirty="0">
                <a:gradFill>
                  <a:gsLst>
                    <a:gs pos="0">
                      <a:srgbClr val="FFFFFF"/>
                    </a:gs>
                    <a:gs pos="100000">
                      <a:srgbClr val="FFFFFF"/>
                    </a:gs>
                  </a:gsLst>
                  <a:lin ang="5400000" scaled="0"/>
                </a:gradFill>
              </a:rPr>
              <a:t>transform your data into intelligent action.</a:t>
            </a:r>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It is a comprehensive suite that brings together technologies throughout Microsoft.</a:t>
            </a:r>
            <a:r>
              <a:rPr lang="en-US" sz="900" kern="1200" baseline="0" dirty="0">
                <a:solidFill>
                  <a:schemeClr val="tx1"/>
                </a:solidFill>
                <a:effectLst/>
                <a:latin typeface="Segoe UI Light" pitchFamily="34" charset="0"/>
                <a:ea typeface="+mn-ea"/>
                <a:cs typeface="+mn-cs"/>
              </a:rPr>
              <a:t> It </a:t>
            </a:r>
            <a:r>
              <a:rPr lang="en-US" sz="900" kern="1200" dirty="0">
                <a:solidFill>
                  <a:schemeClr val="tx1"/>
                </a:solidFill>
                <a:effectLst/>
                <a:latin typeface="Segoe UI Light" pitchFamily="34" charset="0"/>
                <a:ea typeface="+mn-ea"/>
                <a:cs typeface="+mn-cs"/>
              </a:rPr>
              <a:t>provides fast and flexible deployment,</a:t>
            </a:r>
            <a:r>
              <a:rPr lang="en-US" sz="900" kern="1200" baseline="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with a simple monthly subscription to reduce time and cost</a:t>
            </a:r>
            <a:r>
              <a:rPr lang="en-US" sz="900" kern="1200" baseline="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challenges</a:t>
            </a:r>
            <a:r>
              <a:rPr lang="en-US" sz="900" kern="1200" baseline="0" dirty="0">
                <a:solidFill>
                  <a:schemeClr val="tx1"/>
                </a:solidFill>
                <a:effectLst/>
                <a:latin typeface="Segoe UI Light" pitchFamily="34" charset="0"/>
                <a:ea typeface="+mn-ea"/>
                <a:cs typeface="+mn-cs"/>
              </a:rPr>
              <a:t>. </a:t>
            </a:r>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Cortana Intelligence enables customers to benefit from Microsoft’s investment in the intelligent cloud and advanced analytics, spanning our leading cloud</a:t>
            </a:r>
            <a:r>
              <a:rPr lang="en-US" sz="900" kern="1200" baseline="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platform with easy to use tools and services that integrate with existing infrastructure and enable enterprises to extend business solutions as their needs grow over time.</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With Cortana Intelligence, we are taking years of research and innovation – spanning technology &amp; infrastructure for advanced analytics, including capabilities such as machine learning, big data storage and processing in the cloud, intelligence capabilities like vision, face and speech recognition,</a:t>
            </a:r>
            <a:r>
              <a:rPr lang="en-US" sz="900" kern="1200" baseline="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and integration with Cortana, Microsoft’s personal digital assistant,</a:t>
            </a:r>
            <a:r>
              <a:rPr lang="en-US" sz="900" kern="1200" baseline="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with the goal of helping enterprise customers make better, faster decisions to accelerate their speed of business.</a:t>
            </a:r>
          </a:p>
          <a:p>
            <a:endParaRPr lang="en-US" sz="900"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lt;Transition&gt;: Let’s talk </a:t>
            </a:r>
            <a:r>
              <a:rPr lang="en-US" sz="900" b="1" kern="1200" baseline="0" dirty="0">
                <a:solidFill>
                  <a:schemeClr val="tx1"/>
                </a:solidFill>
                <a:effectLst/>
                <a:latin typeface="Segoe UI Light" pitchFamily="34" charset="0"/>
                <a:ea typeface="+mn-ea"/>
                <a:cs typeface="+mn-cs"/>
              </a:rPr>
              <a:t>about how some of our customers are benefiting from Cortana Intelligence. </a:t>
            </a:r>
            <a:endParaRPr lang="en-US" sz="900" b="1"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6/2016 8:39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2297936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i="1" kern="1200" dirty="0">
                <a:solidFill>
                  <a:schemeClr val="tx1"/>
                </a:solidFill>
                <a:effectLst/>
                <a:latin typeface="+mn-lt"/>
                <a:ea typeface="+mn-ea"/>
                <a:cs typeface="+mn-cs"/>
              </a:rPr>
              <a:t>&lt;Speaker</a:t>
            </a:r>
            <a:r>
              <a:rPr lang="en-US" sz="1200" b="1" i="1" kern="1200" baseline="0" dirty="0">
                <a:solidFill>
                  <a:schemeClr val="tx1"/>
                </a:solidFill>
                <a:effectLst/>
                <a:latin typeface="+mn-lt"/>
                <a:ea typeface="+mn-ea"/>
                <a:cs typeface="+mn-cs"/>
              </a:rPr>
              <a:t> guidance: You may choose to use this slide, or one of the 2 hidden slides that follow it. The point of all 3 slides is the same – </a:t>
            </a:r>
            <a:r>
              <a:rPr lang="en-US" sz="1200" b="0" i="1" kern="1200" baseline="0" dirty="0">
                <a:solidFill>
                  <a:schemeClr val="tx1"/>
                </a:solidFill>
                <a:effectLst/>
                <a:latin typeface="+mn-lt"/>
                <a:ea typeface="+mn-ea"/>
                <a:cs typeface="+mn-cs"/>
              </a:rPr>
              <a:t>give examples of ways that customers are using Big Data, cloud and intelligence to transform their businesses, as a lead-in to a demo&gt;  </a:t>
            </a:r>
            <a:endParaRPr lang="en-US" sz="1200" b="1" i="1" kern="1200" baseline="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i="1" kern="1200" baseline="0" dirty="0">
                <a:solidFill>
                  <a:schemeClr val="tx1"/>
                </a:solidFill>
                <a:effectLst/>
                <a:latin typeface="+mn-lt"/>
                <a:ea typeface="+mn-ea"/>
                <a:cs typeface="+mn-cs"/>
              </a:rPr>
              <a:t> </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a:t>Getting</a:t>
            </a:r>
            <a:r>
              <a:rPr lang="en-US" baseline="0" dirty="0"/>
              <a:t> ahead by leveraging Big Data, the cloud and intelligence can take a number of forms. </a:t>
            </a:r>
            <a:endParaRPr lang="en-US" sz="1200" kern="1200" dirty="0">
              <a:solidFill>
                <a:schemeClr val="tx1"/>
              </a:solidFill>
              <a:effectLst/>
              <a:latin typeface="Segoe UI Light" pitchFamily="34" charset="0"/>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baseline="0" dirty="0">
                <a:solidFill>
                  <a:schemeClr val="tx1"/>
                </a:solidFill>
                <a:effectLst/>
                <a:latin typeface="Segoe UI Light" pitchFamily="34" charset="0"/>
                <a:ea typeface="+mn-ea"/>
                <a:cs typeface="+mn-cs"/>
              </a:rPr>
              <a:t>It starts with understanding the data your organization has and what it can be used for.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baseline="0" dirty="0">
              <a:solidFill>
                <a:schemeClr val="tx1"/>
              </a:solidFill>
              <a:effectLst/>
              <a:latin typeface="Segoe UI Light" pitchFamily="34" charset="0"/>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baseline="0" dirty="0">
                <a:solidFill>
                  <a:schemeClr val="tx1"/>
                </a:solidFill>
                <a:effectLst/>
                <a:latin typeface="Segoe UI Light" pitchFamily="34" charset="0"/>
                <a:ea typeface="+mn-ea"/>
                <a:cs typeface="+mn-cs"/>
              </a:rPr>
              <a:t>There are several core business scenarios where our customers are finding great success with Microsoft technologies. </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baseline="0" dirty="0">
                <a:solidFill>
                  <a:schemeClr val="tx1"/>
                </a:solidFill>
                <a:effectLst/>
                <a:latin typeface="Segoe UI Light" pitchFamily="34" charset="0"/>
                <a:ea typeface="+mn-ea"/>
                <a:cs typeface="+mn-cs"/>
              </a:rPr>
              <a:t>These can be a useful starting point as you consider how your organization could benefit.  </a:t>
            </a:r>
            <a:endParaRPr lang="en-US" baseline="0" dirty="0"/>
          </a:p>
          <a:p>
            <a:endParaRPr lang="en-US" baseline="0" dirty="0"/>
          </a:p>
          <a:p>
            <a:r>
              <a:rPr lang="en-US" baseline="0" dirty="0"/>
              <a:t>Here are a few examples of what our customers are doing to stay ahead:</a:t>
            </a:r>
          </a:p>
          <a:p>
            <a:pPr marL="171450" indent="-171450">
              <a:buFont typeface="Arial" panose="020B0604020202020204" pitchFamily="34" charset="0"/>
              <a:buChar char="•"/>
            </a:pPr>
            <a:r>
              <a:rPr lang="en-US" b="1" baseline="0" dirty="0"/>
              <a:t>Using remote monitoring </a:t>
            </a:r>
            <a:r>
              <a:rPr lang="en-US" b="0" baseline="0" dirty="0"/>
              <a:t>to </a:t>
            </a:r>
            <a:r>
              <a:rPr lang="en-US" baseline="0" dirty="0"/>
              <a:t>gain better visibility into their businesses and making better predictions regarding their customers’ needs</a:t>
            </a:r>
          </a:p>
          <a:p>
            <a:pPr marL="171450" indent="-171450">
              <a:buFont typeface="Arial" panose="020B0604020202020204" pitchFamily="34" charset="0"/>
              <a:buChar char="•"/>
            </a:pPr>
            <a:r>
              <a:rPr lang="en-US" b="1" baseline="0" dirty="0"/>
              <a:t>Improving inventory management </a:t>
            </a:r>
            <a:r>
              <a:rPr lang="en-US" b="0" baseline="0" dirty="0"/>
              <a:t>by using predictive analytics capabilities to e</a:t>
            </a:r>
            <a:r>
              <a:rPr lang="en-US" baseline="0" dirty="0"/>
              <a:t>nsure inventory is optimally distributed to the right places at the right times</a:t>
            </a:r>
          </a:p>
          <a:p>
            <a:pPr marL="171450" indent="-171450">
              <a:buFont typeface="Arial" panose="020B0604020202020204" pitchFamily="34" charset="0"/>
              <a:buChar char="•"/>
            </a:pPr>
            <a:r>
              <a:rPr lang="en-US" b="1" baseline="0" dirty="0"/>
              <a:t>Offering customers personalized experiences </a:t>
            </a:r>
            <a:r>
              <a:rPr lang="en-US" baseline="0" dirty="0"/>
              <a:t>using advanced analytics to develop deep, 360-degree view of their customers</a:t>
            </a:r>
          </a:p>
          <a:p>
            <a:pPr marL="171450" indent="-171450">
              <a:buFont typeface="Arial" panose="020B0604020202020204" pitchFamily="34" charset="0"/>
              <a:buChar char="•"/>
            </a:pPr>
            <a:r>
              <a:rPr lang="en-US" b="1" baseline="0" dirty="0"/>
              <a:t>Starting predictive maintenance programs </a:t>
            </a:r>
            <a:r>
              <a:rPr lang="en-US" b="0" baseline="0" dirty="0"/>
              <a:t>to f</a:t>
            </a:r>
            <a:r>
              <a:rPr lang="en-US" baseline="0" dirty="0"/>
              <a:t>ix problems proactively, before equipment ever breaks down</a:t>
            </a:r>
          </a:p>
          <a:p>
            <a:pPr marL="171450" indent="-171450">
              <a:buFont typeface="Arial" panose="020B0604020202020204" pitchFamily="34" charset="0"/>
              <a:buChar char="•"/>
            </a:pPr>
            <a:r>
              <a:rPr lang="en-US" b="1" baseline="0" dirty="0"/>
              <a:t>Building data-driven service offerings, </a:t>
            </a:r>
            <a:r>
              <a:rPr lang="en-US" b="0" baseline="0" dirty="0"/>
              <a:t>such as delivering products-as-services or packaging data for commercial sale</a:t>
            </a:r>
            <a:endParaRPr lang="en-US" baseline="0" dirty="0"/>
          </a:p>
          <a:p>
            <a:pPr marL="0" indent="0">
              <a:buFont typeface="Arial" panose="020B0604020202020204" pitchFamily="34" charset="0"/>
              <a:buNone/>
            </a:pPr>
            <a:endParaRPr lang="en-US" baseline="0" dirty="0"/>
          </a:p>
          <a:p>
            <a:pPr marL="0" indent="0">
              <a:buFont typeface="Arial" panose="020B0604020202020204" pitchFamily="34" charset="0"/>
              <a:buNone/>
            </a:pPr>
            <a:r>
              <a:rPr lang="en-US" baseline="0" dirty="0"/>
              <a:t>Other examples include </a:t>
            </a:r>
            <a:r>
              <a:rPr lang="en-US" sz="1200" kern="1200" dirty="0">
                <a:solidFill>
                  <a:schemeClr val="tx1"/>
                </a:solidFill>
                <a:effectLst/>
                <a:latin typeface="Segoe UI Light" pitchFamily="34" charset="0"/>
                <a:ea typeface="+mn-ea"/>
                <a:cs typeface="+mn-cs"/>
              </a:rPr>
              <a:t>real-time recommendations, customer churn forecasting, fraud detection, and many more. </a:t>
            </a:r>
            <a:endParaRPr lang="en-US" baseline="0" dirty="0"/>
          </a:p>
          <a:p>
            <a:pPr marL="171450" indent="-171450">
              <a:buFont typeface="Arial" panose="020B0604020202020204" pitchFamily="34" charset="0"/>
              <a:buChar cha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Segoe UI Light" pitchFamily="34" charset="0"/>
                <a:ea typeface="+mn-ea"/>
                <a:cs typeface="+mn-cs"/>
              </a:rPr>
              <a:t>&lt;Transition&gt;: Let’s take a look at one example. </a:t>
            </a:r>
            <a:endParaRPr lang="en-US" sz="1200" kern="1200" baseline="0" dirty="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CD5F8F-46C9-46A5-9E1B-00B0A72B40B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19388302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Cortana Intelligence delivers an end-to-end platform with an integrated and comprehensive set of tools and services to help you build intelligent applications that let you easily take advantage of Advanced Analytics and intelligence capabilities.</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First,</a:t>
            </a:r>
            <a:r>
              <a:rPr lang="en-US" sz="900" kern="1200" baseline="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Cortana Intelligence provides services to bring data in, so that you can analyze it.  It provides information management capabilities like Azure Data Factory so that you can pull data from any source (relational DB like SQL or non-relational ones like your Hadoop cluster) in an automated and scheduled way, while performing the necessary data transforms (like setting certain data columns as dates vs. currency </a:t>
            </a:r>
            <a:r>
              <a:rPr lang="en-US" sz="900" kern="1200" dirty="0" err="1">
                <a:solidFill>
                  <a:schemeClr val="tx1"/>
                </a:solidFill>
                <a:effectLst/>
                <a:latin typeface="Segoe UI Light" pitchFamily="34" charset="0"/>
                <a:ea typeface="+mn-ea"/>
                <a:cs typeface="+mn-cs"/>
              </a:rPr>
              <a:t>etc</a:t>
            </a:r>
            <a:r>
              <a:rPr lang="en-US" sz="900" kern="1200" dirty="0">
                <a:solidFill>
                  <a:schemeClr val="tx1"/>
                </a:solidFill>
                <a:effectLst/>
                <a:latin typeface="Segoe UI Light" pitchFamily="34" charset="0"/>
                <a:ea typeface="+mn-ea"/>
                <a:cs typeface="+mn-cs"/>
              </a:rPr>
              <a:t>).  Think ETL (Extract, Transform, Load) in the cloud. Event Hubs does the same for IoT type ingestion of data that streams in from lots of end points.</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The data brought in then can be persisted in flexible big data storage services like Data Lake Store and Azure SQL Data</a:t>
            </a:r>
            <a:r>
              <a:rPr lang="en-US" sz="900" kern="1200" baseline="0" dirty="0">
                <a:solidFill>
                  <a:schemeClr val="tx1"/>
                </a:solidFill>
                <a:effectLst/>
                <a:latin typeface="Segoe UI Light" pitchFamily="34" charset="0"/>
                <a:ea typeface="+mn-ea"/>
                <a:cs typeface="+mn-cs"/>
              </a:rPr>
              <a:t> Warehouse</a:t>
            </a:r>
            <a:r>
              <a:rPr lang="en-US" sz="900" kern="1200" dirty="0">
                <a:solidFill>
                  <a:schemeClr val="tx1"/>
                </a:solidFill>
                <a:effectLst/>
                <a:latin typeface="Segoe UI Light" pitchFamily="34" charset="0"/>
                <a:ea typeface="+mn-ea"/>
                <a:cs typeface="+mn-cs"/>
              </a:rPr>
              <a:t>.</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You can then use a wide range of analytics services from Machine Learning to Azure Data Lake Analytics to Azure HDInsight to Azure Stream Analytics to analyze the data stored in the big data storage.  This means you can create analytics services and models specific to your business need (say real time demand forecasting).</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The resultant analytics services and models created by taking these steps can then be surfaced as interactive dashboards and visualizations via Power BI. </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These same analytics services and models created can also be integrated into various different UI (web apps or mobile apps or rich client apps),</a:t>
            </a:r>
            <a:r>
              <a:rPr lang="en-US" sz="900" kern="1200" baseline="0" dirty="0">
                <a:solidFill>
                  <a:schemeClr val="tx1"/>
                </a:solidFill>
                <a:effectLst/>
                <a:latin typeface="Segoe UI Light" pitchFamily="34" charset="0"/>
                <a:ea typeface="+mn-ea"/>
                <a:cs typeface="+mn-cs"/>
              </a:rPr>
              <a:t> or with </a:t>
            </a:r>
            <a:r>
              <a:rPr lang="en-US" sz="900" kern="1200" dirty="0">
                <a:solidFill>
                  <a:schemeClr val="tx1"/>
                </a:solidFill>
                <a:effectLst/>
                <a:latin typeface="Segoe UI Light" pitchFamily="34" charset="0"/>
                <a:ea typeface="+mn-ea"/>
                <a:cs typeface="+mn-cs"/>
              </a:rPr>
              <a:t>Cortana, so end users can naturally interact with them via speech etc., and so that end users can get proactively be notified by Cortana if the analytics model finds a new anomaly (unusual growth in certain product purchases- in the case of real time demand forecasting example given above) or whatever deserves the attention of the business users. Similar integration can occur with Cognitive Services or Bot Framework</a:t>
            </a:r>
            <a:r>
              <a:rPr lang="en-US" sz="900" kern="1200" baseline="0" dirty="0">
                <a:solidFill>
                  <a:schemeClr val="tx1"/>
                </a:solidFill>
                <a:effectLst/>
                <a:latin typeface="Segoe UI Light" pitchFamily="34" charset="0"/>
                <a:ea typeface="+mn-ea"/>
                <a:cs typeface="+mn-cs"/>
              </a:rPr>
              <a:t> based applications. </a:t>
            </a:r>
          </a:p>
          <a:p>
            <a:endParaRPr lang="en-US" sz="900" kern="1200" baseline="0" dirty="0">
              <a:solidFill>
                <a:schemeClr val="tx1"/>
              </a:solidFill>
              <a:effectLst/>
              <a:latin typeface="Segoe UI Light" pitchFamily="34" charset="0"/>
              <a:ea typeface="+mn-ea"/>
              <a:cs typeface="+mn-cs"/>
            </a:endParaRPr>
          </a:p>
          <a:p>
            <a:r>
              <a:rPr lang="en-US" sz="900" kern="1200" baseline="0" dirty="0">
                <a:solidFill>
                  <a:schemeClr val="tx1"/>
                </a:solidFill>
                <a:effectLst/>
                <a:latin typeface="Segoe UI Light" pitchFamily="34" charset="0"/>
                <a:ea typeface="+mn-ea"/>
                <a:cs typeface="+mn-cs"/>
              </a:rPr>
              <a:t>At a high level though, Cortana Intelligence capabilities are in three main areas: data, analytics and intelligence.   </a:t>
            </a:r>
            <a:endParaRPr lang="en-US" sz="900" kern="1200" dirty="0">
              <a:solidFill>
                <a:schemeClr val="tx1"/>
              </a:solidFill>
              <a:effectLst/>
              <a:latin typeface="Segoe UI Light" pitchFamily="34" charset="0"/>
              <a:ea typeface="+mn-ea"/>
              <a:cs typeface="+mn-cs"/>
            </a:endParaRPr>
          </a:p>
          <a:p>
            <a:pPr lvl="0"/>
            <a:endParaRPr lang="en-US" sz="900"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lt;Transition&gt;: We’re going to dive into each one.</a:t>
            </a:r>
            <a:r>
              <a:rPr lang="en-US" sz="900" b="1" kern="1200" baseline="0" dirty="0">
                <a:solidFill>
                  <a:schemeClr val="tx1"/>
                </a:solidFill>
                <a:effectLst/>
                <a:latin typeface="Segoe UI Light" pitchFamily="34" charset="0"/>
                <a:ea typeface="+mn-ea"/>
                <a:cs typeface="+mn-cs"/>
              </a:rPr>
              <a:t> </a:t>
            </a:r>
            <a:endParaRPr lang="en-US" sz="900" kern="1200" dirty="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CD5F8F-46C9-46A5-9E1B-00B0A72B40B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36535793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dirty="0"/>
              <a:t>T: Information Management includes Data Factory, Data Catalog,</a:t>
            </a:r>
            <a:r>
              <a:rPr lang="en-US" b="1" baseline="0" dirty="0"/>
              <a:t> and Event Hubs.</a:t>
            </a:r>
            <a:endParaRPr lang="en-US" b="1" dirty="0"/>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rPr>
              <a:t>Build 2015</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31467"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6/2016 8:40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29542381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dirty="0"/>
              <a:t>&lt;click&gt; </a:t>
            </a:r>
          </a:p>
          <a:p>
            <a:pPr marL="0" marR="0" indent="0" algn="l" defTabSz="932742" rtl="0" eaLnBrk="1" fontAlgn="auto" latinLnBrk="0" hangingPunct="1">
              <a:lnSpc>
                <a:spcPct val="90000"/>
              </a:lnSpc>
              <a:spcBef>
                <a:spcPts val="0"/>
              </a:spcBef>
              <a:spcAft>
                <a:spcPts val="340"/>
              </a:spcAft>
              <a:buClrTx/>
              <a:buSzTx/>
              <a:buFontTx/>
              <a:buNone/>
              <a:tabLst/>
              <a:defRPr/>
            </a:pPr>
            <a:r>
              <a:rPr lang="en-US" dirty="0"/>
              <a:t>Data Factory is a </a:t>
            </a:r>
            <a:r>
              <a:rPr lang="en-US" sz="900" b="0" i="0" kern="1200" dirty="0">
                <a:solidFill>
                  <a:schemeClr val="tx1"/>
                </a:solidFill>
                <a:effectLst/>
                <a:latin typeface="Segoe UI Light" pitchFamily="34" charset="0"/>
                <a:ea typeface="+mn-ea"/>
                <a:cs typeface="+mn-cs"/>
              </a:rPr>
              <a:t>globally deployed,</a:t>
            </a:r>
            <a:r>
              <a:rPr lang="en-US" sz="900" b="0" i="0" kern="1200" baseline="0" dirty="0">
                <a:solidFill>
                  <a:schemeClr val="tx1"/>
                </a:solidFill>
                <a:effectLst/>
                <a:latin typeface="Segoe UI Light" pitchFamily="34" charset="0"/>
                <a:ea typeface="+mn-ea"/>
                <a:cs typeface="+mn-cs"/>
              </a:rPr>
              <a:t> </a:t>
            </a:r>
            <a:r>
              <a:rPr lang="en-US" dirty="0"/>
              <a:t>fully managed </a:t>
            </a:r>
            <a:r>
              <a:rPr lang="en-US" sz="900" b="0" i="0" kern="1200" dirty="0">
                <a:solidFill>
                  <a:schemeClr val="tx1"/>
                </a:solidFill>
                <a:effectLst/>
                <a:latin typeface="Segoe UI Light" pitchFamily="34" charset="0"/>
                <a:ea typeface="+mn-ea"/>
                <a:cs typeface="+mn-cs"/>
              </a:rPr>
              <a:t>data movement</a:t>
            </a:r>
            <a:r>
              <a:rPr lang="en-US" sz="900" b="0" i="0" kern="1200" baseline="0" dirty="0">
                <a:solidFill>
                  <a:schemeClr val="tx1"/>
                </a:solidFill>
                <a:effectLst/>
                <a:latin typeface="Segoe UI Light" pitchFamily="34" charset="0"/>
                <a:ea typeface="+mn-ea"/>
                <a:cs typeface="+mn-cs"/>
              </a:rPr>
              <a:t> </a:t>
            </a:r>
            <a:r>
              <a:rPr lang="en-US" dirty="0"/>
              <a:t>service </a:t>
            </a:r>
            <a:r>
              <a:rPr lang="en-US" sz="900" b="0" i="0" kern="1200" dirty="0">
                <a:solidFill>
                  <a:schemeClr val="tx1"/>
                </a:solidFill>
                <a:effectLst/>
                <a:latin typeface="Segoe UI Light" pitchFamily="34" charset="0"/>
                <a:ea typeface="+mn-ea"/>
                <a:cs typeface="+mn-cs"/>
              </a:rPr>
              <a:t>in the cloud. It enables enterprises to ingest data from multiple on-premises and cloud sources easily,</a:t>
            </a:r>
            <a:r>
              <a:rPr lang="en-US" sz="900" b="0" i="0" kern="1200" baseline="0" dirty="0">
                <a:solidFill>
                  <a:schemeClr val="tx1"/>
                </a:solidFill>
                <a:effectLst/>
                <a:latin typeface="Segoe UI Light" pitchFamily="34" charset="0"/>
                <a:ea typeface="+mn-ea"/>
                <a:cs typeface="+mn-cs"/>
              </a:rPr>
              <a:t> and gets your data where it needs to go. </a:t>
            </a:r>
            <a:r>
              <a:rPr lang="en-US" sz="900" b="0" i="0" kern="1200" dirty="0">
                <a:solidFill>
                  <a:schemeClr val="tx1"/>
                </a:solidFill>
                <a:effectLst/>
                <a:latin typeface="Segoe UI Light" pitchFamily="34" charset="0"/>
                <a:ea typeface="+mn-ea"/>
                <a:cs typeface="+mn-cs"/>
              </a:rPr>
              <a:t>Prepare and partition your data as you ingest it, or apply pre-processing steps.</a:t>
            </a:r>
            <a:endParaRPr lang="en-US" baseline="0" dirty="0"/>
          </a:p>
          <a:p>
            <a:endParaRPr lang="en-US" sz="900" b="0" i="0" kern="1200" baseline="0" dirty="0">
              <a:solidFill>
                <a:schemeClr val="tx1"/>
              </a:solidFill>
              <a:effectLst/>
              <a:latin typeface="Segoe UI Light" pitchFamily="34" charset="0"/>
              <a:ea typeface="+mn-ea"/>
              <a:cs typeface="+mn-cs"/>
            </a:endParaRPr>
          </a:p>
          <a:p>
            <a:r>
              <a:rPr lang="en-US" sz="900" b="0" i="0" kern="1200" baseline="0" dirty="0">
                <a:solidFill>
                  <a:schemeClr val="tx1"/>
                </a:solidFill>
                <a:effectLst/>
                <a:latin typeface="Segoe UI Light" pitchFamily="34" charset="0"/>
                <a:ea typeface="+mn-ea"/>
                <a:cs typeface="+mn-cs"/>
              </a:rPr>
              <a:t>Data Factory </a:t>
            </a:r>
            <a:r>
              <a:rPr lang="en-US" dirty="0"/>
              <a:t>allows enterprises</a:t>
            </a:r>
            <a:r>
              <a:rPr lang="en-US" baseline="0" dirty="0"/>
              <a:t> to produce trusted data by easily composing, orchestrating, and monitoring diverse data, transformation and processing services at scale. </a:t>
            </a:r>
          </a:p>
          <a:p>
            <a:endParaRPr lang="en-US" baseline="0" dirty="0"/>
          </a:p>
          <a:p>
            <a:r>
              <a:rPr lang="en-US" baseline="0" dirty="0"/>
              <a:t>You can compose multiple data sources, on premises or in the cloud into highly available, fault tolerant, and streamlined data pipelines. You can process traditional relational data alongside data of different forms and velocities.</a:t>
            </a:r>
          </a:p>
          <a:p>
            <a:endParaRPr lang="en-US" baseline="0" dirty="0"/>
          </a:p>
          <a:p>
            <a:r>
              <a:rPr lang="en-US" baseline="0" dirty="0"/>
              <a:t>Data pipelines operate over the Hadoop ecosystem for transformations with Hive, Pig, and custom code, tying together your traditional relational data with features like automatic cluster management, retries for transient failures, configurable timeout policies, and alerting.</a:t>
            </a:r>
          </a:p>
          <a:p>
            <a:endParaRPr lang="en-US" baseline="0" dirty="0"/>
          </a:p>
          <a:p>
            <a:r>
              <a:rPr lang="en-US" b="1" baseline="0" dirty="0"/>
              <a:t>T: Lets look at the next service, Data Catalog</a:t>
            </a:r>
            <a:endParaRPr lang="en-US" baseline="0" dirty="0"/>
          </a:p>
          <a:p>
            <a:r>
              <a:rPr lang="en-US" baseline="0" dirty="0"/>
              <a:t>----</a:t>
            </a:r>
          </a:p>
          <a:p>
            <a:r>
              <a:rPr lang="en-US" sz="900" b="0" i="0" kern="1200" dirty="0">
                <a:solidFill>
                  <a:schemeClr val="tx1"/>
                </a:solidFill>
                <a:effectLst/>
                <a:latin typeface="Segoe UI Light" pitchFamily="34" charset="0"/>
                <a:ea typeface="+mn-ea"/>
                <a:cs typeface="+mn-cs"/>
              </a:rPr>
              <a:t>The </a:t>
            </a:r>
            <a:r>
              <a:rPr lang="en-US" sz="900" b="1" i="0" kern="1200" dirty="0">
                <a:solidFill>
                  <a:schemeClr val="tx1"/>
                </a:solidFill>
                <a:effectLst/>
                <a:latin typeface="Segoe UI Light" pitchFamily="34" charset="0"/>
                <a:ea typeface="+mn-ea"/>
                <a:cs typeface="+mn-cs"/>
              </a:rPr>
              <a:t>Azure Data Factory</a:t>
            </a:r>
            <a:r>
              <a:rPr lang="en-US" sz="900" b="0" i="0" kern="1200" dirty="0">
                <a:solidFill>
                  <a:schemeClr val="tx1"/>
                </a:solidFill>
                <a:effectLst/>
                <a:latin typeface="Segoe UI Light" pitchFamily="34" charset="0"/>
                <a:ea typeface="+mn-ea"/>
                <a:cs typeface="+mn-cs"/>
              </a:rPr>
              <a:t> service is a fully managed service for composing data storage, processing, and movement services into streamlined, scalable, and reliable data production pipelines. Developers can use Data Factory to transform semi-structured, unstructured and structured data from on-premises and cloud sources into trusted information. Developers build data-driven workflows (pipelines) that join, aggregate and transform data sourced from their on-premises, cloud-based and internet services, and set up complex data processing through simple JSON scripting. The Azure Data Factory service provides monitoring and management of these pipelines at a glance with a rich visual experience offered through the Azure Preview Portal. The information produced by pipelines can be easily consumed using BI and analytics tools, and other applications to reliably drive key business insights and decisions.</a:t>
            </a:r>
            <a:endParaRPr lang="en-US" dirty="0"/>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6/2016 8:4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4555251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a:solidFill>
                  <a:schemeClr val="tx1"/>
                </a:solidFill>
                <a:effectLst/>
                <a:latin typeface="Segoe UI Light" pitchFamily="34" charset="0"/>
                <a:ea typeface="+mn-ea"/>
                <a:cs typeface="+mn-cs"/>
              </a:rPr>
              <a:t>In the new world of data, consumers of enterprise data spend more time looking for data than they do analyzing it. Azure Data Catalog is an enterprise-wide metadata catalog that makes data asset discovery trivial. It’s a fully managed service that lets any user—from analyst to data scientist to data developer—register, enrich, discover, understand, and consume data sources.</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Azure Data Catalog is a fully managed service that serves as a system of registration and system of discovery for enterprise data sources. Azure Data Catalog provides capabilities that enable any user – from analysts to data scientists to developers – to register, discover, understand, and consume data sources.</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Data Catalog brings</a:t>
            </a:r>
            <a:r>
              <a:rPr lang="en-US" sz="900" b="0" i="0" kern="1200" baseline="0" dirty="0">
                <a:solidFill>
                  <a:schemeClr val="tx1"/>
                </a:solidFill>
                <a:effectLst/>
                <a:latin typeface="Segoe UI Light" pitchFamily="34" charset="0"/>
                <a:ea typeface="+mn-ea"/>
                <a:cs typeface="+mn-cs"/>
              </a:rPr>
              <a:t> huge value to data enrichment by allowing all users within an organization to add context to data. Not just the data scientists, anyone can use this system.</a:t>
            </a:r>
          </a:p>
          <a:p>
            <a:endParaRPr lang="en-US" sz="900" b="0" i="0" kern="1200" baseline="0" dirty="0">
              <a:solidFill>
                <a:schemeClr val="tx1"/>
              </a:solidFill>
              <a:effectLst/>
              <a:latin typeface="Segoe UI Light" pitchFamily="34" charset="0"/>
              <a:ea typeface="+mn-ea"/>
              <a:cs typeface="+mn-cs"/>
            </a:endParaRPr>
          </a:p>
          <a:p>
            <a:r>
              <a:rPr lang="en-US" sz="900" b="1" i="0" kern="1200" baseline="0" dirty="0">
                <a:solidFill>
                  <a:schemeClr val="tx1"/>
                </a:solidFill>
                <a:effectLst/>
                <a:latin typeface="Segoe UI Light" pitchFamily="34" charset="0"/>
                <a:ea typeface="+mn-ea"/>
                <a:cs typeface="+mn-cs"/>
              </a:rPr>
              <a:t>T: Let’s talk about Azure Event Hubs, an innovative data ingestion service. </a:t>
            </a:r>
            <a:endParaRPr lang="en-US" b="1" dirty="0"/>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6/2016 8:4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1771821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a:solidFill>
                  <a:schemeClr val="tx1"/>
                </a:solidFill>
                <a:effectLst/>
                <a:latin typeface="Segoe UI Light" pitchFamily="34" charset="0"/>
                <a:ea typeface="+mn-ea"/>
                <a:cs typeface="+mn-cs"/>
              </a:rPr>
              <a:t>Azure Event Hubs is a highly scalable publish-subscribe service </a:t>
            </a:r>
            <a:r>
              <a:rPr lang="en-US" dirty="0"/>
              <a:t>optimized for reliably</a:t>
            </a:r>
            <a:r>
              <a:rPr lang="en-US" baseline="0" dirty="0"/>
              <a:t> ingesting h</a:t>
            </a:r>
            <a:r>
              <a:rPr lang="en-US" dirty="0"/>
              <a:t>igh volumes of </a:t>
            </a:r>
            <a:r>
              <a:rPr lang="en-US" b="0" baseline="0" dirty="0"/>
              <a:t>data</a:t>
            </a:r>
            <a:r>
              <a:rPr lang="en-US" dirty="0"/>
              <a:t>.</a:t>
            </a:r>
            <a:r>
              <a:rPr lang="en-US" baseline="0" dirty="0"/>
              <a:t> </a:t>
            </a:r>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Event</a:t>
            </a:r>
            <a:r>
              <a:rPr lang="en-US" sz="900" b="0" i="0" kern="1200" baseline="0" dirty="0">
                <a:solidFill>
                  <a:schemeClr val="tx1"/>
                </a:solidFill>
                <a:effectLst/>
                <a:latin typeface="Segoe UI Light" pitchFamily="34" charset="0"/>
                <a:ea typeface="+mn-ea"/>
                <a:cs typeface="+mn-cs"/>
              </a:rPr>
              <a:t> Hubs can process </a:t>
            </a:r>
            <a:r>
              <a:rPr lang="en-US" sz="900" b="0" i="0" kern="1200" dirty="0">
                <a:solidFill>
                  <a:schemeClr val="tx1"/>
                </a:solidFill>
                <a:effectLst/>
                <a:latin typeface="Segoe UI Light" pitchFamily="34" charset="0"/>
                <a:ea typeface="+mn-ea"/>
                <a:cs typeface="+mn-cs"/>
              </a:rPr>
              <a:t>millions of events per second and stream them into multiple applications. This lets you analyze the massive amounts of data produced by your connected devices and applications. Once Event Hubs has collected the data, transform and store it by using any real-time analytics provider or with batching/storage adapters.</a:t>
            </a:r>
            <a:endParaRPr lang="en-US" dirty="0"/>
          </a:p>
          <a:p>
            <a:endParaRPr lang="en-US" baseline="0" dirty="0"/>
          </a:p>
          <a:p>
            <a:r>
              <a:rPr lang="en-US" b="1" baseline="0" dirty="0"/>
              <a:t>T: Cortana Intelligence take all of this data and stores it using Big Data storage technologies. </a:t>
            </a:r>
          </a:p>
          <a:p>
            <a:endParaRPr lang="en-US" baseline="0" dirty="0"/>
          </a:p>
          <a:p>
            <a:endParaRPr lang="en-US" baseline="0" dirty="0"/>
          </a:p>
          <a:p>
            <a:endParaRPr lang="en-US" baseline="0" dirty="0"/>
          </a:p>
          <a:p>
            <a:r>
              <a:rPr lang="en-US" baseline="0" dirty="0"/>
              <a:t>---</a:t>
            </a:r>
          </a:p>
          <a:p>
            <a:pPr marL="0" marR="0" indent="0" algn="l" defTabSz="932742" rtl="0" eaLnBrk="1" fontAlgn="auto" latinLnBrk="0" hangingPunct="1">
              <a:lnSpc>
                <a:spcPct val="90000"/>
              </a:lnSpc>
              <a:spcBef>
                <a:spcPts val="0"/>
              </a:spcBef>
              <a:spcAft>
                <a:spcPts val="340"/>
              </a:spcAft>
              <a:buClrTx/>
              <a:buSzTx/>
              <a:buFontTx/>
              <a:buNone/>
              <a:tabLst/>
              <a:defRPr/>
            </a:pPr>
            <a:r>
              <a:rPr lang="en-US" baseline="0" dirty="0"/>
              <a:t>An application can benefit from Event hub when you have a large amount of data coming in, and at the same time, you need to process that large amount of data without risking any loss.</a:t>
            </a:r>
          </a:p>
          <a:p>
            <a:endParaRPr lang="en-US" baseline="0" dirty="0"/>
          </a:p>
          <a:p>
            <a:pPr marL="0" marR="0" indent="0" algn="l" defTabSz="932742" rtl="0" eaLnBrk="1" fontAlgn="auto" latinLnBrk="0" hangingPunct="1">
              <a:lnSpc>
                <a:spcPct val="90000"/>
              </a:lnSpc>
              <a:spcBef>
                <a:spcPts val="0"/>
              </a:spcBef>
              <a:spcAft>
                <a:spcPts val="340"/>
              </a:spcAft>
              <a:buClrTx/>
              <a:buSzTx/>
              <a:buFontTx/>
              <a:buNone/>
              <a:tabLst/>
              <a:defRPr/>
            </a:pPr>
            <a:r>
              <a:rPr lang="en-US" dirty="0"/>
              <a:t>For example, you have a voice dictation application, and you collect the audio,</a:t>
            </a:r>
            <a:r>
              <a:rPr lang="en-US" baseline="0" dirty="0"/>
              <a:t> and use a service bus to send it to windows, but have a lot of users. You would be better off using event hub and processing that data through stream analytics to sort the data, and from there route into whatever processing pipe you have set up. Because you need your user input and the feedback to be as quick as possible, while running analytics on the data, event hub will allow you to scale at the pace needed.</a:t>
            </a:r>
          </a:p>
          <a:p>
            <a:endParaRPr lang="en-US" dirty="0"/>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6/2016 8:4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885425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6/2016 8:2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6344770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dirty="0"/>
              <a:t>T: Azure provides a variety of storage options, including Blobs.</a:t>
            </a:r>
            <a:r>
              <a:rPr lang="en-US" b="1" baseline="0" dirty="0"/>
              <a:t> Here we’ll dive into the two main storage options with Cortana Intelligence, starting with Data Lake Store. </a:t>
            </a:r>
            <a:endParaRPr lang="en-US" b="1" dirty="0"/>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rPr>
              <a:t>Build 2015</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31467"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6/2016 8:40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40470061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a:solidFill>
                  <a:schemeClr val="tx1"/>
                </a:solidFill>
                <a:effectLst/>
                <a:latin typeface="Segoe UI Light" pitchFamily="34" charset="0"/>
                <a:ea typeface="+mn-ea"/>
                <a:cs typeface="+mn-cs"/>
              </a:rPr>
              <a:t>Your data are valuable assets to your organization and have both present and future value. Because of this, all data should be stored for future analysis. Today this is often not done because of the restrictions of traditional analytics infrastructure, like the pre-definition of schemas, the cost of storing large datasets, and the propagation of different data silos. </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To address this challenge, the data lake concept was introduced as an enterprise-wide repository to store every type of data collected in a single place. For the purpose of operational and exploratory analytics, data of all types can be stored in a data lake prior to defining requirements or schema.</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Microsoft Azure Data Lake Store is a Hadoop file system that’s compatible with Hadoop Distributed File System (HDFS) and works with the Hadoop ecosystem. Data Lake Store is integrated with Azure Data Lake Analytics and Azure HDInsight and will be integrated with Microsoft offerings like Revolution-R Enterprise; industry-standard distributions like Hortonworks, Cloudera, and </a:t>
            </a:r>
            <a:r>
              <a:rPr lang="en-US" sz="900" b="0" i="0" kern="1200" dirty="0" err="1">
                <a:solidFill>
                  <a:schemeClr val="tx1"/>
                </a:solidFill>
                <a:effectLst/>
                <a:latin typeface="Segoe UI Light" pitchFamily="34" charset="0"/>
                <a:ea typeface="+mn-ea"/>
                <a:cs typeface="+mn-cs"/>
              </a:rPr>
              <a:t>MapR</a:t>
            </a:r>
            <a:r>
              <a:rPr lang="en-US" sz="900" b="0" i="0" kern="1200" dirty="0">
                <a:solidFill>
                  <a:schemeClr val="tx1"/>
                </a:solidFill>
                <a:effectLst/>
                <a:latin typeface="Segoe UI Light" pitchFamily="34" charset="0"/>
                <a:ea typeface="+mn-ea"/>
                <a:cs typeface="+mn-cs"/>
              </a:rPr>
              <a:t>; and individual Hadoop projects like Spark, Storm, Flume, </a:t>
            </a:r>
            <a:r>
              <a:rPr lang="en-US" sz="900" b="0" i="0" kern="1200" dirty="0" err="1">
                <a:solidFill>
                  <a:schemeClr val="tx1"/>
                </a:solidFill>
                <a:effectLst/>
                <a:latin typeface="Segoe UI Light" pitchFamily="34" charset="0"/>
                <a:ea typeface="+mn-ea"/>
                <a:cs typeface="+mn-cs"/>
              </a:rPr>
              <a:t>Sqoop</a:t>
            </a:r>
            <a:r>
              <a:rPr lang="en-US" sz="900" b="0" i="0" kern="1200" dirty="0">
                <a:solidFill>
                  <a:schemeClr val="tx1"/>
                </a:solidFill>
                <a:effectLst/>
                <a:latin typeface="Segoe UI Light" pitchFamily="34" charset="0"/>
                <a:ea typeface="+mn-ea"/>
                <a:cs typeface="+mn-cs"/>
              </a:rPr>
              <a:t>, and Kafka.</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Data Lake Store is a very open</a:t>
            </a:r>
            <a:r>
              <a:rPr lang="en-US" sz="900" b="0" i="0" kern="1200" baseline="0" dirty="0">
                <a:solidFill>
                  <a:schemeClr val="tx1"/>
                </a:solidFill>
                <a:effectLst/>
                <a:latin typeface="Segoe UI Light" pitchFamily="34" charset="0"/>
                <a:ea typeface="+mn-ea"/>
                <a:cs typeface="+mn-cs"/>
              </a:rPr>
              <a:t>, </a:t>
            </a:r>
            <a:r>
              <a:rPr lang="en-US" sz="900" b="0" i="0" kern="1200" dirty="0">
                <a:solidFill>
                  <a:schemeClr val="tx1"/>
                </a:solidFill>
                <a:effectLst/>
                <a:latin typeface="Segoe UI Light" pitchFamily="34" charset="0"/>
                <a:ea typeface="+mn-ea"/>
                <a:cs typeface="+mn-cs"/>
              </a:rPr>
              <a:t>massive scale data store designed for extremely high throughput and low latency for analytics workloads.</a:t>
            </a:r>
          </a:p>
          <a:p>
            <a:r>
              <a:rPr lang="en-US" sz="900" b="0" i="0" kern="1200" dirty="0">
                <a:solidFill>
                  <a:schemeClr val="tx1"/>
                </a:solidFill>
                <a:effectLst/>
                <a:latin typeface="Segoe UI Light" pitchFamily="34" charset="0"/>
                <a:ea typeface="+mn-ea"/>
                <a:cs typeface="+mn-cs"/>
              </a:rPr>
              <a:t>At the same time, its built-in security ensures you can include even your most critical workloads on it.</a:t>
            </a:r>
          </a:p>
          <a:p>
            <a:endParaRPr lang="en-US" sz="900" b="0" i="0" kern="1200" baseline="0" dirty="0">
              <a:solidFill>
                <a:schemeClr val="tx1"/>
              </a:solidFill>
              <a:effectLst/>
              <a:latin typeface="Segoe UI Light" pitchFamily="34" charset="0"/>
              <a:ea typeface="+mn-ea"/>
              <a:cs typeface="+mn-cs"/>
            </a:endParaRPr>
          </a:p>
          <a:p>
            <a:r>
              <a:rPr lang="en-US" sz="900" b="1" i="0" kern="1200" baseline="0" dirty="0">
                <a:solidFill>
                  <a:schemeClr val="tx1"/>
                </a:solidFill>
                <a:effectLst/>
                <a:latin typeface="Segoe UI Light" pitchFamily="34" charset="0"/>
                <a:ea typeface="+mn-ea"/>
                <a:cs typeface="+mn-cs"/>
              </a:rPr>
              <a:t>T:  You may have noticed we are emphasizing these services are all built to scale, and SQL Data Warehouse is no different.</a:t>
            </a:r>
            <a:endParaRPr lang="en-US" b="1"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6/2016 8:4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9275882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a:solidFill>
                  <a:schemeClr val="tx1"/>
                </a:solidFill>
                <a:effectLst/>
                <a:latin typeface="Segoe UI Light" pitchFamily="34" charset="0"/>
                <a:ea typeface="+mn-ea"/>
                <a:cs typeface="+mn-cs"/>
              </a:rPr>
              <a:t>Historically, data warehouses have required fixed combinations of storage and compute, often underutilizing expensive resources. With Azure SQL Data Warehouse, storage and compute scale independently. You can dynamically deploy, grow, shrink, and even pause compute, taking advantage of best-in-class price/performance. Also, SQL Data Warehouse uses the power and familiarity of T-SQL to let you easily integrate query results across relational data in your data warehouse and non-relational data in Azure blob storage.</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SQL Data Warehouse uses Microsoft’s massively parallel processing (MPP) architecture. You pay for time-to-insight, not hardware, based on performance objectives for fundamental data warehousing operations like scanning, loading, and query processing. SQL Data Warehouse uses SQL Server in-memory </a:t>
            </a:r>
            <a:r>
              <a:rPr lang="en-US" sz="900" b="0" i="0" kern="1200" dirty="0" err="1">
                <a:solidFill>
                  <a:schemeClr val="tx1"/>
                </a:solidFill>
                <a:effectLst/>
                <a:latin typeface="Segoe UI Light" pitchFamily="34" charset="0"/>
                <a:ea typeface="+mn-ea"/>
                <a:cs typeface="+mn-cs"/>
              </a:rPr>
              <a:t>columnstore</a:t>
            </a:r>
            <a:r>
              <a:rPr lang="en-US" sz="900" b="0" i="0" kern="1200" dirty="0">
                <a:solidFill>
                  <a:schemeClr val="tx1"/>
                </a:solidFill>
                <a:effectLst/>
                <a:latin typeface="Segoe UI Light" pitchFamily="34" charset="0"/>
                <a:ea typeface="+mn-ea"/>
                <a:cs typeface="+mn-cs"/>
              </a:rPr>
              <a:t> indexes and an advanced cost-based query optimizer to deliver optimal price/performance.</a:t>
            </a:r>
          </a:p>
          <a:p>
            <a:endParaRPr lang="en-US" sz="900" b="0" i="0" kern="1200" dirty="0">
              <a:solidFill>
                <a:schemeClr val="tx1"/>
              </a:solidFill>
              <a:effectLst/>
              <a:latin typeface="Segoe UI Light" pitchFamily="34" charset="0"/>
              <a:ea typeface="+mn-ea"/>
              <a:cs typeface="+mn-cs"/>
            </a:endParaRPr>
          </a:p>
          <a:p>
            <a:r>
              <a:rPr lang="en-US" sz="900" b="1" i="0" kern="1200" dirty="0">
                <a:solidFill>
                  <a:schemeClr val="tx1"/>
                </a:solidFill>
                <a:effectLst/>
                <a:latin typeface="Segoe UI Light" pitchFamily="34" charset="0"/>
                <a:ea typeface="+mn-ea"/>
                <a:cs typeface="+mn-cs"/>
              </a:rPr>
              <a:t>T:</a:t>
            </a:r>
            <a:r>
              <a:rPr lang="en-US" sz="900" b="1" i="0" kern="1200" baseline="0" dirty="0">
                <a:solidFill>
                  <a:schemeClr val="tx1"/>
                </a:solidFill>
                <a:effectLst/>
                <a:latin typeface="Segoe UI Light" pitchFamily="34" charset="0"/>
                <a:ea typeface="+mn-ea"/>
                <a:cs typeface="+mn-cs"/>
              </a:rPr>
              <a:t> Next let’s look at Machine Learning and Analytics</a:t>
            </a:r>
            <a:endParaRPr lang="en-US" sz="900" b="1"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6/2016 8:4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2994417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dirty="0"/>
              <a:t>T: Advanced analytics services are where data starts turning into insight that drives intelligent action. </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rPr>
              <a:t>Build 2015</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31467"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6/2016 8:40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0</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93383211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Machine</a:t>
            </a:r>
            <a:r>
              <a:rPr lang="en-US" baseline="0" dirty="0"/>
              <a:t> Learning is </a:t>
            </a:r>
            <a:r>
              <a:rPr lang="en-US" sz="900" b="0" i="0" kern="1200" baseline="0" dirty="0">
                <a:solidFill>
                  <a:schemeClr val="tx1"/>
                </a:solidFill>
                <a:effectLst/>
                <a:latin typeface="Segoe UI Light" pitchFamily="34" charset="0"/>
                <a:ea typeface="+mn-ea"/>
                <a:cs typeface="+mn-cs"/>
              </a:rPr>
              <a:t>a</a:t>
            </a:r>
            <a:r>
              <a:rPr lang="en-US" sz="900" b="0" i="0" kern="1200" dirty="0">
                <a:solidFill>
                  <a:schemeClr val="tx1"/>
                </a:solidFill>
                <a:effectLst/>
                <a:latin typeface="Segoe UI Light" pitchFamily="34" charset="0"/>
                <a:ea typeface="+mn-ea"/>
                <a:cs typeface="+mn-cs"/>
              </a:rPr>
              <a:t> fully managed cloud service that enables you to easily build, deploy, and share predictive analytics solutions.</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You can deploy your model into production as a web service in minutes—a web service that can be called from any device, anywhere and that can use any data source.</a:t>
            </a:r>
          </a:p>
          <a:p>
            <a:r>
              <a:rPr lang="en-US" sz="900" b="0" i="0" kern="1200" dirty="0">
                <a:solidFill>
                  <a:schemeClr val="tx1"/>
                </a:solidFill>
                <a:effectLst/>
                <a:latin typeface="Segoe UI Light" pitchFamily="34" charset="0"/>
                <a:ea typeface="+mn-ea"/>
                <a:cs typeface="+mn-cs"/>
              </a:rPr>
              <a:t>You can also Share your solution with the world in the Gallery or on the Azure Marketplace.</a:t>
            </a:r>
          </a:p>
          <a:p>
            <a:r>
              <a:rPr lang="en-US" sz="900" b="0" i="0" kern="1200" dirty="0">
                <a:solidFill>
                  <a:schemeClr val="tx1"/>
                </a:solidFill>
                <a:effectLst/>
                <a:latin typeface="Segoe UI Light" pitchFamily="34" charset="0"/>
                <a:ea typeface="+mn-ea"/>
                <a:cs typeface="+mn-cs"/>
              </a:rPr>
              <a:t>We’ll get into more details about what Machine</a:t>
            </a:r>
            <a:r>
              <a:rPr lang="en-US" sz="900" b="0" i="0" kern="1200" baseline="0" dirty="0">
                <a:solidFill>
                  <a:schemeClr val="tx1"/>
                </a:solidFill>
                <a:effectLst/>
                <a:latin typeface="Segoe UI Light" pitchFamily="34" charset="0"/>
                <a:ea typeface="+mn-ea"/>
                <a:cs typeface="+mn-cs"/>
              </a:rPr>
              <a:t> Learning can do in our demo later on. </a:t>
            </a:r>
            <a:endParaRPr lang="en-US" sz="900" b="0" i="0" kern="1200" dirty="0">
              <a:solidFill>
                <a:schemeClr val="tx1"/>
              </a:solidFill>
              <a:effectLst/>
              <a:latin typeface="Segoe UI Light" pitchFamily="34" charset="0"/>
              <a:ea typeface="+mn-ea"/>
              <a:cs typeface="+mn-cs"/>
            </a:endParaRPr>
          </a:p>
          <a:p>
            <a:endParaRPr lang="en-US" sz="900" b="0" i="0" kern="1200" dirty="0">
              <a:solidFill>
                <a:schemeClr val="tx1"/>
              </a:solidFill>
              <a:effectLst/>
              <a:latin typeface="Segoe UI Light" pitchFamily="34" charset="0"/>
              <a:ea typeface="+mn-ea"/>
              <a:cs typeface="+mn-cs"/>
            </a:endParaRPr>
          </a:p>
          <a:p>
            <a:r>
              <a:rPr lang="en-US" sz="900" b="1" i="0" kern="1200" dirty="0">
                <a:solidFill>
                  <a:schemeClr val="tx1"/>
                </a:solidFill>
                <a:effectLst/>
                <a:latin typeface="Segoe UI Light" pitchFamily="34" charset="0"/>
                <a:ea typeface="+mn-ea"/>
                <a:cs typeface="+mn-cs"/>
              </a:rPr>
              <a:t>T: Next is Data Lake Analytics.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6/2016 8:4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5433910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a:solidFill>
                  <a:schemeClr val="tx1"/>
                </a:solidFill>
                <a:effectLst/>
                <a:latin typeface="Segoe UI Light" pitchFamily="34" charset="0"/>
                <a:ea typeface="+mn-ea"/>
                <a:cs typeface="+mn-cs"/>
              </a:rPr>
              <a:t>Azure Data Lake Analytics is a new distributed service in the Azure Data Lake. </a:t>
            </a:r>
            <a:r>
              <a:rPr lang="en-US" sz="900" b="0" i="0" kern="1200" baseline="0" dirty="0">
                <a:solidFill>
                  <a:schemeClr val="tx1"/>
                </a:solidFill>
                <a:effectLst/>
                <a:latin typeface="Segoe UI Light" pitchFamily="34" charset="0"/>
                <a:ea typeface="+mn-ea"/>
                <a:cs typeface="+mn-cs"/>
              </a:rPr>
              <a:t> </a:t>
            </a:r>
            <a:r>
              <a:rPr lang="en-US" sz="900" b="0" i="0" kern="1200" dirty="0">
                <a:solidFill>
                  <a:schemeClr val="tx1"/>
                </a:solidFill>
                <a:effectLst/>
                <a:latin typeface="Segoe UI Light" pitchFamily="34" charset="0"/>
                <a:ea typeface="+mn-ea"/>
                <a:cs typeface="+mn-cs"/>
              </a:rPr>
              <a:t>We built Azure Data Lake Analytics from the ground up for cloud scale and performance. Data Lake Analytics makes the complex task of managing distributed infrastructure and complex code easy. It dynamically provisions resources and lets you do analytics on </a:t>
            </a:r>
            <a:r>
              <a:rPr lang="en-US" sz="900" b="0" i="0" kern="1200" dirty="0" err="1">
                <a:solidFill>
                  <a:schemeClr val="tx1"/>
                </a:solidFill>
                <a:effectLst/>
                <a:latin typeface="Segoe UI Light" pitchFamily="34" charset="0"/>
                <a:ea typeface="+mn-ea"/>
                <a:cs typeface="+mn-cs"/>
              </a:rPr>
              <a:t>exabytes</a:t>
            </a:r>
            <a:r>
              <a:rPr lang="en-US" sz="900" b="0" i="0" kern="1200" dirty="0">
                <a:solidFill>
                  <a:schemeClr val="tx1"/>
                </a:solidFill>
                <a:effectLst/>
                <a:latin typeface="Segoe UI Light" pitchFamily="34" charset="0"/>
                <a:ea typeface="+mn-ea"/>
                <a:cs typeface="+mn-cs"/>
              </a:rPr>
              <a:t> of data. When the job completes, it winds down resources automatically, and you pay only for the processing power used. As you increase or decrease the size of data stored or the amount of compute used, you don’t have to rewrite code. This lets you focus on your business logic only and not on how to process and store large datasets. It also takes away the complexities normally associated with big data in the cloud and ensures that Data Lake will meet your current and future business needs.</a:t>
            </a:r>
            <a:endParaRPr lang="en-US" sz="900" b="0" i="0" kern="1200" baseline="0" dirty="0">
              <a:solidFill>
                <a:schemeClr val="tx1"/>
              </a:solidFill>
              <a:effectLst/>
              <a:latin typeface="Segoe UI Light" pitchFamily="34" charset="0"/>
              <a:ea typeface="+mn-ea"/>
              <a:cs typeface="+mn-cs"/>
            </a:endParaRPr>
          </a:p>
          <a:p>
            <a:endParaRPr lang="en-US" sz="900" b="0" i="0" kern="1200" baseline="0" dirty="0">
              <a:solidFill>
                <a:schemeClr val="tx1"/>
              </a:solidFill>
              <a:effectLst/>
              <a:latin typeface="Segoe UI Light" pitchFamily="34" charset="0"/>
              <a:ea typeface="+mn-ea"/>
              <a:cs typeface="+mn-cs"/>
            </a:endParaRPr>
          </a:p>
          <a:p>
            <a:pPr marL="0" marR="0" indent="0" algn="l" defTabSz="932742" rtl="0" eaLnBrk="1" fontAlgn="auto" latinLnBrk="0" hangingPunct="1">
              <a:lnSpc>
                <a:spcPct val="90000"/>
              </a:lnSpc>
              <a:spcBef>
                <a:spcPts val="0"/>
              </a:spcBef>
              <a:spcAft>
                <a:spcPts val="340"/>
              </a:spcAft>
              <a:buClrTx/>
              <a:buSzTx/>
              <a:buFontTx/>
              <a:buNone/>
              <a:tabLst/>
              <a:defRPr/>
            </a:pPr>
            <a:r>
              <a:rPr lang="en-US" sz="900" b="0" i="0" kern="1200" baseline="0" dirty="0">
                <a:solidFill>
                  <a:schemeClr val="tx1"/>
                </a:solidFill>
                <a:effectLst/>
                <a:latin typeface="Segoe UI Light" pitchFamily="34" charset="0"/>
                <a:ea typeface="+mn-ea"/>
                <a:cs typeface="+mn-cs"/>
              </a:rPr>
              <a:t>Azure Data Lake is the only solution that uses U-SQL, A powerful new language that brings the best of SQL and C# together with open source capabilities like Hive or Spark. </a:t>
            </a:r>
          </a:p>
          <a:p>
            <a:r>
              <a:rPr lang="en-US" sz="900" b="0" i="0" kern="1200" baseline="0" dirty="0">
                <a:solidFill>
                  <a:schemeClr val="tx1"/>
                </a:solidFill>
                <a:effectLst/>
                <a:latin typeface="Segoe UI Light" pitchFamily="34" charset="0"/>
                <a:ea typeface="+mn-ea"/>
                <a:cs typeface="+mn-cs"/>
              </a:rPr>
              <a:t>It is built for cloud scale and performance, it’s managed and it’s easy to set up. It seamlessly integrates with existing systems to make you productive from day one.</a:t>
            </a:r>
          </a:p>
          <a:p>
            <a:endParaRPr lang="en-US" sz="900" b="0" i="0" kern="1200" baseline="0" dirty="0">
              <a:solidFill>
                <a:schemeClr val="tx1"/>
              </a:solidFill>
              <a:effectLst/>
              <a:latin typeface="Segoe UI Light" pitchFamily="34" charset="0"/>
              <a:ea typeface="+mn-ea"/>
              <a:cs typeface="+mn-cs"/>
            </a:endParaRPr>
          </a:p>
          <a:p>
            <a:r>
              <a:rPr lang="en-US" sz="900" b="1" i="0" kern="1200" baseline="0" dirty="0">
                <a:solidFill>
                  <a:schemeClr val="tx1"/>
                </a:solidFill>
                <a:effectLst/>
                <a:latin typeface="Segoe UI Light" pitchFamily="34" charset="0"/>
                <a:ea typeface="+mn-ea"/>
                <a:cs typeface="+mn-cs"/>
              </a:rPr>
              <a:t>T: Next, let’s discuss HDInsight. </a:t>
            </a:r>
            <a:endParaRPr lang="en-US" sz="900" b="0" i="0" kern="1200" baseline="0" dirty="0">
              <a:solidFill>
                <a:schemeClr val="tx1"/>
              </a:solidFill>
              <a:effectLst/>
              <a:latin typeface="Segoe UI Light" pitchFamily="34" charset="0"/>
              <a:ea typeface="+mn-ea"/>
              <a:cs typeface="+mn-cs"/>
            </a:endParaRPr>
          </a:p>
          <a:p>
            <a:endParaRPr lang="en-US" dirty="0"/>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6/2016 8:4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2547729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a:solidFill>
                  <a:schemeClr val="tx1"/>
                </a:solidFill>
                <a:effectLst/>
                <a:latin typeface="Segoe UI Light" pitchFamily="34" charset="0"/>
                <a:ea typeface="+mn-ea"/>
                <a:cs typeface="+mn-cs"/>
              </a:rPr>
              <a:t>Azure HDInsight is an Apache Hadoop distribution powered by the cloud. This means that it handles any amount of data, scaling from terabytes to petabytes on demand. Spin up any number of nodes at any time. We charge only for the compute and storage that you use.</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Because it's 100 percent Apache Hadoop, HDInsight can process unstructured or semi-structured data from web clickstreams, social media, server logs, devices and sensors, and more. This lets you analyze new sets of data and uncover new business possibilities that drive your organization forward.</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HDInsight has powerful programming extensions for languages including </a:t>
            </a:r>
            <a:r>
              <a:rPr lang="en-US" sz="900" b="0" i="0" u="none" strike="noStrike" kern="1200" dirty="0">
                <a:solidFill>
                  <a:schemeClr val="tx1"/>
                </a:solidFill>
                <a:effectLst/>
                <a:latin typeface="Segoe UI Light" pitchFamily="34" charset="0"/>
                <a:ea typeface="+mn-ea"/>
                <a:cs typeface="+mn-cs"/>
                <a:hlinkClick r:id="rId3"/>
              </a:rPr>
              <a:t>C#</a:t>
            </a:r>
            <a:r>
              <a:rPr lang="en-US" sz="900" b="0" i="0" kern="120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hlinkClick r:id="rId4"/>
              </a:rPr>
              <a:t>Java</a:t>
            </a:r>
            <a:r>
              <a:rPr lang="en-US" sz="900" b="0" i="0" kern="1200" dirty="0">
                <a:solidFill>
                  <a:schemeClr val="tx1"/>
                </a:solidFill>
                <a:effectLst/>
                <a:latin typeface="Segoe UI Light" pitchFamily="34" charset="0"/>
                <a:ea typeface="+mn-ea"/>
                <a:cs typeface="+mn-cs"/>
              </a:rPr>
              <a:t>, and</a:t>
            </a:r>
            <a:r>
              <a:rPr lang="en-US" sz="900" b="0" i="0" u="none" strike="noStrike" kern="1200" dirty="0">
                <a:solidFill>
                  <a:schemeClr val="tx1"/>
                </a:solidFill>
                <a:effectLst/>
                <a:latin typeface="Segoe UI Light" pitchFamily="34" charset="0"/>
                <a:ea typeface="+mn-ea"/>
                <a:cs typeface="+mn-cs"/>
                <a:hlinkClick r:id="rId5"/>
              </a:rPr>
              <a:t>.NET</a:t>
            </a:r>
            <a:r>
              <a:rPr lang="en-US" sz="900" b="0" i="0" kern="1200" dirty="0">
                <a:solidFill>
                  <a:schemeClr val="tx1"/>
                </a:solidFill>
                <a:effectLst/>
                <a:latin typeface="Segoe UI Light" pitchFamily="34" charset="0"/>
                <a:ea typeface="+mn-ea"/>
                <a:cs typeface="+mn-cs"/>
              </a:rPr>
              <a:t>. Use your programming language of choice on Hadoop to create, configure, submit, and monitor Hadoop jobs. With HDInsight, deploy Hadoop in the cloud without buying new hardware or incurring other up-front costs. There’s also no time-consuming installation or set up. Azure does it for you. Launch your first cluster in minutes. </a:t>
            </a:r>
          </a:p>
          <a:p>
            <a:r>
              <a:rPr lang="en-US" sz="900" b="0" i="0" kern="1200" dirty="0">
                <a:solidFill>
                  <a:schemeClr val="tx1"/>
                </a:solidFill>
                <a:effectLst/>
                <a:latin typeface="Segoe UI Light" pitchFamily="34" charset="0"/>
                <a:ea typeface="+mn-ea"/>
                <a:cs typeface="+mn-cs"/>
              </a:rPr>
              <a:t>Because it's integrated with Excel, HDInsight lets you visualize and analyze your Hadoop data in compelling new ways using a tool that's familiar to your business users. From Excel, users can select HDInsight as a data source. HDInsight is also integrated with </a:t>
            </a:r>
            <a:r>
              <a:rPr lang="en-US" sz="900" b="0" i="0" u="none" strike="noStrike" kern="1200" dirty="0">
                <a:solidFill>
                  <a:schemeClr val="tx1"/>
                </a:solidFill>
                <a:effectLst/>
                <a:latin typeface="Segoe UI Light" pitchFamily="34" charset="0"/>
                <a:ea typeface="+mn-ea"/>
                <a:cs typeface="+mn-cs"/>
                <a:hlinkClick r:id="rId6"/>
              </a:rPr>
              <a:t>Hortonworks Data Platform</a:t>
            </a:r>
            <a:r>
              <a:rPr lang="en-US" sz="900" b="0" i="0" kern="1200" dirty="0">
                <a:solidFill>
                  <a:schemeClr val="tx1"/>
                </a:solidFill>
                <a:effectLst/>
                <a:latin typeface="Segoe UI Light" pitchFamily="34" charset="0"/>
                <a:ea typeface="+mn-ea"/>
                <a:cs typeface="+mn-cs"/>
              </a:rPr>
              <a:t>, letting you move Hadoop data from an on-site datacenter to the Azure cloud for backup, Dev/Test, and cloud-bursting scenarios. Using the </a:t>
            </a:r>
            <a:r>
              <a:rPr lang="en-US" sz="900" b="0" i="0" u="none" strike="noStrike" kern="1200" dirty="0">
                <a:solidFill>
                  <a:schemeClr val="tx1"/>
                </a:solidFill>
                <a:effectLst/>
                <a:latin typeface="Segoe UI Light" pitchFamily="34" charset="0"/>
                <a:ea typeface="+mn-ea"/>
                <a:cs typeface="+mn-cs"/>
                <a:hlinkClick r:id="rId7"/>
              </a:rPr>
              <a:t>Microsoft Analytics Platform System</a:t>
            </a:r>
            <a:r>
              <a:rPr lang="en-US" sz="900" b="0" i="0" kern="1200" dirty="0">
                <a:solidFill>
                  <a:schemeClr val="tx1"/>
                </a:solidFill>
                <a:effectLst/>
                <a:latin typeface="Segoe UI Light" pitchFamily="34" charset="0"/>
                <a:ea typeface="+mn-ea"/>
                <a:cs typeface="+mn-cs"/>
              </a:rPr>
              <a:t>, you can even query your on-premises and cloud-based Hadoop clusters at the same time.</a:t>
            </a:r>
          </a:p>
          <a:p>
            <a:endParaRPr lang="en-US" sz="900" b="0" i="0" kern="1200" dirty="0">
              <a:solidFill>
                <a:schemeClr val="tx1"/>
              </a:solidFill>
              <a:effectLst/>
              <a:latin typeface="Segoe UI Light" pitchFamily="34" charset="0"/>
              <a:ea typeface="+mn-ea"/>
              <a:cs typeface="+mn-cs"/>
            </a:endParaRPr>
          </a:p>
          <a:p>
            <a:r>
              <a:rPr lang="en-US" sz="900" b="1" i="0" kern="1200" dirty="0">
                <a:solidFill>
                  <a:schemeClr val="tx1"/>
                </a:solidFill>
                <a:effectLst/>
                <a:latin typeface="Segoe UI Light" pitchFamily="34" charset="0"/>
                <a:ea typeface="+mn-ea"/>
                <a:cs typeface="+mn-cs"/>
              </a:rPr>
              <a:t>T: Next up is Azure Stream Analytics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6/2016 8:4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8627008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a:solidFill>
                  <a:schemeClr val="tx1"/>
                </a:solidFill>
                <a:effectLst/>
                <a:latin typeface="Segoe UI Light" pitchFamily="34" charset="0"/>
                <a:ea typeface="+mn-ea"/>
                <a:cs typeface="+mn-cs"/>
              </a:rPr>
              <a:t>Azure Stream Analytics lets you rapidly develop and deploy low-cost solutions to gain real-time insights from streaming data from devices, sensors, infrastructure, and applications. Use it for Internet of Things (IoT) scenarios, such as real-time remote management and monitoring or gaining insights from devices like mobile phones and connected cars.</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With</a:t>
            </a:r>
            <a:r>
              <a:rPr lang="en-US" sz="900" b="0" i="0" kern="1200" baseline="0" dirty="0">
                <a:solidFill>
                  <a:schemeClr val="tx1"/>
                </a:solidFill>
                <a:effectLst/>
                <a:latin typeface="Segoe UI Light" pitchFamily="34" charset="0"/>
                <a:ea typeface="+mn-ea"/>
                <a:cs typeface="+mn-cs"/>
              </a:rPr>
              <a:t> every device, service, and process becoming a data point, the problem can often be analyzing and acting on data fast enough. Stream Analytics is easy to deploy, and simple to develop for, a low cost end to end event stream processing solution, that scales on demand.</a:t>
            </a:r>
          </a:p>
          <a:p>
            <a:endParaRPr lang="en-US" sz="900" b="0" i="0" kern="1200" baseline="0" dirty="0">
              <a:solidFill>
                <a:schemeClr val="tx1"/>
              </a:solidFill>
              <a:effectLst/>
              <a:latin typeface="Segoe UI Light" pitchFamily="34" charset="0"/>
              <a:ea typeface="+mn-ea"/>
              <a:cs typeface="+mn-cs"/>
            </a:endParaRPr>
          </a:p>
          <a:p>
            <a:r>
              <a:rPr lang="en-US" sz="900" b="0" i="0" kern="1200" baseline="0" dirty="0">
                <a:solidFill>
                  <a:schemeClr val="tx1"/>
                </a:solidFill>
                <a:effectLst/>
                <a:latin typeface="Segoe UI Light" pitchFamily="34" charset="0"/>
                <a:ea typeface="+mn-ea"/>
                <a:cs typeface="+mn-cs"/>
              </a:rPr>
              <a:t>Use fewer lines of code with built in analysis processes. Combine Stream Analytics with Event Hubs to analyze millions of points of data in a reliable environment. </a:t>
            </a:r>
          </a:p>
          <a:p>
            <a:endParaRPr lang="en-US" sz="900" b="0" i="0" kern="1200" baseline="0" dirty="0">
              <a:solidFill>
                <a:schemeClr val="tx1"/>
              </a:solidFill>
              <a:effectLst/>
              <a:latin typeface="Segoe UI Light" pitchFamily="34" charset="0"/>
              <a:ea typeface="+mn-ea"/>
              <a:cs typeface="+mn-cs"/>
            </a:endParaRPr>
          </a:p>
          <a:p>
            <a:r>
              <a:rPr lang="en-US" sz="900" b="1" i="0" kern="1200" baseline="0" dirty="0">
                <a:solidFill>
                  <a:schemeClr val="tx1"/>
                </a:solidFill>
                <a:effectLst/>
                <a:latin typeface="Segoe UI Light" pitchFamily="34" charset="0"/>
                <a:ea typeface="+mn-ea"/>
                <a:cs typeface="+mn-cs"/>
              </a:rPr>
              <a:t>T: Next, we’ll take a look at a demo that illustrates the value of the intelligence capabilities that Cortana Intelligence offers. </a:t>
            </a:r>
            <a:endParaRPr lang="en-US" sz="900" b="1"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6/2016 8:4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9342568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dirty="0"/>
              <a:t>T: Our intellige</a:t>
            </a:r>
            <a:r>
              <a:rPr lang="en-US" b="1" baseline="0" dirty="0"/>
              <a:t>nce capabilities fall into three areas – Cognitive Services, Bot Framework and Cortana. </a:t>
            </a:r>
            <a:endParaRPr lang="en-US" b="1" dirty="0"/>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rPr>
              <a:t>Build 2015</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31467"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6/2016 8:40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5</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55049315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sz="800" kern="1200" baseline="0" dirty="0">
                <a:solidFill>
                  <a:schemeClr val="tx1"/>
                </a:solidFill>
                <a:effectLst/>
                <a:latin typeface="Segoe UI Light" pitchFamily="34" charset="0"/>
                <a:ea typeface="+mn-ea"/>
                <a:cs typeface="+mn-cs"/>
              </a:rPr>
              <a:t>What’s incredibly unique is the intelligence capabilities Cortana Intelligence offers, </a:t>
            </a:r>
            <a:r>
              <a:rPr lang="en-US" sz="800" kern="1200" dirty="0">
                <a:solidFill>
                  <a:schemeClr val="tx1"/>
                </a:solidFill>
                <a:effectLst/>
                <a:latin typeface="Segoe UI Light" pitchFamily="34" charset="0"/>
                <a:ea typeface="+mn-ea"/>
                <a:cs typeface="+mn-cs"/>
              </a:rPr>
              <a:t>building on years of Microsoft</a:t>
            </a:r>
            <a:r>
              <a:rPr lang="en-US" sz="800" kern="1200" baseline="0" dirty="0">
                <a:solidFill>
                  <a:schemeClr val="tx1"/>
                </a:solidFill>
                <a:effectLst/>
                <a:latin typeface="Segoe UI Light" pitchFamily="34" charset="0"/>
                <a:ea typeface="+mn-ea"/>
                <a:cs typeface="+mn-cs"/>
              </a:rPr>
              <a:t> </a:t>
            </a:r>
            <a:r>
              <a:rPr lang="en-US" sz="800" kern="1200" dirty="0">
                <a:solidFill>
                  <a:schemeClr val="tx1"/>
                </a:solidFill>
                <a:effectLst/>
                <a:latin typeface="Segoe UI Light" pitchFamily="34" charset="0"/>
                <a:ea typeface="+mn-ea"/>
                <a:cs typeface="+mn-cs"/>
              </a:rPr>
              <a:t>research and innovation.</a:t>
            </a:r>
            <a:r>
              <a:rPr lang="en-US" sz="800" kern="1200" baseline="0" dirty="0">
                <a:solidFill>
                  <a:schemeClr val="tx1"/>
                </a:solidFill>
                <a:effectLst/>
                <a:latin typeface="Segoe UI Light" pitchFamily="34" charset="0"/>
                <a:ea typeface="+mn-ea"/>
                <a:cs typeface="+mn-cs"/>
              </a:rPr>
              <a:t> These capabilities enable </a:t>
            </a:r>
            <a:r>
              <a:rPr lang="en-US" sz="900" kern="1200" dirty="0">
                <a:solidFill>
                  <a:schemeClr val="tx1"/>
                </a:solidFill>
                <a:effectLst/>
                <a:latin typeface="Segoe UI Light" pitchFamily="34" charset="0"/>
                <a:ea typeface="+mn-ea"/>
                <a:cs typeface="+mn-cs"/>
              </a:rPr>
              <a:t>our customers to build intelligent systems and agents that can augment their organizational capabilities.</a:t>
            </a:r>
            <a:r>
              <a:rPr lang="en-US" sz="900" kern="1200" baseline="0" dirty="0">
                <a:solidFill>
                  <a:schemeClr val="tx1"/>
                </a:solidFill>
                <a:effectLst/>
                <a:latin typeface="Segoe UI Light" pitchFamily="34" charset="0"/>
                <a:ea typeface="+mn-ea"/>
                <a:cs typeface="+mn-cs"/>
              </a:rPr>
              <a:t> For example, organizations </a:t>
            </a:r>
            <a:r>
              <a:rPr lang="en-US" sz="900" kern="1200" dirty="0">
                <a:solidFill>
                  <a:schemeClr val="tx1"/>
                </a:solidFill>
                <a:effectLst/>
                <a:latin typeface="Segoe UI Light" pitchFamily="34" charset="0"/>
                <a:ea typeface="+mn-ea"/>
                <a:cs typeface="+mn-cs"/>
              </a:rPr>
              <a:t>can interact with customers and stakeholders in new ways and infer intent with vision, face, speech, text and sentiment analysis to customize responses and drive appropriate actions.</a:t>
            </a:r>
            <a:r>
              <a:rPr lang="en-US" sz="900" kern="1200" baseline="0" dirty="0">
                <a:solidFill>
                  <a:schemeClr val="tx1"/>
                </a:solidFill>
                <a:effectLst/>
                <a:latin typeface="Segoe UI Light" pitchFamily="34" charset="0"/>
                <a:ea typeface="+mn-ea"/>
                <a:cs typeface="+mn-cs"/>
              </a:rPr>
              <a:t> </a:t>
            </a:r>
          </a:p>
          <a:p>
            <a:pPr marL="0" marR="0" lvl="1" indent="0" algn="l" defTabSz="932742" rtl="0" eaLnBrk="1" fontAlgn="auto" latinLnBrk="0" hangingPunct="1">
              <a:lnSpc>
                <a:spcPct val="90000"/>
              </a:lnSpc>
              <a:spcBef>
                <a:spcPts val="0"/>
              </a:spcBef>
              <a:spcAft>
                <a:spcPts val="340"/>
              </a:spcAft>
              <a:buClrTx/>
              <a:buSzTx/>
              <a:buFontTx/>
              <a:buNone/>
              <a:tabLst/>
              <a:defRPr/>
            </a:pPr>
            <a:endParaRPr lang="en-US" sz="900" kern="1200" dirty="0">
              <a:solidFill>
                <a:schemeClr val="tx1"/>
              </a:solidFill>
              <a:effectLst/>
              <a:latin typeface="Segoe UI Light" pitchFamily="34" charset="0"/>
              <a:ea typeface="+mn-ea"/>
              <a:cs typeface="+mn-cs"/>
            </a:endParaRPr>
          </a:p>
          <a:p>
            <a:pPr marL="0" marR="0" lvl="1" indent="0" algn="l" defTabSz="932742" rtl="0" eaLnBrk="1" fontAlgn="auto" latinLnBrk="0" hangingPunct="1">
              <a:lnSpc>
                <a:spcPct val="90000"/>
              </a:lnSpc>
              <a:spcBef>
                <a:spcPts val="0"/>
              </a:spcBef>
              <a:spcAft>
                <a:spcPts val="340"/>
              </a:spcAft>
              <a:buClrTx/>
              <a:buSzTx/>
              <a:buFontTx/>
              <a:buNone/>
              <a:tabLst/>
              <a:defRPr/>
            </a:pPr>
            <a:r>
              <a:rPr lang="en-US" sz="900" b="1" kern="1200" dirty="0">
                <a:solidFill>
                  <a:schemeClr val="tx1"/>
                </a:solidFill>
                <a:effectLst/>
                <a:latin typeface="Segoe UI Light" pitchFamily="34" charset="0"/>
                <a:ea typeface="+mn-ea"/>
                <a:cs typeface="+mn-cs"/>
              </a:rPr>
              <a:t>Microsoft Cognitive Services,</a:t>
            </a:r>
            <a:r>
              <a:rPr lang="en-US" sz="900" b="1" kern="1200" baseline="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a set of cloud services, APIs and SDKs that enable</a:t>
            </a:r>
            <a:r>
              <a:rPr lang="en-US" sz="900" kern="1200" baseline="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organizations to build intelligent systems that can see, hear, interpret and understand the world around you and makes all applications more intelligent, engaging and discoverable. Cognitive Services expands the existing perceptual intelligence capabilities like Vision, Speech, Text and Face detection to include new cognitive capabilities such as Emotion and customized Language Understanding.  What we showcased with </a:t>
            </a:r>
            <a:r>
              <a:rPr lang="en-US" sz="900" u="sng" kern="1200" dirty="0">
                <a:solidFill>
                  <a:schemeClr val="tx1"/>
                </a:solidFill>
                <a:effectLst/>
                <a:latin typeface="Segoe UI Light" pitchFamily="34" charset="0"/>
                <a:ea typeface="+mn-ea"/>
                <a:cs typeface="+mn-cs"/>
                <a:hlinkClick r:id="rId3"/>
              </a:rPr>
              <a:t>www.how-old.net</a:t>
            </a:r>
            <a:r>
              <a:rPr lang="en-US" sz="900" kern="1200" dirty="0">
                <a:solidFill>
                  <a:schemeClr val="tx1"/>
                </a:solidFill>
                <a:effectLst/>
                <a:latin typeface="Segoe UI Light" pitchFamily="34" charset="0"/>
                <a:ea typeface="+mn-ea"/>
                <a:cs typeface="+mn-cs"/>
              </a:rPr>
              <a:t> is one example of what is possible. </a:t>
            </a:r>
          </a:p>
          <a:p>
            <a:endParaRPr lang="en-US" dirty="0"/>
          </a:p>
          <a:p>
            <a:r>
              <a:rPr lang="en-US" b="1" dirty="0"/>
              <a:t>T: Next, Bot Frameworks.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6/2016 8:4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733854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s go back to</a:t>
            </a:r>
            <a:r>
              <a:rPr lang="en-US" baseline="0" dirty="0"/>
              <a:t> the Microsoft Story.</a:t>
            </a:r>
          </a:p>
          <a:p>
            <a:endParaRPr lang="en-US" dirty="0"/>
          </a:p>
          <a:p>
            <a:r>
              <a:rPr lang="en-US" dirty="0"/>
              <a:t>We</a:t>
            </a:r>
            <a:r>
              <a:rPr lang="en-US" baseline="0" dirty="0"/>
              <a:t> are in the midst of shift in the way we do general computing, and it’s a major shift for everyone – Microsoft included.</a:t>
            </a:r>
          </a:p>
          <a:p>
            <a:endParaRPr lang="en-US" baseline="0" dirty="0"/>
          </a:p>
          <a:p>
            <a:r>
              <a:rPr lang="en-US" baseline="0" dirty="0"/>
              <a:t>Every org will also be transforming sooner, than later. </a:t>
            </a:r>
          </a:p>
          <a:p>
            <a:endParaRPr lang="en-US" baseline="0" dirty="0"/>
          </a:p>
          <a:p>
            <a:r>
              <a:rPr lang="en-US" baseline="0" dirty="0"/>
              <a:t>They will be using SaaS solutions to achieve faster time to value.</a:t>
            </a:r>
          </a:p>
          <a:p>
            <a:endParaRPr lang="en-US" baseline="0" dirty="0"/>
          </a:p>
          <a:p>
            <a:r>
              <a:rPr lang="en-US" baseline="0" dirty="0"/>
              <a:t>They are going to extend their existing DCs with the help of Cloud Infrastructure and Compute to improve cost savings and agility.</a:t>
            </a:r>
          </a:p>
          <a:p>
            <a:endParaRPr lang="en-US" baseline="0" dirty="0"/>
          </a:p>
          <a:p>
            <a:r>
              <a:rPr lang="en-US" baseline="0" dirty="0"/>
              <a:t>They are going to take advantage of higher level services like ML and CAS to engage better with their customers and get more insights into their own business that will help them reinvent their business processes and get a differentiated advantage.</a:t>
            </a:r>
          </a:p>
          <a:p>
            <a:endParaRPr lang="en-US" baseline="0" dirty="0"/>
          </a:p>
          <a:p>
            <a:r>
              <a:rPr lang="en-US" baseline="0" dirty="0"/>
              <a:t>This will </a:t>
            </a:r>
            <a:r>
              <a:rPr lang="en-US" baseline="0" dirty="0" err="1"/>
              <a:t>inturn</a:t>
            </a:r>
            <a:r>
              <a:rPr lang="en-US" baseline="0" dirty="0"/>
              <a:t> help them enable real business transformation.</a:t>
            </a:r>
          </a:p>
          <a:p>
            <a:endParaRPr lang="en-NZ"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6/2016 8:21 AM</a:t>
            </a:fld>
            <a:endParaRPr kumimoji="0" lang="en-US" alt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alt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1758411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None/>
            </a:pPr>
            <a:r>
              <a:rPr lang="en-US" sz="900" b="1" kern="1200" dirty="0">
                <a:solidFill>
                  <a:schemeClr val="tx1"/>
                </a:solidFill>
                <a:effectLst/>
                <a:latin typeface="Segoe UI Light" pitchFamily="34" charset="0"/>
                <a:ea typeface="+mn-ea"/>
                <a:cs typeface="+mn-cs"/>
              </a:rPr>
              <a:t>Microsoft Bot Framework</a:t>
            </a:r>
            <a:r>
              <a:rPr lang="en-US" sz="900" b="1" kern="1200" baseline="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enables organizations to build intelligent agents (Bots) that allow your intelligent systems to interact with your users in more contextual and natural ways, from text/</a:t>
            </a:r>
            <a:r>
              <a:rPr lang="en-US" sz="900" kern="1200" dirty="0" err="1">
                <a:solidFill>
                  <a:schemeClr val="tx1"/>
                </a:solidFill>
                <a:effectLst/>
                <a:latin typeface="Segoe UI Light" pitchFamily="34" charset="0"/>
                <a:ea typeface="+mn-ea"/>
                <a:cs typeface="+mn-cs"/>
              </a:rPr>
              <a:t>sms</a:t>
            </a:r>
            <a:r>
              <a:rPr lang="en-US" sz="900" kern="1200" dirty="0">
                <a:solidFill>
                  <a:schemeClr val="tx1"/>
                </a:solidFill>
                <a:effectLst/>
                <a:latin typeface="Segoe UI Light" pitchFamily="34" charset="0"/>
                <a:ea typeface="+mn-ea"/>
                <a:cs typeface="+mn-cs"/>
              </a:rPr>
              <a:t> to Office365 mail to Skype, Slack and other services. The Bot Framework provides developers with a developer portal &amp; SDK to build your bot, a bot connector service to connect to social channels such as Twitter, Slack etc. and a bot directory to discover and use existing bots. </a:t>
            </a:r>
            <a:endParaRPr lang="en-US" sz="800" kern="1200" dirty="0">
              <a:solidFill>
                <a:schemeClr val="tx1"/>
              </a:solidFill>
              <a:effectLst/>
              <a:latin typeface="Segoe UI Light" pitchFamily="34" charset="0"/>
              <a:ea typeface="+mn-ea"/>
              <a:cs typeface="+mn-cs"/>
            </a:endParaRPr>
          </a:p>
          <a:p>
            <a:endParaRPr lang="en-US" baseline="0" dirty="0"/>
          </a:p>
          <a:p>
            <a:r>
              <a:rPr lang="en-US" b="1" baseline="0" dirty="0"/>
              <a:t>T: Next, Cortana. </a:t>
            </a:r>
            <a:endParaRPr lang="en-US" b="1"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6/2016 8:4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8424771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effectLst/>
                <a:latin typeface="Segoe UI Light" pitchFamily="34" charset="0"/>
                <a:ea typeface="+mn-ea"/>
                <a:cs typeface="+mn-cs"/>
              </a:rPr>
              <a:t>The Cortana Intelligence Suite integrates with Cortana, Microsoft’s digital personal assistant.  Cortana works with the suite to enable your business, and or your customers business, to get things done in more helpful, proactive, and natural ways.   Building on years of Microsoft’s research and innovation in perceptual intelligence including speech recognition, natural user interaction, predictive and advanced analytics, Cortana brings the capabilities of a personal digital assistant to business.</a:t>
            </a:r>
          </a:p>
          <a:p>
            <a:endParaRPr lang="en-US" baseline="0" dirty="0"/>
          </a:p>
          <a:p>
            <a:r>
              <a:rPr lang="en-US" b="1" baseline="0" dirty="0"/>
              <a:t>T: Next, we’ll look at how all of this information can be surfaced to those in your business who need it, and to your customers. </a:t>
            </a:r>
            <a:endParaRPr lang="en-US" b="1"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6/2016 8:4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4003715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800" b="0" i="0" kern="1200" dirty="0">
                <a:solidFill>
                  <a:schemeClr val="tx1"/>
                </a:solidFill>
                <a:effectLst/>
                <a:latin typeface="Segoe UI Light" pitchFamily="34" charset="0"/>
                <a:ea typeface="+mn-ea"/>
                <a:cs typeface="+mn-cs"/>
              </a:rPr>
              <a:t>Many of the services we’ve been talking about today are on the back-end. But your data</a:t>
            </a:r>
            <a:r>
              <a:rPr lang="en-US" sz="800" b="0" i="0" kern="1200" baseline="0" dirty="0">
                <a:solidFill>
                  <a:schemeClr val="tx1"/>
                </a:solidFill>
                <a:effectLst/>
                <a:latin typeface="Segoe UI Light" pitchFamily="34" charset="0"/>
                <a:ea typeface="+mn-ea"/>
                <a:cs typeface="+mn-cs"/>
              </a:rPr>
              <a:t> and the results of analytics are only useful if they can be provided to those who need them – often people without deep data expertise.  </a:t>
            </a:r>
          </a:p>
          <a:p>
            <a:pPr marL="0" marR="0" indent="0" algn="l" defTabSz="914367" rtl="0" eaLnBrk="1" fontAlgn="auto" latinLnBrk="0" hangingPunct="1">
              <a:lnSpc>
                <a:spcPct val="100000"/>
              </a:lnSpc>
              <a:spcBef>
                <a:spcPts val="0"/>
              </a:spcBef>
              <a:spcAft>
                <a:spcPts val="0"/>
              </a:spcAft>
              <a:buClrTx/>
              <a:buSzTx/>
              <a:buFontTx/>
              <a:buNone/>
              <a:tabLst/>
              <a:defRPr/>
            </a:pPr>
            <a:r>
              <a:rPr lang="en-US" sz="800" b="0" i="0" kern="1200" baseline="0" dirty="0">
                <a:solidFill>
                  <a:schemeClr val="tx1"/>
                </a:solidFill>
                <a:effectLst/>
                <a:latin typeface="Segoe UI Light" pitchFamily="34" charset="0"/>
                <a:ea typeface="+mn-ea"/>
                <a:cs typeface="+mn-cs"/>
              </a:rPr>
              <a:t>That’s where Power BI comes in. </a:t>
            </a:r>
            <a:r>
              <a:rPr lang="en-US" sz="800" kern="1200" dirty="0">
                <a:gradFill>
                  <a:gsLst>
                    <a:gs pos="1250">
                      <a:srgbClr val="000000"/>
                    </a:gs>
                    <a:gs pos="99000">
                      <a:srgbClr val="000000"/>
                    </a:gs>
                  </a:gsLst>
                  <a:lin ang="5400000" scaled="0"/>
                </a:gradFill>
                <a:latin typeface="Segoe UI Light" pitchFamily="34" charset="0"/>
                <a:ea typeface="+mn-ea"/>
                <a:cs typeface="+mn-cs"/>
              </a:rPr>
              <a:t>Power BI is a cloud-based dashboard and visualization service that provides faster time to insight. It is used for visualizing, exploring and extracting insights from data. It brings together data from diverse sources to deliver rich, comprehensive views of your</a:t>
            </a:r>
            <a:r>
              <a:rPr lang="en-US" sz="800" kern="1200" baseline="0" dirty="0">
                <a:gradFill>
                  <a:gsLst>
                    <a:gs pos="1250">
                      <a:srgbClr val="000000"/>
                    </a:gs>
                    <a:gs pos="99000">
                      <a:srgbClr val="000000"/>
                    </a:gs>
                  </a:gsLst>
                  <a:lin ang="5400000" scaled="0"/>
                </a:gradFill>
                <a:latin typeface="Segoe UI Light" pitchFamily="34" charset="0"/>
                <a:ea typeface="+mn-ea"/>
                <a:cs typeface="+mn-cs"/>
              </a:rPr>
              <a:t> business</a:t>
            </a:r>
            <a:r>
              <a:rPr lang="en-US" sz="800" kern="1200" dirty="0">
                <a:gradFill>
                  <a:gsLst>
                    <a:gs pos="1250">
                      <a:srgbClr val="000000"/>
                    </a:gs>
                    <a:gs pos="99000">
                      <a:srgbClr val="000000"/>
                    </a:gs>
                  </a:gsLst>
                  <a:lin ang="5400000" scaled="0"/>
                </a:gradFill>
                <a:latin typeface="Segoe UI Light" pitchFamily="34" charset="0"/>
                <a:ea typeface="+mn-ea"/>
                <a:cs typeface="+mn-cs"/>
              </a:rPr>
              <a:t>. With Power BI, you can see all of your data in one place</a:t>
            </a:r>
            <a:r>
              <a:rPr lang="en-US" sz="800" kern="1200" baseline="0" dirty="0">
                <a:gradFill>
                  <a:gsLst>
                    <a:gs pos="1250">
                      <a:srgbClr val="000000"/>
                    </a:gs>
                    <a:gs pos="99000">
                      <a:srgbClr val="000000"/>
                    </a:gs>
                  </a:gsLst>
                  <a:lin ang="5400000" scaled="0"/>
                </a:gradFill>
                <a:latin typeface="Segoe UI Light" pitchFamily="34" charset="0"/>
                <a:ea typeface="+mn-ea"/>
                <a:cs typeface="+mn-cs"/>
              </a:rPr>
              <a:t> </a:t>
            </a:r>
            <a:r>
              <a:rPr lang="en-US" sz="800" kern="1200" dirty="0">
                <a:gradFill>
                  <a:gsLst>
                    <a:gs pos="1250">
                      <a:srgbClr val="000000"/>
                    </a:gs>
                    <a:gs pos="99000">
                      <a:srgbClr val="000000"/>
                    </a:gs>
                  </a:gsLst>
                  <a:lin ang="5400000" scaled="0"/>
                </a:gradFill>
                <a:latin typeface="Segoe UI Light" pitchFamily="34" charset="0"/>
                <a:ea typeface="+mn-ea"/>
                <a:cs typeface="+mn-cs"/>
              </a:rPr>
              <a:t>and share reports. Live dashboards and reports show visualizations and KPIs from data that reside both on-premises and in the cloud, providing a consolidated view across your business regardless of where your data lives. </a:t>
            </a:r>
            <a:endParaRPr lang="en-US" sz="1800" kern="1200" baseline="0" dirty="0">
              <a:solidFill>
                <a:schemeClr val="tx1"/>
              </a:solidFill>
              <a:latin typeface="Segoe UI Light" pitchFamily="34" charset="0"/>
              <a:ea typeface="+mn-ea"/>
              <a:cs typeface="+mn-cs"/>
            </a:endParaRPr>
          </a:p>
          <a:p>
            <a:endParaRPr lang="en-US" sz="900" b="0" i="0" kern="1200" baseline="0" dirty="0">
              <a:solidFill>
                <a:schemeClr val="tx1"/>
              </a:solidFill>
              <a:effectLst/>
              <a:latin typeface="Segoe UI Light" pitchFamily="34" charset="0"/>
              <a:ea typeface="+mn-ea"/>
              <a:cs typeface="+mn-cs"/>
            </a:endParaRPr>
          </a:p>
          <a:p>
            <a:r>
              <a:rPr lang="en-US" sz="900" b="1" i="0" kern="1200" baseline="0" dirty="0">
                <a:solidFill>
                  <a:schemeClr val="tx1"/>
                </a:solidFill>
                <a:effectLst/>
                <a:latin typeface="Segoe UI Light" pitchFamily="34" charset="0"/>
                <a:ea typeface="+mn-ea"/>
                <a:cs typeface="+mn-cs"/>
              </a:rPr>
              <a:t>T: Now that we’ve walked through everything, let’s take a look at the whole picture. </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6/2016 8:4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050934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800" b="0" i="0" kern="1200" dirty="0">
                <a:solidFill>
                  <a:schemeClr val="tx1"/>
                </a:solidFill>
                <a:effectLst/>
                <a:latin typeface="Segoe UI Light" pitchFamily="34" charset="0"/>
                <a:ea typeface="+mn-ea"/>
                <a:cs typeface="+mn-cs"/>
              </a:rPr>
              <a:t>Many of the services we’ve been talking about today are on the back-end. But your data</a:t>
            </a:r>
            <a:r>
              <a:rPr lang="en-US" sz="800" b="0" i="0" kern="1200" baseline="0" dirty="0">
                <a:solidFill>
                  <a:schemeClr val="tx1"/>
                </a:solidFill>
                <a:effectLst/>
                <a:latin typeface="Segoe UI Light" pitchFamily="34" charset="0"/>
                <a:ea typeface="+mn-ea"/>
                <a:cs typeface="+mn-cs"/>
              </a:rPr>
              <a:t> and the results of analytics are only useful if they can be provided to those who need them – often people without deep data expertise.  </a:t>
            </a:r>
          </a:p>
          <a:p>
            <a:pPr marL="0" marR="0" indent="0" algn="l" defTabSz="914367" rtl="0" eaLnBrk="1" fontAlgn="auto" latinLnBrk="0" hangingPunct="1">
              <a:lnSpc>
                <a:spcPct val="100000"/>
              </a:lnSpc>
              <a:spcBef>
                <a:spcPts val="0"/>
              </a:spcBef>
              <a:spcAft>
                <a:spcPts val="0"/>
              </a:spcAft>
              <a:buClrTx/>
              <a:buSzTx/>
              <a:buFontTx/>
              <a:buNone/>
              <a:tabLst/>
              <a:defRPr/>
            </a:pPr>
            <a:r>
              <a:rPr lang="en-US" sz="800" b="0" i="0" kern="1200" baseline="0" dirty="0">
                <a:solidFill>
                  <a:schemeClr val="tx1"/>
                </a:solidFill>
                <a:effectLst/>
                <a:latin typeface="Segoe UI Light" pitchFamily="34" charset="0"/>
                <a:ea typeface="+mn-ea"/>
                <a:cs typeface="+mn-cs"/>
              </a:rPr>
              <a:t>That’s where Power BI comes in. </a:t>
            </a:r>
            <a:r>
              <a:rPr lang="en-US" sz="800" kern="1200" dirty="0">
                <a:gradFill>
                  <a:gsLst>
                    <a:gs pos="1250">
                      <a:srgbClr val="000000"/>
                    </a:gs>
                    <a:gs pos="99000">
                      <a:srgbClr val="000000"/>
                    </a:gs>
                  </a:gsLst>
                  <a:lin ang="5400000" scaled="0"/>
                </a:gradFill>
                <a:latin typeface="Segoe UI Light" pitchFamily="34" charset="0"/>
                <a:ea typeface="+mn-ea"/>
                <a:cs typeface="+mn-cs"/>
              </a:rPr>
              <a:t>Power BI is a cloud-based dashboard and visualization service that provides faster time to insight. It is used for visualizing, exploring and extracting insights from data. It brings together data from diverse sources to deliver rich, comprehensive views of your</a:t>
            </a:r>
            <a:r>
              <a:rPr lang="en-US" sz="800" kern="1200" baseline="0" dirty="0">
                <a:gradFill>
                  <a:gsLst>
                    <a:gs pos="1250">
                      <a:srgbClr val="000000"/>
                    </a:gs>
                    <a:gs pos="99000">
                      <a:srgbClr val="000000"/>
                    </a:gs>
                  </a:gsLst>
                  <a:lin ang="5400000" scaled="0"/>
                </a:gradFill>
                <a:latin typeface="Segoe UI Light" pitchFamily="34" charset="0"/>
                <a:ea typeface="+mn-ea"/>
                <a:cs typeface="+mn-cs"/>
              </a:rPr>
              <a:t> business</a:t>
            </a:r>
            <a:r>
              <a:rPr lang="en-US" sz="800" kern="1200" dirty="0">
                <a:gradFill>
                  <a:gsLst>
                    <a:gs pos="1250">
                      <a:srgbClr val="000000"/>
                    </a:gs>
                    <a:gs pos="99000">
                      <a:srgbClr val="000000"/>
                    </a:gs>
                  </a:gsLst>
                  <a:lin ang="5400000" scaled="0"/>
                </a:gradFill>
                <a:latin typeface="Segoe UI Light" pitchFamily="34" charset="0"/>
                <a:ea typeface="+mn-ea"/>
                <a:cs typeface="+mn-cs"/>
              </a:rPr>
              <a:t>. With Power BI, you can see all of your data in one place</a:t>
            </a:r>
            <a:r>
              <a:rPr lang="en-US" sz="800" kern="1200" baseline="0" dirty="0">
                <a:gradFill>
                  <a:gsLst>
                    <a:gs pos="1250">
                      <a:srgbClr val="000000"/>
                    </a:gs>
                    <a:gs pos="99000">
                      <a:srgbClr val="000000"/>
                    </a:gs>
                  </a:gsLst>
                  <a:lin ang="5400000" scaled="0"/>
                </a:gradFill>
                <a:latin typeface="Segoe UI Light" pitchFamily="34" charset="0"/>
                <a:ea typeface="+mn-ea"/>
                <a:cs typeface="+mn-cs"/>
              </a:rPr>
              <a:t> </a:t>
            </a:r>
            <a:r>
              <a:rPr lang="en-US" sz="800" kern="1200" dirty="0">
                <a:gradFill>
                  <a:gsLst>
                    <a:gs pos="1250">
                      <a:srgbClr val="000000"/>
                    </a:gs>
                    <a:gs pos="99000">
                      <a:srgbClr val="000000"/>
                    </a:gs>
                  </a:gsLst>
                  <a:lin ang="5400000" scaled="0"/>
                </a:gradFill>
                <a:latin typeface="Segoe UI Light" pitchFamily="34" charset="0"/>
                <a:ea typeface="+mn-ea"/>
                <a:cs typeface="+mn-cs"/>
              </a:rPr>
              <a:t>and share reports. Live dashboards and reports show visualizations and KPIs from data that reside both on-premises and in the cloud, providing a consolidated view across your business regardless of where your data lives. </a:t>
            </a:r>
            <a:endParaRPr lang="en-US" sz="1800" kern="1200" baseline="0" dirty="0">
              <a:solidFill>
                <a:schemeClr val="tx1"/>
              </a:solidFill>
              <a:latin typeface="Segoe UI Light" pitchFamily="34" charset="0"/>
              <a:ea typeface="+mn-ea"/>
              <a:cs typeface="+mn-cs"/>
            </a:endParaRPr>
          </a:p>
          <a:p>
            <a:endParaRPr lang="en-US" sz="900" b="0" i="0" kern="1200" baseline="0" dirty="0">
              <a:solidFill>
                <a:schemeClr val="tx1"/>
              </a:solidFill>
              <a:effectLst/>
              <a:latin typeface="Segoe UI Light" pitchFamily="34" charset="0"/>
              <a:ea typeface="+mn-ea"/>
              <a:cs typeface="+mn-cs"/>
            </a:endParaRPr>
          </a:p>
          <a:p>
            <a:r>
              <a:rPr lang="en-US" sz="900" b="1" i="0" kern="1200" baseline="0" dirty="0">
                <a:solidFill>
                  <a:schemeClr val="tx1"/>
                </a:solidFill>
                <a:effectLst/>
                <a:latin typeface="Segoe UI Light" pitchFamily="34" charset="0"/>
                <a:ea typeface="+mn-ea"/>
                <a:cs typeface="+mn-cs"/>
              </a:rPr>
              <a:t>T: Now that we’ve walked through everything, let’s take a look at the whole picture. </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6/2016 8:4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5634851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dirty="0"/>
              <a:t>T:</a:t>
            </a:r>
            <a:r>
              <a:rPr lang="en-US" b="1" baseline="0" dirty="0"/>
              <a:t> Cortana Intelligence provides everything you need to transform your organization’s data into intelligent action. Next, let’s take a look at another demo. </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CD5F8F-46C9-46A5-9E1B-00B0A72B40B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06953287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dirty="0"/>
              <a:t>75% </a:t>
            </a:r>
            <a:r>
              <a:rPr lang="en-US" sz="900" kern="0" dirty="0">
                <a:gradFill>
                  <a:gsLst>
                    <a:gs pos="1250">
                      <a:srgbClr val="505050"/>
                    </a:gs>
                    <a:gs pos="76000">
                      <a:srgbClr val="505050"/>
                    </a:gs>
                  </a:gsLst>
                  <a:lin ang="5400000" scaled="0"/>
                </a:gradFill>
              </a:rPr>
              <a:t>of the cars shipped globally by </a:t>
            </a:r>
            <a:r>
              <a:rPr lang="en-US" sz="900" b="1" kern="0" dirty="0">
                <a:gradFill>
                  <a:gsLst>
                    <a:gs pos="1250">
                      <a:srgbClr val="505050"/>
                    </a:gs>
                    <a:gs pos="76000">
                      <a:srgbClr val="505050"/>
                    </a:gs>
                  </a:gsLst>
                  <a:lin ang="5400000" scaled="0"/>
                </a:gradFill>
              </a:rPr>
              <a:t>2020</a:t>
            </a:r>
            <a:r>
              <a:rPr lang="en-US" sz="900" kern="0" dirty="0">
                <a:gradFill>
                  <a:gsLst>
                    <a:gs pos="1250">
                      <a:srgbClr val="505050"/>
                    </a:gs>
                    <a:gs pos="76000">
                      <a:srgbClr val="505050"/>
                    </a:gs>
                  </a:gsLst>
                  <a:lin ang="5400000" scaled="0"/>
                </a:gradFill>
              </a:rPr>
              <a:t> will be built with the necessary hardware to connect to the Internet.</a:t>
            </a:r>
            <a:r>
              <a:rPr lang="en-US" sz="900" kern="0" baseline="0" dirty="0">
                <a:gradFill>
                  <a:gsLst>
                    <a:gs pos="1250">
                      <a:srgbClr val="505050"/>
                    </a:gs>
                    <a:gs pos="76000">
                      <a:srgbClr val="505050"/>
                    </a:gs>
                  </a:gsLst>
                  <a:lin ang="5400000" scaled="0"/>
                </a:gradFill>
              </a:rPr>
              <a:t> </a:t>
            </a:r>
            <a:endParaRPr lang="en-US" sz="900" kern="0" dirty="0">
              <a:gradFill>
                <a:gsLst>
                  <a:gs pos="1250">
                    <a:srgbClr val="505050"/>
                  </a:gs>
                  <a:gs pos="76000">
                    <a:srgbClr val="505050"/>
                  </a:gs>
                </a:gsLst>
                <a:lin ang="5400000" scaled="0"/>
              </a:gradFill>
            </a:endParaRPr>
          </a:p>
          <a:p>
            <a:pPr algn="l"/>
            <a:endParaRPr lang="en-US" dirty="0"/>
          </a:p>
          <a:p>
            <a:pPr algn="l"/>
            <a:r>
              <a:rPr lang="en-US" dirty="0"/>
              <a:t>What does this mean?</a:t>
            </a:r>
            <a:r>
              <a:rPr lang="en-US" baseline="0" dirty="0"/>
              <a:t> What can </a:t>
            </a:r>
            <a:r>
              <a:rPr lang="en-US" dirty="0"/>
              <a:t>we</a:t>
            </a:r>
            <a:r>
              <a:rPr lang="en-US" baseline="0" dirty="0"/>
              <a:t> can do with that data? How can this business leverage the huge amounts of data now available?</a:t>
            </a:r>
          </a:p>
          <a:p>
            <a:pPr algn="l"/>
            <a:endParaRPr lang="en-US" baseline="0" dirty="0"/>
          </a:p>
          <a:p>
            <a:pPr marL="0" marR="0" indent="0" algn="l" defTabSz="932742" rtl="0" eaLnBrk="1" fontAlgn="auto" latinLnBrk="0" hangingPunct="1">
              <a:lnSpc>
                <a:spcPct val="90000"/>
              </a:lnSpc>
              <a:spcBef>
                <a:spcPts val="0"/>
              </a:spcBef>
              <a:spcAft>
                <a:spcPts val="340"/>
              </a:spcAft>
              <a:buClrTx/>
              <a:buSzTx/>
              <a:buFontTx/>
              <a:buNone/>
              <a:tabLst/>
              <a:defRPr/>
            </a:pPr>
            <a:r>
              <a:rPr lang="en-US" baseline="0" dirty="0"/>
              <a:t>There are some questions on this slide, such as “</a:t>
            </a:r>
            <a:r>
              <a:rPr lang="en-US" sz="900" i="1" dirty="0">
                <a:solidFill>
                  <a:schemeClr val="accent1"/>
                </a:solidFill>
              </a:rPr>
              <a:t>What parts need maintenance first on all Ford F-150’s sold?”</a:t>
            </a:r>
            <a:r>
              <a:rPr lang="en-US" sz="900" i="0" dirty="0">
                <a:solidFill>
                  <a:schemeClr val="accent1"/>
                </a:solidFill>
              </a:rPr>
              <a:t> that Cortana Intelligence</a:t>
            </a:r>
            <a:r>
              <a:rPr lang="en-US" sz="900" i="0" baseline="0" dirty="0">
                <a:solidFill>
                  <a:schemeClr val="accent1"/>
                </a:solidFill>
              </a:rPr>
              <a:t> </a:t>
            </a:r>
            <a:r>
              <a:rPr lang="en-US" sz="900" i="0" dirty="0">
                <a:solidFill>
                  <a:schemeClr val="accent1"/>
                </a:solidFill>
              </a:rPr>
              <a:t>can answer using streaming data</a:t>
            </a:r>
            <a:r>
              <a:rPr lang="en-US" sz="900" i="0" baseline="0" dirty="0">
                <a:solidFill>
                  <a:schemeClr val="accent1"/>
                </a:solidFill>
              </a:rPr>
              <a:t> from cars strategically.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rPr>
              <a:t>Microsoft </a:t>
            </a:r>
            <a:r>
              <a:rPr kumimoji="0" lang="en-US" sz="1800" b="0" i="0" u="none" strike="noStrike" kern="0" cap="none" spc="0" normalizeH="0" baseline="0" noProof="0" dirty="0" err="1">
                <a:ln>
                  <a:noFill/>
                </a:ln>
                <a:solidFill>
                  <a:prstClr val="black"/>
                </a:solidFill>
                <a:effectLst/>
                <a:uLnTx/>
                <a:uFillTx/>
              </a:rPr>
              <a:t>AzureCon</a:t>
            </a:r>
            <a:r>
              <a:rPr kumimoji="0" lang="en-US" sz="1800" b="0" i="0" u="none" strike="noStrike" kern="0" cap="none" spc="0" normalizeH="0" baseline="0" noProof="0" dirty="0">
                <a:ln>
                  <a:noFill/>
                </a:ln>
                <a:solidFill>
                  <a:prstClr val="black"/>
                </a:solidFill>
                <a:effectLst/>
                <a:uLnTx/>
                <a:uFillTx/>
              </a:rPr>
              <a:t> 2015</a:t>
            </a: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6/2016 8:40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65293434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dirty="0"/>
              <a:t>Note that this is an example with cars,</a:t>
            </a:r>
            <a:r>
              <a:rPr lang="en-US" baseline="0" dirty="0"/>
              <a:t> </a:t>
            </a:r>
            <a:r>
              <a:rPr lang="en-US" dirty="0"/>
              <a:t>but it </a:t>
            </a:r>
            <a:r>
              <a:rPr lang="en-US" baseline="0" dirty="0"/>
              <a:t>can be insights on any connected devices.</a:t>
            </a:r>
          </a:p>
          <a:p>
            <a:pPr marL="0" marR="0" indent="0" algn="l" defTabSz="932742" rtl="0" eaLnBrk="1" fontAlgn="auto" latinLnBrk="0" hangingPunct="1">
              <a:lnSpc>
                <a:spcPct val="90000"/>
              </a:lnSpc>
              <a:spcBef>
                <a:spcPts val="0"/>
              </a:spcBef>
              <a:spcAft>
                <a:spcPts val="340"/>
              </a:spcAft>
              <a:buClrTx/>
              <a:buSzTx/>
              <a:buFontTx/>
              <a:buNone/>
              <a:tabLst/>
              <a:defRPr/>
            </a:pPr>
            <a:endParaRPr lang="en-US" baseline="0" dirty="0"/>
          </a:p>
          <a:p>
            <a:pPr marL="0" marR="0" indent="0" algn="l" defTabSz="932742" rtl="0" eaLnBrk="1" fontAlgn="auto" latinLnBrk="0" hangingPunct="1">
              <a:lnSpc>
                <a:spcPct val="90000"/>
              </a:lnSpc>
              <a:spcBef>
                <a:spcPts val="0"/>
              </a:spcBef>
              <a:spcAft>
                <a:spcPts val="340"/>
              </a:spcAft>
              <a:buClrTx/>
              <a:buSzTx/>
              <a:buFontTx/>
              <a:buNone/>
              <a:tabLst/>
              <a:defRPr/>
            </a:pPr>
            <a:r>
              <a:rPr lang="en-US" baseline="0" dirty="0"/>
              <a:t>Event Hubs is used to ingest millions of events in real-time. Sensor data from engines, brakes, emissions are ingested and then made accessible for processing.</a:t>
            </a:r>
          </a:p>
          <a:p>
            <a:pPr marL="0" marR="0" indent="0" algn="l" defTabSz="932742" rtl="0" eaLnBrk="1" fontAlgn="auto" latinLnBrk="0" hangingPunct="1">
              <a:lnSpc>
                <a:spcPct val="90000"/>
              </a:lnSpc>
              <a:spcBef>
                <a:spcPts val="0"/>
              </a:spcBef>
              <a:spcAft>
                <a:spcPts val="340"/>
              </a:spcAft>
              <a:buClrTx/>
              <a:buSzTx/>
              <a:buFontTx/>
              <a:buNone/>
              <a:tabLst/>
              <a:defRPr/>
            </a:pPr>
            <a:endParaRPr lang="en-US" baseline="0" dirty="0"/>
          </a:p>
          <a:p>
            <a:pPr marL="0" marR="0" indent="0" algn="l" defTabSz="932742" rtl="0" eaLnBrk="1" fontAlgn="auto" latinLnBrk="0" hangingPunct="1">
              <a:lnSpc>
                <a:spcPct val="90000"/>
              </a:lnSpc>
              <a:spcBef>
                <a:spcPts val="0"/>
              </a:spcBef>
              <a:spcAft>
                <a:spcPts val="340"/>
              </a:spcAft>
              <a:buClrTx/>
              <a:buSzTx/>
              <a:buFontTx/>
              <a:buNone/>
              <a:tabLst/>
              <a:defRPr/>
            </a:pPr>
            <a:r>
              <a:rPr lang="en-US" baseline="0" dirty="0"/>
              <a:t>Stream Analytics is then applied in two key function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t>first to process real-time aggregations on the data and </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t>spool data into long term storage for batch</a:t>
            </a:r>
          </a:p>
          <a:p>
            <a:pPr marL="0" marR="0" indent="0" algn="l" defTabSz="932742" rtl="0" eaLnBrk="1" fontAlgn="auto" latinLnBrk="0" hangingPunct="1">
              <a:lnSpc>
                <a:spcPct val="90000"/>
              </a:lnSpc>
              <a:spcBef>
                <a:spcPts val="0"/>
              </a:spcBef>
              <a:spcAft>
                <a:spcPts val="340"/>
              </a:spcAft>
              <a:buClrTx/>
              <a:buSzTx/>
              <a:buFontTx/>
              <a:buNone/>
              <a:tabLst/>
              <a:defRPr/>
            </a:pPr>
            <a:endParaRPr lang="en-US" baseline="0" dirty="0"/>
          </a:p>
          <a:p>
            <a:pPr marL="0" marR="0" indent="0" algn="l" defTabSz="932742" rtl="0" eaLnBrk="1" fontAlgn="auto" latinLnBrk="0" hangingPunct="1">
              <a:lnSpc>
                <a:spcPct val="90000"/>
              </a:lnSpc>
              <a:spcBef>
                <a:spcPts val="0"/>
              </a:spcBef>
              <a:spcAft>
                <a:spcPts val="340"/>
              </a:spcAft>
              <a:buClrTx/>
              <a:buSzTx/>
              <a:buFontTx/>
              <a:buNone/>
              <a:tabLst/>
              <a:defRPr/>
            </a:pPr>
            <a:r>
              <a:rPr lang="en-US" baseline="0" dirty="0"/>
              <a:t>Machine Learning is used </a:t>
            </a:r>
            <a:r>
              <a:rPr lang="en-US" b="0" baseline="0" dirty="0"/>
              <a:t>in real-time </a:t>
            </a:r>
            <a:r>
              <a:rPr lang="en-US" baseline="0" dirty="0"/>
              <a:t>for anomaly detection on tire pressure, oil level, engine temp, </a:t>
            </a:r>
            <a:r>
              <a:rPr lang="en-US" baseline="0" dirty="0" err="1"/>
              <a:t>etc</a:t>
            </a:r>
            <a:r>
              <a:rPr lang="en-US" baseline="0" dirty="0"/>
              <a:t> to predict vehicles requiring maintenance</a:t>
            </a:r>
          </a:p>
          <a:p>
            <a:pPr marL="0" marR="0" indent="0" algn="l" defTabSz="932742" rtl="0" eaLnBrk="1" fontAlgn="auto" latinLnBrk="0" hangingPunct="1">
              <a:lnSpc>
                <a:spcPct val="90000"/>
              </a:lnSpc>
              <a:spcBef>
                <a:spcPts val="0"/>
              </a:spcBef>
              <a:spcAft>
                <a:spcPts val="340"/>
              </a:spcAft>
              <a:buClrTx/>
              <a:buSzTx/>
              <a:buFontTx/>
              <a:buNone/>
              <a:tabLst/>
              <a:defRPr/>
            </a:pPr>
            <a:endParaRPr lang="en-US" baseline="0" dirty="0"/>
          </a:p>
          <a:p>
            <a:pPr marL="0" marR="0" indent="0" algn="l" defTabSz="932742" rtl="0" eaLnBrk="1" fontAlgn="auto" latinLnBrk="0" hangingPunct="1">
              <a:lnSpc>
                <a:spcPct val="90000"/>
              </a:lnSpc>
              <a:spcBef>
                <a:spcPts val="0"/>
              </a:spcBef>
              <a:spcAft>
                <a:spcPts val="340"/>
              </a:spcAft>
              <a:buClrTx/>
              <a:buSzTx/>
              <a:buFontTx/>
              <a:buNone/>
              <a:tabLst/>
              <a:defRPr/>
            </a:pPr>
            <a:r>
              <a:rPr lang="en-US" baseline="0" dirty="0"/>
              <a:t>Data in BLOB storage is used for rich analytics using HDInsight, orchestrated by Data Factory – allowing us to determine trends like aggressive driving analysis over the past year.</a:t>
            </a:r>
            <a:endParaRPr lang="en-US" b="1" baseline="0" dirty="0"/>
          </a:p>
          <a:p>
            <a:pPr marL="0" marR="0" indent="0" algn="l" defTabSz="932742" rtl="0" eaLnBrk="1" fontAlgn="auto" latinLnBrk="0" hangingPunct="1">
              <a:lnSpc>
                <a:spcPct val="90000"/>
              </a:lnSpc>
              <a:spcBef>
                <a:spcPts val="0"/>
              </a:spcBef>
              <a:spcAft>
                <a:spcPts val="340"/>
              </a:spcAft>
              <a:buClrTx/>
              <a:buSzTx/>
              <a:buFontTx/>
              <a:buNone/>
              <a:tabLst/>
              <a:defRPr/>
            </a:pPr>
            <a:endParaRPr lang="en-US" b="1" baseline="0" dirty="0"/>
          </a:p>
          <a:p>
            <a:pPr marL="0" marR="0" indent="0" algn="l" defTabSz="932742" rtl="0" eaLnBrk="1" fontAlgn="auto" latinLnBrk="0" hangingPunct="1">
              <a:lnSpc>
                <a:spcPct val="90000"/>
              </a:lnSpc>
              <a:spcBef>
                <a:spcPts val="0"/>
              </a:spcBef>
              <a:spcAft>
                <a:spcPts val="340"/>
              </a:spcAft>
              <a:buClrTx/>
              <a:buSzTx/>
              <a:buFontTx/>
              <a:buNone/>
              <a:tabLst/>
              <a:defRPr/>
            </a:pPr>
            <a:r>
              <a:rPr lang="en-US" b="1" baseline="0" dirty="0"/>
              <a:t>T: Questions like those we looked at can be answered just as simply.</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6/2016 8:4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422593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spcAft>
                <a:spcPts val="600"/>
              </a:spcAft>
            </a:pPr>
            <a:r>
              <a:rPr lang="en-US" dirty="0">
                <a:gradFill>
                  <a:gsLst>
                    <a:gs pos="2917">
                      <a:srgbClr val="505050"/>
                    </a:gs>
                    <a:gs pos="30000">
                      <a:srgbClr val="505050"/>
                    </a:gs>
                  </a:gsLst>
                  <a:lin ang="5400000" scaled="0"/>
                </a:gradFill>
              </a:rPr>
              <a:t>Cortana Intelligence can provide answers in</a:t>
            </a:r>
            <a:r>
              <a:rPr lang="en-US" baseline="0" dirty="0">
                <a:gradFill>
                  <a:gsLst>
                    <a:gs pos="2917">
                      <a:srgbClr val="505050"/>
                    </a:gs>
                    <a:gs pos="30000">
                      <a:srgbClr val="505050"/>
                    </a:gs>
                  </a:gsLst>
                  <a:lin ang="5400000" scaled="0"/>
                </a:gradFill>
              </a:rPr>
              <a:t> real time to complex questions that previously took much longer to answer. Some examples are:</a:t>
            </a:r>
            <a:endParaRPr lang="en-US" dirty="0">
              <a:gradFill>
                <a:gsLst>
                  <a:gs pos="2917">
                    <a:srgbClr val="505050"/>
                  </a:gs>
                  <a:gs pos="30000">
                    <a:srgbClr val="505050"/>
                  </a:gs>
                </a:gsLst>
                <a:lin ang="5400000" scaled="0"/>
              </a:gradFill>
            </a:endParaRPr>
          </a:p>
          <a:p>
            <a:pPr>
              <a:lnSpc>
                <a:spcPct val="90000"/>
              </a:lnSpc>
              <a:spcAft>
                <a:spcPts val="600"/>
              </a:spcAft>
            </a:pPr>
            <a:endParaRPr lang="en-US" dirty="0">
              <a:gradFill>
                <a:gsLst>
                  <a:gs pos="2917">
                    <a:srgbClr val="505050"/>
                  </a:gs>
                  <a:gs pos="30000">
                    <a:srgbClr val="505050"/>
                  </a:gs>
                </a:gsLst>
                <a:lin ang="5400000" scaled="0"/>
              </a:gradFill>
            </a:endParaRPr>
          </a:p>
          <a:p>
            <a:pPr>
              <a:lnSpc>
                <a:spcPct val="90000"/>
              </a:lnSpc>
              <a:spcAft>
                <a:spcPts val="600"/>
              </a:spcAft>
            </a:pPr>
            <a:r>
              <a:rPr lang="en-US" dirty="0">
                <a:gradFill>
                  <a:gsLst>
                    <a:gs pos="2917">
                      <a:srgbClr val="505050"/>
                    </a:gs>
                    <a:gs pos="30000">
                      <a:srgbClr val="505050"/>
                    </a:gs>
                  </a:gsLst>
                  <a:lin ang="5400000" scaled="0"/>
                </a:gradFill>
              </a:rPr>
              <a:t>Vehicle diagnostic</a:t>
            </a:r>
          </a:p>
          <a:p>
            <a:pPr>
              <a:lnSpc>
                <a:spcPct val="90000"/>
              </a:lnSpc>
              <a:spcAft>
                <a:spcPts val="600"/>
              </a:spcAft>
            </a:pPr>
            <a:r>
              <a:rPr lang="en-US" baseline="0" dirty="0"/>
              <a:t>“</a:t>
            </a:r>
            <a:r>
              <a:rPr lang="en-US" sz="900" i="1" dirty="0">
                <a:solidFill>
                  <a:schemeClr val="accent1"/>
                </a:solidFill>
              </a:rPr>
              <a:t>What parts need maintenance first on all Ford F-150’s sold?”</a:t>
            </a:r>
            <a:r>
              <a:rPr lang="en-US" sz="900" i="0" dirty="0">
                <a:solidFill>
                  <a:schemeClr val="accent1"/>
                </a:solidFill>
              </a:rPr>
              <a:t> </a:t>
            </a:r>
            <a:endParaRPr lang="en-US" dirty="0">
              <a:gradFill>
                <a:gsLst>
                  <a:gs pos="2917">
                    <a:srgbClr val="505050"/>
                  </a:gs>
                  <a:gs pos="30000">
                    <a:srgbClr val="505050"/>
                  </a:gs>
                </a:gsLst>
                <a:lin ang="5400000" scaled="0"/>
              </a:gradFill>
            </a:endParaRPr>
          </a:p>
          <a:p>
            <a:pPr>
              <a:lnSpc>
                <a:spcPct val="90000"/>
              </a:lnSpc>
              <a:spcAft>
                <a:spcPts val="600"/>
              </a:spcAft>
            </a:pPr>
            <a:r>
              <a:rPr lang="en-US" sz="900" i="1" dirty="0">
                <a:solidFill>
                  <a:schemeClr val="accent1"/>
                </a:solidFill>
              </a:rPr>
              <a:t>The front brakes are needing to be serviced sooner than expected</a:t>
            </a:r>
          </a:p>
          <a:p>
            <a:pPr>
              <a:lnSpc>
                <a:spcPct val="90000"/>
              </a:lnSpc>
              <a:spcAft>
                <a:spcPts val="600"/>
              </a:spcAft>
            </a:pPr>
            <a:endParaRPr lang="en-US" dirty="0">
              <a:gradFill>
                <a:gsLst>
                  <a:gs pos="2917">
                    <a:srgbClr val="505050"/>
                  </a:gs>
                  <a:gs pos="30000">
                    <a:srgbClr val="505050"/>
                  </a:gs>
                </a:gsLst>
                <a:lin ang="5400000" scaled="0"/>
              </a:gradFill>
            </a:endParaRPr>
          </a:p>
          <a:p>
            <a:pPr>
              <a:lnSpc>
                <a:spcPct val="90000"/>
              </a:lnSpc>
              <a:spcAft>
                <a:spcPts val="600"/>
              </a:spcAft>
            </a:pPr>
            <a:r>
              <a:rPr lang="en-US" dirty="0">
                <a:gradFill>
                  <a:gsLst>
                    <a:gs pos="2917">
                      <a:srgbClr val="505050"/>
                    </a:gs>
                    <a:gs pos="30000">
                      <a:srgbClr val="505050"/>
                    </a:gs>
                  </a:gsLst>
                  <a:lin ang="5400000" scaled="0"/>
                </a:gradFill>
              </a:rPr>
              <a:t>Fleet management</a:t>
            </a:r>
          </a:p>
          <a:p>
            <a:pPr>
              <a:lnSpc>
                <a:spcPct val="90000"/>
              </a:lnSpc>
              <a:spcAft>
                <a:spcPts val="600"/>
              </a:spcAft>
            </a:pPr>
            <a:r>
              <a:rPr lang="en-US" sz="900" i="1" dirty="0">
                <a:solidFill>
                  <a:schemeClr val="accent1"/>
                </a:solidFill>
              </a:rPr>
              <a:t>“Show me the location of all vehicles within 50mi of my location”</a:t>
            </a:r>
          </a:p>
          <a:p>
            <a:pPr marL="0" marR="0" indent="0" algn="l" defTabSz="932742" rtl="0" eaLnBrk="1" fontAlgn="auto" latinLnBrk="0" hangingPunct="1">
              <a:lnSpc>
                <a:spcPct val="90000"/>
              </a:lnSpc>
              <a:spcBef>
                <a:spcPts val="0"/>
              </a:spcBef>
              <a:spcAft>
                <a:spcPts val="600"/>
              </a:spcAft>
              <a:buClrTx/>
              <a:buSzTx/>
              <a:buFontTx/>
              <a:buNone/>
              <a:tabLst/>
              <a:defRPr/>
            </a:pPr>
            <a:r>
              <a:rPr lang="en-US" sz="900" i="1" dirty="0">
                <a:solidFill>
                  <a:schemeClr val="accent1"/>
                </a:solidFill>
              </a:rPr>
              <a:t>24 vehicles are shown on a map, showing statu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rPr>
              <a:t>Microsoft </a:t>
            </a:r>
            <a:r>
              <a:rPr kumimoji="0" lang="en-US" sz="1800" b="0" i="0" u="none" strike="noStrike" kern="0" cap="none" spc="0" normalizeH="0" baseline="0" noProof="0" dirty="0" err="1">
                <a:ln>
                  <a:noFill/>
                </a:ln>
                <a:solidFill>
                  <a:prstClr val="black"/>
                </a:solidFill>
                <a:effectLst/>
                <a:uLnTx/>
                <a:uFillTx/>
              </a:rPr>
              <a:t>AzureCon</a:t>
            </a:r>
            <a:r>
              <a:rPr kumimoji="0" lang="en-US" sz="1800" b="0" i="0" u="none" strike="noStrike" kern="0" cap="none" spc="0" normalizeH="0" baseline="0" noProof="0" dirty="0">
                <a:ln>
                  <a:noFill/>
                </a:ln>
                <a:solidFill>
                  <a:prstClr val="black"/>
                </a:solidFill>
                <a:effectLst/>
                <a:uLnTx/>
                <a:uFillTx/>
              </a:rPr>
              <a:t> 2015</a:t>
            </a: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6/2016 8:40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4</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7375100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a few things you can do today.</a:t>
            </a:r>
          </a:p>
          <a:p>
            <a:endParaRPr lang="en-US" baseline="0" dirty="0"/>
          </a:p>
          <a:p>
            <a:r>
              <a:rPr lang="en-US" baseline="0" dirty="0"/>
              <a:t>We have also created a lot of trainings so that you can better understand the product and how it can help your company</a:t>
            </a:r>
          </a:p>
          <a:p>
            <a:endParaRPr lang="en-US" baseline="0" dirty="0"/>
          </a:p>
          <a:p>
            <a:r>
              <a:rPr lang="en-US" baseline="0" dirty="0"/>
              <a:t>As far as partners, we have a large network that is ready and able to help </a:t>
            </a:r>
            <a:r>
              <a:rPr lang="en-US" baseline="0" dirty="0" err="1"/>
              <a:t>tailer</a:t>
            </a:r>
            <a:r>
              <a:rPr lang="en-US" baseline="0" dirty="0"/>
              <a:t> the suite and its functions to your needs</a:t>
            </a:r>
          </a:p>
          <a:p>
            <a:endParaRPr lang="en-US" baseline="0" dirty="0"/>
          </a:p>
          <a:p>
            <a:r>
              <a:rPr lang="en-US" baseline="0" dirty="0"/>
              <a:t>If you are interested in becoming a partner, follow the link on this slide and we will be in touch</a:t>
            </a:r>
          </a:p>
          <a:p>
            <a:endParaRPr lang="en-US" baseline="0" dirty="0"/>
          </a:p>
          <a:p>
            <a:r>
              <a:rPr lang="en-US" b="1" baseline="0" dirty="0"/>
              <a:t>IF SHOWING VIDEO: I’d like to end on a short video showing one more great example using Cortana Intelligence</a:t>
            </a:r>
          </a:p>
          <a:p>
            <a:endParaRPr lang="en-US" b="1" baseline="0" dirty="0"/>
          </a:p>
          <a:p>
            <a:r>
              <a:rPr lang="en-US" b="1" baseline="0" dirty="0"/>
              <a:t>Thank you all for attending.</a:t>
            </a:r>
            <a:endParaRPr lang="en-US" b="1" dirty="0"/>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6/2016 8:4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750286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WPC 2015</a:t>
            </a:r>
          </a:p>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5/26/2016 8:21 AM</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36211133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0156" rtl="0" eaLnBrk="0" fontAlgn="base" latinLnBrk="0" hangingPunct="0">
              <a:lnSpc>
                <a:spcPct val="100000"/>
              </a:lnSpc>
              <a:spcBef>
                <a:spcPct val="0"/>
              </a:spcBef>
              <a:spcAft>
                <a:spcPct val="0"/>
              </a:spcAft>
              <a:buClrTx/>
              <a:buSzTx/>
              <a:buFontTx/>
              <a:buNone/>
              <a:tabLst/>
              <a:defRPr/>
            </a:pPr>
            <a:r>
              <a:rPr kumimoji="0" lang="en-US" altLang="en-US" sz="4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504B3C87-3D8D-4CFE-9DF8-ACB5F82F8CF7}" type="datetime8">
              <a:rPr kumimoji="0" lang="en-US" alt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5/26/2016 8:21 AM</a:t>
            </a:fld>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9672FC2E-5954-4E65-BEEE-BF75C4846817}" type="slidenum">
              <a:rPr kumimoji="0" lang="en-US" alt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8</a:t>
            </a:fld>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3894774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WS – </a:t>
            </a:r>
            <a:r>
              <a:rPr lang="en-US" dirty="0" err="1"/>
              <a:t>Iaas</a:t>
            </a:r>
            <a:r>
              <a:rPr lang="en-US" dirty="0"/>
              <a:t>, but</a:t>
            </a:r>
            <a:r>
              <a:rPr lang="en-US" baseline="0" dirty="0"/>
              <a:t> no </a:t>
            </a:r>
            <a:r>
              <a:rPr lang="en-US" baseline="0" dirty="0" err="1"/>
              <a:t>paas</a:t>
            </a:r>
            <a:r>
              <a:rPr lang="en-US" baseline="0" dirty="0"/>
              <a:t> or </a:t>
            </a:r>
            <a:r>
              <a:rPr lang="en-US" baseline="0" dirty="0" err="1"/>
              <a:t>saas</a:t>
            </a:r>
            <a:endParaRPr lang="en-US" baseline="0" dirty="0"/>
          </a:p>
          <a:p>
            <a:r>
              <a:rPr lang="en-US" baseline="0" dirty="0"/>
              <a:t>Salesforce – SaaS, but no other</a:t>
            </a:r>
          </a:p>
          <a:p>
            <a:endParaRPr lang="en-US" baseline="0" dirty="0"/>
          </a:p>
          <a:p>
            <a:r>
              <a:rPr lang="en-US" baseline="0" dirty="0"/>
              <a:t>TP is Azure not PaaS or IaaS..</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WPC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6/2016 8:2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370202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WPC 2015</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S PGothic"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5/26/2016 8:21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S PGothic"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Tree>
    <p:extLst>
      <p:ext uri="{BB962C8B-B14F-4D97-AF65-F5344CB8AC3E}">
        <p14:creationId xmlns:p14="http://schemas.microsoft.com/office/powerpoint/2010/main" val="189932840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70.emf"/><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5.xml"/><Relationship Id="rId4" Type="http://schemas.openxmlformats.org/officeDocument/2006/relationships/image" Target="../media/image5.png"/></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5.xml"/><Relationship Id="rId4" Type="http://schemas.openxmlformats.org/officeDocument/2006/relationships/image" Target="../media/image5.png"/></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5.xml"/><Relationship Id="rId4" Type="http://schemas.openxmlformats.org/officeDocument/2006/relationships/image" Target="../media/image4.png"/></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5.xml"/><Relationship Id="rId4" Type="http://schemas.openxmlformats.org/officeDocument/2006/relationships/image" Target="../media/image4.png"/></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5.xml"/><Relationship Id="rId4" Type="http://schemas.openxmlformats.org/officeDocument/2006/relationships/image" Target="../media/image2.png"/></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5.xml"/><Relationship Id="rId4" Type="http://schemas.openxmlformats.org/officeDocument/2006/relationships/image" Target="../media/image2.pn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5.xml"/><Relationship Id="rId4" Type="http://schemas.openxmlformats.org/officeDocument/2006/relationships/image" Target="../media/image2.png"/></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5.xml"/><Relationship Id="rId4" Type="http://schemas.openxmlformats.org/officeDocument/2006/relationships/image" Target="../media/image2.pn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5.xml"/><Relationship Id="rId4" Type="http://schemas.openxmlformats.org/officeDocument/2006/relationships/image" Target="../media/image2.png"/></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5.xml"/><Relationship Id="rId4" Type="http://schemas.openxmlformats.org/officeDocument/2006/relationships/image" Target="../media/image2.png"/></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73.emf"/><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74.jpg"/><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5.png"/><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76.jpeg"/><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9.xml"/><Relationship Id="rId4" Type="http://schemas.openxmlformats.org/officeDocument/2006/relationships/image" Target="../media/image5.png"/></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9.xml"/><Relationship Id="rId4" Type="http://schemas.openxmlformats.org/officeDocument/2006/relationships/image" Target="../media/image5.png"/></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9.xml"/><Relationship Id="rId4" Type="http://schemas.openxmlformats.org/officeDocument/2006/relationships/image" Target="../media/image4.png"/></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9.xml"/><Relationship Id="rId4" Type="http://schemas.openxmlformats.org/officeDocument/2006/relationships/image" Target="../media/image4.png"/></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9.xml"/><Relationship Id="rId4" Type="http://schemas.openxmlformats.org/officeDocument/2006/relationships/image" Target="../media/image2.png"/></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9.xml"/><Relationship Id="rId4" Type="http://schemas.openxmlformats.org/officeDocument/2006/relationships/image" Target="../media/image2.png"/></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9.x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9.xml"/><Relationship Id="rId4" Type="http://schemas.openxmlformats.org/officeDocument/2006/relationships/image" Target="../media/image2.png"/></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9.xml"/><Relationship Id="rId4" Type="http://schemas.openxmlformats.org/officeDocument/2006/relationships/image" Target="../media/image2.png"/></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9.xml"/><Relationship Id="rId4" Type="http://schemas.openxmlformats.org/officeDocument/2006/relationships/image" Target="../media/image2.png"/></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70.emf"/><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70.emf"/><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jpeg"/><Relationship Id="rId1" Type="http://schemas.openxmlformats.org/officeDocument/2006/relationships/slideMaster" Target="../slideMasters/slideMaster11.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Master" Target="../slideMasters/slideMaster1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5.xml.rels><?xml version="1.0" encoding="UTF-8" standalone="yes"?>
<Relationships xmlns="http://schemas.openxmlformats.org/package/2006/relationships"><Relationship Id="rId8" Type="http://schemas.openxmlformats.org/officeDocument/2006/relationships/image" Target="../media/image87.emf"/><Relationship Id="rId3" Type="http://schemas.openxmlformats.org/officeDocument/2006/relationships/image" Target="../media/image82.emf"/><Relationship Id="rId7" Type="http://schemas.openxmlformats.org/officeDocument/2006/relationships/image" Target="../media/image86.emf"/><Relationship Id="rId2" Type="http://schemas.openxmlformats.org/officeDocument/2006/relationships/image" Target="../media/image81.emf"/><Relationship Id="rId1" Type="http://schemas.openxmlformats.org/officeDocument/2006/relationships/slideMaster" Target="../slideMasters/slideMaster11.xml"/><Relationship Id="rId6" Type="http://schemas.openxmlformats.org/officeDocument/2006/relationships/image" Target="../media/image85.emf"/><Relationship Id="rId5" Type="http://schemas.openxmlformats.org/officeDocument/2006/relationships/image" Target="../media/image84.emf"/><Relationship Id="rId4" Type="http://schemas.openxmlformats.org/officeDocument/2006/relationships/image" Target="../media/image83.emf"/><Relationship Id="rId9" Type="http://schemas.openxmlformats.org/officeDocument/2006/relationships/image" Target="../media/image88.emf"/></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68.jpg"/><Relationship Id="rId1" Type="http://schemas.openxmlformats.org/officeDocument/2006/relationships/slideMaster" Target="../slideMasters/slideMaster11.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1.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2.xml"/><Relationship Id="rId4" Type="http://schemas.openxmlformats.org/officeDocument/2006/relationships/image" Target="../media/image91.png"/></Relationships>
</file>

<file path=ppt/slideLayouts/_rels/slideLayout26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2.xml"/><Relationship Id="rId4" Type="http://schemas.openxmlformats.org/officeDocument/2006/relationships/image" Target="../media/image91.png"/></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12.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12.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12.xml"/></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Master" Target="../slideMasters/slideMaster12.xml"/></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91.png"/><Relationship Id="rId1" Type="http://schemas.openxmlformats.org/officeDocument/2006/relationships/slideMaster" Target="../slideMasters/slideMaster12.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91.png"/><Relationship Id="rId1" Type="http://schemas.openxmlformats.org/officeDocument/2006/relationships/slideMaster" Target="../slideMasters/slideMaster12.xml"/></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91.png"/><Relationship Id="rId1" Type="http://schemas.openxmlformats.org/officeDocument/2006/relationships/slideMaster" Target="../slideMasters/slideMaster1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2.png"/><Relationship Id="rId1" Type="http://schemas.openxmlformats.org/officeDocument/2006/relationships/slideMaster" Target="../slideMasters/slideMaster12.xml"/></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2.png"/><Relationship Id="rId1" Type="http://schemas.openxmlformats.org/officeDocument/2006/relationships/slideMaster" Target="../slideMasters/slideMaster12.xml"/><Relationship Id="rId4" Type="http://schemas.openxmlformats.org/officeDocument/2006/relationships/image" Target="../media/image4.png"/></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2.png"/><Relationship Id="rId1" Type="http://schemas.openxmlformats.org/officeDocument/2006/relationships/slideMaster" Target="../slideMasters/slideMaster12.xml"/><Relationship Id="rId4" Type="http://schemas.openxmlformats.org/officeDocument/2006/relationships/image" Target="../media/image4.png"/></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2.xml"/><Relationship Id="rId4" Type="http://schemas.openxmlformats.org/officeDocument/2006/relationships/image" Target="../media/image90.png"/></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2.xml"/><Relationship Id="rId4" Type="http://schemas.openxmlformats.org/officeDocument/2006/relationships/image" Target="../media/image90.png"/></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2.xml"/><Relationship Id="rId4" Type="http://schemas.openxmlformats.org/officeDocument/2006/relationships/image" Target="../media/image90.png"/></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2.xml"/><Relationship Id="rId4" Type="http://schemas.openxmlformats.org/officeDocument/2006/relationships/image" Target="../media/image90.png"/></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2.xml"/><Relationship Id="rId4" Type="http://schemas.openxmlformats.org/officeDocument/2006/relationships/image" Target="../media/image90.png"/></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2.xml"/><Relationship Id="rId4" Type="http://schemas.openxmlformats.org/officeDocument/2006/relationships/image" Target="../media/image90.png"/></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2.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2.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2.xml"/></Relationships>
</file>

<file path=ppt/slideLayouts/_rels/slideLayout29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3.xml"/><Relationship Id="rId4" Type="http://schemas.openxmlformats.org/officeDocument/2006/relationships/image" Target="../media/image91.png"/></Relationships>
</file>

<file path=ppt/slideLayouts/_rels/slideLayout29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3.xml"/><Relationship Id="rId4" Type="http://schemas.openxmlformats.org/officeDocument/2006/relationships/image" Target="../media/image91.png"/></Relationships>
</file>

<file path=ppt/slideLayouts/_rels/slideLayout293.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13.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13.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13.xml"/></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Master" Target="../slideMasters/slideMaster13.xml"/></Relationships>
</file>

<file path=ppt/slideLayouts/_rels/slideLayout298.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91.png"/><Relationship Id="rId1" Type="http://schemas.openxmlformats.org/officeDocument/2006/relationships/slideMaster" Target="../slideMasters/slideMaster13.xml"/></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91.png"/><Relationship Id="rId1" Type="http://schemas.openxmlformats.org/officeDocument/2006/relationships/slideMaster" Target="../slideMasters/slideMaster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91.png"/><Relationship Id="rId1" Type="http://schemas.openxmlformats.org/officeDocument/2006/relationships/slideMaster" Target="../slideMasters/slideMaster13.xml"/></Relationships>
</file>

<file path=ppt/slideLayouts/_rels/slideLayout301.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2.png"/><Relationship Id="rId1" Type="http://schemas.openxmlformats.org/officeDocument/2006/relationships/slideMaster" Target="../slideMasters/slideMaster13.xml"/></Relationships>
</file>

<file path=ppt/slideLayouts/_rels/slideLayout302.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2.png"/><Relationship Id="rId1" Type="http://schemas.openxmlformats.org/officeDocument/2006/relationships/slideMaster" Target="../slideMasters/slideMaster13.xml"/><Relationship Id="rId4" Type="http://schemas.openxmlformats.org/officeDocument/2006/relationships/image" Target="../media/image4.png"/></Relationships>
</file>

<file path=ppt/slideLayouts/_rels/slideLayout303.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2.png"/><Relationship Id="rId1" Type="http://schemas.openxmlformats.org/officeDocument/2006/relationships/slideMaster" Target="../slideMasters/slideMaster13.xml"/><Relationship Id="rId4" Type="http://schemas.openxmlformats.org/officeDocument/2006/relationships/image" Target="../media/image4.png"/></Relationships>
</file>

<file path=ppt/slideLayouts/_rels/slideLayout304.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3.xml"/><Relationship Id="rId4" Type="http://schemas.openxmlformats.org/officeDocument/2006/relationships/image" Target="../media/image90.png"/></Relationships>
</file>

<file path=ppt/slideLayouts/_rels/slideLayout305.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3.xml"/><Relationship Id="rId4" Type="http://schemas.openxmlformats.org/officeDocument/2006/relationships/image" Target="../media/image90.png"/></Relationships>
</file>

<file path=ppt/slideLayouts/_rels/slideLayout306.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3.xml"/><Relationship Id="rId4" Type="http://schemas.openxmlformats.org/officeDocument/2006/relationships/image" Target="../media/image90.png"/></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3.xml"/><Relationship Id="rId4" Type="http://schemas.openxmlformats.org/officeDocument/2006/relationships/image" Target="../media/image90.png"/></Relationships>
</file>

<file path=ppt/slideLayouts/_rels/slideLayout308.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3.xml"/><Relationship Id="rId4" Type="http://schemas.openxmlformats.org/officeDocument/2006/relationships/image" Target="../media/image90.png"/></Relationships>
</file>

<file path=ppt/slideLayouts/_rels/slideLayout309.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3.xml"/><Relationship Id="rId4" Type="http://schemas.openxmlformats.org/officeDocument/2006/relationships/image" Target="../media/image90.png"/></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3.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3.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3.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3.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3.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3.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3.xml"/></Relationships>
</file>

<file path=ppt/slideLayouts/_rels/slideLayout32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14.xml"/></Relationships>
</file>

<file path=ppt/slideLayouts/_rels/slideLayout323.xml.rels><?xml version="1.0" encoding="UTF-8" standalone="yes"?>
<Relationships xmlns="http://schemas.openxmlformats.org/package/2006/relationships"><Relationship Id="rId13" Type="http://schemas.openxmlformats.org/officeDocument/2006/relationships/image" Target="../media/image23.png"/><Relationship Id="rId18" Type="http://schemas.openxmlformats.org/officeDocument/2006/relationships/image" Target="../media/image28.png"/><Relationship Id="rId26" Type="http://schemas.openxmlformats.org/officeDocument/2006/relationships/image" Target="../media/image36.png"/><Relationship Id="rId39" Type="http://schemas.openxmlformats.org/officeDocument/2006/relationships/image" Target="../media/image49.png"/><Relationship Id="rId3" Type="http://schemas.openxmlformats.org/officeDocument/2006/relationships/image" Target="../media/image13.png"/><Relationship Id="rId21" Type="http://schemas.openxmlformats.org/officeDocument/2006/relationships/image" Target="../media/image31.png"/><Relationship Id="rId34" Type="http://schemas.openxmlformats.org/officeDocument/2006/relationships/image" Target="../media/image44.png"/><Relationship Id="rId42" Type="http://schemas.openxmlformats.org/officeDocument/2006/relationships/image" Target="../media/image52.png"/><Relationship Id="rId47" Type="http://schemas.openxmlformats.org/officeDocument/2006/relationships/image" Target="../media/image57.png"/><Relationship Id="rId50" Type="http://schemas.openxmlformats.org/officeDocument/2006/relationships/image" Target="../media/image60.png"/><Relationship Id="rId7" Type="http://schemas.openxmlformats.org/officeDocument/2006/relationships/image" Target="../media/image17.png"/><Relationship Id="rId12" Type="http://schemas.openxmlformats.org/officeDocument/2006/relationships/image" Target="../media/image22.png"/><Relationship Id="rId17" Type="http://schemas.openxmlformats.org/officeDocument/2006/relationships/image" Target="../media/image27.png"/><Relationship Id="rId25" Type="http://schemas.openxmlformats.org/officeDocument/2006/relationships/image" Target="../media/image35.png"/><Relationship Id="rId33" Type="http://schemas.openxmlformats.org/officeDocument/2006/relationships/image" Target="../media/image43.png"/><Relationship Id="rId38" Type="http://schemas.openxmlformats.org/officeDocument/2006/relationships/image" Target="../media/image48.png"/><Relationship Id="rId46" Type="http://schemas.openxmlformats.org/officeDocument/2006/relationships/image" Target="../media/image56.png"/><Relationship Id="rId2" Type="http://schemas.openxmlformats.org/officeDocument/2006/relationships/image" Target="../media/image12.png"/><Relationship Id="rId16" Type="http://schemas.openxmlformats.org/officeDocument/2006/relationships/image" Target="../media/image26.png"/><Relationship Id="rId20" Type="http://schemas.openxmlformats.org/officeDocument/2006/relationships/image" Target="../media/image30.png"/><Relationship Id="rId29" Type="http://schemas.openxmlformats.org/officeDocument/2006/relationships/image" Target="../media/image39.png"/><Relationship Id="rId41" Type="http://schemas.openxmlformats.org/officeDocument/2006/relationships/image" Target="../media/image51.png"/><Relationship Id="rId1" Type="http://schemas.openxmlformats.org/officeDocument/2006/relationships/slideMaster" Target="../slideMasters/slideMaster14.xml"/><Relationship Id="rId6" Type="http://schemas.openxmlformats.org/officeDocument/2006/relationships/image" Target="../media/image16.png"/><Relationship Id="rId11" Type="http://schemas.openxmlformats.org/officeDocument/2006/relationships/image" Target="../media/image21.png"/><Relationship Id="rId24" Type="http://schemas.openxmlformats.org/officeDocument/2006/relationships/image" Target="../media/image34.png"/><Relationship Id="rId32" Type="http://schemas.openxmlformats.org/officeDocument/2006/relationships/image" Target="../media/image42.png"/><Relationship Id="rId37" Type="http://schemas.openxmlformats.org/officeDocument/2006/relationships/image" Target="../media/image47.png"/><Relationship Id="rId40" Type="http://schemas.openxmlformats.org/officeDocument/2006/relationships/image" Target="../media/image50.png"/><Relationship Id="rId45" Type="http://schemas.openxmlformats.org/officeDocument/2006/relationships/image" Target="../media/image55.png"/><Relationship Id="rId53" Type="http://schemas.openxmlformats.org/officeDocument/2006/relationships/image" Target="../media/image63.png"/><Relationship Id="rId5" Type="http://schemas.openxmlformats.org/officeDocument/2006/relationships/image" Target="../media/image15.png"/><Relationship Id="rId15" Type="http://schemas.openxmlformats.org/officeDocument/2006/relationships/image" Target="../media/image25.png"/><Relationship Id="rId23" Type="http://schemas.openxmlformats.org/officeDocument/2006/relationships/image" Target="../media/image33.png"/><Relationship Id="rId28" Type="http://schemas.openxmlformats.org/officeDocument/2006/relationships/image" Target="../media/image38.png"/><Relationship Id="rId36" Type="http://schemas.openxmlformats.org/officeDocument/2006/relationships/image" Target="../media/image46.png"/><Relationship Id="rId49" Type="http://schemas.openxmlformats.org/officeDocument/2006/relationships/image" Target="../media/image59.png"/><Relationship Id="rId10" Type="http://schemas.openxmlformats.org/officeDocument/2006/relationships/image" Target="../media/image20.png"/><Relationship Id="rId19" Type="http://schemas.openxmlformats.org/officeDocument/2006/relationships/image" Target="../media/image29.png"/><Relationship Id="rId31" Type="http://schemas.openxmlformats.org/officeDocument/2006/relationships/image" Target="../media/image41.png"/><Relationship Id="rId44" Type="http://schemas.openxmlformats.org/officeDocument/2006/relationships/image" Target="../media/image54.png"/><Relationship Id="rId52" Type="http://schemas.openxmlformats.org/officeDocument/2006/relationships/image" Target="../media/image62.png"/><Relationship Id="rId4" Type="http://schemas.openxmlformats.org/officeDocument/2006/relationships/image" Target="../media/image14.png"/><Relationship Id="rId9" Type="http://schemas.openxmlformats.org/officeDocument/2006/relationships/image" Target="../media/image19.png"/><Relationship Id="rId14" Type="http://schemas.openxmlformats.org/officeDocument/2006/relationships/image" Target="../media/image24.png"/><Relationship Id="rId22" Type="http://schemas.openxmlformats.org/officeDocument/2006/relationships/image" Target="../media/image32.png"/><Relationship Id="rId27" Type="http://schemas.openxmlformats.org/officeDocument/2006/relationships/image" Target="../media/image37.png"/><Relationship Id="rId30" Type="http://schemas.openxmlformats.org/officeDocument/2006/relationships/image" Target="../media/image40.png"/><Relationship Id="rId35" Type="http://schemas.openxmlformats.org/officeDocument/2006/relationships/image" Target="../media/image45.png"/><Relationship Id="rId43" Type="http://schemas.openxmlformats.org/officeDocument/2006/relationships/image" Target="../media/image53.png"/><Relationship Id="rId48" Type="http://schemas.openxmlformats.org/officeDocument/2006/relationships/image" Target="../media/image58.png"/><Relationship Id="rId8" Type="http://schemas.openxmlformats.org/officeDocument/2006/relationships/image" Target="../media/image18.png"/><Relationship Id="rId51" Type="http://schemas.openxmlformats.org/officeDocument/2006/relationships/image" Target="../media/image61.png"/></Relationships>
</file>

<file path=ppt/slideLayouts/_rels/slideLayout324.xml.rels><?xml version="1.0" encoding="UTF-8" standalone="yes"?>
<Relationships xmlns="http://schemas.openxmlformats.org/package/2006/relationships"><Relationship Id="rId3" Type="http://schemas.openxmlformats.org/officeDocument/2006/relationships/image" Target="../media/image65.emf"/><Relationship Id="rId2" Type="http://schemas.openxmlformats.org/officeDocument/2006/relationships/image" Target="../media/image64.emf"/><Relationship Id="rId1" Type="http://schemas.openxmlformats.org/officeDocument/2006/relationships/slideMaster" Target="../slideMasters/slideMaster14.xml"/></Relationships>
</file>

<file path=ppt/slideLayouts/_rels/slideLayout325.xml.rels><?xml version="1.0" encoding="UTF-8" standalone="yes"?>
<Relationships xmlns="http://schemas.openxmlformats.org/package/2006/relationships"><Relationship Id="rId3" Type="http://schemas.openxmlformats.org/officeDocument/2006/relationships/image" Target="../media/image65.emf"/><Relationship Id="rId2" Type="http://schemas.openxmlformats.org/officeDocument/2006/relationships/image" Target="../media/image64.emf"/><Relationship Id="rId1" Type="http://schemas.openxmlformats.org/officeDocument/2006/relationships/slideMaster" Target="../slideMasters/slideMaster14.xml"/></Relationships>
</file>

<file path=ppt/slideLayouts/_rels/slideLayout326.xml.rels><?xml version="1.0" encoding="UTF-8" standalone="yes"?>
<Relationships xmlns="http://schemas.openxmlformats.org/package/2006/relationships"><Relationship Id="rId3" Type="http://schemas.openxmlformats.org/officeDocument/2006/relationships/image" Target="../media/image65.emf"/><Relationship Id="rId2" Type="http://schemas.openxmlformats.org/officeDocument/2006/relationships/image" Target="../media/image64.emf"/><Relationship Id="rId1" Type="http://schemas.openxmlformats.org/officeDocument/2006/relationships/slideMaster" Target="../slideMasters/slideMaster14.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14.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14.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14.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68.jpg"/><Relationship Id="rId1" Type="http://schemas.openxmlformats.org/officeDocument/2006/relationships/slideMaster" Target="../slideMasters/slideMaster14.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4.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15.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4.png"/><Relationship Id="rId1" Type="http://schemas.openxmlformats.org/officeDocument/2006/relationships/slideMaster" Target="../slideMasters/slideMaster15.xml"/><Relationship Id="rId4" Type="http://schemas.openxmlformats.org/officeDocument/2006/relationships/image" Target="../media/image2.png"/></Relationships>
</file>

<file path=ppt/slideLayouts/_rels/slideLayout37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5.png"/><Relationship Id="rId1" Type="http://schemas.openxmlformats.org/officeDocument/2006/relationships/slideMaster" Target="../slideMasters/slideMaster15.xml"/></Relationships>
</file>

<file path=ppt/slideLayouts/_rels/slideLayout372.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6.png"/><Relationship Id="rId1" Type="http://schemas.openxmlformats.org/officeDocument/2006/relationships/slideMaster" Target="../slideMasters/slideMaster15.xml"/></Relationships>
</file>

<file path=ppt/slideLayouts/_rels/slideLayout373.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Master" Target="../slideMasters/slideMaster15.xml"/></Relationships>
</file>

<file path=ppt/slideLayouts/_rels/slideLayout374.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image" Target="../media/image96.jpeg"/><Relationship Id="rId1" Type="http://schemas.openxmlformats.org/officeDocument/2006/relationships/slideMaster" Target="../slideMasters/slideMaster16.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6.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7.xml.rels><?xml version="1.0" encoding="UTF-8" standalone="yes"?>
<Relationships xmlns="http://schemas.openxmlformats.org/package/2006/relationships"><Relationship Id="rId2" Type="http://schemas.openxmlformats.org/officeDocument/2006/relationships/image" Target="../media/image68.jpg"/><Relationship Id="rId1" Type="http://schemas.openxmlformats.org/officeDocument/2006/relationships/slideMaster" Target="../slideMasters/slideMaster16.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6.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7.xml"/><Relationship Id="rId4" Type="http://schemas.openxmlformats.org/officeDocument/2006/relationships/image" Target="../media/image91.png"/></Relationships>
</file>

<file path=ppt/slideLayouts/_rels/slideLayout39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7.xml"/><Relationship Id="rId4" Type="http://schemas.openxmlformats.org/officeDocument/2006/relationships/image" Target="../media/image91.png"/></Relationships>
</file>

<file path=ppt/slideLayouts/_rels/slideLayout397.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4.png"/><Relationship Id="rId1" Type="http://schemas.openxmlformats.org/officeDocument/2006/relationships/slideMaster" Target="../slideMasters/slideMaster17.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17.xml"/></Relationships>
</file>

<file path=ppt/slideLayouts/_rels/slideLayout399.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17.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17.xml"/></Relationships>
</file>

<file path=ppt/slideLayouts/_rels/slideLayout401.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Master" Target="../slideMasters/slideMaster17.xml"/></Relationships>
</file>

<file path=ppt/slideLayouts/_rels/slideLayout402.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91.png"/><Relationship Id="rId1" Type="http://schemas.openxmlformats.org/officeDocument/2006/relationships/slideMaster" Target="../slideMasters/slideMaster17.xml"/></Relationships>
</file>

<file path=ppt/slideLayouts/_rels/slideLayout403.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91.png"/><Relationship Id="rId1" Type="http://schemas.openxmlformats.org/officeDocument/2006/relationships/slideMaster" Target="../slideMasters/slideMaster17.xml"/></Relationships>
</file>

<file path=ppt/slideLayouts/_rels/slideLayout404.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91.png"/><Relationship Id="rId1" Type="http://schemas.openxmlformats.org/officeDocument/2006/relationships/slideMaster" Target="../slideMasters/slideMaster17.xml"/></Relationships>
</file>

<file path=ppt/slideLayouts/_rels/slideLayout405.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2.png"/><Relationship Id="rId1" Type="http://schemas.openxmlformats.org/officeDocument/2006/relationships/slideMaster" Target="../slideMasters/slideMaster17.xml"/></Relationships>
</file>

<file path=ppt/slideLayouts/_rels/slideLayout406.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2.png"/><Relationship Id="rId1" Type="http://schemas.openxmlformats.org/officeDocument/2006/relationships/slideMaster" Target="../slideMasters/slideMaster17.xml"/><Relationship Id="rId4" Type="http://schemas.openxmlformats.org/officeDocument/2006/relationships/image" Target="../media/image4.png"/></Relationships>
</file>

<file path=ppt/slideLayouts/_rels/slideLayout407.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2.png"/><Relationship Id="rId1" Type="http://schemas.openxmlformats.org/officeDocument/2006/relationships/slideMaster" Target="../slideMasters/slideMaster17.xml"/><Relationship Id="rId4" Type="http://schemas.openxmlformats.org/officeDocument/2006/relationships/image" Target="../media/image4.png"/></Relationships>
</file>

<file path=ppt/slideLayouts/_rels/slideLayout408.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7.xml"/><Relationship Id="rId4" Type="http://schemas.openxmlformats.org/officeDocument/2006/relationships/image" Target="../media/image90.png"/></Relationships>
</file>

<file path=ppt/slideLayouts/_rels/slideLayout409.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7.xml"/><Relationship Id="rId4" Type="http://schemas.openxmlformats.org/officeDocument/2006/relationships/image" Target="../media/image90.png"/></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7.xml"/><Relationship Id="rId4" Type="http://schemas.openxmlformats.org/officeDocument/2006/relationships/image" Target="../media/image90.png"/></Relationships>
</file>

<file path=ppt/slideLayouts/_rels/slideLayout411.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7.xml"/><Relationship Id="rId4" Type="http://schemas.openxmlformats.org/officeDocument/2006/relationships/image" Target="../media/image90.png"/></Relationships>
</file>

<file path=ppt/slideLayouts/_rels/slideLayout412.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7.xml"/><Relationship Id="rId4" Type="http://schemas.openxmlformats.org/officeDocument/2006/relationships/image" Target="../media/image90.png"/></Relationships>
</file>

<file path=ppt/slideLayouts/_rels/slideLayout413.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7.xml"/><Relationship Id="rId4" Type="http://schemas.openxmlformats.org/officeDocument/2006/relationships/image" Target="../media/image90.png"/></Relationships>
</file>

<file path=ppt/slideLayouts/_rels/slideLayout414.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7.xml"/></Relationships>
</file>

<file path=ppt/slideLayouts/_rels/slideLayout415.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7.xml"/></Relationships>
</file>

<file path=ppt/slideLayouts/_rels/slideLayout416.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7.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7.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7.xml"/></Relationships>
</file>

<file path=ppt/slideLayouts/_rels/slideLayout42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7.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7.xml"/></Relationships>
</file>

<file path=ppt/slideLayouts/_rels/slideLayout42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7.xml"/></Relationships>
</file>

<file path=ppt/slideLayouts/_rels/slideLayout42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7.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7.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98.jpg"/><Relationship Id="rId1" Type="http://schemas.openxmlformats.org/officeDocument/2006/relationships/slideMaster" Target="../slideMasters/slideMaster18.xml"/><Relationship Id="rId5" Type="http://schemas.openxmlformats.org/officeDocument/2006/relationships/image" Target="../media/image100.png"/><Relationship Id="rId4" Type="http://schemas.microsoft.com/office/2007/relationships/hdphoto" Target="../media/hdphoto2.wdp"/></Relationships>
</file>

<file path=ppt/slideLayouts/_rels/slideLayout42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99.png"/><Relationship Id="rId1" Type="http://schemas.openxmlformats.org/officeDocument/2006/relationships/slideMaster" Target="../slideMasters/slideMaster18.xml"/></Relationships>
</file>

<file path=ppt/slideLayouts/_rels/slideLayout42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99.png"/><Relationship Id="rId1" Type="http://schemas.openxmlformats.org/officeDocument/2006/relationships/slideMaster" Target="../slideMasters/slideMaster18.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2" Type="http://schemas.openxmlformats.org/officeDocument/2006/relationships/image" Target="../media/image101.jpg"/><Relationship Id="rId1" Type="http://schemas.openxmlformats.org/officeDocument/2006/relationships/slideMaster" Target="../slideMasters/slideMaster18.xml"/></Relationships>
</file>

<file path=ppt/slideLayouts/_rels/slideLayout431.xml.rels><?xml version="1.0" encoding="UTF-8" standalone="yes"?>
<Relationships xmlns="http://schemas.openxmlformats.org/package/2006/relationships"><Relationship Id="rId2" Type="http://schemas.openxmlformats.org/officeDocument/2006/relationships/image" Target="../media/image102.emf"/><Relationship Id="rId1" Type="http://schemas.openxmlformats.org/officeDocument/2006/relationships/slideMaster" Target="../slideMasters/slideMaster18.xml"/></Relationships>
</file>

<file path=ppt/slideLayouts/_rels/slideLayout432.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Master" Target="../slideMasters/slideMaster18.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7.xml.rels><?xml version="1.0" encoding="UTF-8" standalone="yes"?>
<Relationships xmlns="http://schemas.openxmlformats.org/package/2006/relationships"><Relationship Id="rId2" Type="http://schemas.openxmlformats.org/officeDocument/2006/relationships/image" Target="../media/image68.jpg"/><Relationship Id="rId1" Type="http://schemas.openxmlformats.org/officeDocument/2006/relationships/slideMaster" Target="../slideMasters/slideMaster18.xml"/></Relationships>
</file>

<file path=ppt/slideLayouts/_rels/slideLayout448.xml.rels><?xml version="1.0" encoding="UTF-8" standalone="yes"?>
<Relationships xmlns="http://schemas.openxmlformats.org/package/2006/relationships"><Relationship Id="rId2" Type="http://schemas.openxmlformats.org/officeDocument/2006/relationships/image" Target="../media/image68.jpg"/><Relationship Id="rId1" Type="http://schemas.openxmlformats.org/officeDocument/2006/relationships/slideMaster" Target="../slideMasters/slideMaster18.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54.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Master" Target="../slideMasters/slideMaster18.xml"/></Relationships>
</file>

<file path=ppt/slideLayouts/_rels/slideLayout455.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98.jpg"/><Relationship Id="rId1" Type="http://schemas.openxmlformats.org/officeDocument/2006/relationships/slideMaster" Target="../slideMasters/slideMaster19.xml"/><Relationship Id="rId5" Type="http://schemas.openxmlformats.org/officeDocument/2006/relationships/image" Target="../media/image100.png"/><Relationship Id="rId4" Type="http://schemas.microsoft.com/office/2007/relationships/hdphoto" Target="../media/hdphoto2.wdp"/></Relationships>
</file>

<file path=ppt/slideLayouts/_rels/slideLayout45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99.png"/><Relationship Id="rId1" Type="http://schemas.openxmlformats.org/officeDocument/2006/relationships/slideMaster" Target="../slideMasters/slideMaster19.xml"/></Relationships>
</file>

<file path=ppt/slideLayouts/_rels/slideLayout45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99.png"/><Relationship Id="rId1" Type="http://schemas.openxmlformats.org/officeDocument/2006/relationships/slideMaster" Target="../slideMasters/slideMaster19.xml"/></Relationships>
</file>

<file path=ppt/slideLayouts/_rels/slideLayout458.xml.rels><?xml version="1.0" encoding="UTF-8" standalone="yes"?>
<Relationships xmlns="http://schemas.openxmlformats.org/package/2006/relationships"><Relationship Id="rId2" Type="http://schemas.openxmlformats.org/officeDocument/2006/relationships/image" Target="../media/image101.jpg"/><Relationship Id="rId1" Type="http://schemas.openxmlformats.org/officeDocument/2006/relationships/slideMaster" Target="../slideMasters/slideMaster19.xml"/></Relationships>
</file>

<file path=ppt/slideLayouts/_rels/slideLayout459.xml.rels><?xml version="1.0" encoding="UTF-8" standalone="yes"?>
<Relationships xmlns="http://schemas.openxmlformats.org/package/2006/relationships"><Relationship Id="rId2" Type="http://schemas.openxmlformats.org/officeDocument/2006/relationships/image" Target="../media/image102.emf"/><Relationship Id="rId1" Type="http://schemas.openxmlformats.org/officeDocument/2006/relationships/slideMaster" Target="../slideMasters/slideMaster19.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Master" Target="../slideMasters/slideMaster19.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75.xml.rels><?xml version="1.0" encoding="UTF-8" standalone="yes"?>
<Relationships xmlns="http://schemas.openxmlformats.org/package/2006/relationships"><Relationship Id="rId2" Type="http://schemas.openxmlformats.org/officeDocument/2006/relationships/image" Target="../media/image68.jpg"/><Relationship Id="rId1" Type="http://schemas.openxmlformats.org/officeDocument/2006/relationships/slideMaster" Target="../slideMasters/slideMaster19.xml"/></Relationships>
</file>

<file path=ppt/slideLayouts/_rels/slideLayout476.xml.rels><?xml version="1.0" encoding="UTF-8" standalone="yes"?>
<Relationships xmlns="http://schemas.openxmlformats.org/package/2006/relationships"><Relationship Id="rId2" Type="http://schemas.openxmlformats.org/officeDocument/2006/relationships/image" Target="../media/image68.jpg"/><Relationship Id="rId1" Type="http://schemas.openxmlformats.org/officeDocument/2006/relationships/slideMaster" Target="../slideMasters/slideMaster19.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8.xml.rels><?xml version="1.0" encoding="UTF-8" standalone="yes"?>
<Relationships xmlns="http://schemas.openxmlformats.org/package/2006/relationships"><Relationship Id="rId13" Type="http://schemas.openxmlformats.org/officeDocument/2006/relationships/image" Target="../media/image23.png"/><Relationship Id="rId18" Type="http://schemas.openxmlformats.org/officeDocument/2006/relationships/image" Target="../media/image28.png"/><Relationship Id="rId26" Type="http://schemas.openxmlformats.org/officeDocument/2006/relationships/image" Target="../media/image36.png"/><Relationship Id="rId39" Type="http://schemas.openxmlformats.org/officeDocument/2006/relationships/image" Target="../media/image49.png"/><Relationship Id="rId3" Type="http://schemas.openxmlformats.org/officeDocument/2006/relationships/image" Target="../media/image13.png"/><Relationship Id="rId21" Type="http://schemas.openxmlformats.org/officeDocument/2006/relationships/image" Target="../media/image31.png"/><Relationship Id="rId34" Type="http://schemas.openxmlformats.org/officeDocument/2006/relationships/image" Target="../media/image44.png"/><Relationship Id="rId42" Type="http://schemas.openxmlformats.org/officeDocument/2006/relationships/image" Target="../media/image52.png"/><Relationship Id="rId47" Type="http://schemas.openxmlformats.org/officeDocument/2006/relationships/image" Target="../media/image57.png"/><Relationship Id="rId50" Type="http://schemas.openxmlformats.org/officeDocument/2006/relationships/image" Target="../media/image60.png"/><Relationship Id="rId7" Type="http://schemas.openxmlformats.org/officeDocument/2006/relationships/image" Target="../media/image17.png"/><Relationship Id="rId12" Type="http://schemas.openxmlformats.org/officeDocument/2006/relationships/image" Target="../media/image22.png"/><Relationship Id="rId17" Type="http://schemas.openxmlformats.org/officeDocument/2006/relationships/image" Target="../media/image27.png"/><Relationship Id="rId25" Type="http://schemas.openxmlformats.org/officeDocument/2006/relationships/image" Target="../media/image35.png"/><Relationship Id="rId33" Type="http://schemas.openxmlformats.org/officeDocument/2006/relationships/image" Target="../media/image43.png"/><Relationship Id="rId38" Type="http://schemas.openxmlformats.org/officeDocument/2006/relationships/image" Target="../media/image48.png"/><Relationship Id="rId46" Type="http://schemas.openxmlformats.org/officeDocument/2006/relationships/image" Target="../media/image56.png"/><Relationship Id="rId2" Type="http://schemas.openxmlformats.org/officeDocument/2006/relationships/image" Target="../media/image12.png"/><Relationship Id="rId16" Type="http://schemas.openxmlformats.org/officeDocument/2006/relationships/image" Target="../media/image26.png"/><Relationship Id="rId20" Type="http://schemas.openxmlformats.org/officeDocument/2006/relationships/image" Target="../media/image30.png"/><Relationship Id="rId29" Type="http://schemas.openxmlformats.org/officeDocument/2006/relationships/image" Target="../media/image39.png"/><Relationship Id="rId41" Type="http://schemas.openxmlformats.org/officeDocument/2006/relationships/image" Target="../media/image51.png"/><Relationship Id="rId1" Type="http://schemas.openxmlformats.org/officeDocument/2006/relationships/slideMaster" Target="../slideMasters/slideMaster3.xml"/><Relationship Id="rId6" Type="http://schemas.openxmlformats.org/officeDocument/2006/relationships/image" Target="../media/image16.png"/><Relationship Id="rId11" Type="http://schemas.openxmlformats.org/officeDocument/2006/relationships/image" Target="../media/image21.png"/><Relationship Id="rId24" Type="http://schemas.openxmlformats.org/officeDocument/2006/relationships/image" Target="../media/image34.png"/><Relationship Id="rId32" Type="http://schemas.openxmlformats.org/officeDocument/2006/relationships/image" Target="../media/image42.png"/><Relationship Id="rId37" Type="http://schemas.openxmlformats.org/officeDocument/2006/relationships/image" Target="../media/image47.png"/><Relationship Id="rId40" Type="http://schemas.openxmlformats.org/officeDocument/2006/relationships/image" Target="../media/image50.png"/><Relationship Id="rId45" Type="http://schemas.openxmlformats.org/officeDocument/2006/relationships/image" Target="../media/image55.png"/><Relationship Id="rId53" Type="http://schemas.openxmlformats.org/officeDocument/2006/relationships/image" Target="../media/image63.png"/><Relationship Id="rId5" Type="http://schemas.openxmlformats.org/officeDocument/2006/relationships/image" Target="../media/image15.png"/><Relationship Id="rId15" Type="http://schemas.openxmlformats.org/officeDocument/2006/relationships/image" Target="../media/image25.png"/><Relationship Id="rId23" Type="http://schemas.openxmlformats.org/officeDocument/2006/relationships/image" Target="../media/image33.png"/><Relationship Id="rId28" Type="http://schemas.openxmlformats.org/officeDocument/2006/relationships/image" Target="../media/image38.png"/><Relationship Id="rId36" Type="http://schemas.openxmlformats.org/officeDocument/2006/relationships/image" Target="../media/image46.png"/><Relationship Id="rId49" Type="http://schemas.openxmlformats.org/officeDocument/2006/relationships/image" Target="../media/image59.png"/><Relationship Id="rId10" Type="http://schemas.openxmlformats.org/officeDocument/2006/relationships/image" Target="../media/image20.png"/><Relationship Id="rId19" Type="http://schemas.openxmlformats.org/officeDocument/2006/relationships/image" Target="../media/image29.png"/><Relationship Id="rId31" Type="http://schemas.openxmlformats.org/officeDocument/2006/relationships/image" Target="../media/image41.png"/><Relationship Id="rId44" Type="http://schemas.openxmlformats.org/officeDocument/2006/relationships/image" Target="../media/image54.png"/><Relationship Id="rId52" Type="http://schemas.openxmlformats.org/officeDocument/2006/relationships/image" Target="../media/image62.png"/><Relationship Id="rId4" Type="http://schemas.openxmlformats.org/officeDocument/2006/relationships/image" Target="../media/image14.png"/><Relationship Id="rId9" Type="http://schemas.openxmlformats.org/officeDocument/2006/relationships/image" Target="../media/image19.png"/><Relationship Id="rId14" Type="http://schemas.openxmlformats.org/officeDocument/2006/relationships/image" Target="../media/image24.png"/><Relationship Id="rId22" Type="http://schemas.openxmlformats.org/officeDocument/2006/relationships/image" Target="../media/image32.png"/><Relationship Id="rId27" Type="http://schemas.openxmlformats.org/officeDocument/2006/relationships/image" Target="../media/image37.png"/><Relationship Id="rId30" Type="http://schemas.openxmlformats.org/officeDocument/2006/relationships/image" Target="../media/image40.png"/><Relationship Id="rId35" Type="http://schemas.openxmlformats.org/officeDocument/2006/relationships/image" Target="../media/image45.png"/><Relationship Id="rId43" Type="http://schemas.openxmlformats.org/officeDocument/2006/relationships/image" Target="../media/image53.png"/><Relationship Id="rId48" Type="http://schemas.openxmlformats.org/officeDocument/2006/relationships/image" Target="../media/image58.png"/><Relationship Id="rId8" Type="http://schemas.openxmlformats.org/officeDocument/2006/relationships/image" Target="../media/image18.png"/><Relationship Id="rId51" Type="http://schemas.openxmlformats.org/officeDocument/2006/relationships/image" Target="../media/image61.png"/></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82.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Master" Target="../slideMasters/slideMaster19.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84.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105.emf"/><Relationship Id="rId1" Type="http://schemas.openxmlformats.org/officeDocument/2006/relationships/slideMaster" Target="../slideMasters/slideMaster20.xml"/></Relationships>
</file>

<file path=ppt/slideLayouts/_rels/slideLayout485.xml.rels><?xml version="1.0" encoding="UTF-8" standalone="yes"?>
<Relationships xmlns="http://schemas.openxmlformats.org/package/2006/relationships"><Relationship Id="rId3" Type="http://schemas.openxmlformats.org/officeDocument/2006/relationships/image" Target="../media/image70.emf"/><Relationship Id="rId2" Type="http://schemas.openxmlformats.org/officeDocument/2006/relationships/image" Target="../media/image105.emf"/><Relationship Id="rId1" Type="http://schemas.openxmlformats.org/officeDocument/2006/relationships/slideMaster" Target="../slideMasters/slideMaster20.xml"/></Relationships>
</file>

<file path=ppt/slideLayouts/_rels/slideLayout486.xml.rels><?xml version="1.0" encoding="UTF-8" standalone="yes"?>
<Relationships xmlns="http://schemas.openxmlformats.org/package/2006/relationships"><Relationship Id="rId2" Type="http://schemas.openxmlformats.org/officeDocument/2006/relationships/image" Target="../media/image105.emf"/><Relationship Id="rId1" Type="http://schemas.openxmlformats.org/officeDocument/2006/relationships/slideMaster" Target="../slideMasters/slideMaster20.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65.emf"/><Relationship Id="rId2" Type="http://schemas.openxmlformats.org/officeDocument/2006/relationships/image" Target="../media/image64.emf"/><Relationship Id="rId1" Type="http://schemas.openxmlformats.org/officeDocument/2006/relationships/slideMaster" Target="../slideMasters/slideMaster3.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65.emf"/><Relationship Id="rId2" Type="http://schemas.openxmlformats.org/officeDocument/2006/relationships/image" Target="../media/image64.emf"/><Relationship Id="rId1" Type="http://schemas.openxmlformats.org/officeDocument/2006/relationships/slideMaster" Target="../slideMasters/slideMaster3.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01.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Master" Target="../slideMasters/slideMaster20.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05.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Master" Target="../slideMasters/slideMaster20.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65.emf"/><Relationship Id="rId2" Type="http://schemas.openxmlformats.org/officeDocument/2006/relationships/image" Target="../media/image64.emf"/><Relationship Id="rId1" Type="http://schemas.openxmlformats.org/officeDocument/2006/relationships/slideMaster" Target="../slideMasters/slideMaster3.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3.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Master" Target="../slideMasters/slideMaster23.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3.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3.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38.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Master" Target="../slideMasters/slideMaster26.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0.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Master" Target="../slideMasters/slideMaster26.xml"/></Relationships>
</file>

<file path=ppt/slideLayouts/_rels/slideLayout541.xml.rels><?xml version="1.0" encoding="UTF-8" standalone="yes"?>
<Relationships xmlns="http://schemas.openxmlformats.org/package/2006/relationships"><Relationship Id="rId2" Type="http://schemas.openxmlformats.org/officeDocument/2006/relationships/image" Target="../media/image111.png"/><Relationship Id="rId1" Type="http://schemas.openxmlformats.org/officeDocument/2006/relationships/slideMaster" Target="../slideMasters/slideMaster27.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0.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Master" Target="../slideMasters/slideMaster27.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63.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image" Target="../media/image112.png"/><Relationship Id="rId1" Type="http://schemas.openxmlformats.org/officeDocument/2006/relationships/slideMaster" Target="../slideMasters/slideMaster27.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3.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84.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Master" Target="../slideMasters/slideMaster28.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86.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Master" Target="../slideMasters/slideMaster28.xml"/></Relationships>
</file>

<file path=ppt/slideLayouts/_rels/slideLayout58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9.xml"/><Relationship Id="rId4" Type="http://schemas.openxmlformats.org/officeDocument/2006/relationships/image" Target="../media/image5.png"/></Relationships>
</file>

<file path=ppt/slideLayouts/_rels/slideLayout58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9.xml"/><Relationship Id="rId4" Type="http://schemas.openxmlformats.org/officeDocument/2006/relationships/image" Target="../media/image5.png"/></Relationships>
</file>

<file path=ppt/slideLayouts/_rels/slideLayout58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9.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9.xml"/></Relationships>
</file>

<file path=ppt/slideLayouts/_rels/slideLayout59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9.xml"/></Relationships>
</file>

<file path=ppt/slideLayouts/_rels/slideLayout59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9.xml"/></Relationships>
</file>

<file path=ppt/slideLayouts/_rels/slideLayout59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9.xml"/></Relationships>
</file>

<file path=ppt/slideLayouts/_rels/slideLayout59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29.xml"/></Relationships>
</file>

<file path=ppt/slideLayouts/_rels/slideLayout59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29.xml"/></Relationships>
</file>

<file path=ppt/slideLayouts/_rels/slideLayout59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29.xml"/></Relationships>
</file>

<file path=ppt/slideLayouts/_rels/slideLayout59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29.xml"/></Relationships>
</file>

<file path=ppt/slideLayouts/_rels/slideLayout59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29.xml"/><Relationship Id="rId4" Type="http://schemas.openxmlformats.org/officeDocument/2006/relationships/image" Target="../media/image4.png"/></Relationships>
</file>

<file path=ppt/slideLayouts/_rels/slideLayout59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29.xml"/><Relationship Id="rId4" Type="http://schemas.openxmlformats.org/officeDocument/2006/relationships/image" Target="../media/image4.png"/></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0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29.xml"/><Relationship Id="rId4" Type="http://schemas.openxmlformats.org/officeDocument/2006/relationships/image" Target="../media/image2.png"/></Relationships>
</file>

<file path=ppt/slideLayouts/_rels/slideLayout60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29.xml"/><Relationship Id="rId4" Type="http://schemas.openxmlformats.org/officeDocument/2006/relationships/image" Target="../media/image2.png"/></Relationships>
</file>

<file path=ppt/slideLayouts/_rels/slideLayout60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29.xml"/><Relationship Id="rId4" Type="http://schemas.openxmlformats.org/officeDocument/2006/relationships/image" Target="../media/image2.png"/></Relationships>
</file>

<file path=ppt/slideLayouts/_rels/slideLayout60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29.xml"/><Relationship Id="rId4" Type="http://schemas.openxmlformats.org/officeDocument/2006/relationships/image" Target="../media/image2.png"/></Relationships>
</file>

<file path=ppt/slideLayouts/_rels/slideLayout60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29.xml"/><Relationship Id="rId4" Type="http://schemas.openxmlformats.org/officeDocument/2006/relationships/image" Target="../media/image2.png"/></Relationships>
</file>

<file path=ppt/slideLayouts/_rels/slideLayout60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29.xml"/><Relationship Id="rId4" Type="http://schemas.openxmlformats.org/officeDocument/2006/relationships/image" Target="../media/image2.png"/></Relationships>
</file>

<file path=ppt/slideLayouts/_rels/slideLayout60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9.xml"/></Relationships>
</file>

<file path=ppt/slideLayouts/_rels/slideLayout60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9.xml"/></Relationships>
</file>

<file path=ppt/slideLayouts/_rels/slideLayout60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9.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9.xml"/></Relationships>
</file>

<file path=ppt/slideLayouts/_rels/slideLayout6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9.xml"/></Relationships>
</file>

<file path=ppt/slideLayouts/_rels/slideLayout6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9.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9.xml"/></Relationships>
</file>

<file path=ppt/slideLayouts/_rels/slideLayout61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9.xml"/></Relationships>
</file>

<file path=ppt/slideLayouts/_rels/slideLayout61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9.xml"/></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0.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image" Target="../media/image105.emf"/><Relationship Id="rId1" Type="http://schemas.openxmlformats.org/officeDocument/2006/relationships/slideMaster" Target="../slideMasters/slideMaster30.xml"/></Relationships>
</file>

<file path=ppt/slideLayouts/_rels/slideLayout621.xml.rels><?xml version="1.0" encoding="UTF-8" standalone="yes"?>
<Relationships xmlns="http://schemas.openxmlformats.org/package/2006/relationships"><Relationship Id="rId3" Type="http://schemas.openxmlformats.org/officeDocument/2006/relationships/image" Target="../media/image70.emf"/><Relationship Id="rId2" Type="http://schemas.openxmlformats.org/officeDocument/2006/relationships/image" Target="../media/image105.emf"/><Relationship Id="rId1" Type="http://schemas.openxmlformats.org/officeDocument/2006/relationships/slideMaster" Target="../slideMasters/slideMaster30.xml"/></Relationships>
</file>

<file path=ppt/slideLayouts/_rels/slideLayout622.xml.rels><?xml version="1.0" encoding="UTF-8" standalone="yes"?>
<Relationships xmlns="http://schemas.openxmlformats.org/package/2006/relationships"><Relationship Id="rId2" Type="http://schemas.openxmlformats.org/officeDocument/2006/relationships/image" Target="../media/image105.emf"/><Relationship Id="rId1" Type="http://schemas.openxmlformats.org/officeDocument/2006/relationships/slideMaster" Target="../slideMasters/slideMaster30.xml"/></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2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2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37.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Master" Target="../slideMasters/slideMaster30.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41.xml.rels><?xml version="1.0" encoding="UTF-8" standalone="yes"?>
<Relationships xmlns="http://schemas.openxmlformats.org/package/2006/relationships"><Relationship Id="rId2" Type="http://schemas.openxmlformats.org/officeDocument/2006/relationships/image" Target="../media/image114.png"/><Relationship Id="rId1" Type="http://schemas.openxmlformats.org/officeDocument/2006/relationships/slideMaster" Target="../slideMasters/slideMaster30.xml"/></Relationships>
</file>

<file path=ppt/slideLayouts/_rels/slideLayout64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4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4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1.xml"/><Relationship Id="rId4" Type="http://schemas.openxmlformats.org/officeDocument/2006/relationships/image" Target="../media/image91.png"/></Relationships>
</file>

<file path=ppt/slideLayouts/_rels/slideLayout64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1.xml"/><Relationship Id="rId4" Type="http://schemas.openxmlformats.org/officeDocument/2006/relationships/image" Target="../media/image91.png"/></Relationships>
</file>

<file path=ppt/slideLayouts/_rels/slideLayout646.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4.png"/><Relationship Id="rId1" Type="http://schemas.openxmlformats.org/officeDocument/2006/relationships/slideMaster" Target="../slideMasters/slideMaster31.xml"/></Relationships>
</file>

<file path=ppt/slideLayouts/_rels/slideLayout647.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31.xml"/></Relationships>
</file>

<file path=ppt/slideLayouts/_rels/slideLayout648.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31.xml"/></Relationships>
</file>

<file path=ppt/slideLayouts/_rels/slideLayout649.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3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0.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Master" Target="../slideMasters/slideMaster31.xml"/></Relationships>
</file>

<file path=ppt/slideLayouts/_rels/slideLayout651.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91.png"/><Relationship Id="rId1" Type="http://schemas.openxmlformats.org/officeDocument/2006/relationships/slideMaster" Target="../slideMasters/slideMaster31.xml"/></Relationships>
</file>

<file path=ppt/slideLayouts/_rels/slideLayout652.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91.png"/><Relationship Id="rId1" Type="http://schemas.openxmlformats.org/officeDocument/2006/relationships/slideMaster" Target="../slideMasters/slideMaster31.xml"/></Relationships>
</file>

<file path=ppt/slideLayouts/_rels/slideLayout653.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91.png"/><Relationship Id="rId1" Type="http://schemas.openxmlformats.org/officeDocument/2006/relationships/slideMaster" Target="../slideMasters/slideMaster31.xml"/></Relationships>
</file>

<file path=ppt/slideLayouts/_rels/slideLayout654.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2.png"/><Relationship Id="rId1" Type="http://schemas.openxmlformats.org/officeDocument/2006/relationships/slideMaster" Target="../slideMasters/slideMaster31.xml"/></Relationships>
</file>

<file path=ppt/slideLayouts/_rels/slideLayout655.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2.png"/><Relationship Id="rId1" Type="http://schemas.openxmlformats.org/officeDocument/2006/relationships/slideMaster" Target="../slideMasters/slideMaster31.xml"/><Relationship Id="rId4" Type="http://schemas.openxmlformats.org/officeDocument/2006/relationships/image" Target="../media/image4.png"/></Relationships>
</file>

<file path=ppt/slideLayouts/_rels/slideLayout656.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2.png"/><Relationship Id="rId1" Type="http://schemas.openxmlformats.org/officeDocument/2006/relationships/slideMaster" Target="../slideMasters/slideMaster31.xml"/><Relationship Id="rId4" Type="http://schemas.openxmlformats.org/officeDocument/2006/relationships/image" Target="../media/image4.png"/></Relationships>
</file>

<file path=ppt/slideLayouts/_rels/slideLayout657.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31.xml"/><Relationship Id="rId4" Type="http://schemas.openxmlformats.org/officeDocument/2006/relationships/image" Target="../media/image90.png"/></Relationships>
</file>

<file path=ppt/slideLayouts/_rels/slideLayout658.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31.xml"/><Relationship Id="rId4" Type="http://schemas.openxmlformats.org/officeDocument/2006/relationships/image" Target="../media/image90.png"/></Relationships>
</file>

<file path=ppt/slideLayouts/_rels/slideLayout659.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31.xml"/><Relationship Id="rId4" Type="http://schemas.openxmlformats.org/officeDocument/2006/relationships/image" Target="../media/image90.png"/></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0.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31.xml"/><Relationship Id="rId4" Type="http://schemas.openxmlformats.org/officeDocument/2006/relationships/image" Target="../media/image90.png"/></Relationships>
</file>

<file path=ppt/slideLayouts/_rels/slideLayout661.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31.xml"/><Relationship Id="rId4" Type="http://schemas.openxmlformats.org/officeDocument/2006/relationships/image" Target="../media/image90.png"/></Relationships>
</file>

<file path=ppt/slideLayouts/_rels/slideLayout662.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31.xml"/><Relationship Id="rId4" Type="http://schemas.openxmlformats.org/officeDocument/2006/relationships/image" Target="../media/image90.png"/></Relationships>
</file>

<file path=ppt/slideLayouts/_rels/slideLayout663.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31.xml"/></Relationships>
</file>

<file path=ppt/slideLayouts/_rels/slideLayout664.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31.xml"/></Relationships>
</file>

<file path=ppt/slideLayouts/_rels/slideLayout665.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31.xml"/></Relationships>
</file>

<file path=ppt/slideLayouts/_rels/slideLayout666.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31.xml"/></Relationships>
</file>

<file path=ppt/slideLayouts/_rels/slideLayout66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6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69.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4.png"/><Relationship Id="rId1" Type="http://schemas.openxmlformats.org/officeDocument/2006/relationships/slideMaster" Target="../slideMasters/slideMaster3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0.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png"/><Relationship Id="rId1" Type="http://schemas.openxmlformats.org/officeDocument/2006/relationships/slideMaster" Target="../slideMasters/slideMaster31.xml"/><Relationship Id="rId4" Type="http://schemas.openxmlformats.org/officeDocument/2006/relationships/image" Target="../media/image91.png"/></Relationships>
</file>

<file path=ppt/slideLayouts/_rels/slideLayout671.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png"/><Relationship Id="rId1" Type="http://schemas.openxmlformats.org/officeDocument/2006/relationships/slideMaster" Target="../slideMasters/slideMaster31.xml"/><Relationship Id="rId4" Type="http://schemas.openxmlformats.org/officeDocument/2006/relationships/image" Target="../media/image91.png"/></Relationships>
</file>

<file path=ppt/slideLayouts/_rels/slideLayout672.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png"/><Relationship Id="rId1" Type="http://schemas.openxmlformats.org/officeDocument/2006/relationships/slideMaster" Target="../slideMasters/slideMaster31.xml"/></Relationships>
</file>

<file path=ppt/slideLayouts/_rels/slideLayout67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1.xml"/></Relationships>
</file>

<file path=ppt/slideLayouts/_rels/slideLayout67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1.xml"/></Relationships>
</file>

<file path=ppt/slideLayouts/_rels/slideLayout67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1.xml"/></Relationships>
</file>

<file path=ppt/slideLayouts/_rels/slideLayout67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7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7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7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8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8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8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8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8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8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8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8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8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9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9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9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9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9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98.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Master" Target="../slideMasters/slideMaster32.xml"/></Relationships>
</file>

<file path=ppt/slideLayouts/_rels/slideLayout69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00.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Master" Target="../slideMasters/slideMaster3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68.jp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70.emf"/><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9" name="Picture 8"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6" name="Presenter"/>
          <p:cNvSpPr txBox="1">
            <a:spLocks/>
          </p:cNvSpPr>
          <p:nvPr userDrawn="1"/>
        </p:nvSpPr>
        <p:spPr>
          <a:xfrm>
            <a:off x="6340563" y="5233032"/>
            <a:ext cx="5668478"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2422" y="4263383"/>
            <a:ext cx="5826403"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1647599360"/>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524385463"/>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lank_gray_BUILD LOGO">
    <p:bg>
      <p:bgPr>
        <a:solidFill>
          <a:schemeClr val="accent2"/>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530336" y="6220470"/>
            <a:ext cx="138019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6" tIns="44804" rIns="89606" bIns="44804" numCol="1" anchor="t" anchorCtr="0" compatLnSpc="1">
            <a:prstTxWarp prst="textNoShape">
              <a:avLst/>
            </a:prstTxWarp>
          </a:bodyPr>
          <a:lstStyle/>
          <a:p>
            <a:pPr marL="0" marR="0" lvl="0" indent="0" algn="l" defTabSz="914121"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914473039"/>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nk_silver_BUILD LOGO">
    <p:bg>
      <p:bgPr>
        <a:solidFill>
          <a:schemeClr val="bg2"/>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10530336" y="6220470"/>
            <a:ext cx="138019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6" tIns="44804" rIns="89606" bIns="44804" numCol="1" anchor="t" anchorCtr="0" compatLnSpc="1">
            <a:prstTxWarp prst="textNoShape">
              <a:avLst/>
            </a:prstTxWarp>
          </a:bodyPr>
          <a:lstStyle/>
          <a:p>
            <a:pPr marL="0" marR="0" lvl="0" indent="0" algn="l" defTabSz="914121"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333333"/>
              </a:solidFill>
              <a:effectLst/>
              <a:uLnTx/>
              <a:uFillTx/>
              <a:latin typeface="Segoe UI"/>
              <a:ea typeface="+mn-ea"/>
              <a:cs typeface="+mn-cs"/>
            </a:endParaRPr>
          </a:p>
        </p:txBody>
      </p:sp>
    </p:spTree>
    <p:extLst>
      <p:ext uri="{BB962C8B-B14F-4D97-AF65-F5344CB8AC3E}">
        <p14:creationId xmlns:p14="http://schemas.microsoft.com/office/powerpoint/2010/main" val="4494273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6392079"/>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nk_gray">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7139459"/>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lank_blu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4686689"/>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nk_silver">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914968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_cyan">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5015639"/>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170" y="6171616"/>
            <a:ext cx="11650487" cy="395276"/>
          </a:xfrm>
          <a:prstGeom prst="rect">
            <a:avLst/>
          </a:prstGeom>
          <a:noFill/>
          <a:ln w="12700">
            <a:noFill/>
            <a:miter lim="800000"/>
            <a:headEnd type="none" w="sm" len="sm"/>
            <a:tailEnd type="none" w="sm" len="sm"/>
          </a:ln>
          <a:effectLst/>
        </p:spPr>
        <p:txBody>
          <a:bodyPr vert="horz" wrap="square" lIns="179213" tIns="143370" rIns="179213" bIns="143370" numCol="1" anchor="t" anchorCtr="0" compatLnSpc="1">
            <a:prstTxWarp prst="textNoShape">
              <a:avLst/>
            </a:prstTxWarp>
            <a:spAutoFit/>
          </a:bodyPr>
          <a:lstStyle/>
          <a:p>
            <a:pPr marL="0" marR="0" lvl="0" indent="0" algn="l" defTabSz="91367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bwMode="black">
          <a:xfrm>
            <a:off x="450087" y="3083651"/>
            <a:ext cx="3226289" cy="692059"/>
          </a:xfrm>
          <a:prstGeom prst="rect">
            <a:avLst/>
          </a:prstGeom>
        </p:spPr>
      </p:pic>
    </p:spTree>
    <p:extLst>
      <p:ext uri="{BB962C8B-B14F-4D97-AF65-F5344CB8AC3E}">
        <p14:creationId xmlns:p14="http://schemas.microsoft.com/office/powerpoint/2010/main" val="3378008437"/>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461101"/>
          </a:xfrm>
          <a:prstGeom prst="rect">
            <a:avLst/>
          </a:prstGeom>
        </p:spPr>
        <p:txBody>
          <a:bodyPr/>
          <a:lstStyle>
            <a:lvl1pPr marL="284713" indent="-284713">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91" indent="-275378">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03" indent="-284713">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840" indent="-224037">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875" indent="-224037">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7"/>
            <a:ext cx="12188826" cy="619126"/>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012371522"/>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1097" y="6256216"/>
            <a:ext cx="2742486" cy="365125"/>
          </a:xfrm>
          <a:prstGeom prst="rect">
            <a:avLst/>
          </a:prstGeom>
        </p:spPr>
        <p:txBody>
          <a:bodyPr/>
          <a:lstStyle/>
          <a:p>
            <a:pPr algn="r" defTabSz="913956">
              <a:defRPr/>
            </a:pPr>
            <a:fld id="{0A164282-434E-41D4-9582-783D542A7B68}" type="slidenum">
              <a:rPr lang="en-US" sz="1999" smtClean="0">
                <a:solidFill>
                  <a:srgbClr val="289FD7"/>
                </a:solidFill>
                <a:latin typeface="Segoe UI Light"/>
              </a:rPr>
              <a:pPr algn="r" defTabSz="913956">
                <a:defRPr/>
              </a:pPr>
              <a:t>‹#›</a:t>
            </a:fld>
            <a:endParaRPr lang="en-US" sz="1999">
              <a:solidFill>
                <a:srgbClr val="289FD7"/>
              </a:solidFill>
              <a:latin typeface="Segoe UI Light"/>
            </a:endParaRPr>
          </a:p>
        </p:txBody>
      </p:sp>
    </p:spTree>
    <p:extLst>
      <p:ext uri="{BB962C8B-B14F-4D97-AF65-F5344CB8AC3E}">
        <p14:creationId xmlns:p14="http://schemas.microsoft.com/office/powerpoint/2010/main" val="54644016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line and Content">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2" name="Body"/>
          <p:cNvSpPr>
            <a:spLocks noGrp="1"/>
          </p:cNvSpPr>
          <p:nvPr>
            <p:ph type="body" sz="quarter" idx="11"/>
          </p:nvPr>
        </p:nvSpPr>
        <p:spPr>
          <a:xfrm>
            <a:off x="373888" y="4824403"/>
            <a:ext cx="6748272"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Subhead"/>
          <p:cNvSpPr>
            <a:spLocks noGrp="1"/>
          </p:cNvSpPr>
          <p:nvPr>
            <p:ph type="body" sz="quarter" idx="12" hasCustomPrompt="1"/>
          </p:nvPr>
        </p:nvSpPr>
        <p:spPr>
          <a:xfrm>
            <a:off x="374650" y="3873500"/>
            <a:ext cx="6746875"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640" y="930350"/>
            <a:ext cx="9973765" cy="917575"/>
          </a:xfrm>
          <a:prstGeom prst="rect">
            <a:avLst/>
          </a:prstGeom>
        </p:spPr>
        <p:txBody>
          <a:bodyPr/>
          <a:lstStyle/>
          <a:p>
            <a:r>
              <a:rPr lang="en-US" sz="4800" dirty="0">
                <a:solidFill>
                  <a:schemeClr val="bg1"/>
                </a:solidFill>
              </a:rPr>
              <a:t>Headline</a:t>
            </a:r>
          </a:p>
        </p:txBody>
      </p:sp>
    </p:spTree>
    <p:extLst>
      <p:ext uri="{BB962C8B-B14F-4D97-AF65-F5344CB8AC3E}">
        <p14:creationId xmlns:p14="http://schemas.microsoft.com/office/powerpoint/2010/main" val="2013369396"/>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pic>
        <p:nvPicPr>
          <p:cNvPr id="9" name="Picture 8"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sp>
        <p:nvSpPr>
          <p:cNvPr id="6" name="Presenter"/>
          <p:cNvSpPr txBox="1">
            <a:spLocks/>
          </p:cNvSpPr>
          <p:nvPr userDrawn="1"/>
        </p:nvSpPr>
        <p:spPr>
          <a:xfrm>
            <a:off x="6340563" y="5233033"/>
            <a:ext cx="5668478" cy="1095241"/>
          </a:xfrm>
          <a:prstGeom prst="rect">
            <a:avLst/>
          </a:prstGeom>
        </p:spPr>
        <p:txBody>
          <a:bodyPr vert="horz" wrap="square" lIns="228508" tIns="91364" rIns="146181" bIns="91364"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marL="0" marR="0" lvl="0" indent="0" algn="l" defTabSz="932194" rtl="0" eaLnBrk="1" fontAlgn="auto" latinLnBrk="0" hangingPunct="1">
              <a:lnSpc>
                <a:spcPts val="2999"/>
              </a:lnSpc>
              <a:spcBef>
                <a:spcPts val="0"/>
              </a:spcBef>
              <a:spcAft>
                <a:spcPts val="1199"/>
              </a:spcAft>
              <a:buClrTx/>
              <a:buSzTx/>
              <a:buFontTx/>
              <a:buNone/>
              <a:tabLst/>
              <a:defRPr/>
            </a:pPr>
            <a:r>
              <a:rPr kumimoji="0" lang="en-US" sz="2199" b="0" i="0" u="none" strike="noStrike" kern="1200" cap="none" spc="-102" normalizeH="0" baseline="0" noProof="0" dirty="0">
                <a:ln w="3175">
                  <a:noFill/>
                </a:ln>
                <a:solidFill>
                  <a:srgbClr val="FFFFFF"/>
                </a:solidFill>
                <a:effectLst/>
                <a:uLnTx/>
                <a:uFillTx/>
                <a:latin typeface="Segoe UI Light"/>
                <a:ea typeface="+mn-ea"/>
                <a:cs typeface="Segoe UI" pitchFamily="34" charset="0"/>
              </a:rPr>
              <a:t>Presenter</a:t>
            </a:r>
          </a:p>
        </p:txBody>
      </p:sp>
      <p:sp>
        <p:nvSpPr>
          <p:cNvPr id="10" name="Title"/>
          <p:cNvSpPr>
            <a:spLocks noGrp="1"/>
          </p:cNvSpPr>
          <p:nvPr>
            <p:ph type="title" hasCustomPrompt="1"/>
          </p:nvPr>
        </p:nvSpPr>
        <p:spPr>
          <a:xfrm>
            <a:off x="6362423" y="4263384"/>
            <a:ext cx="5826403" cy="899665"/>
          </a:xfrm>
          <a:prstGeom prst="rect">
            <a:avLst/>
          </a:prstGeom>
        </p:spPr>
        <p:txBody>
          <a:bodyPr/>
          <a:lstStyle>
            <a:lvl1pPr>
              <a:defRPr lang="en-US" sz="5397"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898593820"/>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Icon"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pic>
        <p:nvPicPr>
          <p:cNvPr id="9"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sp>
        <p:nvSpPr>
          <p:cNvPr id="10" name="Title"/>
          <p:cNvSpPr>
            <a:spLocks noGrp="1"/>
          </p:cNvSpPr>
          <p:nvPr>
            <p:ph type="title" hasCustomPrompt="1"/>
          </p:nvPr>
        </p:nvSpPr>
        <p:spPr>
          <a:xfrm>
            <a:off x="6362423" y="4263384"/>
            <a:ext cx="5826403" cy="899665"/>
          </a:xfrm>
          <a:prstGeom prst="rect">
            <a:avLst/>
          </a:prstGeom>
        </p:spPr>
        <p:txBody>
          <a:bodyPr/>
          <a:lstStyle>
            <a:lvl1pPr>
              <a:defRPr lang="en-US" sz="5397"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2809819401"/>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lt">
    <p:spTree>
      <p:nvGrpSpPr>
        <p:cNvPr id="1" name=""/>
        <p:cNvGrpSpPr/>
        <p:nvPr/>
      </p:nvGrpSpPr>
      <p:grpSpPr>
        <a:xfrm>
          <a:off x="0" y="0"/>
          <a:ext cx="0" cy="0"/>
          <a:chOff x="0" y="0"/>
          <a:chExt cx="0" cy="0"/>
        </a:xfrm>
      </p:grpSpPr>
      <p:pic>
        <p:nvPicPr>
          <p:cNvPr id="6"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sp>
        <p:nvSpPr>
          <p:cNvPr id="9" name="Title"/>
          <p:cNvSpPr>
            <a:spLocks noGrp="1"/>
          </p:cNvSpPr>
          <p:nvPr>
            <p:ph type="title" hasCustomPrompt="1"/>
          </p:nvPr>
        </p:nvSpPr>
        <p:spPr>
          <a:xfrm>
            <a:off x="0" y="2194768"/>
            <a:ext cx="12188826" cy="1081833"/>
          </a:xfrm>
          <a:prstGeom prst="rect">
            <a:avLst/>
          </a:prstGeom>
        </p:spPr>
        <p:txBody>
          <a:bodyPr/>
          <a:lstStyle>
            <a:lvl1pPr algn="ctr">
              <a:defRPr lang="en-US" sz="5397"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587" y="3276600"/>
            <a:ext cx="12188825" cy="990600"/>
          </a:xfrm>
          <a:prstGeom prst="rect">
            <a:avLst/>
          </a:prstGeom>
        </p:spPr>
        <p:txBody>
          <a:bodyPr/>
          <a:lstStyle>
            <a:lvl1pPr marL="0" indent="0" algn="ctr">
              <a:buNone/>
              <a:defRPr lang="en-US" sz="2199" b="0" kern="1200" cap="none" spc="-102"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3975803695"/>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266" y="2709521"/>
            <a:ext cx="10719432" cy="1266359"/>
          </a:xfrm>
          <a:prstGeom prst="rect">
            <a:avLst/>
          </a:prstGeom>
        </p:spPr>
        <p:txBody>
          <a:bodyPr>
            <a:noAutofit/>
          </a:bodyPr>
          <a:lstStyle>
            <a:lvl1pPr algn="ctr">
              <a:defRPr sz="7997"/>
            </a:lvl1pPr>
          </a:lstStyle>
          <a:p>
            <a:pPr algn="ctr"/>
            <a:r>
              <a:rPr lang="en-US" sz="7995" dirty="0"/>
              <a:t>Statement</a:t>
            </a:r>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spTree>
    <p:extLst>
      <p:ext uri="{BB962C8B-B14F-4D97-AF65-F5344CB8AC3E}">
        <p14:creationId xmlns:p14="http://schemas.microsoft.com/office/powerpoint/2010/main" val="554385423"/>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spTree>
    <p:extLst>
      <p:ext uri="{BB962C8B-B14F-4D97-AF65-F5344CB8AC3E}">
        <p14:creationId xmlns:p14="http://schemas.microsoft.com/office/powerpoint/2010/main" val="3767551742"/>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spTree>
    <p:extLst>
      <p:ext uri="{BB962C8B-B14F-4D97-AF65-F5344CB8AC3E}">
        <p14:creationId xmlns:p14="http://schemas.microsoft.com/office/powerpoint/2010/main" val="3912809758"/>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6"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5" y="151316"/>
            <a:ext cx="1660940" cy="382084"/>
          </a:xfrm>
          <a:prstGeom prst="rect">
            <a:avLst/>
          </a:prstGeom>
        </p:spPr>
      </p:pic>
    </p:spTree>
    <p:extLst>
      <p:ext uri="{BB962C8B-B14F-4D97-AF65-F5344CB8AC3E}">
        <p14:creationId xmlns:p14="http://schemas.microsoft.com/office/powerpoint/2010/main" val="29912690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pic>
        <p:nvPicPr>
          <p:cNvPr id="7"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944411364"/>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3955446569"/>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359473199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4" name="Subhead"/>
          <p:cNvSpPr>
            <a:spLocks noGrp="1"/>
          </p:cNvSpPr>
          <p:nvPr>
            <p:ph type="body" sz="quarter" idx="12" hasCustomPrompt="1"/>
          </p:nvPr>
        </p:nvSpPr>
        <p:spPr>
          <a:xfrm>
            <a:off x="374650" y="3873500"/>
            <a:ext cx="6746875"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640" y="930350"/>
            <a:ext cx="9973765" cy="917575"/>
          </a:xfrm>
          <a:prstGeom prst="rect">
            <a:avLst/>
          </a:prstGeom>
        </p:spPr>
        <p:txBody>
          <a:bodyPr/>
          <a:lstStyle/>
          <a:p>
            <a:r>
              <a:rPr lang="en-US" sz="4800" dirty="0">
                <a:solidFill>
                  <a:schemeClr val="bg1"/>
                </a:solidFill>
              </a:rPr>
              <a:t>Headline</a:t>
            </a:r>
          </a:p>
        </p:txBody>
      </p:sp>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2384266717"/>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Headline and Content">
    <p:spTree>
      <p:nvGrpSpPr>
        <p:cNvPr id="1" name=""/>
        <p:cNvGrpSpPr/>
        <p:nvPr/>
      </p:nvGrpSpPr>
      <p:grpSpPr>
        <a:xfrm>
          <a:off x="0" y="0"/>
          <a:ext cx="0" cy="0"/>
          <a:chOff x="0" y="0"/>
          <a:chExt cx="0" cy="0"/>
        </a:xfrm>
      </p:grpSpPr>
      <p:sp>
        <p:nvSpPr>
          <p:cNvPr id="3" name="White Background"/>
          <p:cNvSpPr/>
          <p:nvPr userDrawn="1"/>
        </p:nvSpPr>
        <p:spPr bwMode="auto">
          <a:xfrm>
            <a:off x="1"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sp>
        <p:nvSpPr>
          <p:cNvPr id="12" name="Body"/>
          <p:cNvSpPr>
            <a:spLocks noGrp="1"/>
          </p:cNvSpPr>
          <p:nvPr>
            <p:ph type="body" sz="quarter" idx="11"/>
          </p:nvPr>
        </p:nvSpPr>
        <p:spPr>
          <a:xfrm>
            <a:off x="373888" y="4824404"/>
            <a:ext cx="6748272" cy="1139825"/>
          </a:xfrm>
          <a:prstGeom prst="rect">
            <a:avLst/>
          </a:prstGeom>
        </p:spPr>
        <p:txBody>
          <a:bodyPr/>
          <a:lstStyle>
            <a:lvl1pPr>
              <a:buClr>
                <a:schemeClr val="tx2"/>
              </a:buClr>
              <a:defRPr lang="en-US" sz="1999" kern="1200" spc="0" baseline="0" dirty="0" smtClean="0">
                <a:solidFill>
                  <a:srgbClr val="0072C6"/>
                </a:solidFill>
                <a:latin typeface="Segoe UI Light" panose="020B0502040204020203" pitchFamily="34" charset="0"/>
                <a:ea typeface="+mn-ea"/>
                <a:cs typeface="+mn-cs"/>
              </a:defRPr>
            </a:lvl1pPr>
            <a:lvl2pPr>
              <a:buClr>
                <a:schemeClr val="tx2"/>
              </a:buClr>
              <a:defRPr lang="en-US" sz="1999" kern="1200" spc="0" baseline="0" dirty="0" smtClean="0">
                <a:solidFill>
                  <a:srgbClr val="0072C6"/>
                </a:solidFill>
                <a:latin typeface="Segoe UI Light" panose="020B0502040204020203" pitchFamily="34" charset="0"/>
                <a:ea typeface="+mn-ea"/>
                <a:cs typeface="+mn-cs"/>
              </a:defRPr>
            </a:lvl2pPr>
            <a:lvl3pPr>
              <a:buClr>
                <a:schemeClr val="tx2"/>
              </a:buClr>
              <a:defRPr lang="en-US" sz="1999" kern="1200" spc="0" baseline="0" dirty="0" smtClean="0">
                <a:solidFill>
                  <a:srgbClr val="0072C6"/>
                </a:solidFill>
                <a:latin typeface="Segoe UI Light" panose="020B0502040204020203" pitchFamily="34" charset="0"/>
                <a:ea typeface="+mn-ea"/>
                <a:cs typeface="+mn-cs"/>
              </a:defRPr>
            </a:lvl3pPr>
            <a:lvl4pPr>
              <a:buClr>
                <a:schemeClr val="tx2"/>
              </a:buClr>
              <a:defRPr lang="en-US" sz="1999" kern="1200" spc="0" baseline="0" dirty="0" smtClean="0">
                <a:solidFill>
                  <a:srgbClr val="0072C6"/>
                </a:solidFill>
                <a:latin typeface="Segoe UI Light" panose="020B0502040204020203" pitchFamily="34" charset="0"/>
                <a:ea typeface="+mn-ea"/>
                <a:cs typeface="+mn-cs"/>
              </a:defRPr>
            </a:lvl4pPr>
            <a:lvl5pPr>
              <a:buClr>
                <a:schemeClr val="tx2"/>
              </a:buClr>
              <a:defRPr lang="en-US" sz="1999" kern="1200" spc="0" baseline="0" dirty="0" smtClean="0">
                <a:solidFill>
                  <a:srgbClr val="0072C6"/>
                </a:solidFill>
                <a:latin typeface="Segoe UI Light" panose="020B0502040204020203"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Subhead"/>
          <p:cNvSpPr>
            <a:spLocks noGrp="1"/>
          </p:cNvSpPr>
          <p:nvPr>
            <p:ph type="body" sz="quarter" idx="12" hasCustomPrompt="1"/>
          </p:nvPr>
        </p:nvSpPr>
        <p:spPr>
          <a:xfrm>
            <a:off x="374651" y="3873501"/>
            <a:ext cx="6746875" cy="950913"/>
          </a:xfrm>
          <a:prstGeom prst="rect">
            <a:avLst/>
          </a:prstGeom>
        </p:spPr>
        <p:txBody>
          <a:bodyPr/>
          <a:lstStyle>
            <a:lvl1pPr marL="0" indent="0">
              <a:buNone/>
              <a:defRPr>
                <a:solidFill>
                  <a:schemeClr val="tx2"/>
                </a:solidFill>
              </a:defRPr>
            </a:lvl1pPr>
            <a:lvl2pPr marL="335943" indent="0">
              <a:buNone/>
              <a:defRPr>
                <a:solidFill>
                  <a:schemeClr val="tx2"/>
                </a:solidFill>
              </a:defRPr>
            </a:lvl2pPr>
            <a:lvl3pPr marL="559906" indent="0">
              <a:buNone/>
              <a:defRPr>
                <a:solidFill>
                  <a:schemeClr val="tx2"/>
                </a:solidFill>
              </a:defRPr>
            </a:lvl3pPr>
            <a:lvl4pPr marL="783867" indent="0">
              <a:buNone/>
              <a:defRPr>
                <a:solidFill>
                  <a:schemeClr val="tx2"/>
                </a:solidFill>
              </a:defRPr>
            </a:lvl4pPr>
            <a:lvl5pPr marL="1007830"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641" y="930350"/>
            <a:ext cx="9973765" cy="917575"/>
          </a:xfrm>
          <a:prstGeom prst="rect">
            <a:avLst/>
          </a:prstGeom>
        </p:spPr>
        <p:txBody>
          <a:bodyPr/>
          <a:lstStyle/>
          <a:p>
            <a:r>
              <a:rPr lang="en-US" sz="4799" dirty="0">
                <a:solidFill>
                  <a:schemeClr val="bg1"/>
                </a:solidFill>
              </a:rPr>
              <a:t>Headline</a:t>
            </a:r>
          </a:p>
        </p:txBody>
      </p:sp>
    </p:spTree>
    <p:extLst>
      <p:ext uri="{BB962C8B-B14F-4D97-AF65-F5344CB8AC3E}">
        <p14:creationId xmlns:p14="http://schemas.microsoft.com/office/powerpoint/2010/main" val="1424309263"/>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sp>
        <p:nvSpPr>
          <p:cNvPr id="3" name="White Background"/>
          <p:cNvSpPr/>
          <p:nvPr userDrawn="1"/>
        </p:nvSpPr>
        <p:spPr bwMode="auto">
          <a:xfrm>
            <a:off x="1"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sp>
        <p:nvSpPr>
          <p:cNvPr id="14" name="Subhead"/>
          <p:cNvSpPr>
            <a:spLocks noGrp="1"/>
          </p:cNvSpPr>
          <p:nvPr>
            <p:ph type="body" sz="quarter" idx="12" hasCustomPrompt="1"/>
          </p:nvPr>
        </p:nvSpPr>
        <p:spPr>
          <a:xfrm>
            <a:off x="374651" y="3873501"/>
            <a:ext cx="6746875" cy="950913"/>
          </a:xfrm>
          <a:prstGeom prst="rect">
            <a:avLst/>
          </a:prstGeom>
        </p:spPr>
        <p:txBody>
          <a:bodyPr/>
          <a:lstStyle>
            <a:lvl1pPr marL="0" indent="0">
              <a:buNone/>
              <a:defRPr>
                <a:solidFill>
                  <a:schemeClr val="tx2"/>
                </a:solidFill>
              </a:defRPr>
            </a:lvl1pPr>
            <a:lvl2pPr marL="335943" indent="0">
              <a:buNone/>
              <a:defRPr>
                <a:solidFill>
                  <a:schemeClr val="tx2"/>
                </a:solidFill>
              </a:defRPr>
            </a:lvl2pPr>
            <a:lvl3pPr marL="559906" indent="0">
              <a:buNone/>
              <a:defRPr>
                <a:solidFill>
                  <a:schemeClr val="tx2"/>
                </a:solidFill>
              </a:defRPr>
            </a:lvl3pPr>
            <a:lvl4pPr marL="783867" indent="0">
              <a:buNone/>
              <a:defRPr>
                <a:solidFill>
                  <a:schemeClr val="tx2"/>
                </a:solidFill>
              </a:defRPr>
            </a:lvl4pPr>
            <a:lvl5pPr marL="1007830"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641" y="930350"/>
            <a:ext cx="9973765" cy="917575"/>
          </a:xfrm>
          <a:prstGeom prst="rect">
            <a:avLst/>
          </a:prstGeom>
        </p:spPr>
        <p:txBody>
          <a:bodyPr/>
          <a:lstStyle/>
          <a:p>
            <a:r>
              <a:rPr lang="en-US" sz="4799" dirty="0">
                <a:solidFill>
                  <a:schemeClr val="bg1"/>
                </a:solidFill>
              </a:rPr>
              <a:t>Headline</a:t>
            </a:r>
          </a:p>
        </p:txBody>
      </p:sp>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spTree>
    <p:extLst>
      <p:ext uri="{BB962C8B-B14F-4D97-AF65-F5344CB8AC3E}">
        <p14:creationId xmlns:p14="http://schemas.microsoft.com/office/powerpoint/2010/main" val="3951393202"/>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nk Half">
    <p:spTree>
      <p:nvGrpSpPr>
        <p:cNvPr id="1" name=""/>
        <p:cNvGrpSpPr/>
        <p:nvPr/>
      </p:nvGrpSpPr>
      <p:grpSpPr>
        <a:xfrm>
          <a:off x="0" y="0"/>
          <a:ext cx="0" cy="0"/>
          <a:chOff x="0" y="0"/>
          <a:chExt cx="0" cy="0"/>
        </a:xfrm>
      </p:grpSpPr>
      <p:sp>
        <p:nvSpPr>
          <p:cNvPr id="3" name="White Background"/>
          <p:cNvSpPr/>
          <p:nvPr userDrawn="1"/>
        </p:nvSpPr>
        <p:spPr bwMode="auto">
          <a:xfrm>
            <a:off x="1"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spTree>
    <p:extLst>
      <p:ext uri="{BB962C8B-B14F-4D97-AF65-F5344CB8AC3E}">
        <p14:creationId xmlns:p14="http://schemas.microsoft.com/office/powerpoint/2010/main" val="823460270"/>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userDrawn="1"/>
        </p:nvSpPr>
        <p:spPr bwMode="auto">
          <a:xfrm>
            <a:off x="1"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5" y="151316"/>
            <a:ext cx="1660940" cy="382084"/>
          </a:xfrm>
          <a:prstGeom prst="rect">
            <a:avLst/>
          </a:prstGeom>
        </p:spPr>
      </p:pic>
      <p:sp>
        <p:nvSpPr>
          <p:cNvPr id="10" name="Headline"/>
          <p:cNvSpPr>
            <a:spLocks noGrp="1"/>
          </p:cNvSpPr>
          <p:nvPr>
            <p:ph type="title"/>
          </p:nvPr>
        </p:nvSpPr>
        <p:spPr>
          <a:xfrm>
            <a:off x="274641" y="930350"/>
            <a:ext cx="9973765" cy="917575"/>
          </a:xfrm>
          <a:prstGeom prst="rect">
            <a:avLst/>
          </a:prstGeom>
        </p:spPr>
        <p:txBody>
          <a:bodyPr/>
          <a:lstStyle>
            <a:lvl1pPr>
              <a:defRPr>
                <a:solidFill>
                  <a:schemeClr val="tx2"/>
                </a:solidFill>
              </a:defRPr>
            </a:lvl1pPr>
          </a:lstStyle>
          <a:p>
            <a:r>
              <a:rPr lang="en-US" sz="4799" dirty="0">
                <a:solidFill>
                  <a:srgbClr val="0072C6"/>
                </a:solidFill>
                <a:latin typeface="Segoe UI Light" panose="020B0502040204020203" pitchFamily="34" charset="0"/>
              </a:rPr>
              <a:t>Headline</a:t>
            </a:r>
          </a:p>
        </p:txBody>
      </p:sp>
      <p:sp>
        <p:nvSpPr>
          <p:cNvPr id="6" name="Body"/>
          <p:cNvSpPr>
            <a:spLocks noGrp="1"/>
          </p:cNvSpPr>
          <p:nvPr>
            <p:ph sz="quarter" idx="10"/>
          </p:nvPr>
        </p:nvSpPr>
        <p:spPr>
          <a:xfrm>
            <a:off x="274640" y="2193928"/>
            <a:ext cx="9974262" cy="2719388"/>
          </a:xfrm>
          <a:prstGeom prst="rect">
            <a:avLst/>
          </a:prstGeom>
        </p:spPr>
        <p:txBody>
          <a:bodyPr/>
          <a:lstStyle>
            <a:lvl1pPr>
              <a:buClr>
                <a:schemeClr val="tx2"/>
              </a:buClr>
              <a:defRPr sz="1999">
                <a:solidFill>
                  <a:schemeClr val="tx2"/>
                </a:solidFill>
              </a:defRPr>
            </a:lvl1pPr>
            <a:lvl2pPr>
              <a:buClr>
                <a:schemeClr val="tx2"/>
              </a:buClr>
              <a:defRPr sz="1999">
                <a:solidFill>
                  <a:schemeClr val="tx2"/>
                </a:solidFill>
              </a:defRPr>
            </a:lvl2pPr>
            <a:lvl3pPr>
              <a:buClr>
                <a:schemeClr val="tx2"/>
              </a:buClr>
              <a:defRPr sz="1999">
                <a:solidFill>
                  <a:schemeClr val="tx2"/>
                </a:solidFill>
              </a:defRPr>
            </a:lvl3pPr>
            <a:lvl4pPr>
              <a:buClr>
                <a:schemeClr val="tx2"/>
              </a:buClr>
              <a:defRPr sz="1999">
                <a:solidFill>
                  <a:schemeClr val="tx2"/>
                </a:solidFill>
              </a:defRPr>
            </a:lvl4pPr>
            <a:lvl5pPr>
              <a:buClr>
                <a:schemeClr val="tx2"/>
              </a:buClr>
              <a:defRPr sz="1999">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7990787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5" y="151316"/>
            <a:ext cx="1660940" cy="382084"/>
          </a:xfrm>
          <a:prstGeom prst="rect">
            <a:avLst/>
          </a:prstGeom>
        </p:spPr>
      </p:pic>
      <p:sp>
        <p:nvSpPr>
          <p:cNvPr id="10" name="Headline"/>
          <p:cNvSpPr>
            <a:spLocks noGrp="1"/>
          </p:cNvSpPr>
          <p:nvPr>
            <p:ph type="title"/>
          </p:nvPr>
        </p:nvSpPr>
        <p:spPr>
          <a:xfrm>
            <a:off x="274641" y="930350"/>
            <a:ext cx="9973765" cy="917575"/>
          </a:xfrm>
          <a:prstGeom prst="rect">
            <a:avLst/>
          </a:prstGeom>
        </p:spPr>
        <p:txBody>
          <a:bodyPr/>
          <a:lstStyle>
            <a:lvl1pPr>
              <a:defRPr>
                <a:solidFill>
                  <a:schemeClr val="tx2"/>
                </a:solidFill>
              </a:defRPr>
            </a:lvl1pPr>
          </a:lstStyle>
          <a:p>
            <a:r>
              <a:rPr lang="en-US" sz="4799"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26782723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5" y="151316"/>
            <a:ext cx="1660940" cy="382084"/>
          </a:xfrm>
          <a:prstGeom prst="rect">
            <a:avLst/>
          </a:prstGeom>
        </p:spPr>
      </p:pic>
      <p:sp>
        <p:nvSpPr>
          <p:cNvPr id="10" name="Headline"/>
          <p:cNvSpPr>
            <a:spLocks noGrp="1"/>
          </p:cNvSpPr>
          <p:nvPr>
            <p:ph type="title"/>
          </p:nvPr>
        </p:nvSpPr>
        <p:spPr>
          <a:xfrm>
            <a:off x="2517956" y="5576547"/>
            <a:ext cx="8066963" cy="917575"/>
          </a:xfrm>
          <a:prstGeom prst="rect">
            <a:avLst/>
          </a:prstGeom>
        </p:spPr>
        <p:txBody>
          <a:bodyPr/>
          <a:lstStyle>
            <a:lvl1pPr>
              <a:defRPr>
                <a:solidFill>
                  <a:schemeClr val="bg1"/>
                </a:solidFill>
              </a:defRPr>
            </a:lvl1pPr>
          </a:lstStyle>
          <a:p>
            <a:r>
              <a:rPr lang="en-US" sz="4799"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5095778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Blank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5" y="151316"/>
            <a:ext cx="1660940" cy="382084"/>
          </a:xfrm>
          <a:prstGeom prst="rect">
            <a:avLst/>
          </a:prstGeom>
        </p:spPr>
      </p:pic>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4592153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5" y="151316"/>
            <a:ext cx="1660940" cy="382084"/>
          </a:xfrm>
          <a:prstGeom prst="rect">
            <a:avLst/>
          </a:prstGeom>
        </p:spPr>
      </p:pic>
      <p:sp>
        <p:nvSpPr>
          <p:cNvPr id="10" name="Headline"/>
          <p:cNvSpPr>
            <a:spLocks noGrp="1"/>
          </p:cNvSpPr>
          <p:nvPr>
            <p:ph type="title"/>
          </p:nvPr>
        </p:nvSpPr>
        <p:spPr>
          <a:xfrm>
            <a:off x="274642" y="2436270"/>
            <a:ext cx="2847972" cy="917575"/>
          </a:xfrm>
          <a:prstGeom prst="rect">
            <a:avLst/>
          </a:prstGeom>
        </p:spPr>
        <p:txBody>
          <a:bodyPr/>
          <a:lstStyle>
            <a:lvl1pPr>
              <a:defRPr>
                <a:solidFill>
                  <a:schemeClr val="tx2"/>
                </a:solidFill>
              </a:defRPr>
            </a:lvl1pPr>
          </a:lstStyle>
          <a:p>
            <a:r>
              <a:rPr lang="en-US" sz="4799" dirty="0">
                <a:solidFill>
                  <a:srgbClr val="0072C6"/>
                </a:solidFill>
                <a:latin typeface="Segoe UI Light" panose="020B0502040204020203" pitchFamily="34" charset="0"/>
              </a:rPr>
              <a:t>Headline</a:t>
            </a:r>
          </a:p>
        </p:txBody>
      </p:sp>
      <p:sp>
        <p:nvSpPr>
          <p:cNvPr id="6" name="Body"/>
          <p:cNvSpPr>
            <a:spLocks noGrp="1"/>
          </p:cNvSpPr>
          <p:nvPr>
            <p:ph sz="quarter" idx="10"/>
          </p:nvPr>
        </p:nvSpPr>
        <p:spPr>
          <a:xfrm>
            <a:off x="3397254" y="684717"/>
            <a:ext cx="8623270" cy="4420683"/>
          </a:xfrm>
          <a:prstGeom prst="rect">
            <a:avLst/>
          </a:prstGeom>
        </p:spPr>
        <p:txBody>
          <a:bodyPr/>
          <a:lstStyle>
            <a:lvl1pPr>
              <a:buClr>
                <a:schemeClr val="tx2"/>
              </a:buClr>
              <a:defRPr sz="1999">
                <a:solidFill>
                  <a:schemeClr val="tx2"/>
                </a:solidFill>
              </a:defRPr>
            </a:lvl1pPr>
            <a:lvl2pPr>
              <a:buClr>
                <a:schemeClr val="tx2"/>
              </a:buClr>
              <a:defRPr sz="1999">
                <a:solidFill>
                  <a:schemeClr val="tx2"/>
                </a:solidFill>
              </a:defRPr>
            </a:lvl2pPr>
            <a:lvl3pPr>
              <a:buClr>
                <a:schemeClr val="tx2"/>
              </a:buClr>
              <a:defRPr sz="1999">
                <a:solidFill>
                  <a:schemeClr val="tx2"/>
                </a:solidFill>
              </a:defRPr>
            </a:lvl3pPr>
            <a:lvl4pPr>
              <a:buClr>
                <a:schemeClr val="tx2"/>
              </a:buClr>
              <a:defRPr sz="1999">
                <a:solidFill>
                  <a:schemeClr val="tx2"/>
                </a:solidFill>
              </a:defRPr>
            </a:lvl4pPr>
            <a:lvl5pPr>
              <a:buClr>
                <a:schemeClr val="tx2"/>
              </a:buClr>
              <a:defRPr sz="1999">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38772106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5" y="151316"/>
            <a:ext cx="1660940" cy="382084"/>
          </a:xfrm>
          <a:prstGeom prst="rect">
            <a:avLst/>
          </a:prstGeom>
        </p:spPr>
      </p:pic>
      <p:sp>
        <p:nvSpPr>
          <p:cNvPr id="10" name="Headline"/>
          <p:cNvSpPr>
            <a:spLocks noGrp="1"/>
          </p:cNvSpPr>
          <p:nvPr>
            <p:ph type="title"/>
          </p:nvPr>
        </p:nvSpPr>
        <p:spPr>
          <a:xfrm>
            <a:off x="274642" y="2436270"/>
            <a:ext cx="2847972" cy="917575"/>
          </a:xfrm>
          <a:prstGeom prst="rect">
            <a:avLst/>
          </a:prstGeom>
        </p:spPr>
        <p:txBody>
          <a:bodyPr/>
          <a:lstStyle>
            <a:lvl1pPr>
              <a:defRPr>
                <a:solidFill>
                  <a:schemeClr val="tx2"/>
                </a:solidFill>
              </a:defRPr>
            </a:lvl1pPr>
          </a:lstStyle>
          <a:p>
            <a:r>
              <a:rPr lang="en-US" sz="4799"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26188269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20" y="2317689"/>
            <a:ext cx="11611293" cy="4083112"/>
          </a:xfrm>
          <a:prstGeom prst="rect">
            <a:avLst/>
          </a:prstGeom>
        </p:spPr>
        <p:txBody>
          <a:bodyPr/>
          <a:lstStyle>
            <a:lvl1pPr>
              <a:defRPr sz="1999"/>
            </a:lvl1pPr>
            <a:lvl2pPr>
              <a:defRPr sz="1999"/>
            </a:lvl2pPr>
            <a:lvl3pPr>
              <a:defRPr sz="1999"/>
            </a:lvl3pPr>
            <a:lvl4pPr>
              <a:defRPr sz="1999"/>
            </a:lvl4pPr>
            <a:lvl5pPr>
              <a:defRPr sz="199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White Background"/>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4" name="Subhead"/>
          <p:cNvSpPr txBox="1">
            <a:spLocks/>
          </p:cNvSpPr>
          <p:nvPr userDrawn="1"/>
        </p:nvSpPr>
        <p:spPr>
          <a:xfrm>
            <a:off x="274319" y="1415482"/>
            <a:ext cx="9872764"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pPr marL="0" marR="0" lvl="0" indent="0" algn="l" defTabSz="913818" rtl="0" eaLnBrk="1" fontAlgn="auto" latinLnBrk="0" hangingPunct="1">
              <a:lnSpc>
                <a:spcPct val="90000"/>
              </a:lnSpc>
              <a:spcBef>
                <a:spcPct val="0"/>
              </a:spcBef>
              <a:spcAft>
                <a:spcPts val="0"/>
              </a:spcAft>
              <a:buClrTx/>
              <a:buSzTx/>
              <a:buFontTx/>
              <a:buNone/>
              <a:tabLst/>
              <a:defRPr/>
            </a:pPr>
            <a:r>
              <a:rPr kumimoji="0" lang="en-US" sz="3999" b="0" i="0" u="none" strike="noStrike" kern="1200" cap="none" spc="-100" normalizeH="0" baseline="0" noProof="0" dirty="0">
                <a:ln w="3175">
                  <a:noFill/>
                </a:ln>
                <a:solidFill>
                  <a:srgbClr val="0072C6"/>
                </a:solidFill>
                <a:effectLst/>
                <a:uLnTx/>
                <a:uFillTx/>
                <a:latin typeface="Segoe UI Light"/>
                <a:ea typeface="+mn-ea"/>
                <a:cs typeface="Segoe UI" pitchFamily="34" charset="0"/>
              </a:rPr>
              <a:t>Subhead</a:t>
            </a:r>
          </a:p>
        </p:txBody>
      </p:sp>
      <p:sp>
        <p:nvSpPr>
          <p:cNvPr id="13" name="Headline"/>
          <p:cNvSpPr>
            <a:spLocks noGrp="1"/>
          </p:cNvSpPr>
          <p:nvPr userDrawn="1">
            <p:ph type="title" hasCustomPrompt="1"/>
          </p:nvPr>
        </p:nvSpPr>
        <p:spPr>
          <a:xfrm>
            <a:off x="274640" y="295279"/>
            <a:ext cx="9872764" cy="923922"/>
          </a:xfrm>
          <a:prstGeom prst="rect">
            <a:avLst/>
          </a:prstGeom>
        </p:spPr>
        <p:txBody>
          <a:bodyPr/>
          <a:lstStyle>
            <a:lvl1pPr>
              <a:defRPr sz="5197">
                <a:solidFill>
                  <a:schemeClr val="tx1"/>
                </a:solidFill>
              </a:defRPr>
            </a:lvl1pPr>
          </a:lstStyle>
          <a:p>
            <a:r>
              <a:rPr lang="en-US" dirty="0"/>
              <a:t>Headline</a:t>
            </a:r>
          </a:p>
        </p:txBody>
      </p:sp>
    </p:spTree>
    <p:extLst>
      <p:ext uri="{BB962C8B-B14F-4D97-AF65-F5344CB8AC3E}">
        <p14:creationId xmlns:p14="http://schemas.microsoft.com/office/powerpoint/2010/main" val="2168113312"/>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Half">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3691482745"/>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3" name="Headline"/>
          <p:cNvSpPr>
            <a:spLocks noGrp="1"/>
          </p:cNvSpPr>
          <p:nvPr userDrawn="1">
            <p:ph type="title" hasCustomPrompt="1"/>
          </p:nvPr>
        </p:nvSpPr>
        <p:spPr>
          <a:xfrm>
            <a:off x="274640" y="295279"/>
            <a:ext cx="9872764" cy="923922"/>
          </a:xfrm>
          <a:prstGeom prst="rect">
            <a:avLst/>
          </a:prstGeom>
        </p:spPr>
        <p:txBody>
          <a:bodyPr/>
          <a:lstStyle>
            <a:lvl1pPr>
              <a:defRPr sz="5197">
                <a:solidFill>
                  <a:schemeClr val="tx1"/>
                </a:solidFill>
              </a:defRPr>
            </a:lvl1pPr>
          </a:lstStyle>
          <a:p>
            <a:r>
              <a:rPr lang="en-US" dirty="0"/>
              <a:t>Headline</a:t>
            </a:r>
          </a:p>
        </p:txBody>
      </p:sp>
    </p:spTree>
    <p:extLst>
      <p:ext uri="{BB962C8B-B14F-4D97-AF65-F5344CB8AC3E}">
        <p14:creationId xmlns:p14="http://schemas.microsoft.com/office/powerpoint/2010/main" val="2036388290"/>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Blank Third">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Tree>
    <p:extLst>
      <p:ext uri="{BB962C8B-B14F-4D97-AF65-F5344CB8AC3E}">
        <p14:creationId xmlns:p14="http://schemas.microsoft.com/office/powerpoint/2010/main" val="2424246048"/>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397" dirty="0">
                <a:solidFill>
                  <a:srgbClr val="92D050"/>
                </a:solidFill>
              </a:rPr>
              <a:t>Headline</a:t>
            </a:r>
            <a:endParaRPr lang="en-US" dirty="0">
              <a:solidFill>
                <a:schemeClr val="bg2"/>
              </a:solidFill>
            </a:endParaRPr>
          </a:p>
        </p:txBody>
      </p:sp>
      <p:sp>
        <p:nvSpPr>
          <p:cNvPr id="7" name="Body"/>
          <p:cNvSpPr>
            <a:spLocks noGrp="1"/>
          </p:cNvSpPr>
          <p:nvPr>
            <p:ph sz="quarter" idx="10"/>
          </p:nvPr>
        </p:nvSpPr>
        <p:spPr>
          <a:xfrm>
            <a:off x="2103352" y="1828800"/>
            <a:ext cx="8740950" cy="4343400"/>
          </a:xfrm>
          <a:prstGeom prst="rect">
            <a:avLst/>
          </a:prstGeom>
        </p:spPr>
        <p:txBody>
          <a:bodyPr/>
          <a:lstStyle>
            <a:lvl1pPr>
              <a:defRPr sz="1999"/>
            </a:lvl1pPr>
            <a:lvl2pPr>
              <a:defRPr sz="1999"/>
            </a:lvl2pPr>
            <a:lvl3pPr>
              <a:defRPr sz="1999"/>
            </a:lvl3pPr>
            <a:lvl4pPr>
              <a:defRPr sz="1999"/>
            </a:lvl4pPr>
            <a:lvl5pPr>
              <a:defRPr sz="19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18804923"/>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397" dirty="0">
                <a:solidFill>
                  <a:srgbClr val="92D050"/>
                </a:solidFill>
              </a:rPr>
              <a:t>Headline</a:t>
            </a:r>
            <a:endParaRPr lang="en-US" dirty="0">
              <a:solidFill>
                <a:schemeClr val="bg2"/>
              </a:solidFill>
            </a:endParaRPr>
          </a:p>
        </p:txBody>
      </p:sp>
    </p:spTree>
    <p:extLst>
      <p:ext uri="{BB962C8B-B14F-4D97-AF65-F5344CB8AC3E}">
        <p14:creationId xmlns:p14="http://schemas.microsoft.com/office/powerpoint/2010/main" val="3598891684"/>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467" y="2970214"/>
            <a:ext cx="10083890" cy="917575"/>
          </a:xfrm>
          <a:prstGeom prst="rect">
            <a:avLst/>
          </a:prstGeom>
        </p:spPr>
        <p:txBody>
          <a:bodyPr/>
          <a:lstStyle>
            <a:lvl1pPr algn="ctr">
              <a:defRPr sz="5997">
                <a:solidFill>
                  <a:srgbClr val="92D050"/>
                </a:solidFill>
              </a:defRPr>
            </a:lvl1pPr>
          </a:lstStyle>
          <a:p>
            <a:r>
              <a:rPr lang="en-US" sz="5397" dirty="0">
                <a:solidFill>
                  <a:srgbClr val="92D050"/>
                </a:solidFill>
              </a:rPr>
              <a:t>Demo</a:t>
            </a:r>
            <a:endParaRPr lang="en-US" dirty="0">
              <a:solidFill>
                <a:schemeClr val="bg2"/>
              </a:solidFill>
            </a:endParaRPr>
          </a:p>
        </p:txBody>
      </p:sp>
      <p:pic>
        <p:nvPicPr>
          <p:cNvPr id="4" name="Picture 3"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spTree>
    <p:extLst>
      <p:ext uri="{BB962C8B-B14F-4D97-AF65-F5344CB8AC3E}">
        <p14:creationId xmlns:p14="http://schemas.microsoft.com/office/powerpoint/2010/main" val="2538938821"/>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919"/>
            <a:ext cx="12188825" cy="6852165"/>
          </a:xfrm>
          <a:prstGeom prst="rect">
            <a:avLst/>
          </a:prstGeom>
        </p:spPr>
      </p:pic>
      <p:sp>
        <p:nvSpPr>
          <p:cNvPr id="5" name="Rectangle 4"/>
          <p:cNvSpPr/>
          <p:nvPr userDrawn="1"/>
        </p:nvSpPr>
        <p:spPr>
          <a:xfrm>
            <a:off x="1"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12"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685831950"/>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919"/>
            <a:ext cx="12188825" cy="6852165"/>
          </a:xfrm>
          <a:prstGeom prst="rect">
            <a:avLst/>
          </a:prstGeom>
        </p:spPr>
      </p:pic>
    </p:spTree>
    <p:extLst>
      <p:ext uri="{BB962C8B-B14F-4D97-AF65-F5344CB8AC3E}">
        <p14:creationId xmlns:p14="http://schemas.microsoft.com/office/powerpoint/2010/main" val="652281373"/>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1"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12"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580395836"/>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919"/>
            <a:ext cx="12188825" cy="6852165"/>
          </a:xfrm>
          <a:prstGeom prst="rect">
            <a:avLst/>
          </a:prstGeom>
        </p:spPr>
      </p:pic>
      <p:sp>
        <p:nvSpPr>
          <p:cNvPr id="5" name="Rectangle 4"/>
          <p:cNvSpPr/>
          <p:nvPr userDrawn="1"/>
        </p:nvSpPr>
        <p:spPr bwMode="auto">
          <a:xfrm>
            <a:off x="8882558" y="-1"/>
            <a:ext cx="3306269" cy="6855083"/>
          </a:xfrm>
          <a:prstGeom prst="rect">
            <a:avLst/>
          </a:prstGeom>
          <a:solidFill>
            <a:srgbClr val="00AEEF"/>
          </a:solidFill>
          <a:ln w="9525" cap="flat" cmpd="sng" algn="ctr">
            <a:noFill/>
            <a:prstDash val="solid"/>
            <a:headEnd type="none" w="med" len="med"/>
            <a:tailEnd type="none" w="med" len="med"/>
          </a:ln>
          <a:effectLst/>
        </p:spPr>
        <p:txBody>
          <a:bodyPr vert="horz" wrap="square" lIns="93194" tIns="46597" rIns="93194" bIns="46597" numCol="1" rtlCol="0" anchor="ctr" anchorCtr="0" compatLnSpc="1">
            <a:prstTxWarp prst="textNoShape">
              <a:avLst/>
            </a:prstTxWarp>
          </a:bodyPr>
          <a:lstStyle/>
          <a:p>
            <a:pPr marL="0" marR="0" lvl="0" indent="0" algn="ctr" defTabSz="931641" rtl="0" eaLnBrk="1" fontAlgn="base" latinLnBrk="0" hangingPunct="1">
              <a:lnSpc>
                <a:spcPct val="100000"/>
              </a:lnSpc>
              <a:spcBef>
                <a:spcPct val="0"/>
              </a:spcBef>
              <a:spcAft>
                <a:spcPct val="0"/>
              </a:spcAft>
              <a:buClrTx/>
              <a:buSzTx/>
              <a:buFontTx/>
              <a:buNone/>
              <a:tabLst/>
              <a:defRPr/>
            </a:pPr>
            <a:endParaRPr kumimoji="0" lang="en-US" sz="224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6" name="Rounded Rectangle 29"/>
          <p:cNvSpPr/>
          <p:nvPr userDrawn="1"/>
        </p:nvSpPr>
        <p:spPr bwMode="black">
          <a:xfrm>
            <a:off x="9881696" y="1944140"/>
            <a:ext cx="1307993"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599" tIns="46599" rIns="46599" bIns="46599" numCol="1" spcCol="0" rtlCol="0" fromWordArt="0" anchor="ctr" anchorCtr="0" forceAA="0" compatLnSpc="1">
            <a:prstTxWarp prst="textNoShape">
              <a:avLst/>
            </a:prstTxWarp>
            <a:noAutofit/>
          </a:bodyPr>
          <a:lstStyle/>
          <a:p>
            <a:pPr marL="0" marR="0" lvl="0" indent="0" algn="ctr" defTabSz="931641" rtl="0" eaLnBrk="1" fontAlgn="base" latinLnBrk="0" hangingPunct="1">
              <a:lnSpc>
                <a:spcPct val="100000"/>
              </a:lnSpc>
              <a:spcBef>
                <a:spcPct val="0"/>
              </a:spcBef>
              <a:spcAft>
                <a:spcPct val="0"/>
              </a:spcAft>
              <a:buClrTx/>
              <a:buSzTx/>
              <a:buFontTx/>
              <a:buNone/>
              <a:tabLst/>
              <a:defRPr/>
            </a:pPr>
            <a:endParaRPr kumimoji="0" lang="en-US" sz="1835"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144" y="158737"/>
            <a:ext cx="3693156" cy="2413891"/>
          </a:xfrm>
          <a:prstGeom prst="rect">
            <a:avLst/>
          </a:prstGeom>
        </p:spPr>
        <p:txBody>
          <a:bodyPr anchor="ctr">
            <a:noAutofit/>
          </a:bodyPr>
          <a:lstStyle>
            <a:lvl1pPr>
              <a:defRPr sz="8793"/>
            </a:lvl1pPr>
          </a:lstStyle>
          <a:p>
            <a:r>
              <a:rPr lang="en-US" sz="8791" dirty="0">
                <a:solidFill>
                  <a:schemeClr val="bg1">
                    <a:alpha val="99000"/>
                  </a:schemeClr>
                </a:solidFill>
              </a:rPr>
              <a:t>Q&amp;A</a:t>
            </a:r>
          </a:p>
        </p:txBody>
      </p:sp>
    </p:spTree>
    <p:extLst>
      <p:ext uri="{BB962C8B-B14F-4D97-AF65-F5344CB8AC3E}">
        <p14:creationId xmlns:p14="http://schemas.microsoft.com/office/powerpoint/2010/main" val="2822015646"/>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5837"/>
            <a:ext cx="12188825" cy="6852165"/>
          </a:xfrm>
          <a:prstGeom prst="rect">
            <a:avLst/>
          </a:prstGeom>
        </p:spPr>
      </p:pic>
      <p:sp>
        <p:nvSpPr>
          <p:cNvPr id="8" name="Rectangle 7"/>
          <p:cNvSpPr/>
          <p:nvPr userDrawn="1"/>
        </p:nvSpPr>
        <p:spPr bwMode="auto">
          <a:xfrm>
            <a:off x="10184616" y="-1"/>
            <a:ext cx="2004210" cy="6855083"/>
          </a:xfrm>
          <a:prstGeom prst="rect">
            <a:avLst/>
          </a:prstGeom>
          <a:solidFill>
            <a:srgbClr val="8CC600"/>
          </a:solidFill>
          <a:ln w="9525" cap="flat" cmpd="sng" algn="ctr">
            <a:noFill/>
            <a:prstDash val="solid"/>
            <a:headEnd type="none" w="med" len="med"/>
            <a:tailEnd type="none" w="med" len="med"/>
          </a:ln>
          <a:effectLst/>
        </p:spPr>
        <p:txBody>
          <a:bodyPr vert="horz" wrap="square" lIns="93194" tIns="46597" rIns="93194" bIns="46597" numCol="1" rtlCol="0" anchor="ctr" anchorCtr="0" compatLnSpc="1">
            <a:prstTxWarp prst="textNoShape">
              <a:avLst/>
            </a:prstTxWarp>
          </a:bodyPr>
          <a:lstStyle/>
          <a:p>
            <a:pPr marL="0" marR="0" lvl="0" indent="0" algn="ctr" defTabSz="931641" rtl="0" eaLnBrk="1" fontAlgn="base" latinLnBrk="0" hangingPunct="1">
              <a:lnSpc>
                <a:spcPct val="100000"/>
              </a:lnSpc>
              <a:spcBef>
                <a:spcPct val="0"/>
              </a:spcBef>
              <a:spcAft>
                <a:spcPct val="0"/>
              </a:spcAft>
              <a:buClrTx/>
              <a:buSzTx/>
              <a:buFontTx/>
              <a:buNone/>
              <a:tabLst/>
              <a:defRPr/>
            </a:pPr>
            <a:endParaRPr kumimoji="0" lang="en-US" sz="224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9" name="Freeform 64"/>
          <p:cNvSpPr>
            <a:spLocks noEditPoints="1"/>
          </p:cNvSpPr>
          <p:nvPr userDrawn="1"/>
        </p:nvSpPr>
        <p:spPr bwMode="black">
          <a:xfrm flipH="1">
            <a:off x="10595532" y="233151"/>
            <a:ext cx="1182378"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888" tIns="41944" rIns="83888" bIns="41944" numCol="1" anchor="t" anchorCtr="0" compatLnSpc="1">
            <a:prstTxWarp prst="textNoShape">
              <a:avLst/>
            </a:prstTxWarp>
          </a:bodyPr>
          <a:lstStyle/>
          <a:p>
            <a:pPr marL="0" marR="0" lvl="0" indent="0" algn="l" defTabSz="931909" rtl="0" eaLnBrk="1" fontAlgn="auto" latinLnBrk="0" hangingPunct="1">
              <a:lnSpc>
                <a:spcPct val="100000"/>
              </a:lnSpc>
              <a:spcBef>
                <a:spcPts val="0"/>
              </a:spcBef>
              <a:spcAft>
                <a:spcPts val="0"/>
              </a:spcAft>
              <a:buClrTx/>
              <a:buSzTx/>
              <a:buFontTx/>
              <a:buNone/>
              <a:tabLst/>
              <a:defRPr/>
            </a:pPr>
            <a:endParaRPr kumimoji="0" lang="en-US" sz="1631" b="0" i="0" u="none" strike="noStrike" kern="0" cap="none" spc="0" normalizeH="0" baseline="0" noProof="0">
              <a:ln>
                <a:noFill/>
              </a:ln>
              <a:solidFill>
                <a:srgbClr val="292929"/>
              </a:solidFill>
              <a:effectLst/>
              <a:uLnTx/>
              <a:uFillTx/>
              <a:latin typeface="Segoe UI"/>
              <a:ea typeface="+mn-ea"/>
              <a:cs typeface="+mn-cs"/>
            </a:endParaRPr>
          </a:p>
        </p:txBody>
      </p:sp>
      <p:sp>
        <p:nvSpPr>
          <p:cNvPr id="4" name="Text Placeholder 3"/>
          <p:cNvSpPr>
            <a:spLocks noGrp="1"/>
          </p:cNvSpPr>
          <p:nvPr>
            <p:ph type="body" sz="quarter" idx="10"/>
          </p:nvPr>
        </p:nvSpPr>
        <p:spPr>
          <a:xfrm>
            <a:off x="589647" y="233152"/>
            <a:ext cx="9308263" cy="6416675"/>
          </a:xfrm>
          <a:prstGeom prst="rect">
            <a:avLst/>
          </a:prstGeom>
        </p:spPr>
        <p:txBody>
          <a:bodyPr/>
          <a:lstStyle>
            <a:lvl1pPr marL="0" indent="0">
              <a:buNone/>
              <a:defRPr sz="3598"/>
            </a:lvl1pPr>
            <a:lvl2pPr>
              <a:defRPr sz="3598"/>
            </a:lvl2pPr>
            <a:lvl3pPr>
              <a:defRPr sz="3598"/>
            </a:lvl3pPr>
            <a:lvl4pPr>
              <a:defRPr sz="3598"/>
            </a:lvl4pPr>
            <a:lvl5pPr>
              <a:defRPr sz="3598"/>
            </a:lvl5pPr>
          </a:lstStyle>
          <a:p>
            <a:pPr lvl="0"/>
            <a:r>
              <a:rPr lang="en-US" dirty="0"/>
              <a:t>Click to edit Master text styles</a:t>
            </a:r>
          </a:p>
        </p:txBody>
      </p:sp>
    </p:spTree>
    <p:extLst>
      <p:ext uri="{BB962C8B-B14F-4D97-AF65-F5344CB8AC3E}">
        <p14:creationId xmlns:p14="http://schemas.microsoft.com/office/powerpoint/2010/main" val="3575054775"/>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0" y="930350"/>
            <a:ext cx="9973765" cy="917575"/>
          </a:xfrm>
          <a:prstGeom prst="rect">
            <a:avLst/>
          </a:prstGeom>
        </p:spPr>
        <p:txBody>
          <a:bodyPr/>
          <a:lstStyle>
            <a:lvl1pPr>
              <a:defRPr>
                <a:solidFill>
                  <a:schemeClr val="tx2"/>
                </a:solidFill>
              </a:defRPr>
            </a:lvl1pPr>
          </a:lstStyle>
          <a:p>
            <a:r>
              <a:rPr lang="en-US" sz="4800" dirty="0">
                <a:solidFill>
                  <a:srgbClr val="0072C6"/>
                </a:solidFill>
                <a:latin typeface="Segoe UI Light" panose="020B0502040204020203" pitchFamily="34" charset="0"/>
              </a:rPr>
              <a:t>Headline</a:t>
            </a:r>
          </a:p>
        </p:txBody>
      </p:sp>
      <p:sp>
        <p:nvSpPr>
          <p:cNvPr id="6" name="Body"/>
          <p:cNvSpPr>
            <a:spLocks noGrp="1"/>
          </p:cNvSpPr>
          <p:nvPr>
            <p:ph sz="quarter" idx="10"/>
          </p:nvPr>
        </p:nvSpPr>
        <p:spPr>
          <a:xfrm>
            <a:off x="274640" y="2193928"/>
            <a:ext cx="9974262"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3790278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1" y="0"/>
            <a:ext cx="12188825"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12"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srgbClr val="FFFFFF"/>
              </a:solidFill>
              <a:effectLst/>
              <a:uLnTx/>
              <a:uFillTx/>
              <a:latin typeface="Segoe UI"/>
              <a:ea typeface="+mn-ea"/>
              <a:cs typeface="+mn-cs"/>
            </a:endParaRPr>
          </a:p>
        </p:txBody>
      </p:sp>
      <p:sp>
        <p:nvSpPr>
          <p:cNvPr id="3" name="Text Box 3"/>
          <p:cNvSpPr txBox="1">
            <a:spLocks noChangeArrowheads="1"/>
          </p:cNvSpPr>
          <p:nvPr userDrawn="1"/>
        </p:nvSpPr>
        <p:spPr bwMode="blackWhite">
          <a:xfrm>
            <a:off x="450085" y="5503177"/>
            <a:ext cx="8637119" cy="720470"/>
          </a:xfrm>
          <a:prstGeom prst="rect">
            <a:avLst/>
          </a:prstGeom>
          <a:noFill/>
          <a:ln w="12700">
            <a:noFill/>
            <a:miter lim="800000"/>
            <a:headEnd type="none" w="sm" len="sm"/>
            <a:tailEnd type="none" w="sm" len="sm"/>
          </a:ln>
          <a:effectLst/>
        </p:spPr>
        <p:txBody>
          <a:bodyPr vert="horz" wrap="square" lIns="179166" tIns="143334" rIns="179166" bIns="143334" numCol="1" anchor="t" anchorCtr="0" compatLnSpc="1">
            <a:prstTxWarp prst="textNoShape">
              <a:avLst/>
            </a:prstTxWarp>
            <a:spAutoFit/>
          </a:bodyPr>
          <a:lstStyle/>
          <a:p>
            <a:pPr marL="0" marR="0" lvl="0" indent="0" algn="l" defTabSz="913289"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4 Microsoft Corporation. All rights reserved. Microsoft, Windows, Windows Vista and other product names are or may be registered trademarks and/or trademarks in the U.S. and/or other countries.</a:t>
            </a:r>
          </a:p>
          <a:p>
            <a:pPr marL="0" marR="0" lvl="0" indent="0" algn="l" defTabSz="913289"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743" y="2968092"/>
            <a:ext cx="3223021" cy="690695"/>
          </a:xfrm>
          <a:prstGeom prst="rect">
            <a:avLst/>
          </a:prstGeom>
        </p:spPr>
      </p:pic>
    </p:spTree>
    <p:extLst>
      <p:ext uri="{BB962C8B-B14F-4D97-AF65-F5344CB8AC3E}">
        <p14:creationId xmlns:p14="http://schemas.microsoft.com/office/powerpoint/2010/main" val="3725456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135" y="353094"/>
            <a:ext cx="10986231"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a:t>Click to edit title</a:t>
            </a:r>
          </a:p>
        </p:txBody>
      </p:sp>
    </p:spTree>
    <p:extLst>
      <p:ext uri="{BB962C8B-B14F-4D97-AF65-F5344CB8AC3E}">
        <p14:creationId xmlns:p14="http://schemas.microsoft.com/office/powerpoint/2010/main" val="4279612480"/>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232" y="2532455"/>
            <a:ext cx="8961851" cy="1793090"/>
          </a:xfrm>
          <a:noFill/>
        </p:spPr>
        <p:txBody>
          <a:bodyPr lIns="146304" tIns="91440" rIns="146304" bIns="91440" anchor="ctr" anchorCtr="0"/>
          <a:lstStyle>
            <a:lvl1pPr>
              <a:defRPr sz="5293"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231" y="4775125"/>
            <a:ext cx="8961852"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493216" y="477196"/>
            <a:ext cx="1254668" cy="267546"/>
          </a:xfrm>
          <a:prstGeom prst="rect">
            <a:avLst/>
          </a:prstGeom>
        </p:spPr>
      </p:pic>
    </p:spTree>
    <p:extLst>
      <p:ext uri="{BB962C8B-B14F-4D97-AF65-F5344CB8AC3E}">
        <p14:creationId xmlns:p14="http://schemas.microsoft.com/office/powerpoint/2010/main" val="12570745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169" y="1189177"/>
            <a:ext cx="11650488" cy="2024871"/>
          </a:xfrm>
        </p:spPr>
        <p:txBody>
          <a:bodyPr/>
          <a:lstStyle>
            <a:lvl1pPr marL="0" indent="0">
              <a:buNone/>
              <a:defRPr>
                <a:gradFill>
                  <a:gsLst>
                    <a:gs pos="1250">
                      <a:schemeClr val="tx1"/>
                    </a:gs>
                    <a:gs pos="99000">
                      <a:schemeClr val="tx1"/>
                    </a:gs>
                  </a:gsLst>
                  <a:lin ang="5400000" scaled="0"/>
                </a:gradFill>
              </a:defRPr>
            </a:lvl1pPr>
            <a:lvl2pPr marL="0" indent="0">
              <a:buFontTx/>
              <a:buNone/>
              <a:defRPr sz="2352"/>
            </a:lvl2pPr>
            <a:lvl3pPr marL="224051" indent="0">
              <a:buNone/>
              <a:defRPr/>
            </a:lvl3pPr>
            <a:lvl4pPr marL="448102" indent="0">
              <a:buNone/>
              <a:defRPr/>
            </a:lvl4pPr>
            <a:lvl5pPr marL="672153"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09824305"/>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052030"/>
          </a:xfrm>
        </p:spPr>
        <p:txBody>
          <a:bodyPr>
            <a:spAutoFit/>
          </a:bodyPr>
          <a:lstStyle>
            <a:lvl1pPr>
              <a:defRPr sz="392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49060527"/>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6"/>
            <a:ext cx="5377147" cy="1943393"/>
          </a:xfrm>
        </p:spPr>
        <p:txBody>
          <a:bodyPr wrap="square">
            <a:spAutoFit/>
          </a:bodyPr>
          <a:lstStyle>
            <a:lvl1pPr marL="0" indent="0">
              <a:spcBef>
                <a:spcPts val="1200"/>
              </a:spcBef>
              <a:buClr>
                <a:schemeClr val="tx1"/>
              </a:buClr>
              <a:buFont typeface="Wingdings" pitchFamily="2" charset="2"/>
              <a:buNone/>
              <a:defRPr sz="3136"/>
            </a:lvl1pPr>
            <a:lvl2pPr marL="0" indent="0">
              <a:buNone/>
              <a:defRPr sz="2352"/>
            </a:lvl2pPr>
            <a:lvl3pPr marL="227163" indent="0">
              <a:buNone/>
              <a:tabLst/>
              <a:defRPr sz="1960"/>
            </a:lvl3pPr>
            <a:lvl4pPr marL="451214" indent="0">
              <a:buNone/>
              <a:defRPr/>
            </a:lvl4pPr>
            <a:lvl5pPr marL="67215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2510" y="1189176"/>
            <a:ext cx="5377147" cy="1943393"/>
          </a:xfrm>
        </p:spPr>
        <p:txBody>
          <a:bodyPr wrap="square">
            <a:spAutoFit/>
          </a:bodyPr>
          <a:lstStyle>
            <a:lvl1pPr marL="0" indent="0">
              <a:spcBef>
                <a:spcPts val="1200"/>
              </a:spcBef>
              <a:buClr>
                <a:schemeClr val="tx1"/>
              </a:buClr>
              <a:buFont typeface="Wingdings" pitchFamily="2" charset="2"/>
              <a:buNone/>
              <a:defRPr sz="3136"/>
            </a:lvl1pPr>
            <a:lvl2pPr marL="0" indent="0">
              <a:buNone/>
              <a:defRPr sz="2352"/>
            </a:lvl2pPr>
            <a:lvl3pPr marL="227163" indent="0">
              <a:buNone/>
              <a:tabLst/>
              <a:defRPr sz="1960"/>
            </a:lvl3pPr>
            <a:lvl4pPr marL="451214" indent="0">
              <a:buNone/>
              <a:defRPr/>
            </a:lvl4pPr>
            <a:lvl5pPr marL="67215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08723912"/>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2510"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05229252"/>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268865342"/>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Only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3003569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Quote slide - Blue">
    <p:bg>
      <p:bgRef idx="1001">
        <a:schemeClr val="bg2"/>
      </p:bgRef>
    </p:bg>
    <p:spTree>
      <p:nvGrpSpPr>
        <p:cNvPr id="1" name=""/>
        <p:cNvGrpSpPr/>
        <p:nvPr/>
      </p:nvGrpSpPr>
      <p:grpSpPr>
        <a:xfrm>
          <a:off x="0" y="0"/>
          <a:ext cx="0" cy="0"/>
          <a:chOff x="0" y="0"/>
          <a:chExt cx="0" cy="0"/>
        </a:xfrm>
      </p:grpSpPr>
      <p:sp>
        <p:nvSpPr>
          <p:cNvPr id="5" name="Title 4"/>
          <p:cNvSpPr>
            <a:spLocks noGrp="1"/>
          </p:cNvSpPr>
          <p:nvPr>
            <p:ph type="title"/>
          </p:nvPr>
        </p:nvSpPr>
        <p:spPr>
          <a:xfrm>
            <a:off x="1079503" y="2906011"/>
            <a:ext cx="10032135" cy="899665"/>
          </a:xfrm>
        </p:spPr>
        <p:txBody>
          <a:bodyPr anchor="ctr" anchorCtr="0"/>
          <a:lstStyle>
            <a:lvl1pPr algn="l">
              <a:defRPr>
                <a:gradFill>
                  <a:gsLst>
                    <a:gs pos="1250">
                      <a:schemeClr val="tx1"/>
                    </a:gs>
                    <a:gs pos="100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3414493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0" y="930350"/>
            <a:ext cx="9973765" cy="917575"/>
          </a:xfrm>
          <a:prstGeom prst="rect">
            <a:avLst/>
          </a:prstGeom>
        </p:spPr>
        <p:txBody>
          <a:bodyPr/>
          <a:lstStyle>
            <a:lvl1pPr>
              <a:defRPr>
                <a:solidFill>
                  <a:schemeClr val="tx2"/>
                </a:solidFill>
              </a:defRPr>
            </a:lvl1pPr>
          </a:lstStyle>
          <a:p>
            <a:r>
              <a:rPr lang="en-US" sz="4800"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42664633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ection Title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1"/>
            <a:ext cx="11650488" cy="1063736"/>
          </a:xfrm>
          <a:noFill/>
        </p:spPr>
        <p:txBody>
          <a:bodyPr tIns="91440" bIns="91440" anchor="t" anchorCtr="0">
            <a:spAutoFit/>
          </a:bodyPr>
          <a:lstStyle>
            <a:lvl1pPr>
              <a:defRPr sz="6371"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481368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1819136"/>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93325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86"/>
            <a:ext cx="9856549" cy="1063736"/>
          </a:xfrm>
          <a:noFill/>
        </p:spPr>
        <p:txBody>
          <a:bodyPr tIns="91440" bIns="91440" anchor="t" anchorCtr="0">
            <a:spAutoFit/>
          </a:bodyPr>
          <a:lstStyle>
            <a:lvl1pPr>
              <a:defRPr lang="en-US" sz="6371"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442569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86"/>
            <a:ext cx="9856549" cy="1063736"/>
          </a:xfrm>
          <a:noFill/>
        </p:spPr>
        <p:txBody>
          <a:bodyPr tIns="91440" bIns="91440" anchor="t" anchorCtr="0">
            <a:spAutoFit/>
          </a:bodyPr>
          <a:lstStyle>
            <a:lvl1pPr>
              <a:defRPr sz="6371"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170" y="4773829"/>
            <a:ext cx="9858106"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2784033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4482581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232" y="2084187"/>
            <a:ext cx="8961851" cy="1793090"/>
          </a:xfrm>
          <a:noFill/>
        </p:spPr>
        <p:txBody>
          <a:bodyPr lIns="146304" tIns="91440" rIns="146304" bIns="91440" anchor="t" anchorCtr="0"/>
          <a:lstStyle>
            <a:lvl1pPr>
              <a:defRPr sz="5293" spc="-98" baseline="0">
                <a:gradFill>
                  <a:gsLst>
                    <a:gs pos="91000">
                      <a:schemeClr val="tx1"/>
                    </a:gs>
                    <a:gs pos="0">
                      <a:schemeClr val="tx1"/>
                    </a:gs>
                  </a:gsLst>
                  <a:lin ang="5400000" scaled="0"/>
                </a:gradFill>
              </a:defRPr>
            </a:lvl1pPr>
          </a:lstStyle>
          <a:p>
            <a:r>
              <a:rPr lang="en-US" dirty="0"/>
              <a:t>Presentation title</a:t>
            </a:r>
          </a:p>
        </p:txBody>
      </p:sp>
      <p:grpSp>
        <p:nvGrpSpPr>
          <p:cNvPr id="4" name="Group 3"/>
          <p:cNvGrpSpPr>
            <a:grpSpLocks noChangeAspect="1"/>
          </p:cNvGrpSpPr>
          <p:nvPr userDrawn="1"/>
        </p:nvGrpSpPr>
        <p:grpSpPr bwMode="black">
          <a:xfrm>
            <a:off x="462932" y="6129623"/>
            <a:ext cx="1253103" cy="269134"/>
            <a:chOff x="457200" y="1643393"/>
            <a:chExt cx="4492753" cy="964540"/>
          </a:xfrm>
        </p:grpSpPr>
        <p:pic>
          <p:nvPicPr>
            <p:cNvPr id="5" name="Picture 4"/>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914180" eaLnBrk="1" fontAlgn="auto" hangingPunct="1">
                <a:spcBef>
                  <a:spcPts val="0"/>
                </a:spcBef>
                <a:spcAft>
                  <a:spcPts val="0"/>
                </a:spcAft>
              </a:pPr>
              <a:endParaRPr lang="en-US" sz="1764">
                <a:solidFill>
                  <a:srgbClr val="FFFFFF"/>
                </a:solidFill>
                <a:latin typeface="Segoe UI Semilight"/>
                <a:ea typeface="+mn-ea"/>
              </a:endParaRPr>
            </a:p>
          </p:txBody>
        </p:sp>
      </p:grpSp>
    </p:spTree>
    <p:extLst>
      <p:ext uri="{BB962C8B-B14F-4D97-AF65-F5344CB8AC3E}">
        <p14:creationId xmlns:p14="http://schemas.microsoft.com/office/powerpoint/2010/main" val="20343568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169" y="1189177"/>
            <a:ext cx="11650488" cy="2024871"/>
          </a:xfrm>
        </p:spPr>
        <p:txBody>
          <a:bodyPr/>
          <a:lstStyle>
            <a:lvl1pPr marL="0" indent="0">
              <a:buNone/>
              <a:defRPr>
                <a:gradFill>
                  <a:gsLst>
                    <a:gs pos="1250">
                      <a:schemeClr val="tx1"/>
                    </a:gs>
                    <a:gs pos="99000">
                      <a:schemeClr val="tx1"/>
                    </a:gs>
                  </a:gsLst>
                  <a:lin ang="5400000" scaled="0"/>
                </a:gradFill>
              </a:defRPr>
            </a:lvl1pPr>
            <a:lvl2pPr marL="0" indent="0">
              <a:buFontTx/>
              <a:buNone/>
              <a:defRPr sz="2352"/>
            </a:lvl2pPr>
            <a:lvl3pPr marL="224051" indent="0">
              <a:buNone/>
              <a:defRPr/>
            </a:lvl3pPr>
            <a:lvl4pPr marL="448102" indent="0">
              <a:buNone/>
              <a:defRPr/>
            </a:lvl4pPr>
            <a:lvl5pPr marL="672153"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15666370"/>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052030"/>
          </a:xfrm>
        </p:spPr>
        <p:txBody>
          <a:bodyPr>
            <a:spAutoFit/>
          </a:bodyPr>
          <a:lstStyle>
            <a:lvl1pPr>
              <a:defRPr sz="392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78542259"/>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_Title and Content">
    <p:bg>
      <p:bgPr>
        <a:solidFill>
          <a:srgbClr val="011329"/>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b="49928"/>
          <a:stretch/>
        </p:blipFill>
        <p:spPr>
          <a:xfrm>
            <a:off x="0" y="0"/>
            <a:ext cx="12188825" cy="6865782"/>
          </a:xfrm>
          <a:prstGeom prst="rect">
            <a:avLst/>
          </a:prstGeom>
        </p:spPr>
      </p:pic>
    </p:spTree>
    <p:extLst>
      <p:ext uri="{BB962C8B-B14F-4D97-AF65-F5344CB8AC3E}">
        <p14:creationId xmlns:p14="http://schemas.microsoft.com/office/powerpoint/2010/main" val="345640562"/>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517955" y="5576546"/>
            <a:ext cx="8066963" cy="917575"/>
          </a:xfrm>
          <a:prstGeom prst="rect">
            <a:avLst/>
          </a:prstGeom>
        </p:spPr>
        <p:txBody>
          <a:bodyPr/>
          <a:lstStyle>
            <a:lvl1pPr>
              <a:defRPr>
                <a:solidFill>
                  <a:schemeClr val="bg1"/>
                </a:solidFill>
              </a:defRPr>
            </a:lvl1pPr>
          </a:lstStyle>
          <a:p>
            <a:r>
              <a:rPr lang="en-US" sz="4800"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33066646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2_Title and Content">
    <p:bg>
      <p:bgPr>
        <a:solidFill>
          <a:srgbClr val="011329"/>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val="0"/>
              </a:ext>
            </a:extLst>
          </a:blip>
          <a:srcRect l="409" t="62936" r="32593" b="216"/>
          <a:stretch/>
        </p:blipFill>
        <p:spPr>
          <a:xfrm rot="10800000" flipH="1" flipV="1">
            <a:off x="0" y="-7784"/>
            <a:ext cx="12188824" cy="4482761"/>
          </a:xfrm>
          <a:prstGeom prst="rect">
            <a:avLst/>
          </a:prstGeom>
        </p:spPr>
      </p:pic>
      <p:sp>
        <p:nvSpPr>
          <p:cNvPr id="7" name="Rectangle 6"/>
          <p:cNvSpPr/>
          <p:nvPr userDrawn="1"/>
        </p:nvSpPr>
        <p:spPr bwMode="auto">
          <a:xfrm>
            <a:off x="0" y="-7784"/>
            <a:ext cx="12188825" cy="4482762"/>
          </a:xfrm>
          <a:prstGeom prst="rect">
            <a:avLst/>
          </a:prstGeom>
          <a:gradFill flip="none" rotWithShape="1">
            <a:gsLst>
              <a:gs pos="0">
                <a:srgbClr val="011329"/>
              </a:gs>
              <a:gs pos="27000">
                <a:srgbClr val="001B35">
                  <a:alpha val="75000"/>
                </a:srgbClr>
              </a:gs>
              <a:gs pos="100000">
                <a:schemeClr val="bg2">
                  <a:alpha val="70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1" hangingPunct="1">
              <a:lnSpc>
                <a:spcPct val="90000"/>
              </a:lnSpc>
            </a:pPr>
            <a:endParaRPr lang="en-US" sz="2352" dirty="0" err="1">
              <a:solidFill>
                <a:srgbClr val="FFFFFF"/>
              </a:solidFill>
              <a:ea typeface="Segoe UI" pitchFamily="34" charset="0"/>
              <a:cs typeface="Segoe UI" pitchFamily="34" charset="0"/>
            </a:endParaRPr>
          </a:p>
        </p:txBody>
      </p:sp>
      <p:sp>
        <p:nvSpPr>
          <p:cNvPr id="4" name="Rectangle 3"/>
          <p:cNvSpPr/>
          <p:nvPr userDrawn="1"/>
        </p:nvSpPr>
        <p:spPr bwMode="auto">
          <a:xfrm>
            <a:off x="0" y="4474978"/>
            <a:ext cx="12188825" cy="1718390"/>
          </a:xfrm>
          <a:prstGeom prst="rect">
            <a:avLst/>
          </a:prstGeom>
          <a:solidFill>
            <a:srgbClr val="01132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1" hangingPunct="1">
              <a:lnSpc>
                <a:spcPct val="90000"/>
              </a:lnSpc>
            </a:pPr>
            <a:endParaRPr lang="en-US" sz="2352" dirty="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777996791"/>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6"/>
            <a:ext cx="5377147" cy="1943393"/>
          </a:xfrm>
        </p:spPr>
        <p:txBody>
          <a:bodyPr wrap="square">
            <a:spAutoFit/>
          </a:bodyPr>
          <a:lstStyle>
            <a:lvl1pPr marL="0" indent="0">
              <a:spcBef>
                <a:spcPts val="1200"/>
              </a:spcBef>
              <a:buClr>
                <a:schemeClr val="tx1"/>
              </a:buClr>
              <a:buFont typeface="Wingdings" pitchFamily="2" charset="2"/>
              <a:buNone/>
              <a:defRPr sz="3136"/>
            </a:lvl1pPr>
            <a:lvl2pPr marL="0" indent="0">
              <a:buNone/>
              <a:defRPr sz="2352"/>
            </a:lvl2pPr>
            <a:lvl3pPr marL="227163" indent="0">
              <a:buNone/>
              <a:tabLst/>
              <a:defRPr sz="1960"/>
            </a:lvl3pPr>
            <a:lvl4pPr marL="451214" indent="0">
              <a:buNone/>
              <a:defRPr/>
            </a:lvl4pPr>
            <a:lvl5pPr marL="67215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2510" y="1189176"/>
            <a:ext cx="5377147" cy="1943393"/>
          </a:xfrm>
        </p:spPr>
        <p:txBody>
          <a:bodyPr wrap="square">
            <a:spAutoFit/>
          </a:bodyPr>
          <a:lstStyle>
            <a:lvl1pPr marL="0" indent="0">
              <a:spcBef>
                <a:spcPts val="1200"/>
              </a:spcBef>
              <a:buClr>
                <a:schemeClr val="tx1"/>
              </a:buClr>
              <a:buFont typeface="Wingdings" pitchFamily="2" charset="2"/>
              <a:buNone/>
              <a:defRPr sz="3136"/>
            </a:lvl1pPr>
            <a:lvl2pPr marL="0" indent="0">
              <a:buNone/>
              <a:defRPr sz="2352"/>
            </a:lvl2pPr>
            <a:lvl3pPr marL="227163" indent="0">
              <a:buNone/>
              <a:tabLst/>
              <a:defRPr sz="1960"/>
            </a:lvl3pPr>
            <a:lvl4pPr marL="451214" indent="0">
              <a:buNone/>
              <a:defRPr/>
            </a:lvl4pPr>
            <a:lvl5pPr marL="67215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12246429"/>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2510"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59241392"/>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848390703"/>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Only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2827922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Quote slide - Blue">
    <p:bg>
      <p:bgRef idx="1001">
        <a:schemeClr val="bg2"/>
      </p:bgRef>
    </p:bg>
    <p:spTree>
      <p:nvGrpSpPr>
        <p:cNvPr id="1" name=""/>
        <p:cNvGrpSpPr/>
        <p:nvPr/>
      </p:nvGrpSpPr>
      <p:grpSpPr>
        <a:xfrm>
          <a:off x="0" y="0"/>
          <a:ext cx="0" cy="0"/>
          <a:chOff x="0" y="0"/>
          <a:chExt cx="0" cy="0"/>
        </a:xfrm>
      </p:grpSpPr>
      <p:sp>
        <p:nvSpPr>
          <p:cNvPr id="5" name="Title 4"/>
          <p:cNvSpPr>
            <a:spLocks noGrp="1"/>
          </p:cNvSpPr>
          <p:nvPr>
            <p:ph type="title"/>
          </p:nvPr>
        </p:nvSpPr>
        <p:spPr>
          <a:xfrm>
            <a:off x="1079503" y="2906011"/>
            <a:ext cx="10032135" cy="899665"/>
          </a:xfrm>
        </p:spPr>
        <p:txBody>
          <a:bodyPr anchor="ctr" anchorCtr="0"/>
          <a:lstStyle>
            <a:lvl1pPr algn="l">
              <a:defRPr>
                <a:gradFill>
                  <a:gsLst>
                    <a:gs pos="1250">
                      <a:schemeClr val="tx1"/>
                    </a:gs>
                    <a:gs pos="100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8216970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Section Title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1"/>
            <a:ext cx="11650488" cy="1063736"/>
          </a:xfrm>
          <a:noFill/>
        </p:spPr>
        <p:txBody>
          <a:bodyPr tIns="91440" bIns="91440" anchor="t" anchorCtr="0">
            <a:spAutoFit/>
          </a:bodyPr>
          <a:lstStyle>
            <a:lvl1pPr>
              <a:defRPr sz="6371"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597263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6556846"/>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15750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1063736"/>
          </a:xfrm>
          <a:noFill/>
        </p:spPr>
        <p:txBody>
          <a:bodyPr tIns="91440" bIns="91440" anchor="t" anchorCtr="0">
            <a:spAutoFit/>
          </a:bodyPr>
          <a:lstStyle>
            <a:lvl1pPr>
              <a:defRPr lang="en-US" sz="6371"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1642637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6499669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1063736"/>
          </a:xfrm>
          <a:noFill/>
        </p:spPr>
        <p:txBody>
          <a:bodyPr tIns="91440" bIns="91440" anchor="t" anchorCtr="0">
            <a:spAutoFit/>
          </a:bodyPr>
          <a:lstStyle>
            <a:lvl1pPr>
              <a:defRPr sz="6371"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170" y="3877277"/>
            <a:ext cx="9858106"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39295792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42781233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88824" cy="6858000"/>
          </a:xfrm>
          <a:prstGeom prst="rect">
            <a:avLst/>
          </a:prstGeom>
        </p:spPr>
      </p:pic>
      <p:sp>
        <p:nvSpPr>
          <p:cNvPr id="3" name="Rectangle 2"/>
          <p:cNvSpPr/>
          <p:nvPr userDrawn="1"/>
        </p:nvSpPr>
        <p:spPr bwMode="auto">
          <a:xfrm>
            <a:off x="0" y="0"/>
            <a:ext cx="12188825" cy="6857999"/>
          </a:xfrm>
          <a:prstGeom prst="rect">
            <a:avLst/>
          </a:prstGeom>
          <a:solidFill>
            <a:srgbClr val="000000">
              <a:alpha val="6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1" hangingPunct="1">
              <a:lnSpc>
                <a:spcPct val="90000"/>
              </a:lnSpc>
              <a:defRPr/>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22859624"/>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6345887"/>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9" name="Picture 8"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6" name="Presenter"/>
          <p:cNvSpPr txBox="1">
            <a:spLocks/>
          </p:cNvSpPr>
          <p:nvPr userDrawn="1"/>
        </p:nvSpPr>
        <p:spPr>
          <a:xfrm>
            <a:off x="6340563" y="5233032"/>
            <a:ext cx="5668478"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2422" y="4263383"/>
            <a:ext cx="5826403"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66440802"/>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9"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0" name="Title"/>
          <p:cNvSpPr>
            <a:spLocks noGrp="1"/>
          </p:cNvSpPr>
          <p:nvPr>
            <p:ph type="title" hasCustomPrompt="1"/>
          </p:nvPr>
        </p:nvSpPr>
        <p:spPr>
          <a:xfrm>
            <a:off x="6362422" y="4263383"/>
            <a:ext cx="5826403"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1179181559"/>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Alt">
    <p:spTree>
      <p:nvGrpSpPr>
        <p:cNvPr id="1" name=""/>
        <p:cNvGrpSpPr/>
        <p:nvPr/>
      </p:nvGrpSpPr>
      <p:grpSpPr>
        <a:xfrm>
          <a:off x="0" y="0"/>
          <a:ext cx="0" cy="0"/>
          <a:chOff x="0" y="0"/>
          <a:chExt cx="0" cy="0"/>
        </a:xfrm>
      </p:grpSpPr>
      <p:pic>
        <p:nvPicPr>
          <p:cNvPr id="6"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9" name="Title"/>
          <p:cNvSpPr>
            <a:spLocks noGrp="1"/>
          </p:cNvSpPr>
          <p:nvPr>
            <p:ph type="title" hasCustomPrompt="1"/>
          </p:nvPr>
        </p:nvSpPr>
        <p:spPr>
          <a:xfrm>
            <a:off x="0" y="2194767"/>
            <a:ext cx="12188826"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588" y="3276600"/>
            <a:ext cx="12188825"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107996325"/>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265" y="2709520"/>
            <a:ext cx="10719432" cy="1266359"/>
          </a:xfrm>
          <a:prstGeom prst="rect">
            <a:avLst/>
          </a:prstGeom>
        </p:spPr>
        <p:txBody>
          <a:bodyPr>
            <a:noAutofit/>
          </a:bodyPr>
          <a:lstStyle>
            <a:lvl1pPr algn="ctr">
              <a:defRPr sz="8000"/>
            </a:lvl1pPr>
          </a:lstStyle>
          <a:p>
            <a:pPr algn="ctr"/>
            <a:r>
              <a:rPr lang="en-US" sz="7998" dirty="0"/>
              <a:t>Statement</a:t>
            </a:r>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934975193"/>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543122075"/>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3754556891"/>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0"/>
            <a:ext cx="2847972" cy="917575"/>
          </a:xfrm>
          <a:prstGeom prst="rect">
            <a:avLst/>
          </a:prstGeom>
        </p:spPr>
        <p:txBody>
          <a:bodyPr/>
          <a:lstStyle>
            <a:lvl1pPr>
              <a:defRPr>
                <a:solidFill>
                  <a:schemeClr val="tx2"/>
                </a:solidFill>
              </a:defRPr>
            </a:lvl1pPr>
          </a:lstStyle>
          <a:p>
            <a:r>
              <a:rPr lang="en-US" sz="4800" dirty="0">
                <a:solidFill>
                  <a:srgbClr val="0072C6"/>
                </a:solidFill>
                <a:latin typeface="Segoe UI Light" panose="020B0502040204020203" pitchFamily="34" charset="0"/>
              </a:rPr>
              <a:t>Headline</a:t>
            </a:r>
          </a:p>
        </p:txBody>
      </p:sp>
      <p:sp>
        <p:nvSpPr>
          <p:cNvPr id="6" name="Body"/>
          <p:cNvSpPr>
            <a:spLocks noGrp="1"/>
          </p:cNvSpPr>
          <p:nvPr>
            <p:ph sz="quarter" idx="10"/>
          </p:nvPr>
        </p:nvSpPr>
        <p:spPr>
          <a:xfrm>
            <a:off x="3397254" y="684716"/>
            <a:ext cx="8623270"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6687815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6"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Tree>
    <p:extLst>
      <p:ext uri="{BB962C8B-B14F-4D97-AF65-F5344CB8AC3E}">
        <p14:creationId xmlns:p14="http://schemas.microsoft.com/office/powerpoint/2010/main" val="141574168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7"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4077968105"/>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007343081"/>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722549560"/>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Headline and Content">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2" name="Body"/>
          <p:cNvSpPr>
            <a:spLocks noGrp="1"/>
          </p:cNvSpPr>
          <p:nvPr>
            <p:ph type="body" sz="quarter" idx="11"/>
          </p:nvPr>
        </p:nvSpPr>
        <p:spPr>
          <a:xfrm>
            <a:off x="373888" y="4824403"/>
            <a:ext cx="6748272"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Subhead"/>
          <p:cNvSpPr>
            <a:spLocks noGrp="1"/>
          </p:cNvSpPr>
          <p:nvPr>
            <p:ph type="body" sz="quarter" idx="12" hasCustomPrompt="1"/>
          </p:nvPr>
        </p:nvSpPr>
        <p:spPr>
          <a:xfrm>
            <a:off x="374650" y="3873500"/>
            <a:ext cx="6746875"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640" y="930350"/>
            <a:ext cx="9973765" cy="917575"/>
          </a:xfrm>
          <a:prstGeom prst="rect">
            <a:avLst/>
          </a:prstGeom>
        </p:spPr>
        <p:txBody>
          <a:bodyPr/>
          <a:lstStyle/>
          <a:p>
            <a:r>
              <a:rPr lang="en-US" sz="4800" dirty="0">
                <a:solidFill>
                  <a:schemeClr val="bg1"/>
                </a:solidFill>
              </a:rPr>
              <a:t>Headline</a:t>
            </a:r>
          </a:p>
        </p:txBody>
      </p:sp>
    </p:spTree>
    <p:extLst>
      <p:ext uri="{BB962C8B-B14F-4D97-AF65-F5344CB8AC3E}">
        <p14:creationId xmlns:p14="http://schemas.microsoft.com/office/powerpoint/2010/main" val="4031233318"/>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4" name="Subhead"/>
          <p:cNvSpPr>
            <a:spLocks noGrp="1"/>
          </p:cNvSpPr>
          <p:nvPr>
            <p:ph type="body" sz="quarter" idx="12" hasCustomPrompt="1"/>
          </p:nvPr>
        </p:nvSpPr>
        <p:spPr>
          <a:xfrm>
            <a:off x="374650" y="3873500"/>
            <a:ext cx="6746875"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640" y="930350"/>
            <a:ext cx="9973765" cy="917575"/>
          </a:xfrm>
          <a:prstGeom prst="rect">
            <a:avLst/>
          </a:prstGeom>
        </p:spPr>
        <p:txBody>
          <a:bodyPr/>
          <a:lstStyle/>
          <a:p>
            <a:r>
              <a:rPr lang="en-US" sz="4800" dirty="0">
                <a:solidFill>
                  <a:schemeClr val="bg1"/>
                </a:solidFill>
              </a:rPr>
              <a:t>Headline</a:t>
            </a:r>
          </a:p>
        </p:txBody>
      </p:sp>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2836575775"/>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Blank Half">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2051032965"/>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0" y="930350"/>
            <a:ext cx="9973765" cy="917575"/>
          </a:xfrm>
          <a:prstGeom prst="rect">
            <a:avLst/>
          </a:prstGeom>
        </p:spPr>
        <p:txBody>
          <a:bodyPr/>
          <a:lstStyle>
            <a:lvl1pPr>
              <a:defRPr>
                <a:solidFill>
                  <a:schemeClr val="tx2"/>
                </a:solidFill>
              </a:defRPr>
            </a:lvl1pPr>
          </a:lstStyle>
          <a:p>
            <a:r>
              <a:rPr lang="en-US" sz="4800" dirty="0">
                <a:solidFill>
                  <a:srgbClr val="0072C6"/>
                </a:solidFill>
                <a:latin typeface="Segoe UI Light" panose="020B0502040204020203" pitchFamily="34" charset="0"/>
              </a:rPr>
              <a:t>Headline</a:t>
            </a:r>
          </a:p>
        </p:txBody>
      </p:sp>
      <p:sp>
        <p:nvSpPr>
          <p:cNvPr id="6" name="Body"/>
          <p:cNvSpPr>
            <a:spLocks noGrp="1"/>
          </p:cNvSpPr>
          <p:nvPr>
            <p:ph sz="quarter" idx="10"/>
          </p:nvPr>
        </p:nvSpPr>
        <p:spPr>
          <a:xfrm>
            <a:off x="274640" y="2193928"/>
            <a:ext cx="9974262"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41794451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0" y="930350"/>
            <a:ext cx="9973765" cy="917575"/>
          </a:xfrm>
          <a:prstGeom prst="rect">
            <a:avLst/>
          </a:prstGeom>
        </p:spPr>
        <p:txBody>
          <a:bodyPr/>
          <a:lstStyle>
            <a:lvl1pPr>
              <a:defRPr>
                <a:solidFill>
                  <a:schemeClr val="tx2"/>
                </a:solidFill>
              </a:defRPr>
            </a:lvl1pPr>
          </a:lstStyle>
          <a:p>
            <a:r>
              <a:rPr lang="en-US" sz="4800"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8830670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517955" y="5576546"/>
            <a:ext cx="8066963" cy="917575"/>
          </a:xfrm>
          <a:prstGeom prst="rect">
            <a:avLst/>
          </a:prstGeom>
        </p:spPr>
        <p:txBody>
          <a:bodyPr/>
          <a:lstStyle>
            <a:lvl1pPr>
              <a:defRPr>
                <a:solidFill>
                  <a:schemeClr val="bg1"/>
                </a:solidFill>
              </a:defRPr>
            </a:lvl1pPr>
          </a:lstStyle>
          <a:p>
            <a:r>
              <a:rPr lang="en-US" sz="4800"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3022296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0"/>
            <a:ext cx="2847972" cy="917575"/>
          </a:xfrm>
          <a:prstGeom prst="rect">
            <a:avLst/>
          </a:prstGeom>
        </p:spPr>
        <p:txBody>
          <a:bodyPr/>
          <a:lstStyle>
            <a:lvl1pPr>
              <a:defRPr>
                <a:solidFill>
                  <a:schemeClr val="tx2"/>
                </a:solidFill>
              </a:defRPr>
            </a:lvl1pPr>
          </a:lstStyle>
          <a:p>
            <a:r>
              <a:rPr lang="en-US" sz="4800"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6115600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Blank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35396334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0"/>
            <a:ext cx="2847972" cy="917575"/>
          </a:xfrm>
          <a:prstGeom prst="rect">
            <a:avLst/>
          </a:prstGeom>
        </p:spPr>
        <p:txBody>
          <a:bodyPr/>
          <a:lstStyle>
            <a:lvl1pPr>
              <a:defRPr>
                <a:solidFill>
                  <a:schemeClr val="tx2"/>
                </a:solidFill>
              </a:defRPr>
            </a:lvl1pPr>
          </a:lstStyle>
          <a:p>
            <a:r>
              <a:rPr lang="en-US" sz="4800" dirty="0">
                <a:solidFill>
                  <a:srgbClr val="0072C6"/>
                </a:solidFill>
                <a:latin typeface="Segoe UI Light" panose="020B0502040204020203" pitchFamily="34" charset="0"/>
              </a:rPr>
              <a:t>Headline</a:t>
            </a:r>
          </a:p>
        </p:txBody>
      </p:sp>
      <p:sp>
        <p:nvSpPr>
          <p:cNvPr id="6" name="Body"/>
          <p:cNvSpPr>
            <a:spLocks noGrp="1"/>
          </p:cNvSpPr>
          <p:nvPr>
            <p:ph sz="quarter" idx="10"/>
          </p:nvPr>
        </p:nvSpPr>
        <p:spPr>
          <a:xfrm>
            <a:off x="3397254" y="684716"/>
            <a:ext cx="8623270"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5287700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0"/>
            <a:ext cx="2847972" cy="917575"/>
          </a:xfrm>
          <a:prstGeom prst="rect">
            <a:avLst/>
          </a:prstGeom>
        </p:spPr>
        <p:txBody>
          <a:bodyPr/>
          <a:lstStyle>
            <a:lvl1pPr>
              <a:defRPr>
                <a:solidFill>
                  <a:schemeClr val="tx2"/>
                </a:solidFill>
              </a:defRPr>
            </a:lvl1pPr>
          </a:lstStyle>
          <a:p>
            <a:r>
              <a:rPr lang="en-US" sz="4800"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3307440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19" y="2317689"/>
            <a:ext cx="11611293"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White Background"/>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4" name="Subhead"/>
          <p:cNvSpPr txBox="1">
            <a:spLocks/>
          </p:cNvSpPr>
          <p:nvPr userDrawn="1"/>
        </p:nvSpPr>
        <p:spPr>
          <a:xfrm>
            <a:off x="274319" y="1415481"/>
            <a:ext cx="9872764"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r>
              <a:rPr lang="en-US" sz="4000" dirty="0">
                <a:solidFill>
                  <a:schemeClr val="tx2"/>
                </a:solidFill>
              </a:rPr>
              <a:t>Subhead</a:t>
            </a:r>
          </a:p>
        </p:txBody>
      </p:sp>
      <p:sp>
        <p:nvSpPr>
          <p:cNvPr id="13" name="Headline"/>
          <p:cNvSpPr>
            <a:spLocks noGrp="1"/>
          </p:cNvSpPr>
          <p:nvPr userDrawn="1">
            <p:ph type="title" hasCustomPrompt="1"/>
          </p:nvPr>
        </p:nvSpPr>
        <p:spPr>
          <a:xfrm>
            <a:off x="274639" y="295279"/>
            <a:ext cx="9872764" cy="923922"/>
          </a:xfrm>
          <a:prstGeom prst="rect">
            <a:avLst/>
          </a:prstGeom>
        </p:spPr>
        <p:txBody>
          <a:bodyPr/>
          <a:lstStyle>
            <a:lvl1pPr>
              <a:defRPr sz="5200">
                <a:solidFill>
                  <a:schemeClr val="tx1"/>
                </a:solidFill>
              </a:defRPr>
            </a:lvl1pPr>
          </a:lstStyle>
          <a:p>
            <a:r>
              <a:rPr lang="en-US" dirty="0"/>
              <a:t>Headline</a:t>
            </a:r>
          </a:p>
        </p:txBody>
      </p:sp>
    </p:spTree>
    <p:extLst>
      <p:ext uri="{BB962C8B-B14F-4D97-AF65-F5344CB8AC3E}">
        <p14:creationId xmlns:p14="http://schemas.microsoft.com/office/powerpoint/2010/main" val="1592435568"/>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3" name="Headline"/>
          <p:cNvSpPr>
            <a:spLocks noGrp="1"/>
          </p:cNvSpPr>
          <p:nvPr userDrawn="1">
            <p:ph type="title" hasCustomPrompt="1"/>
          </p:nvPr>
        </p:nvSpPr>
        <p:spPr>
          <a:xfrm>
            <a:off x="274639" y="295279"/>
            <a:ext cx="9872764" cy="923922"/>
          </a:xfrm>
          <a:prstGeom prst="rect">
            <a:avLst/>
          </a:prstGeom>
        </p:spPr>
        <p:txBody>
          <a:bodyPr/>
          <a:lstStyle>
            <a:lvl1pPr>
              <a:defRPr sz="5200">
                <a:solidFill>
                  <a:schemeClr val="tx1"/>
                </a:solidFill>
              </a:defRPr>
            </a:lvl1pPr>
          </a:lstStyle>
          <a:p>
            <a:r>
              <a:rPr lang="en-US" dirty="0"/>
              <a:t>Headline</a:t>
            </a:r>
          </a:p>
        </p:txBody>
      </p:sp>
    </p:spTree>
    <p:extLst>
      <p:ext uri="{BB962C8B-B14F-4D97-AF65-F5344CB8AC3E}">
        <p14:creationId xmlns:p14="http://schemas.microsoft.com/office/powerpoint/2010/main" val="1928792150"/>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Blank Third">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Tree>
    <p:extLst>
      <p:ext uri="{BB962C8B-B14F-4D97-AF65-F5344CB8AC3E}">
        <p14:creationId xmlns:p14="http://schemas.microsoft.com/office/powerpoint/2010/main" val="3754224430"/>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400" dirty="0">
                <a:solidFill>
                  <a:srgbClr val="92D050"/>
                </a:solidFill>
              </a:rPr>
              <a:t>Headline</a:t>
            </a:r>
            <a:endParaRPr lang="en-US" dirty="0">
              <a:solidFill>
                <a:schemeClr val="bg2"/>
              </a:solidFill>
            </a:endParaRPr>
          </a:p>
        </p:txBody>
      </p:sp>
      <p:sp>
        <p:nvSpPr>
          <p:cNvPr id="7" name="Body"/>
          <p:cNvSpPr>
            <a:spLocks noGrp="1"/>
          </p:cNvSpPr>
          <p:nvPr>
            <p:ph sz="quarter" idx="10"/>
          </p:nvPr>
        </p:nvSpPr>
        <p:spPr>
          <a:xfrm>
            <a:off x="2103352" y="1828800"/>
            <a:ext cx="8740950"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57514561"/>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400" dirty="0">
                <a:solidFill>
                  <a:srgbClr val="92D050"/>
                </a:solidFill>
              </a:rPr>
              <a:t>Headline</a:t>
            </a:r>
            <a:endParaRPr lang="en-US" dirty="0">
              <a:solidFill>
                <a:schemeClr val="bg2"/>
              </a:solidFill>
            </a:endParaRPr>
          </a:p>
        </p:txBody>
      </p:sp>
    </p:spTree>
    <p:extLst>
      <p:ext uri="{BB962C8B-B14F-4D97-AF65-F5344CB8AC3E}">
        <p14:creationId xmlns:p14="http://schemas.microsoft.com/office/powerpoint/2010/main" val="3708563315"/>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467" y="2970213"/>
            <a:ext cx="10083890" cy="917575"/>
          </a:xfrm>
          <a:prstGeom prst="rect">
            <a:avLst/>
          </a:prstGeom>
        </p:spPr>
        <p:txBody>
          <a:bodyPr/>
          <a:lstStyle>
            <a:lvl1pPr algn="ctr">
              <a:defRPr sz="6000">
                <a:solidFill>
                  <a:srgbClr val="92D050"/>
                </a:solidFill>
              </a:defRPr>
            </a:lvl1pPr>
          </a:lstStyle>
          <a:p>
            <a:r>
              <a:rPr lang="en-US" sz="5400" dirty="0">
                <a:solidFill>
                  <a:srgbClr val="92D050"/>
                </a:solidFill>
              </a:rPr>
              <a:t>Demo</a:t>
            </a:r>
            <a:endParaRPr lang="en-US" dirty="0">
              <a:solidFill>
                <a:schemeClr val="bg2"/>
              </a:solidFill>
            </a:endParaRPr>
          </a:p>
        </p:txBody>
      </p:sp>
      <p:pic>
        <p:nvPicPr>
          <p:cNvPr id="4" name="Picture 3"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3890611569"/>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856337023"/>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9"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0" name="Title"/>
          <p:cNvSpPr>
            <a:spLocks noGrp="1"/>
          </p:cNvSpPr>
          <p:nvPr>
            <p:ph type="title" hasCustomPrompt="1"/>
          </p:nvPr>
        </p:nvSpPr>
        <p:spPr>
          <a:xfrm>
            <a:off x="6362422" y="4263383"/>
            <a:ext cx="5826403"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1756034373"/>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19" y="2317689"/>
            <a:ext cx="11611293"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White Background"/>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4" name="Subhead"/>
          <p:cNvSpPr txBox="1">
            <a:spLocks/>
          </p:cNvSpPr>
          <p:nvPr userDrawn="1"/>
        </p:nvSpPr>
        <p:spPr>
          <a:xfrm>
            <a:off x="274319" y="1415481"/>
            <a:ext cx="9872764"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r>
              <a:rPr lang="en-US" sz="4000" dirty="0">
                <a:solidFill>
                  <a:schemeClr val="tx2"/>
                </a:solidFill>
              </a:rPr>
              <a:t>Subhead</a:t>
            </a:r>
          </a:p>
        </p:txBody>
      </p:sp>
      <p:sp>
        <p:nvSpPr>
          <p:cNvPr id="13" name="Headline"/>
          <p:cNvSpPr>
            <a:spLocks noGrp="1"/>
          </p:cNvSpPr>
          <p:nvPr userDrawn="1">
            <p:ph type="title" hasCustomPrompt="1"/>
          </p:nvPr>
        </p:nvSpPr>
        <p:spPr>
          <a:xfrm>
            <a:off x="274639" y="295279"/>
            <a:ext cx="9872764" cy="923922"/>
          </a:xfrm>
          <a:prstGeom prst="rect">
            <a:avLst/>
          </a:prstGeom>
        </p:spPr>
        <p:txBody>
          <a:bodyPr/>
          <a:lstStyle>
            <a:lvl1pPr>
              <a:defRPr sz="5200">
                <a:solidFill>
                  <a:schemeClr val="tx1"/>
                </a:solidFill>
              </a:defRPr>
            </a:lvl1pPr>
          </a:lstStyle>
          <a:p>
            <a:r>
              <a:rPr lang="en-US" dirty="0"/>
              <a:t>Headline</a:t>
            </a:r>
          </a:p>
        </p:txBody>
      </p:sp>
    </p:spTree>
    <p:extLst>
      <p:ext uri="{BB962C8B-B14F-4D97-AF65-F5344CB8AC3E}">
        <p14:creationId xmlns:p14="http://schemas.microsoft.com/office/powerpoint/2010/main" val="763627799"/>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Tree>
    <p:extLst>
      <p:ext uri="{BB962C8B-B14F-4D97-AF65-F5344CB8AC3E}">
        <p14:creationId xmlns:p14="http://schemas.microsoft.com/office/powerpoint/2010/main" val="3251215544"/>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1530913761"/>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bwMode="auto">
          <a:xfrm>
            <a:off x="8882557" y="-1"/>
            <a:ext cx="3306269" cy="6855083"/>
          </a:xfrm>
          <a:prstGeom prst="rect">
            <a:avLst/>
          </a:prstGeom>
          <a:solidFill>
            <a:srgbClr val="00AEEF"/>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1695" y="1944139"/>
            <a:ext cx="1307993"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18" tIns="46618" rIns="46618" bIns="46618" numCol="1" spcCol="0" rtlCol="0" fromWordArt="0" anchor="ctr" anchorCtr="0" forceAA="0" compatLnSpc="1">
            <a:prstTxWarp prst="textNoShape">
              <a:avLst/>
            </a:prstTxWarp>
            <a:noAutofit/>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1835"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144" y="158736"/>
            <a:ext cx="3693156" cy="2413891"/>
          </a:xfrm>
          <a:prstGeom prst="rect">
            <a:avLst/>
          </a:prstGeom>
        </p:spPr>
        <p:txBody>
          <a:bodyPr anchor="ctr">
            <a:noAutofit/>
          </a:bodyPr>
          <a:lstStyle>
            <a:lvl1pPr>
              <a:defRPr sz="8797"/>
            </a:lvl1pPr>
          </a:lstStyle>
          <a:p>
            <a:r>
              <a:rPr lang="en-US" sz="8795" dirty="0">
                <a:solidFill>
                  <a:schemeClr val="bg1">
                    <a:alpha val="99000"/>
                  </a:schemeClr>
                </a:solidFill>
              </a:rPr>
              <a:t>Q&amp;A</a:t>
            </a:r>
          </a:p>
        </p:txBody>
      </p:sp>
    </p:spTree>
    <p:extLst>
      <p:ext uri="{BB962C8B-B14F-4D97-AF65-F5344CB8AC3E}">
        <p14:creationId xmlns:p14="http://schemas.microsoft.com/office/powerpoint/2010/main" val="3671991355"/>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6"/>
            <a:ext cx="12188825" cy="6852165"/>
          </a:xfrm>
          <a:prstGeom prst="rect">
            <a:avLst/>
          </a:prstGeom>
        </p:spPr>
      </p:pic>
      <p:sp>
        <p:nvSpPr>
          <p:cNvPr id="8" name="Rectangle 7"/>
          <p:cNvSpPr/>
          <p:nvPr userDrawn="1"/>
        </p:nvSpPr>
        <p:spPr bwMode="auto">
          <a:xfrm>
            <a:off x="10184615" y="-1"/>
            <a:ext cx="2004210" cy="6855083"/>
          </a:xfrm>
          <a:prstGeom prst="rect">
            <a:avLst/>
          </a:prstGeom>
          <a:solidFill>
            <a:srgbClr val="8CC600"/>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5531" y="233151"/>
            <a:ext cx="1182378"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21" tIns="41961" rIns="83921" bIns="41961" numCol="1" anchor="t" anchorCtr="0" compatLnSpc="1">
            <a:prstTxWarp prst="textNoShape">
              <a:avLst/>
            </a:prstTxWarp>
          </a:bodyPr>
          <a:lstStyle/>
          <a:p>
            <a:pPr marL="0" marR="0" lvl="0" indent="0" defTabSz="93227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292929"/>
              </a:solidFill>
              <a:effectLst/>
              <a:uLnTx/>
              <a:uFillTx/>
            </a:endParaRPr>
          </a:p>
        </p:txBody>
      </p:sp>
      <p:sp>
        <p:nvSpPr>
          <p:cNvPr id="4" name="Text Placeholder 3"/>
          <p:cNvSpPr>
            <a:spLocks noGrp="1"/>
          </p:cNvSpPr>
          <p:nvPr>
            <p:ph type="body" sz="quarter" idx="10"/>
          </p:nvPr>
        </p:nvSpPr>
        <p:spPr>
          <a:xfrm>
            <a:off x="589647" y="233152"/>
            <a:ext cx="9308263" cy="6416675"/>
          </a:xfrm>
          <a:prstGeom prst="rect">
            <a:avLst/>
          </a:prstGeom>
        </p:spPr>
        <p:txBody>
          <a:bodyPr/>
          <a:lstStyle>
            <a:lvl1pPr marL="0" indent="0">
              <a:buNone/>
              <a:defRPr sz="3599"/>
            </a:lvl1pPr>
            <a:lvl2pPr>
              <a:defRPr sz="3599"/>
            </a:lvl2pPr>
            <a:lvl3pPr>
              <a:defRPr sz="3599"/>
            </a:lvl3pPr>
            <a:lvl4pPr>
              <a:defRPr sz="3599"/>
            </a:lvl4pPr>
            <a:lvl5pPr>
              <a:defRPr sz="3599"/>
            </a:lvl5pPr>
          </a:lstStyle>
          <a:p>
            <a:pPr lvl="0"/>
            <a:r>
              <a:rPr lang="en-US" dirty="0"/>
              <a:t>Click to edit Master text styles</a:t>
            </a:r>
          </a:p>
        </p:txBody>
      </p:sp>
    </p:spTree>
    <p:extLst>
      <p:ext uri="{BB962C8B-B14F-4D97-AF65-F5344CB8AC3E}">
        <p14:creationId xmlns:p14="http://schemas.microsoft.com/office/powerpoint/2010/main" val="2899840649"/>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88825"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
        <p:nvSpPr>
          <p:cNvPr id="3" name="Text Box 3"/>
          <p:cNvSpPr txBox="1">
            <a:spLocks noChangeArrowheads="1"/>
          </p:cNvSpPr>
          <p:nvPr userDrawn="1"/>
        </p:nvSpPr>
        <p:spPr bwMode="blackWhite">
          <a:xfrm>
            <a:off x="450085" y="5503176"/>
            <a:ext cx="8637119" cy="711824"/>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650"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650"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743" y="2968091"/>
            <a:ext cx="3223021" cy="690695"/>
          </a:xfrm>
          <a:prstGeom prst="rect">
            <a:avLst/>
          </a:prstGeom>
        </p:spPr>
      </p:pic>
    </p:spTree>
    <p:extLst>
      <p:ext uri="{BB962C8B-B14F-4D97-AF65-F5344CB8AC3E}">
        <p14:creationId xmlns:p14="http://schemas.microsoft.com/office/powerpoint/2010/main" val="1900615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170" y="289512"/>
            <a:ext cx="11652805" cy="899665"/>
          </a:xfrm>
          <a:prstGeom prst="rect">
            <a:avLst/>
          </a:prstGeom>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170" y="1189177"/>
            <a:ext cx="11652805" cy="2018835"/>
          </a:xfrm>
          <a:prstGeom prst="rect">
            <a:avLst/>
          </a:prstGeom>
        </p:spPr>
        <p:txBody>
          <a:bodyPr/>
          <a:lstStyle>
            <a:lvl1pPr marL="0" indent="0">
              <a:buNone/>
              <a:defRPr/>
            </a:lvl1pPr>
            <a:lvl2pPr marL="28004" indent="0">
              <a:buNone/>
              <a:defRPr sz="1960"/>
            </a:lvl2pPr>
            <a:lvl3pPr marL="219362" indent="0">
              <a:buNone/>
              <a:defRPr sz="1960"/>
            </a:lvl3pPr>
            <a:lvl4pPr marL="466728" indent="0">
              <a:buNone/>
              <a:defRPr sz="1764"/>
            </a:lvl4pPr>
            <a:lvl5pPr marL="724983" indent="0">
              <a:buNone/>
              <a:defRPr sz="176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92667477"/>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2_Blank_blu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bwMode="black">
          <a:xfrm>
            <a:off x="10351322" y="6145571"/>
            <a:ext cx="1355277" cy="290715"/>
          </a:xfrm>
          <a:prstGeom prst="rect">
            <a:avLst/>
          </a:prstGeom>
        </p:spPr>
      </p:pic>
      <p:sp>
        <p:nvSpPr>
          <p:cNvPr id="3" name="Freeform 2"/>
          <p:cNvSpPr>
            <a:spLocks noEditPoints="1"/>
          </p:cNvSpPr>
          <p:nvPr userDrawn="1"/>
        </p:nvSpPr>
        <p:spPr bwMode="black">
          <a:xfrm>
            <a:off x="2095004" y="2425052"/>
            <a:ext cx="7998819"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594" tIns="44798" rIns="89594" bIns="44798"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788343642"/>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232" y="2084187"/>
            <a:ext cx="8961851" cy="1793090"/>
          </a:xfrm>
          <a:noFill/>
        </p:spPr>
        <p:txBody>
          <a:bodyPr lIns="146304" tIns="91440" rIns="146304" bIns="91440" anchor="t" anchorCtr="0"/>
          <a:lstStyle>
            <a:lvl1pPr>
              <a:defRPr sz="5293" spc="-99"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233" y="3878577"/>
            <a:ext cx="7169470"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472" y="6118622"/>
            <a:ext cx="1255086" cy="268966"/>
          </a:xfrm>
          <a:prstGeom prst="rect">
            <a:avLst/>
          </a:prstGeom>
        </p:spPr>
      </p:pic>
    </p:spTree>
    <p:extLst>
      <p:ext uri="{BB962C8B-B14F-4D97-AF65-F5344CB8AC3E}">
        <p14:creationId xmlns:p14="http://schemas.microsoft.com/office/powerpoint/2010/main" val="57312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169" y="1189178"/>
            <a:ext cx="11650488" cy="2050989"/>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3" indent="0">
              <a:buNone/>
              <a:defRPr/>
            </a:lvl4pPr>
            <a:lvl5pPr marL="67206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76883013"/>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80"/>
            <a:ext cx="11650488" cy="2117332"/>
          </a:xfrm>
        </p:spPr>
        <p:txBody>
          <a:bodyPr>
            <a:spAutoFit/>
          </a:bodyPr>
          <a:lstStyle>
            <a:lvl1pPr>
              <a:defRPr sz="391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76715962"/>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3" name="Headline"/>
          <p:cNvSpPr>
            <a:spLocks noGrp="1"/>
          </p:cNvSpPr>
          <p:nvPr userDrawn="1">
            <p:ph type="title" hasCustomPrompt="1"/>
          </p:nvPr>
        </p:nvSpPr>
        <p:spPr>
          <a:xfrm>
            <a:off x="274639" y="295279"/>
            <a:ext cx="9872764" cy="923922"/>
          </a:xfrm>
          <a:prstGeom prst="rect">
            <a:avLst/>
          </a:prstGeom>
        </p:spPr>
        <p:txBody>
          <a:bodyPr/>
          <a:lstStyle>
            <a:lvl1pPr>
              <a:defRPr sz="5200">
                <a:solidFill>
                  <a:schemeClr val="tx1"/>
                </a:solidFill>
              </a:defRPr>
            </a:lvl1pPr>
          </a:lstStyle>
          <a:p>
            <a:r>
              <a:rPr lang="en-US" dirty="0"/>
              <a:t>Headline</a:t>
            </a:r>
          </a:p>
        </p:txBody>
      </p:sp>
    </p:spTree>
    <p:extLst>
      <p:ext uri="{BB962C8B-B14F-4D97-AF65-F5344CB8AC3E}">
        <p14:creationId xmlns:p14="http://schemas.microsoft.com/office/powerpoint/2010/main" val="4026677267"/>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3" y="1189176"/>
            <a:ext cx="5377147" cy="1942412"/>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33" indent="0">
              <a:buNone/>
              <a:tabLst/>
              <a:defRPr sz="1960"/>
            </a:lvl3pPr>
            <a:lvl4pPr marL="451155" indent="0">
              <a:buNone/>
              <a:defRPr/>
            </a:lvl4pPr>
            <a:lvl5pPr marL="67206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3" y="1189176"/>
            <a:ext cx="5377147" cy="1942412"/>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33" indent="0">
              <a:buNone/>
              <a:tabLst/>
              <a:defRPr sz="1960"/>
            </a:lvl3pPr>
            <a:lvl4pPr marL="451155" indent="0">
              <a:buNone/>
              <a:defRPr/>
            </a:lvl4pPr>
            <a:lvl5pPr marL="67206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64148509"/>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3" y="1189177"/>
            <a:ext cx="5377147" cy="2443234"/>
          </a:xfrm>
        </p:spPr>
        <p:txBody>
          <a:bodyPr wrap="square">
            <a:spAutoFit/>
          </a:bodyPr>
          <a:lstStyle>
            <a:lvl1pPr marL="281584" indent="-281584">
              <a:spcBef>
                <a:spcPts val="1200"/>
              </a:spcBef>
              <a:buClr>
                <a:schemeClr val="tx1"/>
              </a:buClr>
              <a:buFont typeface="Arial" pitchFamily="34" charset="0"/>
              <a:buChar char="•"/>
              <a:defRPr sz="3136"/>
            </a:lvl1pPr>
            <a:lvl2pPr marL="520528" indent="-228524">
              <a:defRPr sz="2352"/>
            </a:lvl2pPr>
            <a:lvl3pPr marL="685573" indent="-165045">
              <a:tabLst/>
              <a:defRPr sz="1960"/>
            </a:lvl3pPr>
            <a:lvl4pPr marL="863314" indent="-177740">
              <a:defRPr/>
            </a:lvl4pPr>
            <a:lvl5pPr marL="1028359" indent="-16504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3" y="1189177"/>
            <a:ext cx="5377147" cy="2443234"/>
          </a:xfrm>
        </p:spPr>
        <p:txBody>
          <a:bodyPr wrap="square">
            <a:spAutoFit/>
          </a:bodyPr>
          <a:lstStyle>
            <a:lvl1pPr marL="281584" indent="-281584">
              <a:spcBef>
                <a:spcPts val="1200"/>
              </a:spcBef>
              <a:buClr>
                <a:schemeClr val="tx1"/>
              </a:buClr>
              <a:buFont typeface="Arial" pitchFamily="34" charset="0"/>
              <a:buChar char="•"/>
              <a:defRPr sz="3136"/>
            </a:lvl1pPr>
            <a:lvl2pPr marL="520528" indent="-228524">
              <a:defRPr sz="2352"/>
            </a:lvl2pPr>
            <a:lvl3pPr marL="685573" indent="-165045">
              <a:tabLst/>
              <a:defRPr sz="1960"/>
            </a:lvl3pPr>
            <a:lvl4pPr marL="863314" indent="-177740">
              <a:defRPr/>
            </a:lvl4pPr>
            <a:lvl5pPr marL="1028359" indent="-16504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18030317"/>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08013440"/>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Title Only -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884483595"/>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5" y="2240364"/>
            <a:ext cx="9856549" cy="995838"/>
          </a:xfrm>
          <a:noFill/>
        </p:spPr>
        <p:txBody>
          <a:bodyPr tIns="91440" bIns="91440" anchor="b" anchorCtr="0">
            <a:spAutoFit/>
          </a:bodyPr>
          <a:lstStyle>
            <a:lvl1pPr>
              <a:defRPr sz="5881" spc="-99"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836092" y="3694460"/>
            <a:ext cx="9858105" cy="669927"/>
          </a:xfrm>
          <a:noFill/>
        </p:spPr>
        <p:txBody>
          <a:bodyPr lIns="182880" tIns="146304" rIns="182880" bIns="146304">
            <a:spAutoFit/>
          </a:bodyPr>
          <a:lstStyle>
            <a:lvl1pPr marL="0" indent="0">
              <a:spcBef>
                <a:spcPts val="0"/>
              </a:spcBef>
              <a:buNone/>
              <a:defRPr sz="2744"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cxnSp>
        <p:nvCxnSpPr>
          <p:cNvPr id="10" name="Straight Connector 9"/>
          <p:cNvCxnSpPr/>
          <p:nvPr userDrawn="1"/>
        </p:nvCxnSpPr>
        <p:spPr>
          <a:xfrm>
            <a:off x="1010351" y="3429000"/>
            <a:ext cx="9683847"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36092" y="4207041"/>
            <a:ext cx="9858105" cy="615609"/>
          </a:xfrm>
          <a:noFill/>
        </p:spPr>
        <p:txBody>
          <a:bodyPr lIns="182880" tIns="146304" rIns="182880" bIns="146304">
            <a:spAutoFit/>
          </a:bodyPr>
          <a:lstStyle>
            <a:lvl1pPr marL="0" indent="0">
              <a:spcBef>
                <a:spcPts val="0"/>
              </a:spcBef>
              <a:buNone/>
              <a:defRPr sz="2352"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Optional Title Role, Company</a:t>
            </a:r>
          </a:p>
        </p:txBody>
      </p:sp>
    </p:spTree>
    <p:extLst>
      <p:ext uri="{BB962C8B-B14F-4D97-AF65-F5344CB8AC3E}">
        <p14:creationId xmlns:p14="http://schemas.microsoft.com/office/powerpoint/2010/main" val="18982919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Announcing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4335" y="2240364"/>
            <a:ext cx="6945325" cy="995838"/>
          </a:xfrm>
          <a:noFill/>
        </p:spPr>
        <p:txBody>
          <a:bodyPr wrap="square" tIns="91440" bIns="91440" anchor="b" anchorCtr="0">
            <a:spAutoFit/>
          </a:bodyPr>
          <a:lstStyle>
            <a:lvl1pPr>
              <a:defRPr sz="5881" spc="-99"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4994559" y="3694460"/>
            <a:ext cx="6946423" cy="669927"/>
          </a:xfrm>
          <a:noFill/>
        </p:spPr>
        <p:txBody>
          <a:bodyPr wrap="square" lIns="182880" tIns="146304" rIns="182880" bIns="146304">
            <a:spAutoFit/>
          </a:bodyPr>
          <a:lstStyle>
            <a:lvl1pPr marL="0" indent="0">
              <a:spcBef>
                <a:spcPts val="0"/>
              </a:spcBef>
              <a:buNone/>
              <a:defRPr sz="2744"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cxnSp>
        <p:nvCxnSpPr>
          <p:cNvPr id="10" name="Straight Connector 9"/>
          <p:cNvCxnSpPr/>
          <p:nvPr userDrawn="1"/>
        </p:nvCxnSpPr>
        <p:spPr>
          <a:xfrm>
            <a:off x="5168818" y="3429000"/>
            <a:ext cx="6202636"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013523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067501724"/>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48402421"/>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91049461"/>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98804563"/>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Third">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Tree>
    <p:extLst>
      <p:ext uri="{BB962C8B-B14F-4D97-AF65-F5344CB8AC3E}">
        <p14:creationId xmlns:p14="http://schemas.microsoft.com/office/powerpoint/2010/main" val="2383433635"/>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28427305"/>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Blank_charcoal_BUILD LOGO">
    <p:spTree>
      <p:nvGrpSpPr>
        <p:cNvPr id="1" name=""/>
        <p:cNvGrpSpPr/>
        <p:nvPr/>
      </p:nvGrpSpPr>
      <p:grpSpPr>
        <a:xfrm>
          <a:off x="0" y="0"/>
          <a:ext cx="0" cy="0"/>
          <a:chOff x="0" y="0"/>
          <a:chExt cx="0" cy="0"/>
        </a:xfrm>
      </p:grpSpPr>
      <p:sp>
        <p:nvSpPr>
          <p:cNvPr id="4" name="Freeform 3"/>
          <p:cNvSpPr>
            <a:spLocks noEditPoints="1"/>
          </p:cNvSpPr>
          <p:nvPr userDrawn="1"/>
        </p:nvSpPr>
        <p:spPr bwMode="black">
          <a:xfrm>
            <a:off x="10530336" y="6220470"/>
            <a:ext cx="138019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594" tIns="44798" rIns="89594" bIns="44798"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765222687"/>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Blank_blue_BUILD LOGO">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530336" y="6220470"/>
            <a:ext cx="138019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594" tIns="44798" rIns="89594" bIns="44798"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761739977"/>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Blank_gray_BUILD LOGO">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530336" y="6220470"/>
            <a:ext cx="138019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594" tIns="44798" rIns="89594" bIns="44798"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233827951"/>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Blank_silver_BUILD LOGO">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10530336" y="6220470"/>
            <a:ext cx="138019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594" tIns="44798" rIns="89594" bIns="44798"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33333"/>
              </a:solidFill>
              <a:effectLst/>
              <a:uLnTx/>
              <a:uFillTx/>
              <a:latin typeface="Segoe UI"/>
              <a:ea typeface="+mn-ea"/>
              <a:cs typeface="+mn-cs"/>
            </a:endParaRPr>
          </a:p>
        </p:txBody>
      </p:sp>
    </p:spTree>
    <p:extLst>
      <p:ext uri="{BB962C8B-B14F-4D97-AF65-F5344CB8AC3E}">
        <p14:creationId xmlns:p14="http://schemas.microsoft.com/office/powerpoint/2010/main" val="32295417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Blank_charcoal">
    <p:spTree>
      <p:nvGrpSpPr>
        <p:cNvPr id="1" name=""/>
        <p:cNvGrpSpPr/>
        <p:nvPr/>
      </p:nvGrpSpPr>
      <p:grpSpPr>
        <a:xfrm>
          <a:off x="0" y="0"/>
          <a:ext cx="0" cy="0"/>
          <a:chOff x="0" y="0"/>
          <a:chExt cx="0" cy="0"/>
        </a:xfrm>
      </p:grpSpPr>
    </p:spTree>
    <p:extLst>
      <p:ext uri="{BB962C8B-B14F-4D97-AF65-F5344CB8AC3E}">
        <p14:creationId xmlns:p14="http://schemas.microsoft.com/office/powerpoint/2010/main" val="460374378"/>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Blank_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2755252"/>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Blank_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2090639"/>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Blank_silv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76094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Blank_cyan">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354873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400" dirty="0">
                <a:solidFill>
                  <a:srgbClr val="92D050"/>
                </a:solidFill>
              </a:rPr>
              <a:t>Headline</a:t>
            </a:r>
            <a:endParaRPr lang="en-US" dirty="0">
              <a:solidFill>
                <a:schemeClr val="bg2"/>
              </a:solidFill>
            </a:endParaRPr>
          </a:p>
        </p:txBody>
      </p:sp>
      <p:sp>
        <p:nvSpPr>
          <p:cNvPr id="7" name="Body"/>
          <p:cNvSpPr>
            <a:spLocks noGrp="1"/>
          </p:cNvSpPr>
          <p:nvPr>
            <p:ph sz="quarter" idx="10"/>
          </p:nvPr>
        </p:nvSpPr>
        <p:spPr>
          <a:xfrm>
            <a:off x="2103352" y="1828800"/>
            <a:ext cx="8740950"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74115137"/>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172" y="6171615"/>
            <a:ext cx="11650487" cy="395236"/>
          </a:xfrm>
          <a:prstGeom prst="rect">
            <a:avLst/>
          </a:prstGeom>
          <a:noFill/>
          <a:ln w="12700">
            <a:noFill/>
            <a:miter lim="800000"/>
            <a:headEnd type="none" w="sm" len="sm"/>
            <a:tailEnd type="none" w="sm" len="sm"/>
          </a:ln>
          <a:effectLst/>
        </p:spPr>
        <p:txBody>
          <a:bodyPr vert="horz" wrap="square" lIns="179188" tIns="143350" rIns="179188" bIns="143350" numCol="1" anchor="t" anchorCtr="0" compatLnSpc="1">
            <a:prstTxWarp prst="textNoShape">
              <a:avLst/>
            </a:prstTxWarp>
            <a:spAutoFit/>
          </a:bodyPr>
          <a:lstStyle/>
          <a:p>
            <a:pPr marL="0" marR="0" lvl="0" indent="0" algn="l" defTabSz="91361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bwMode="black">
          <a:xfrm>
            <a:off x="450087" y="3083651"/>
            <a:ext cx="3226289" cy="692059"/>
          </a:xfrm>
          <a:prstGeom prst="rect">
            <a:avLst/>
          </a:prstGeom>
        </p:spPr>
      </p:pic>
    </p:spTree>
    <p:extLst>
      <p:ext uri="{BB962C8B-B14F-4D97-AF65-F5344CB8AC3E}">
        <p14:creationId xmlns:p14="http://schemas.microsoft.com/office/powerpoint/2010/main" val="1189546684"/>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461101"/>
          </a:xfrm>
          <a:prstGeom prst="rect">
            <a:avLst/>
          </a:prstGeom>
        </p:spPr>
        <p:txBody>
          <a:bodyPr/>
          <a:lstStyle>
            <a:lvl1pPr marL="284695" indent="-28469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55" indent="-275360">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47" indent="-284695">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71" indent="-224022">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90" indent="-224022">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8"/>
            <a:ext cx="12188826" cy="619126"/>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8620625"/>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1098" y="6256216"/>
            <a:ext cx="2742486" cy="365125"/>
          </a:xfrm>
          <a:prstGeom prst="rect">
            <a:avLst/>
          </a:prstGeom>
        </p:spPr>
        <p:txBody>
          <a:bodyPr/>
          <a:lstStyle/>
          <a:p>
            <a:pPr algn="r" defTabSz="913919">
              <a:defRPr/>
            </a:pPr>
            <a:fld id="{0A164282-434E-41D4-9582-783D542A7B68}" type="slidenum">
              <a:rPr lang="en-US" sz="1999" smtClean="0">
                <a:solidFill>
                  <a:srgbClr val="289FD7"/>
                </a:solidFill>
                <a:latin typeface="Segoe UI Light"/>
              </a:rPr>
              <a:pPr algn="r" defTabSz="913919">
                <a:defRPr/>
              </a:pPr>
              <a:t>‹#›</a:t>
            </a:fld>
            <a:endParaRPr lang="en-US" sz="1999">
              <a:solidFill>
                <a:srgbClr val="289FD7"/>
              </a:solidFill>
              <a:latin typeface="Segoe UI Light"/>
            </a:endParaRPr>
          </a:p>
        </p:txBody>
      </p:sp>
    </p:spTree>
    <p:extLst>
      <p:ext uri="{BB962C8B-B14F-4D97-AF65-F5344CB8AC3E}">
        <p14:creationId xmlns:p14="http://schemas.microsoft.com/office/powerpoint/2010/main" val="3408153461"/>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018" y="2816941"/>
            <a:ext cx="11031572" cy="2387600"/>
          </a:xfrm>
        </p:spPr>
        <p:txBody>
          <a:bodyPr anchor="b">
            <a:noAutofit/>
          </a:bodyPr>
          <a:lstStyle>
            <a:lvl1pPr algn="l">
              <a:defRPr sz="23888">
                <a:solidFill>
                  <a:schemeClr val="bg1"/>
                </a:solidFill>
              </a:defRPr>
            </a:lvl1pPr>
          </a:lstStyle>
          <a:p>
            <a:r>
              <a:rPr lang="en-US" dirty="0"/>
              <a:t>web</a:t>
            </a:r>
          </a:p>
        </p:txBody>
      </p:sp>
    </p:spTree>
    <p:extLst>
      <p:ext uri="{BB962C8B-B14F-4D97-AF65-F5344CB8AC3E}">
        <p14:creationId xmlns:p14="http://schemas.microsoft.com/office/powerpoint/2010/main" val="1600050126"/>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userDrawn="1">
  <p:cSld name="Blank Accent Color 1">
    <p:spTree>
      <p:nvGrpSpPr>
        <p:cNvPr id="1" name=""/>
        <p:cNvGrpSpPr/>
        <p:nvPr/>
      </p:nvGrpSpPr>
      <p:grpSpPr>
        <a:xfrm>
          <a:off x="0" y="0"/>
          <a:ext cx="0" cy="0"/>
          <a:chOff x="0" y="0"/>
          <a:chExt cx="0" cy="0"/>
        </a:xfrm>
      </p:grpSpPr>
      <p:sp>
        <p:nvSpPr>
          <p:cNvPr id="2" name="Rectangle 1"/>
          <p:cNvSpPr/>
          <p:nvPr userDrawn="1"/>
        </p:nvSpPr>
        <p:spPr bwMode="auto">
          <a:xfrm>
            <a:off x="0" y="0"/>
            <a:ext cx="12188825"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36" tIns="143309" rIns="179136" bIns="143309" numCol="1" spcCol="0" rtlCol="0" fromWordArt="0" anchor="t" anchorCtr="0" forceAA="0" compatLnSpc="1">
            <a:prstTxWarp prst="textNoShape">
              <a:avLst/>
            </a:prstTxWarp>
            <a:noAutofit/>
          </a:bodyPr>
          <a:lstStyle/>
          <a:p>
            <a:pPr marL="0" marR="0" lvl="0" indent="0" algn="ctr" defTabSz="913444"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3626536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userDrawn="1">
  <p:cSld name="Two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dirty="0"/>
              <a:t>Click to edit title</a:t>
            </a:r>
          </a:p>
        </p:txBody>
      </p:sp>
      <p:sp>
        <p:nvSpPr>
          <p:cNvPr id="10" name="Content Placeholder 3"/>
          <p:cNvSpPr>
            <a:spLocks noGrp="1"/>
          </p:cNvSpPr>
          <p:nvPr>
            <p:ph sz="quarter" idx="14" hasCustomPrompt="1"/>
          </p:nvPr>
        </p:nvSpPr>
        <p:spPr>
          <a:xfrm>
            <a:off x="269169" y="1187622"/>
            <a:ext cx="5825243" cy="2117162"/>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3"/>
          <p:cNvSpPr>
            <a:spLocks noGrp="1"/>
          </p:cNvSpPr>
          <p:nvPr>
            <p:ph sz="quarter" idx="15" hasCustomPrompt="1"/>
          </p:nvPr>
        </p:nvSpPr>
        <p:spPr>
          <a:xfrm>
            <a:off x="6094415" y="1187622"/>
            <a:ext cx="5825243" cy="2117162"/>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26640578"/>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sp>
        <p:nvSpPr>
          <p:cNvPr id="10" name="Textplatzhalter 9"/>
          <p:cNvSpPr>
            <a:spLocks noGrp="1"/>
          </p:cNvSpPr>
          <p:nvPr>
            <p:ph type="body" sz="quarter" idx="11"/>
          </p:nvPr>
        </p:nvSpPr>
        <p:spPr>
          <a:xfrm>
            <a:off x="3" y="756000"/>
            <a:ext cx="12178742" cy="348283"/>
          </a:xfrm>
          <a:prstGeom prst="rect">
            <a:avLst/>
          </a:prstGeom>
          <a:noFill/>
          <a:ln w="9525">
            <a:noFill/>
            <a:miter lim="800000"/>
            <a:headEnd/>
            <a:tailEnd/>
          </a:ln>
        </p:spPr>
        <p:txBody>
          <a:bodyPr wrap="square" lIns="360000" tIns="36000" rIns="90000" bIns="36000">
            <a:spAutoFit/>
          </a:bodyPr>
          <a:lstStyle>
            <a:lvl1pPr>
              <a:defRPr lang="de-DE" sz="1999" kern="1200" dirty="0" smtClean="0">
                <a:solidFill>
                  <a:schemeClr val="tx1"/>
                </a:solidFill>
                <a:latin typeface="Calibri" pitchFamily="34" charset="0"/>
                <a:ea typeface="+mn-ea"/>
                <a:cs typeface="Calibri" pitchFamily="34" charset="0"/>
              </a:defRPr>
            </a:lvl1pPr>
          </a:lstStyle>
          <a:p>
            <a:pPr marL="177723" lvl="0" indent="-177723" algn="l" defTabSz="801339" rtl="0" eaLnBrk="1" fontAlgn="base" latinLnBrk="0" hangingPunct="1">
              <a:spcBef>
                <a:spcPct val="20000"/>
              </a:spcBef>
              <a:spcAft>
                <a:spcPct val="0"/>
              </a:spcAft>
              <a:buFont typeface="Arial" pitchFamily="34" charset="0"/>
              <a:buNone/>
            </a:pPr>
            <a:endParaRPr lang="de-DE" dirty="0"/>
          </a:p>
        </p:txBody>
      </p:sp>
      <p:sp>
        <p:nvSpPr>
          <p:cNvPr id="7" name="Titelplatzhalter 1"/>
          <p:cNvSpPr>
            <a:spLocks noGrp="1"/>
          </p:cNvSpPr>
          <p:nvPr>
            <p:ph type="title"/>
          </p:nvPr>
        </p:nvSpPr>
        <p:spPr>
          <a:xfrm>
            <a:off x="0" y="124307"/>
            <a:ext cx="12188825" cy="795405"/>
          </a:xfrm>
          <a:prstGeom prst="rect">
            <a:avLst/>
          </a:prstGeom>
          <a:noFill/>
          <a:effectLst/>
        </p:spPr>
        <p:txBody>
          <a:bodyPr wrap="square" lIns="360000" tIns="36000" rIns="90000" bIns="36000">
            <a:spAutoFit/>
          </a:bodyPr>
          <a:lstStyle/>
          <a:p>
            <a:pPr marL="177723" marR="0" lvl="0" indent="-177723" algn="l" defTabSz="801339" rtl="0" eaLnBrk="1" fontAlgn="base" latinLnBrk="0" hangingPunct="1">
              <a:lnSpc>
                <a:spcPct val="100000"/>
              </a:lnSpc>
              <a:spcBef>
                <a:spcPct val="20000"/>
              </a:spcBef>
              <a:spcAft>
                <a:spcPct val="0"/>
              </a:spcAft>
              <a:buClrTx/>
              <a:buSzTx/>
              <a:buFontTx/>
              <a:buNone/>
              <a:tabLst/>
              <a:defRPr/>
            </a:pPr>
            <a:endParaRPr lang="de-DE" dirty="0"/>
          </a:p>
        </p:txBody>
      </p:sp>
    </p:spTree>
    <p:extLst>
      <p:ext uri="{BB962C8B-B14F-4D97-AF65-F5344CB8AC3E}">
        <p14:creationId xmlns:p14="http://schemas.microsoft.com/office/powerpoint/2010/main" val="1972826905"/>
      </p:ext>
    </p:extLst>
  </p:cSld>
  <p:clrMapOvr>
    <a:masterClrMapping/>
  </p:clrMapOvr>
  <p:transition spd="slow">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627706" y="4452770"/>
            <a:ext cx="7169470"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Segoe Pro" panose="020B0502040504020203" pitchFamily="34" charset="0"/>
              </a:defRPr>
            </a:lvl1pPr>
          </a:lstStyle>
          <a:p>
            <a:pPr lvl="0"/>
            <a:r>
              <a:rPr lang="en-US" dirty="0"/>
              <a:t>Speaker Name</a:t>
            </a:r>
          </a:p>
        </p:txBody>
      </p:sp>
    </p:spTree>
    <p:extLst>
      <p:ext uri="{BB962C8B-B14F-4D97-AF65-F5344CB8AC3E}">
        <p14:creationId xmlns:p14="http://schemas.microsoft.com/office/powerpoint/2010/main" val="18021318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a:extLst>
              <a:ext uri="{28A0092B-C50C-407E-A947-70E740481C1C}">
                <a14:useLocalDpi xmlns:a14="http://schemas.microsoft.com/office/drawing/2010/main" val="0"/>
              </a:ext>
            </a:extLst>
          </a:blip>
          <a:srcRect l="1089" t="1852" r="2943"/>
          <a:stretch>
            <a:fillRect/>
          </a:stretch>
        </p:blipFill>
        <p:spPr bwMode="auto">
          <a:xfrm>
            <a:off x="0" y="0"/>
            <a:ext cx="1218727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userDrawn="1"/>
        </p:nvSpPr>
        <p:spPr bwMode="auto">
          <a:xfrm>
            <a:off x="269169" y="2077946"/>
            <a:ext cx="6273340" cy="3592434"/>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8" tIns="143391" rIns="179238" bIns="143391"/>
          <a:lstStyle/>
          <a:p>
            <a:pPr algn="ctr" defTabSz="913916" eaLnBrk="1" hangingPunct="1">
              <a:lnSpc>
                <a:spcPct val="90000"/>
              </a:lnSpc>
              <a:defRPr/>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7"/>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invGray">
          <a:xfrm>
            <a:off x="448096" y="470068"/>
            <a:ext cx="1792383" cy="3844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bwMode="auto">
          <a:xfrm>
            <a:off x="269232" y="2077814"/>
            <a:ext cx="6274896" cy="1793104"/>
          </a:xfrm>
          <a:noFill/>
        </p:spPr>
        <p:txBody>
          <a:bodyPr anchorCtr="0"/>
          <a:lstStyle>
            <a:lvl1pPr>
              <a:defRPr sz="5293" spc="-98" baseline="0">
                <a:gradFill>
                  <a:gsLst>
                    <a:gs pos="57576">
                      <a:srgbClr val="FFFFFF"/>
                    </a:gs>
                    <a:gs pos="35000">
                      <a:srgbClr val="FFFFFF"/>
                    </a:gs>
                  </a:gsLst>
                  <a:lin ang="5400000" scaled="0"/>
                </a:gradFill>
              </a:defRPr>
            </a:lvl1pPr>
          </a:lstStyle>
          <a:p>
            <a:r>
              <a:rPr lang="en-US"/>
              <a:t>Click to edit Master title style</a:t>
            </a:r>
            <a:endParaRPr lang="en-US" dirty="0"/>
          </a:p>
        </p:txBody>
      </p:sp>
      <p:sp>
        <p:nvSpPr>
          <p:cNvPr id="3" name="Text Placeholder 2"/>
          <p:cNvSpPr>
            <a:spLocks noGrp="1"/>
          </p:cNvSpPr>
          <p:nvPr>
            <p:ph type="body" sz="quarter" idx="14"/>
          </p:nvPr>
        </p:nvSpPr>
        <p:spPr bwMode="auto">
          <a:xfrm>
            <a:off x="267613" y="3877276"/>
            <a:ext cx="6274896" cy="1793104"/>
          </a:xfrm>
        </p:spPr>
        <p:txBody>
          <a:bodyPr tIns="109728" bIns="109728">
            <a:noAutofit/>
          </a:bodyPr>
          <a:lstStyle>
            <a:lvl1pPr marL="0" indent="0">
              <a:spcBef>
                <a:spcPts val="0"/>
              </a:spcBef>
              <a:buNone/>
              <a:defRPr sz="3136">
                <a:gradFill>
                  <a:gsLst>
                    <a:gs pos="57576">
                      <a:srgbClr val="FFFFFF"/>
                    </a:gs>
                    <a:gs pos="35000">
                      <a:srgbClr val="FFFFFF"/>
                    </a:gs>
                  </a:gsLst>
                  <a:lin ang="5400000" scaled="0"/>
                </a:gradFill>
              </a:defRPr>
            </a:lvl1pPr>
          </a:lstStyle>
          <a:p>
            <a:pPr lvl="0"/>
            <a:r>
              <a:rPr lang="en-US"/>
              <a:t>Click to edit Master text styles</a:t>
            </a:r>
          </a:p>
        </p:txBody>
      </p:sp>
    </p:spTree>
    <p:extLst>
      <p:ext uri="{BB962C8B-B14F-4D97-AF65-F5344CB8AC3E}">
        <p14:creationId xmlns:p14="http://schemas.microsoft.com/office/powerpoint/2010/main" val="4216954472"/>
      </p:ext>
    </p:extLst>
  </p:cSld>
  <p:clrMapOvr>
    <a:masterClrMapping/>
  </p:clrMapOvr>
  <p:transition spd="med">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448096" y="6001918"/>
            <a:ext cx="1792383" cy="38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269232" y="2084187"/>
            <a:ext cx="8961851" cy="1793090"/>
          </a:xfrm>
          <a:noFill/>
        </p:spPr>
        <p:txBody>
          <a:bodyPr anchorCtr="0"/>
          <a:lstStyle>
            <a:lvl1pPr>
              <a:defRPr sz="5293" spc="-98" baseline="0">
                <a:gradFill>
                  <a:gsLst>
                    <a:gs pos="91000">
                      <a:schemeClr val="tx1"/>
                    </a:gs>
                    <a:gs pos="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69231" y="3878574"/>
            <a:ext cx="7169469" cy="1792326"/>
          </a:xfrm>
          <a:noFill/>
        </p:spPr>
        <p:txBody>
          <a:bodyPr tIns="109728"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3787541127"/>
      </p:ext>
    </p:extLst>
  </p:cSld>
  <p:clrMapOvr>
    <a:masterClrMapping/>
  </p:clrMapOvr>
  <p:transition spd="slow"/>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400" dirty="0">
                <a:solidFill>
                  <a:srgbClr val="92D050"/>
                </a:solidFill>
              </a:rPr>
              <a:t>Headline</a:t>
            </a:r>
            <a:endParaRPr lang="en-US" dirty="0">
              <a:solidFill>
                <a:schemeClr val="bg2"/>
              </a:solidFill>
            </a:endParaRPr>
          </a:p>
        </p:txBody>
      </p:sp>
    </p:spTree>
    <p:extLst>
      <p:ext uri="{BB962C8B-B14F-4D97-AF65-F5344CB8AC3E}">
        <p14:creationId xmlns:p14="http://schemas.microsoft.com/office/powerpoint/2010/main" val="3085962235"/>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169" y="1189177"/>
            <a:ext cx="11650488"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11566158"/>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012667"/>
          </a:xfrm>
        </p:spPr>
        <p:txBody>
          <a:bodyPr/>
          <a:lstStyle>
            <a:lvl1pPr>
              <a:defRPr sz="3528"/>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80270491"/>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5"/>
            <a:ext cx="5377147" cy="1877004"/>
          </a:xfrm>
        </p:spPr>
        <p:txBody>
          <a:bodyPr/>
          <a:lstStyle>
            <a:lvl1pPr marL="0" indent="0">
              <a:spcBef>
                <a:spcPts val="1200"/>
              </a:spcBef>
              <a:buClr>
                <a:schemeClr val="tx1"/>
              </a:buClr>
              <a:buFont typeface="Wingdings" pitchFamily="2" charset="2"/>
              <a:buNone/>
              <a:defRPr sz="3136"/>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2510" y="1189175"/>
            <a:ext cx="5377147" cy="1877004"/>
          </a:xfrm>
        </p:spPr>
        <p:txBody>
          <a:bodyPr/>
          <a:lstStyle>
            <a:lvl1pPr marL="0" indent="0">
              <a:spcBef>
                <a:spcPts val="1200"/>
              </a:spcBef>
              <a:buClr>
                <a:schemeClr val="tx1"/>
              </a:buClr>
              <a:buFont typeface="Wingdings" pitchFamily="2" charset="2"/>
              <a:buNone/>
              <a:defRPr sz="3136"/>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75973125"/>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6"/>
            <a:ext cx="5377147" cy="2377940"/>
          </a:xfrm>
        </p:spPr>
        <p:txBody>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2510" y="1189176"/>
            <a:ext cx="5377147" cy="2377940"/>
          </a:xfrm>
        </p:spPr>
        <p:txBody>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67731625"/>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486323222"/>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0" name="Title 1"/>
          <p:cNvSpPr>
            <a:spLocks noGrp="1"/>
          </p:cNvSpPr>
          <p:nvPr>
            <p:ph type="title"/>
          </p:nvPr>
        </p:nvSpPr>
        <p:spPr>
          <a:xfrm>
            <a:off x="269170" y="442983"/>
            <a:ext cx="11652043" cy="641086"/>
          </a:xfrm>
        </p:spPr>
        <p:txBody>
          <a:bodyPr/>
          <a:lstStyle/>
          <a:p>
            <a:pPr algn="ctr"/>
            <a:r>
              <a:rPr lang="en-US" dirty="0">
                <a:solidFill>
                  <a:srgbClr val="00B0F0"/>
                </a:solidFill>
              </a:rPr>
              <a:t>Visual Studio Online</a:t>
            </a:r>
          </a:p>
        </p:txBody>
      </p:sp>
      <p:sp>
        <p:nvSpPr>
          <p:cNvPr id="31" name="Right Arrow 30"/>
          <p:cNvSpPr/>
          <p:nvPr userDrawn="1"/>
        </p:nvSpPr>
        <p:spPr>
          <a:xfrm>
            <a:off x="3233755" y="2300500"/>
            <a:ext cx="1611392" cy="944308"/>
          </a:xfrm>
          <a:prstGeom prst="rightArrow">
            <a:avLst>
              <a:gd name="adj1" fmla="val 50000"/>
              <a:gd name="adj2" fmla="val 73537"/>
            </a:avLst>
          </a:prstGeom>
          <a:solidFill>
            <a:srgbClr val="00BCF2"/>
          </a:solidFill>
          <a:ln w="10795" cap="flat" cmpd="sng" algn="ctr">
            <a:noFill/>
            <a:prstDash val="solid"/>
          </a:ln>
          <a:effectLst/>
        </p:spPr>
        <p:txBody>
          <a:bodyPr rot="0" spcFirstLastPara="0" vertOverflow="overflow" horzOverflow="overflow" vert="horz" wrap="square" lIns="91379" tIns="91379" rIns="91379" bIns="91379" numCol="1" spcCol="0" rtlCol="0" fromWordArt="0" anchor="b" anchorCtr="0" forceAA="0" compatLnSpc="1">
            <a:prstTxWarp prst="textNoShape">
              <a:avLst/>
            </a:prstTxWarp>
            <a:noAutofit/>
          </a:bodyPr>
          <a:lstStyle/>
          <a:p>
            <a:pPr marL="0" marR="0" lvl="0" indent="0" algn="r" defTabSz="896203"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sp>
        <p:nvSpPr>
          <p:cNvPr id="32" name="Right Arrow 31"/>
          <p:cNvSpPr/>
          <p:nvPr userDrawn="1"/>
        </p:nvSpPr>
        <p:spPr>
          <a:xfrm>
            <a:off x="5580951" y="2300500"/>
            <a:ext cx="1646225" cy="944308"/>
          </a:xfrm>
          <a:prstGeom prst="rightArrow">
            <a:avLst>
              <a:gd name="adj1" fmla="val 50000"/>
              <a:gd name="adj2" fmla="val 73537"/>
            </a:avLst>
          </a:prstGeom>
          <a:solidFill>
            <a:srgbClr val="00BCF2"/>
          </a:solidFill>
          <a:ln w="10795" cap="flat" cmpd="sng" algn="ctr">
            <a:noFill/>
            <a:prstDash val="solid"/>
          </a:ln>
          <a:effectLst/>
        </p:spPr>
        <p:txBody>
          <a:bodyPr rot="0" spcFirstLastPara="0" vertOverflow="overflow" horzOverflow="overflow" vert="horz" wrap="square" lIns="91379" tIns="91379" rIns="91379" bIns="91379" numCol="1" spcCol="0" rtlCol="0" fromWordArt="0" anchor="b" anchorCtr="0" forceAA="0" compatLnSpc="1">
            <a:prstTxWarp prst="textNoShape">
              <a:avLst/>
            </a:prstTxWarp>
            <a:noAutofit/>
          </a:bodyPr>
          <a:lstStyle/>
          <a:p>
            <a:pPr marL="0" marR="0" lvl="0" indent="0" algn="r" defTabSz="896203"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sp>
        <p:nvSpPr>
          <p:cNvPr id="33" name="Right Arrow 32"/>
          <p:cNvSpPr/>
          <p:nvPr userDrawn="1"/>
        </p:nvSpPr>
        <p:spPr>
          <a:xfrm>
            <a:off x="7962979" y="2300500"/>
            <a:ext cx="1025568" cy="944308"/>
          </a:xfrm>
          <a:prstGeom prst="rightArrow">
            <a:avLst>
              <a:gd name="adj1" fmla="val 50000"/>
              <a:gd name="adj2" fmla="val 73537"/>
            </a:avLst>
          </a:prstGeom>
          <a:solidFill>
            <a:srgbClr val="00BCF2"/>
          </a:solidFill>
          <a:ln w="10795" cap="flat" cmpd="sng" algn="ctr">
            <a:noFill/>
            <a:prstDash val="solid"/>
          </a:ln>
          <a:effectLst/>
        </p:spPr>
        <p:txBody>
          <a:bodyPr rot="0" spcFirstLastPara="0" vertOverflow="overflow" horzOverflow="overflow" vert="horz" wrap="square" lIns="91379" tIns="91379" rIns="91379" bIns="91379" numCol="1" spcCol="0" rtlCol="0" fromWordArt="0" anchor="b" anchorCtr="0" forceAA="0" compatLnSpc="1">
            <a:prstTxWarp prst="textNoShape">
              <a:avLst/>
            </a:prstTxWarp>
            <a:noAutofit/>
          </a:bodyPr>
          <a:lstStyle/>
          <a:p>
            <a:pPr marL="0" marR="0" lvl="0" indent="0" algn="r" defTabSz="896203"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sp>
        <p:nvSpPr>
          <p:cNvPr id="47" name="TextBox 46"/>
          <p:cNvSpPr txBox="1"/>
          <p:nvPr userDrawn="1"/>
        </p:nvSpPr>
        <p:spPr>
          <a:xfrm>
            <a:off x="1634268" y="1666670"/>
            <a:ext cx="1836740" cy="352127"/>
          </a:xfrm>
          <a:prstGeom prst="rect">
            <a:avLst/>
          </a:prstGeom>
        </p:spPr>
        <p:txBody>
          <a:bodyPr vert="horz" wrap="square" lIns="91379" tIns="91379" rIns="91379" bIns="91379" rtlCol="0" anchor="t">
            <a:noAutofit/>
          </a:bodyPr>
          <a:lstStyle/>
          <a:p>
            <a:pPr marL="233201" marR="0" lvl="0" indent="-233201" algn="ctr" defTabSz="896203"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Code Repository</a:t>
            </a:r>
          </a:p>
        </p:txBody>
      </p:sp>
      <p:sp>
        <p:nvSpPr>
          <p:cNvPr id="48" name="TextBox 47"/>
          <p:cNvSpPr txBox="1"/>
          <p:nvPr userDrawn="1"/>
        </p:nvSpPr>
        <p:spPr>
          <a:xfrm>
            <a:off x="3671925" y="1666671"/>
            <a:ext cx="2466558" cy="310480"/>
          </a:xfrm>
          <a:prstGeom prst="rect">
            <a:avLst/>
          </a:prstGeom>
        </p:spPr>
        <p:txBody>
          <a:bodyPr vert="horz" wrap="square" lIns="91379" tIns="91379" rIns="91379" bIns="91379" rtlCol="0" anchor="t">
            <a:noAutofit/>
          </a:bodyPr>
          <a:lstStyle/>
          <a:p>
            <a:pPr marL="233201" marR="0" lvl="0" indent="-233201" algn="ctr" defTabSz="896203"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Build + Deploy</a:t>
            </a:r>
          </a:p>
        </p:txBody>
      </p:sp>
      <p:sp>
        <p:nvSpPr>
          <p:cNvPr id="49" name="TextBox 48"/>
          <p:cNvSpPr txBox="1"/>
          <p:nvPr userDrawn="1"/>
        </p:nvSpPr>
        <p:spPr>
          <a:xfrm>
            <a:off x="6301024" y="1666670"/>
            <a:ext cx="1836740" cy="352127"/>
          </a:xfrm>
          <a:prstGeom prst="rect">
            <a:avLst/>
          </a:prstGeom>
        </p:spPr>
        <p:txBody>
          <a:bodyPr vert="horz" wrap="square" lIns="91379" tIns="91379" rIns="91379" bIns="91379" rtlCol="0" anchor="t">
            <a:noAutofit/>
          </a:bodyPr>
          <a:lstStyle/>
          <a:p>
            <a:pPr marL="233201" marR="0" lvl="0" indent="-233201" algn="ctr" defTabSz="896203"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Load Testing</a:t>
            </a:r>
          </a:p>
        </p:txBody>
      </p:sp>
      <p:sp>
        <p:nvSpPr>
          <p:cNvPr id="50" name="TextBox 49"/>
          <p:cNvSpPr txBox="1"/>
          <p:nvPr userDrawn="1"/>
        </p:nvSpPr>
        <p:spPr>
          <a:xfrm>
            <a:off x="8822588" y="1666671"/>
            <a:ext cx="2047904" cy="379355"/>
          </a:xfrm>
          <a:prstGeom prst="rect">
            <a:avLst/>
          </a:prstGeom>
        </p:spPr>
        <p:txBody>
          <a:bodyPr vert="horz" wrap="square" lIns="91379" tIns="91379" rIns="91379" bIns="91379" rtlCol="0" anchor="t">
            <a:noAutofit/>
          </a:bodyPr>
          <a:lstStyle/>
          <a:p>
            <a:pPr marL="233201" marR="0" lvl="0" indent="-233201" algn="ctr" defTabSz="896203"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Release Management</a:t>
            </a:r>
          </a:p>
        </p:txBody>
      </p:sp>
      <p:sp>
        <p:nvSpPr>
          <p:cNvPr id="51" name="Rounded Rectangle 50"/>
          <p:cNvSpPr/>
          <p:nvPr userDrawn="1"/>
        </p:nvSpPr>
        <p:spPr>
          <a:xfrm>
            <a:off x="1788696" y="2089222"/>
            <a:ext cx="1483521" cy="1478932"/>
          </a:xfrm>
          <a:prstGeom prst="roundRect">
            <a:avLst>
              <a:gd name="adj" fmla="val 5783"/>
            </a:avLst>
          </a:prstGeom>
          <a:solidFill>
            <a:srgbClr val="0070C0"/>
          </a:solidFill>
          <a:ln w="28575" cap="flat" cmpd="sng" algn="ctr">
            <a:solidFill>
              <a:srgbClr val="FFFFFF"/>
            </a:solidFill>
            <a:prstDash val="solid"/>
          </a:ln>
          <a:effectLst/>
        </p:spPr>
        <p:txBody>
          <a:bodyPr rot="0" spcFirstLastPara="0" vertOverflow="overflow" horzOverflow="overflow" vert="horz" wrap="square" lIns="91379" tIns="91379" rIns="91379" bIns="91379" numCol="1" spcCol="0" rtlCol="0" fromWordArt="0" anchor="b" anchorCtr="0" forceAA="0" compatLnSpc="1">
            <a:prstTxWarp prst="textNoShape">
              <a:avLst/>
            </a:prstTxWarp>
            <a:noAutofit/>
          </a:bodyPr>
          <a:lstStyle/>
          <a:p>
            <a:pPr marL="0" marR="0" lvl="0" indent="0" algn="r" defTabSz="896203"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sp>
        <p:nvSpPr>
          <p:cNvPr id="52" name="Rounded Rectangle 51"/>
          <p:cNvSpPr/>
          <p:nvPr userDrawn="1"/>
        </p:nvSpPr>
        <p:spPr>
          <a:xfrm>
            <a:off x="4154444" y="2089222"/>
            <a:ext cx="1483521" cy="1478932"/>
          </a:xfrm>
          <a:prstGeom prst="roundRect">
            <a:avLst>
              <a:gd name="adj" fmla="val 5783"/>
            </a:avLst>
          </a:prstGeom>
          <a:solidFill>
            <a:srgbClr val="0070C0"/>
          </a:solidFill>
          <a:ln w="28575" cap="flat" cmpd="sng" algn="ctr">
            <a:solidFill>
              <a:srgbClr val="FFFFFF"/>
            </a:solidFill>
            <a:prstDash val="solid"/>
          </a:ln>
          <a:effectLst/>
        </p:spPr>
        <p:txBody>
          <a:bodyPr rot="0" spcFirstLastPara="0" vertOverflow="overflow" horzOverflow="overflow" vert="horz" wrap="square" lIns="91379" tIns="91379" rIns="91379" bIns="91379" numCol="1" spcCol="0" rtlCol="0" fromWordArt="0" anchor="b" anchorCtr="0" forceAA="0" compatLnSpc="1">
            <a:prstTxWarp prst="textNoShape">
              <a:avLst/>
            </a:prstTxWarp>
            <a:noAutofit/>
          </a:bodyPr>
          <a:lstStyle/>
          <a:p>
            <a:pPr marL="0" marR="0" lvl="0" indent="0" algn="r" defTabSz="896203"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sp>
        <p:nvSpPr>
          <p:cNvPr id="53" name="Rounded Rectangle 52"/>
          <p:cNvSpPr/>
          <p:nvPr userDrawn="1"/>
        </p:nvSpPr>
        <p:spPr>
          <a:xfrm>
            <a:off x="6520194" y="2089222"/>
            <a:ext cx="1483521" cy="1478932"/>
          </a:xfrm>
          <a:prstGeom prst="roundRect">
            <a:avLst>
              <a:gd name="adj" fmla="val 5783"/>
            </a:avLst>
          </a:prstGeom>
          <a:solidFill>
            <a:srgbClr val="0070C0"/>
          </a:solidFill>
          <a:ln w="28575" cap="flat" cmpd="sng" algn="ctr">
            <a:solidFill>
              <a:srgbClr val="FFFFFF"/>
            </a:solidFill>
            <a:prstDash val="solid"/>
          </a:ln>
          <a:effectLst/>
        </p:spPr>
        <p:txBody>
          <a:bodyPr rot="0" spcFirstLastPara="0" vertOverflow="overflow" horzOverflow="overflow" vert="horz" wrap="square" lIns="91379" tIns="91379" rIns="91379" bIns="91379" numCol="1" spcCol="0" rtlCol="0" fromWordArt="0" anchor="ctr" anchorCtr="0" forceAA="0" compatLnSpc="1">
            <a:prstTxWarp prst="textNoShape">
              <a:avLst/>
            </a:prstTxWarp>
            <a:noAutofit/>
          </a:bodyPr>
          <a:lstStyle/>
          <a:p>
            <a:pPr marL="0" marR="0" lvl="0" indent="0" algn="ctr" defTabSz="896203"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FFFFFF"/>
              </a:solidFill>
              <a:effectLst/>
              <a:uLnTx/>
              <a:uFillTx/>
              <a:latin typeface="Segoe UI"/>
              <a:ea typeface="+mn-ea"/>
              <a:cs typeface="+mn-cs"/>
            </a:endParaRPr>
          </a:p>
        </p:txBody>
      </p:sp>
      <p:sp>
        <p:nvSpPr>
          <p:cNvPr id="54" name="Bent Arrow 53"/>
          <p:cNvSpPr/>
          <p:nvPr userDrawn="1"/>
        </p:nvSpPr>
        <p:spPr>
          <a:xfrm rot="10800000">
            <a:off x="4094309" y="4000434"/>
            <a:ext cx="6118979" cy="1767158"/>
          </a:xfrm>
          <a:prstGeom prst="bentArrow">
            <a:avLst>
              <a:gd name="adj1" fmla="val 4873"/>
              <a:gd name="adj2" fmla="val 8600"/>
              <a:gd name="adj3" fmla="val 13322"/>
              <a:gd name="adj4" fmla="val 2947"/>
            </a:avLst>
          </a:prstGeom>
          <a:solidFill>
            <a:srgbClr val="00B0F0"/>
          </a:solidFill>
          <a:ln w="10795" cap="flat" cmpd="sng" algn="ctr">
            <a:noFill/>
            <a:prstDash val="solid"/>
          </a:ln>
          <a:effectLst/>
        </p:spPr>
        <p:txBody>
          <a:bodyPr rot="0" spcFirstLastPara="0" vertOverflow="overflow" horzOverflow="overflow" vert="horz" wrap="square" lIns="91379" tIns="91379" rIns="91379" bIns="91379" numCol="1" spcCol="0" rtlCol="0" fromWordArt="0" anchor="b" anchorCtr="0" forceAA="0" compatLnSpc="1">
            <a:prstTxWarp prst="textNoShape">
              <a:avLst/>
            </a:prstTxWarp>
            <a:noAutofit/>
          </a:bodyPr>
          <a:lstStyle/>
          <a:p>
            <a:pPr marL="0" marR="0" lvl="0" indent="0" algn="r" defTabSz="896203"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pic>
        <p:nvPicPr>
          <p:cNvPr id="55" name="Picture 54"/>
          <p:cNvPicPr>
            <a:picLocks noChangeAspect="1"/>
          </p:cNvPicPr>
          <p:nvPr userDrawn="1"/>
        </p:nvPicPr>
        <p:blipFill>
          <a:blip r:embed="rId2"/>
          <a:stretch>
            <a:fillRect/>
          </a:stretch>
        </p:blipFill>
        <p:spPr>
          <a:xfrm>
            <a:off x="6119210" y="4630397"/>
            <a:ext cx="2069175" cy="1506589"/>
          </a:xfrm>
          <a:prstGeom prst="rect">
            <a:avLst/>
          </a:prstGeom>
        </p:spPr>
      </p:pic>
      <p:pic>
        <p:nvPicPr>
          <p:cNvPr id="56" name="Picture 55"/>
          <p:cNvPicPr>
            <a:picLocks noChangeAspect="1"/>
          </p:cNvPicPr>
          <p:nvPr userDrawn="1"/>
        </p:nvPicPr>
        <p:blipFill>
          <a:blip r:embed="rId3"/>
          <a:stretch>
            <a:fillRect/>
          </a:stretch>
        </p:blipFill>
        <p:spPr>
          <a:xfrm>
            <a:off x="4330776" y="2351457"/>
            <a:ext cx="1130303" cy="944398"/>
          </a:xfrm>
          <a:prstGeom prst="rect">
            <a:avLst/>
          </a:prstGeom>
        </p:spPr>
      </p:pic>
      <p:grpSp>
        <p:nvGrpSpPr>
          <p:cNvPr id="57" name="Group 56"/>
          <p:cNvGrpSpPr/>
          <p:nvPr userDrawn="1"/>
        </p:nvGrpSpPr>
        <p:grpSpPr>
          <a:xfrm>
            <a:off x="1859640" y="2405016"/>
            <a:ext cx="1026002" cy="1115670"/>
            <a:chOff x="1523922" y="2094289"/>
            <a:chExt cx="1106696" cy="1207151"/>
          </a:xfrm>
        </p:grpSpPr>
        <p:pic>
          <p:nvPicPr>
            <p:cNvPr id="58" name="Picture 57"/>
            <p:cNvPicPr>
              <a:picLocks noChangeAspect="1"/>
            </p:cNvPicPr>
            <p:nvPr/>
          </p:nvPicPr>
          <p:blipFill>
            <a:blip r:embed="rId4"/>
            <a:stretch>
              <a:fillRect/>
            </a:stretch>
          </p:blipFill>
          <p:spPr>
            <a:xfrm>
              <a:off x="1523922" y="2666999"/>
              <a:ext cx="455690" cy="634441"/>
            </a:xfrm>
            <a:prstGeom prst="rect">
              <a:avLst/>
            </a:prstGeom>
          </p:spPr>
        </p:pic>
        <p:pic>
          <p:nvPicPr>
            <p:cNvPr id="59" name="Picture 58"/>
            <p:cNvPicPr>
              <a:picLocks noChangeAspect="1"/>
            </p:cNvPicPr>
            <p:nvPr/>
          </p:nvPicPr>
          <p:blipFill>
            <a:blip r:embed="rId5"/>
            <a:stretch>
              <a:fillRect/>
            </a:stretch>
          </p:blipFill>
          <p:spPr>
            <a:xfrm>
              <a:off x="1903412" y="2094289"/>
              <a:ext cx="727206" cy="725111"/>
            </a:xfrm>
            <a:prstGeom prst="rect">
              <a:avLst/>
            </a:prstGeom>
          </p:spPr>
        </p:pic>
      </p:grpSp>
      <p:sp>
        <p:nvSpPr>
          <p:cNvPr id="60" name="TextBox 59"/>
          <p:cNvSpPr txBox="1"/>
          <p:nvPr userDrawn="1"/>
        </p:nvSpPr>
        <p:spPr>
          <a:xfrm>
            <a:off x="5617915" y="6136987"/>
            <a:ext cx="3288075" cy="661365"/>
          </a:xfrm>
          <a:prstGeom prst="rect">
            <a:avLst/>
          </a:prstGeom>
        </p:spPr>
        <p:txBody>
          <a:bodyPr vert="horz" wrap="square" lIns="91379" tIns="91379" rIns="91379" bIns="91379" rtlCol="0" anchor="t">
            <a:noAutofit/>
          </a:bodyPr>
          <a:lstStyle/>
          <a:p>
            <a:pPr marL="0" marR="0" lvl="0" indent="0" algn="ctr" defTabSz="896203"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Application Insights and Hockey App</a:t>
            </a:r>
          </a:p>
        </p:txBody>
      </p:sp>
      <p:pic>
        <p:nvPicPr>
          <p:cNvPr id="62" name="Picture 61"/>
          <p:cNvPicPr>
            <a:picLocks noChangeAspect="1"/>
          </p:cNvPicPr>
          <p:nvPr userDrawn="1"/>
        </p:nvPicPr>
        <p:blipFill>
          <a:blip r:embed="rId6"/>
          <a:stretch>
            <a:fillRect/>
          </a:stretch>
        </p:blipFill>
        <p:spPr>
          <a:xfrm>
            <a:off x="9123336" y="3879260"/>
            <a:ext cx="1914086" cy="1183929"/>
          </a:xfrm>
          <a:prstGeom prst="rect">
            <a:avLst/>
          </a:prstGeom>
        </p:spPr>
      </p:pic>
      <p:sp>
        <p:nvSpPr>
          <p:cNvPr id="63" name="Rounded Rectangle 62"/>
          <p:cNvSpPr/>
          <p:nvPr userDrawn="1"/>
        </p:nvSpPr>
        <p:spPr>
          <a:xfrm>
            <a:off x="9118014" y="2089222"/>
            <a:ext cx="1483521" cy="1478932"/>
          </a:xfrm>
          <a:prstGeom prst="roundRect">
            <a:avLst>
              <a:gd name="adj" fmla="val 5783"/>
            </a:avLst>
          </a:prstGeom>
          <a:solidFill>
            <a:srgbClr val="0070C0"/>
          </a:solidFill>
          <a:ln w="28575" cap="flat" cmpd="sng" algn="ctr">
            <a:solidFill>
              <a:srgbClr val="FFFFFF"/>
            </a:solidFill>
            <a:prstDash val="solid"/>
          </a:ln>
          <a:effectLst/>
        </p:spPr>
        <p:txBody>
          <a:bodyPr rot="0" spcFirstLastPara="0" vertOverflow="overflow" horzOverflow="overflow" vert="horz" wrap="square" lIns="91379" tIns="91379" rIns="91379" bIns="91379" numCol="1" spcCol="0" rtlCol="0" fromWordArt="0" anchor="b" anchorCtr="0" forceAA="0" compatLnSpc="1">
            <a:prstTxWarp prst="textNoShape">
              <a:avLst/>
            </a:prstTxWarp>
            <a:noAutofit/>
          </a:bodyPr>
          <a:lstStyle/>
          <a:p>
            <a:pPr marL="0" marR="0" lvl="0" indent="0" algn="r" defTabSz="896203"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sp>
        <p:nvSpPr>
          <p:cNvPr id="64" name="TextBox 63"/>
          <p:cNvSpPr txBox="1"/>
          <p:nvPr userDrawn="1"/>
        </p:nvSpPr>
        <p:spPr>
          <a:xfrm>
            <a:off x="9557627" y="4280217"/>
            <a:ext cx="1123135" cy="615609"/>
          </a:xfrm>
          <a:prstGeom prst="rect">
            <a:avLst/>
          </a:prstGeom>
          <a:noFill/>
        </p:spPr>
        <p:txBody>
          <a:bodyPr wrap="none" lIns="179238" tIns="143391" rIns="179238" bIns="143391" rtlCol="0">
            <a:spAutoFit/>
          </a:bodyPr>
          <a:lstStyle/>
          <a:p>
            <a:pPr>
              <a:lnSpc>
                <a:spcPct val="90000"/>
              </a:lnSpc>
              <a:spcAft>
                <a:spcPts val="588"/>
              </a:spcAft>
            </a:pPr>
            <a:r>
              <a:rPr lang="en-US" sz="2352" dirty="0">
                <a:solidFill>
                  <a:srgbClr val="00B0F0"/>
                </a:solidFill>
              </a:rPr>
              <a:t>Azure</a:t>
            </a:r>
          </a:p>
        </p:txBody>
      </p:sp>
      <p:pic>
        <p:nvPicPr>
          <p:cNvPr id="65" name="Picture 64"/>
          <p:cNvPicPr>
            <a:picLocks noChangeAspect="1"/>
          </p:cNvPicPr>
          <p:nvPr userDrawn="1"/>
        </p:nvPicPr>
        <p:blipFill>
          <a:blip r:embed="rId7"/>
          <a:stretch>
            <a:fillRect/>
          </a:stretch>
        </p:blipFill>
        <p:spPr>
          <a:xfrm>
            <a:off x="9467663" y="2490819"/>
            <a:ext cx="784219" cy="610442"/>
          </a:xfrm>
          <a:prstGeom prst="rect">
            <a:avLst/>
          </a:prstGeom>
        </p:spPr>
      </p:pic>
      <p:cxnSp>
        <p:nvCxnSpPr>
          <p:cNvPr id="66" name="Straight Arrow Connector 65"/>
          <p:cNvCxnSpPr/>
          <p:nvPr userDrawn="1"/>
        </p:nvCxnSpPr>
        <p:spPr>
          <a:xfrm flipV="1">
            <a:off x="2522173" y="3768321"/>
            <a:ext cx="0" cy="1482550"/>
          </a:xfrm>
          <a:prstGeom prst="straightConnector1">
            <a:avLst/>
          </a:prstGeom>
          <a:ln>
            <a:solidFill>
              <a:schemeClr val="tx1"/>
            </a:solidFill>
            <a:headEnd type="oval"/>
            <a:tailEnd type="triangle"/>
          </a:ln>
        </p:spPr>
        <p:style>
          <a:lnRef idx="1">
            <a:schemeClr val="accent1"/>
          </a:lnRef>
          <a:fillRef idx="0">
            <a:schemeClr val="accent1"/>
          </a:fillRef>
          <a:effectRef idx="0">
            <a:schemeClr val="accent1"/>
          </a:effectRef>
          <a:fontRef idx="minor">
            <a:schemeClr val="tx1"/>
          </a:fontRef>
        </p:style>
      </p:cxnSp>
      <p:pic>
        <p:nvPicPr>
          <p:cNvPr id="70" name="Picture 69"/>
          <p:cNvPicPr>
            <a:picLocks noChangeAspect="1"/>
          </p:cNvPicPr>
          <p:nvPr userDrawn="1"/>
        </p:nvPicPr>
        <p:blipFill>
          <a:blip r:embed="rId8"/>
          <a:stretch>
            <a:fillRect/>
          </a:stretch>
        </p:blipFill>
        <p:spPr>
          <a:xfrm>
            <a:off x="6752968" y="2332080"/>
            <a:ext cx="984697" cy="983152"/>
          </a:xfrm>
          <a:prstGeom prst="rect">
            <a:avLst/>
          </a:prstGeom>
        </p:spPr>
      </p:pic>
      <p:pic>
        <p:nvPicPr>
          <p:cNvPr id="28" name="Picture 27"/>
          <p:cNvPicPr>
            <a:picLocks noChangeAspect="1"/>
          </p:cNvPicPr>
          <p:nvPr userDrawn="1"/>
        </p:nvPicPr>
        <p:blipFill>
          <a:blip r:embed="rId9"/>
          <a:stretch>
            <a:fillRect/>
          </a:stretch>
        </p:blipFill>
        <p:spPr>
          <a:xfrm>
            <a:off x="1140209" y="5174412"/>
            <a:ext cx="2747093" cy="1772843"/>
          </a:xfrm>
          <a:prstGeom prst="rect">
            <a:avLst/>
          </a:prstGeom>
        </p:spPr>
      </p:pic>
    </p:spTree>
    <p:extLst>
      <p:ext uri="{BB962C8B-B14F-4D97-AF65-F5344CB8AC3E}">
        <p14:creationId xmlns:p14="http://schemas.microsoft.com/office/powerpoint/2010/main" val="1011282909"/>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170" y="1186356"/>
            <a:ext cx="9856549" cy="2139432"/>
          </a:xfrm>
          <a:noFill/>
        </p:spPr>
        <p:txBody>
          <a:bodyPr anchorCtr="0">
            <a:spAutoFit/>
          </a:bodyPr>
          <a:lstStyle>
            <a:lvl1pPr>
              <a:defRPr sz="7057" spc="-98" baseline="0">
                <a:gradFill>
                  <a:gsLst>
                    <a:gs pos="0">
                      <a:schemeClr val="tx1"/>
                    </a:gs>
                    <a:gs pos="10000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69170" y="3877276"/>
            <a:ext cx="9858106" cy="778565"/>
          </a:xfrm>
          <a:noFill/>
        </p:spPr>
        <p:txBody>
          <a:bodyPr lIns="182880" tIns="146304" rIns="182880" bIns="146304"/>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3140877350"/>
      </p:ext>
    </p:extLst>
  </p:cSld>
  <p:clrMapOvr>
    <a:masterClrMapping/>
  </p:clrMapOvr>
  <p:transition spd="slow"/>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170" y="1186356"/>
            <a:ext cx="9856549" cy="2139432"/>
          </a:xfrm>
          <a:noFill/>
        </p:spPr>
        <p:txBody>
          <a:bodyPr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33547387"/>
      </p:ext>
    </p:extLst>
  </p:cSld>
  <p:clrMapOvr>
    <a:masterClrMapping/>
  </p:clrMapOvr>
  <p:transition spd="slow"/>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p:nvPr>
        </p:nvSpPr>
        <p:spPr>
          <a:xfrm>
            <a:off x="269169" y="2084172"/>
            <a:ext cx="11650488" cy="1158793"/>
          </a:xfrm>
          <a:noFill/>
        </p:spPr>
        <p:txBody>
          <a:bodyPr anchorCtr="0">
            <a:spAutoFit/>
          </a:bodyPr>
          <a:lstStyle>
            <a:lvl1pPr>
              <a:defRPr sz="7057"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895220404"/>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169" y="2084172"/>
            <a:ext cx="11650488" cy="1158793"/>
          </a:xfrm>
          <a:noFill/>
        </p:spPr>
        <p:txBody>
          <a:bodyPr anchorCtr="0">
            <a:spAutoFit/>
          </a:bodyPr>
          <a:lstStyle>
            <a:lvl1pPr>
              <a:defRPr sz="7057"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90663203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467" y="2970213"/>
            <a:ext cx="10083890" cy="917575"/>
          </a:xfrm>
          <a:prstGeom prst="rect">
            <a:avLst/>
          </a:prstGeom>
        </p:spPr>
        <p:txBody>
          <a:bodyPr/>
          <a:lstStyle>
            <a:lvl1pPr algn="ctr">
              <a:defRPr sz="6000">
                <a:solidFill>
                  <a:srgbClr val="92D050"/>
                </a:solidFill>
              </a:defRPr>
            </a:lvl1pPr>
          </a:lstStyle>
          <a:p>
            <a:r>
              <a:rPr lang="en-US" sz="5400" dirty="0">
                <a:solidFill>
                  <a:srgbClr val="92D050"/>
                </a:solidFill>
              </a:rPr>
              <a:t>Demo</a:t>
            </a:r>
            <a:endParaRPr lang="en-US" dirty="0">
              <a:solidFill>
                <a:schemeClr val="bg2"/>
              </a:solidFill>
            </a:endParaRPr>
          </a:p>
        </p:txBody>
      </p:sp>
      <p:pic>
        <p:nvPicPr>
          <p:cNvPr id="4" name="Picture 3"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2196661251"/>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169" y="2084172"/>
            <a:ext cx="11650488" cy="1158793"/>
          </a:xfrm>
          <a:noFill/>
        </p:spPr>
        <p:txBody>
          <a:bodyPr anchorCtr="0">
            <a:spAutoFit/>
          </a:bodyPr>
          <a:lstStyle>
            <a:lvl1pPr>
              <a:defRPr sz="7057"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358531315"/>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169" y="2084172"/>
            <a:ext cx="11650488" cy="1158793"/>
          </a:xfrm>
          <a:noFill/>
        </p:spPr>
        <p:txBody>
          <a:bodyPr anchorCtr="0">
            <a:spAutoFit/>
          </a:bodyPr>
          <a:lstStyle>
            <a:lvl1pPr>
              <a:defRPr sz="7057"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432675838"/>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269171" y="1217195"/>
            <a:ext cx="5377147" cy="2872518"/>
          </a:xfrm>
        </p:spPr>
        <p:txBody>
          <a:bodyPr>
            <a:spAutoFit/>
          </a:bodyPr>
          <a:lstStyle>
            <a:lvl1pPr>
              <a:defRPr sz="646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Picture Placeholder 4"/>
          <p:cNvSpPr>
            <a:spLocks noGrp="1"/>
          </p:cNvSpPr>
          <p:nvPr>
            <p:ph type="pic" sz="quarter" idx="10"/>
          </p:nvPr>
        </p:nvSpPr>
        <p:spPr bwMode="ltGray">
          <a:xfrm>
            <a:off x="6095968" y="0"/>
            <a:ext cx="6092857"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pPr lvl="0"/>
            <a:r>
              <a:rPr lang="en-US" noProof="0" dirty="0"/>
              <a:t>Click icon to add picture</a:t>
            </a:r>
          </a:p>
        </p:txBody>
      </p:sp>
    </p:spTree>
    <p:extLst>
      <p:ext uri="{BB962C8B-B14F-4D97-AF65-F5344CB8AC3E}">
        <p14:creationId xmlns:p14="http://schemas.microsoft.com/office/powerpoint/2010/main" val="436065739"/>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1299511"/>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8644285"/>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8458630"/>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8585789"/>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4" name="Rectangle 3"/>
          <p:cNvSpPr/>
          <p:nvPr userDrawn="1"/>
        </p:nvSpPr>
        <p:spPr bwMode="hidden">
          <a:xfrm>
            <a:off x="0" y="1189177"/>
            <a:ext cx="12188825" cy="566882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710" tIns="45710" rIns="45710" bIns="45710" anchor="ctr"/>
          <a:lstStyle/>
          <a:p>
            <a:pPr algn="ctr" defTabSz="913916" eaLnBrk="1" hangingPunct="1">
              <a:defRPr/>
            </a:pPr>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5" name="Text Placeholder 4"/>
          <p:cNvSpPr>
            <a:spLocks noGrp="1"/>
          </p:cNvSpPr>
          <p:nvPr>
            <p:ph type="body" sz="quarter" idx="10"/>
          </p:nvPr>
        </p:nvSpPr>
        <p:spPr>
          <a:xfrm>
            <a:off x="269169" y="1197322"/>
            <a:ext cx="11650487"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5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6139521"/>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169" y="6171616"/>
            <a:ext cx="11650487" cy="395317"/>
          </a:xfrm>
          <a:prstGeom prst="rect">
            <a:avLst/>
          </a:prstGeom>
          <a:noFill/>
          <a:ln w="12700">
            <a:noFill/>
            <a:miter lim="800000"/>
            <a:headEnd type="none" w="sm" len="sm"/>
            <a:tailEnd type="none" w="sm" len="sm"/>
          </a:ln>
          <a:effectLst/>
        </p:spPr>
        <p:txBody>
          <a:bodyPr lIns="179238" tIns="143391" rIns="179238" bIns="143391">
            <a:spAutoFit/>
          </a:bodyPr>
          <a:lstStyle/>
          <a:p>
            <a:pPr defTabSz="913737" fontAlgn="auto">
              <a:spcBef>
                <a:spcPts val="0"/>
              </a:spcBef>
              <a:spcAft>
                <a:spcPts val="0"/>
              </a:spcAft>
              <a:defRPr/>
            </a:pPr>
            <a:r>
              <a:rPr lang="en-US" sz="686" dirty="0">
                <a:gradFill>
                  <a:gsLst>
                    <a:gs pos="0">
                      <a:schemeClr val="tx1"/>
                    </a:gs>
                    <a:gs pos="100000">
                      <a:schemeClr val="tx1"/>
                    </a:gs>
                  </a:gsLst>
                  <a:lin ang="5400000" scaled="0"/>
                </a:gradFill>
                <a:latin typeface="+mn-lt"/>
                <a:ea typeface="+mn-ea"/>
                <a:cs typeface="Segoe UI" pitchFamily="34" charset="0"/>
              </a:rPr>
              <a:t>© 2015 Microsoft Corporation. All rights reserved. </a:t>
            </a:r>
          </a:p>
        </p:txBody>
      </p:sp>
      <p:pic>
        <p:nvPicPr>
          <p:cNvPr id="3" name="Picture 5"/>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449652" y="3083454"/>
            <a:ext cx="3223800" cy="691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0786055"/>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bwMode="white">
          <a:xfrm>
            <a:off x="269169" y="1189177"/>
            <a:ext cx="11650488" cy="2396047"/>
          </a:xfrm>
          <a:prstGeom prst="rect">
            <a:avLst/>
          </a:prstGeom>
        </p:spPr>
        <p:txBody>
          <a:bodyPr/>
          <a:lstStyle>
            <a:lvl1pPr marL="284732" indent="-284732">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1" y="6238876"/>
            <a:ext cx="12188826" cy="619125"/>
          </a:xfrm>
          <a:prstGeom prst="rect">
            <a:avLst/>
          </a:prstGeom>
          <a:solidFill>
            <a:srgbClr val="FFFF99"/>
          </a:solidFill>
        </p:spPr>
        <p:txBody>
          <a:bodyPr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Click to edit Master text styles</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825915830"/>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2635538948"/>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6139"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6" name="Presenter"/>
          <p:cNvSpPr txBox="1">
            <a:spLocks/>
          </p:cNvSpPr>
          <p:nvPr/>
        </p:nvSpPr>
        <p:spPr>
          <a:xfrm>
            <a:off x="6340563" y="5233034"/>
            <a:ext cx="5668478" cy="1095241"/>
          </a:xfrm>
          <a:prstGeom prst="rect">
            <a:avLst/>
          </a:prstGeom>
        </p:spPr>
        <p:txBody>
          <a:bodyPr vert="horz" wrap="square" lIns="228540" tIns="91376" rIns="146202" bIns="91376"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283">
              <a:lnSpc>
                <a:spcPts val="2999"/>
              </a:lnSpc>
              <a:spcBef>
                <a:spcPts val="0"/>
              </a:spcBef>
              <a:spcAft>
                <a:spcPts val="1199"/>
              </a:spcAft>
              <a:defRPr/>
            </a:pPr>
            <a:r>
              <a:rPr sz="2199" dirty="0">
                <a:solidFill>
                  <a:srgbClr val="FFFFFF"/>
                </a:solidFill>
              </a:rPr>
              <a:t>Presenter</a:t>
            </a:r>
          </a:p>
        </p:txBody>
      </p:sp>
      <p:sp>
        <p:nvSpPr>
          <p:cNvPr id="10" name="Title"/>
          <p:cNvSpPr>
            <a:spLocks noGrp="1"/>
          </p:cNvSpPr>
          <p:nvPr>
            <p:ph type="title" hasCustomPrompt="1"/>
          </p:nvPr>
        </p:nvSpPr>
        <p:spPr>
          <a:xfrm>
            <a:off x="6362423" y="4263385"/>
            <a:ext cx="5826403" cy="899665"/>
          </a:xfrm>
          <a:prstGeom prst="rect">
            <a:avLst/>
          </a:prstGeom>
        </p:spPr>
        <p:txBody>
          <a:bodyPr/>
          <a:lstStyle>
            <a:lvl1pPr>
              <a:defRPr lang="en-US" sz="5398"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1123814776"/>
      </p:ext>
    </p:extLst>
  </p:cSld>
  <p:clrMapOvr>
    <a:masterClrMapping/>
  </p:clrMapOvr>
  <p:transition>
    <p:fade/>
  </p:transition>
  <p:hf hdr="0" ftr="0" dt="0"/>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6139"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10" name="Title"/>
          <p:cNvSpPr>
            <a:spLocks noGrp="1"/>
          </p:cNvSpPr>
          <p:nvPr>
            <p:ph type="title" hasCustomPrompt="1"/>
          </p:nvPr>
        </p:nvSpPr>
        <p:spPr>
          <a:xfrm>
            <a:off x="6362423" y="4263385"/>
            <a:ext cx="5826403" cy="899665"/>
          </a:xfrm>
          <a:prstGeom prst="rect">
            <a:avLst/>
          </a:prstGeom>
        </p:spPr>
        <p:txBody>
          <a:bodyPr/>
          <a:lstStyle>
            <a:lvl1pPr>
              <a:defRPr lang="en-US" sz="5398"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3535585431"/>
      </p:ext>
    </p:extLst>
  </p:cSld>
  <p:clrMapOvr>
    <a:masterClrMapping/>
  </p:clrMapOvr>
  <p:transition>
    <p:fade/>
  </p:transition>
  <p:hf hdr="0" ftr="0" dt="0"/>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9" name="Title"/>
          <p:cNvSpPr>
            <a:spLocks noGrp="1"/>
          </p:cNvSpPr>
          <p:nvPr>
            <p:ph type="title" hasCustomPrompt="1"/>
          </p:nvPr>
        </p:nvSpPr>
        <p:spPr>
          <a:xfrm>
            <a:off x="0" y="2194769"/>
            <a:ext cx="12188826" cy="1081833"/>
          </a:xfrm>
          <a:prstGeom prst="rect">
            <a:avLst/>
          </a:prstGeom>
        </p:spPr>
        <p:txBody>
          <a:bodyPr/>
          <a:lstStyle>
            <a:lvl1pPr algn="ctr">
              <a:defRPr lang="en-US" sz="5398"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588" y="3276600"/>
            <a:ext cx="12188825" cy="990600"/>
          </a:xfrm>
          <a:prstGeom prst="rect">
            <a:avLst/>
          </a:prstGeom>
        </p:spPr>
        <p:txBody>
          <a:bodyPr/>
          <a:lstStyle>
            <a:lvl1pPr marL="0" indent="0" algn="ctr">
              <a:buNone/>
              <a:defRPr lang="en-US" sz="2199" b="0" kern="1200" cap="none" spc="-102"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2006352561"/>
      </p:ext>
    </p:extLst>
  </p:cSld>
  <p:clrMapOvr>
    <a:masterClrMapping/>
  </p:clrMapOvr>
  <p:transition>
    <p:fade/>
  </p:transition>
  <p:hf hdr="0" ftr="0" dt="0"/>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265" y="2709522"/>
            <a:ext cx="10719432" cy="1266359"/>
          </a:xfrm>
          <a:prstGeom prst="rect">
            <a:avLst/>
          </a:prstGeom>
        </p:spPr>
        <p:txBody>
          <a:bodyPr>
            <a:noAutofit/>
          </a:bodyPr>
          <a:lstStyle>
            <a:lvl1pPr algn="ctr">
              <a:defRPr sz="7998"/>
            </a:lvl1pPr>
          </a:lstStyle>
          <a:p>
            <a:pPr algn="ctr"/>
            <a:r>
              <a:rPr lang="en-US" sz="7996" dirty="0"/>
              <a:t>Statement</a:t>
            </a:r>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Tree>
    <p:extLst>
      <p:ext uri="{BB962C8B-B14F-4D97-AF65-F5344CB8AC3E}">
        <p14:creationId xmlns:p14="http://schemas.microsoft.com/office/powerpoint/2010/main" val="1352987210"/>
      </p:ext>
    </p:extLst>
  </p:cSld>
  <p:clrMapOvr>
    <a:masterClrMapping/>
  </p:clrMapOvr>
  <p:transition>
    <p:fade/>
  </p:transition>
  <p:hf hdr="0" ftr="0" dt="0"/>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Tree>
    <p:extLst>
      <p:ext uri="{BB962C8B-B14F-4D97-AF65-F5344CB8AC3E}">
        <p14:creationId xmlns:p14="http://schemas.microsoft.com/office/powerpoint/2010/main" val="3833677875"/>
      </p:ext>
    </p:extLst>
  </p:cSld>
  <p:clrMapOvr>
    <a:masterClrMapping/>
  </p:clrMapOvr>
  <p:transition>
    <p:fade/>
  </p:transition>
  <p:hf hdr="0" ftr="0" dt="0"/>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Tree>
    <p:extLst>
      <p:ext uri="{BB962C8B-B14F-4D97-AF65-F5344CB8AC3E}">
        <p14:creationId xmlns:p14="http://schemas.microsoft.com/office/powerpoint/2010/main" val="1078478132"/>
      </p:ext>
    </p:extLst>
  </p:cSld>
  <p:clrMapOvr>
    <a:masterClrMapping/>
  </p:clrMapOvr>
  <p:transition>
    <p:fade/>
  </p:transition>
  <p:hf hdr="0" ftr="0" dt="0"/>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4946" y="6474574"/>
            <a:ext cx="1157198"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Tree>
    <p:extLst>
      <p:ext uri="{BB962C8B-B14F-4D97-AF65-F5344CB8AC3E}">
        <p14:creationId xmlns:p14="http://schemas.microsoft.com/office/powerpoint/2010/main" val="870797666"/>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644929167"/>
      </p:ext>
    </p:extLst>
  </p:cSld>
  <p:clrMapOvr>
    <a:masterClrMapping/>
  </p:clrMapOvr>
  <p:transition>
    <p:fade/>
  </p:transition>
  <p:hf hdr="0" ftr="0" dt="0"/>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3794833654"/>
      </p:ext>
    </p:extLst>
  </p:cSld>
  <p:clrMapOvr>
    <a:masterClrMapping/>
  </p:clrMapOvr>
  <p:transition>
    <p:fade/>
  </p:transition>
  <p:hf hdr="0" ftr="0" dt="0"/>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2172296228"/>
      </p:ext>
    </p:extLst>
  </p:cSld>
  <p:clrMapOvr>
    <a:masterClrMapping/>
  </p:clrMapOvr>
  <p:transition>
    <p:fade/>
  </p:transition>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Tree>
    <p:extLst>
      <p:ext uri="{BB962C8B-B14F-4D97-AF65-F5344CB8AC3E}">
        <p14:creationId xmlns:p14="http://schemas.microsoft.com/office/powerpoint/2010/main" val="2324024232"/>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4946" y="6474574"/>
            <a:ext cx="1157198"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12" name="Body"/>
          <p:cNvSpPr>
            <a:spLocks noGrp="1"/>
          </p:cNvSpPr>
          <p:nvPr>
            <p:ph type="body" sz="quarter" idx="11"/>
          </p:nvPr>
        </p:nvSpPr>
        <p:spPr>
          <a:xfrm>
            <a:off x="373888" y="4824405"/>
            <a:ext cx="6748272" cy="1139825"/>
          </a:xfrm>
          <a:prstGeom prst="rect">
            <a:avLst/>
          </a:prstGeom>
        </p:spPr>
        <p:txBody>
          <a:bodyPr/>
          <a:lstStyle>
            <a:lvl1pPr>
              <a:buClr>
                <a:schemeClr val="tx2"/>
              </a:buClr>
              <a:defRPr lang="en-US" sz="1999" kern="1200" spc="0" baseline="0" dirty="0" smtClean="0">
                <a:solidFill>
                  <a:srgbClr val="0072C6"/>
                </a:solidFill>
                <a:latin typeface="Segoe UI Light" panose="020B0502040204020203" pitchFamily="34" charset="0"/>
                <a:ea typeface="+mn-ea"/>
                <a:cs typeface="+mn-cs"/>
              </a:defRPr>
            </a:lvl1pPr>
            <a:lvl2pPr>
              <a:buClr>
                <a:schemeClr val="tx2"/>
              </a:buClr>
              <a:defRPr lang="en-US" sz="1999" kern="1200" spc="0" baseline="0" dirty="0" smtClean="0">
                <a:solidFill>
                  <a:srgbClr val="0072C6"/>
                </a:solidFill>
                <a:latin typeface="Segoe UI Light" panose="020B0502040204020203" pitchFamily="34" charset="0"/>
                <a:ea typeface="+mn-ea"/>
                <a:cs typeface="+mn-cs"/>
              </a:defRPr>
            </a:lvl2pPr>
            <a:lvl3pPr>
              <a:buClr>
                <a:schemeClr val="tx2"/>
              </a:buClr>
              <a:defRPr lang="en-US" sz="1999" kern="1200" spc="0" baseline="0" dirty="0" smtClean="0">
                <a:solidFill>
                  <a:srgbClr val="0072C6"/>
                </a:solidFill>
                <a:latin typeface="Segoe UI Light" panose="020B0502040204020203" pitchFamily="34" charset="0"/>
                <a:ea typeface="+mn-ea"/>
                <a:cs typeface="+mn-cs"/>
              </a:defRPr>
            </a:lvl3pPr>
            <a:lvl4pPr>
              <a:buClr>
                <a:schemeClr val="tx2"/>
              </a:buClr>
              <a:defRPr lang="en-US" sz="1999" kern="1200" spc="0" baseline="0" dirty="0" smtClean="0">
                <a:solidFill>
                  <a:srgbClr val="0072C6"/>
                </a:solidFill>
                <a:latin typeface="Segoe UI Light" panose="020B0502040204020203" pitchFamily="34" charset="0"/>
                <a:ea typeface="+mn-ea"/>
                <a:cs typeface="+mn-cs"/>
              </a:defRPr>
            </a:lvl4pPr>
            <a:lvl5pPr>
              <a:buClr>
                <a:schemeClr val="tx2"/>
              </a:buClr>
              <a:defRPr lang="en-US" sz="1999" kern="1200" spc="0" baseline="0" dirty="0" smtClean="0">
                <a:solidFill>
                  <a:srgbClr val="0072C6"/>
                </a:solidFill>
                <a:latin typeface="Segoe UI Light" panose="020B0502040204020203"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Subhead"/>
          <p:cNvSpPr>
            <a:spLocks noGrp="1"/>
          </p:cNvSpPr>
          <p:nvPr>
            <p:ph type="body" sz="quarter" idx="12" hasCustomPrompt="1"/>
          </p:nvPr>
        </p:nvSpPr>
        <p:spPr>
          <a:xfrm>
            <a:off x="374650" y="3873502"/>
            <a:ext cx="6746875" cy="950913"/>
          </a:xfrm>
          <a:prstGeom prst="rect">
            <a:avLst/>
          </a:prstGeom>
        </p:spPr>
        <p:txBody>
          <a:bodyPr/>
          <a:lstStyle>
            <a:lvl1pPr marL="0" indent="0">
              <a:buNone/>
              <a:defRPr>
                <a:solidFill>
                  <a:schemeClr val="tx2"/>
                </a:solidFill>
              </a:defRPr>
            </a:lvl1pPr>
            <a:lvl2pPr marL="335975" indent="0">
              <a:buNone/>
              <a:defRPr>
                <a:solidFill>
                  <a:schemeClr val="tx2"/>
                </a:solidFill>
              </a:defRPr>
            </a:lvl2pPr>
            <a:lvl3pPr marL="559959" indent="0">
              <a:buNone/>
              <a:defRPr>
                <a:solidFill>
                  <a:schemeClr val="tx2"/>
                </a:solidFill>
              </a:defRPr>
            </a:lvl3pPr>
            <a:lvl4pPr marL="783943" indent="0">
              <a:buNone/>
              <a:defRPr>
                <a:solidFill>
                  <a:schemeClr val="tx2"/>
                </a:solidFill>
              </a:defRPr>
            </a:lvl4pPr>
            <a:lvl5pPr marL="1007927"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641" y="930352"/>
            <a:ext cx="9973765" cy="917575"/>
          </a:xfrm>
          <a:prstGeom prst="rect">
            <a:avLst/>
          </a:prstGeom>
        </p:spPr>
        <p:txBody>
          <a:bodyPr/>
          <a:lstStyle/>
          <a:p>
            <a:r>
              <a:rPr lang="en-US" sz="4799">
                <a:solidFill>
                  <a:schemeClr val="bg1"/>
                </a:solidFill>
              </a:rPr>
              <a:t>Click to edit Master title style</a:t>
            </a:r>
            <a:endParaRPr lang="en-US" sz="4799" dirty="0">
              <a:solidFill>
                <a:schemeClr val="bg1"/>
              </a:solidFill>
            </a:endParaRPr>
          </a:p>
        </p:txBody>
      </p:sp>
    </p:spTree>
    <p:extLst>
      <p:ext uri="{BB962C8B-B14F-4D97-AF65-F5344CB8AC3E}">
        <p14:creationId xmlns:p14="http://schemas.microsoft.com/office/powerpoint/2010/main" val="3925129482"/>
      </p:ext>
    </p:extLst>
  </p:cSld>
  <p:clrMapOvr>
    <a:masterClrMapping/>
  </p:clrMapOvr>
  <p:transition>
    <p:fade/>
  </p:transition>
  <p:hf hdr="0" ftr="0" dt="0"/>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4946" y="6474574"/>
            <a:ext cx="1157198"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14" name="Subhead"/>
          <p:cNvSpPr>
            <a:spLocks noGrp="1"/>
          </p:cNvSpPr>
          <p:nvPr>
            <p:ph type="body" sz="quarter" idx="12" hasCustomPrompt="1"/>
          </p:nvPr>
        </p:nvSpPr>
        <p:spPr>
          <a:xfrm>
            <a:off x="374650" y="3873502"/>
            <a:ext cx="6746875" cy="950913"/>
          </a:xfrm>
          <a:prstGeom prst="rect">
            <a:avLst/>
          </a:prstGeom>
        </p:spPr>
        <p:txBody>
          <a:bodyPr/>
          <a:lstStyle>
            <a:lvl1pPr marL="0" indent="0">
              <a:buNone/>
              <a:defRPr>
                <a:solidFill>
                  <a:schemeClr val="tx2"/>
                </a:solidFill>
              </a:defRPr>
            </a:lvl1pPr>
            <a:lvl2pPr marL="335975" indent="0">
              <a:buNone/>
              <a:defRPr>
                <a:solidFill>
                  <a:schemeClr val="tx2"/>
                </a:solidFill>
              </a:defRPr>
            </a:lvl2pPr>
            <a:lvl3pPr marL="559959" indent="0">
              <a:buNone/>
              <a:defRPr>
                <a:solidFill>
                  <a:schemeClr val="tx2"/>
                </a:solidFill>
              </a:defRPr>
            </a:lvl3pPr>
            <a:lvl4pPr marL="783943" indent="0">
              <a:buNone/>
              <a:defRPr>
                <a:solidFill>
                  <a:schemeClr val="tx2"/>
                </a:solidFill>
              </a:defRPr>
            </a:lvl4pPr>
            <a:lvl5pPr marL="1007927"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641" y="930352"/>
            <a:ext cx="9973765" cy="917575"/>
          </a:xfrm>
          <a:prstGeom prst="rect">
            <a:avLst/>
          </a:prstGeom>
        </p:spPr>
        <p:txBody>
          <a:bodyPr/>
          <a:lstStyle/>
          <a:p>
            <a:r>
              <a:rPr lang="en-US" sz="4799">
                <a:solidFill>
                  <a:schemeClr val="bg1"/>
                </a:solidFill>
              </a:rPr>
              <a:t>Click to edit Master title style</a:t>
            </a:r>
            <a:endParaRPr lang="en-US" sz="4799"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spTree>
    <p:extLst>
      <p:ext uri="{BB962C8B-B14F-4D97-AF65-F5344CB8AC3E}">
        <p14:creationId xmlns:p14="http://schemas.microsoft.com/office/powerpoint/2010/main" val="4033918742"/>
      </p:ext>
    </p:extLst>
  </p:cSld>
  <p:clrMapOvr>
    <a:masterClrMapping/>
  </p:clrMapOvr>
  <p:transition>
    <p:fade/>
  </p:transition>
  <p:hf hdr="0" ftr="0" dt="0"/>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4946" y="6474574"/>
            <a:ext cx="1157198"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spTree>
    <p:extLst>
      <p:ext uri="{BB962C8B-B14F-4D97-AF65-F5344CB8AC3E}">
        <p14:creationId xmlns:p14="http://schemas.microsoft.com/office/powerpoint/2010/main" val="418064668"/>
      </p:ext>
    </p:extLst>
  </p:cSld>
  <p:clrMapOvr>
    <a:masterClrMapping/>
  </p:clrMapOvr>
  <p:transition>
    <p:fade/>
  </p:transition>
  <p:hf hdr="0" ftr="0" dt="0"/>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930352"/>
            <a:ext cx="9973765" cy="917575"/>
          </a:xfrm>
          <a:prstGeom prst="rect">
            <a:avLst/>
          </a:prstGeom>
        </p:spPr>
        <p:txBody>
          <a:bodyPr/>
          <a:lstStyle>
            <a:lvl1pPr>
              <a:defRPr>
                <a:solidFill>
                  <a:schemeClr val="tx2"/>
                </a:solidFill>
              </a:defRPr>
            </a:lvl1pPr>
          </a:lstStyle>
          <a:p>
            <a:r>
              <a:rPr lang="en-US" sz="4799">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640" y="2193928"/>
            <a:ext cx="9974262" cy="2719388"/>
          </a:xfrm>
          <a:prstGeom prst="rect">
            <a:avLst/>
          </a:prstGeom>
        </p:spPr>
        <p:txBody>
          <a:bodyPr/>
          <a:lstStyle>
            <a:lvl1pPr>
              <a:buClr>
                <a:schemeClr val="tx2"/>
              </a:buClr>
              <a:defRPr sz="1999">
                <a:solidFill>
                  <a:schemeClr val="tx2"/>
                </a:solidFill>
              </a:defRPr>
            </a:lvl1pPr>
            <a:lvl2pPr>
              <a:buClr>
                <a:schemeClr val="tx2"/>
              </a:buClr>
              <a:defRPr sz="1999">
                <a:solidFill>
                  <a:schemeClr val="tx2"/>
                </a:solidFill>
              </a:defRPr>
            </a:lvl2pPr>
            <a:lvl3pPr>
              <a:buClr>
                <a:schemeClr val="tx2"/>
              </a:buClr>
              <a:defRPr sz="1999">
                <a:solidFill>
                  <a:schemeClr val="tx2"/>
                </a:solidFill>
              </a:defRPr>
            </a:lvl3pPr>
            <a:lvl4pPr>
              <a:buClr>
                <a:schemeClr val="tx2"/>
              </a:buClr>
              <a:defRPr sz="1999">
                <a:solidFill>
                  <a:schemeClr val="tx2"/>
                </a:solidFill>
              </a:defRPr>
            </a:lvl4pPr>
            <a:lvl5pPr>
              <a:buClr>
                <a:schemeClr val="tx2"/>
              </a:buClr>
              <a:defRPr sz="1999">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1866362806"/>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930352"/>
            <a:ext cx="9973765" cy="917575"/>
          </a:xfrm>
          <a:prstGeom prst="rect">
            <a:avLst/>
          </a:prstGeom>
        </p:spPr>
        <p:txBody>
          <a:bodyPr/>
          <a:lstStyle>
            <a:lvl1pPr>
              <a:defRPr>
                <a:solidFill>
                  <a:schemeClr val="tx2"/>
                </a:solidFill>
              </a:defRPr>
            </a:lvl1pPr>
          </a:lstStyle>
          <a:p>
            <a:r>
              <a:rPr lang="en-US" sz="4799">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1967888129"/>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517956" y="5576548"/>
            <a:ext cx="8066963" cy="917575"/>
          </a:xfrm>
          <a:prstGeom prst="rect">
            <a:avLst/>
          </a:prstGeom>
        </p:spPr>
        <p:txBody>
          <a:bodyPr/>
          <a:lstStyle>
            <a:lvl1pPr>
              <a:defRPr>
                <a:solidFill>
                  <a:schemeClr val="bg1"/>
                </a:solidFill>
              </a:defRPr>
            </a:lvl1pPr>
          </a:lstStyle>
          <a:p>
            <a:r>
              <a:rPr lang="en-US" sz="4799">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1668700835"/>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2774826799"/>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2"/>
            <a:ext cx="2847972" cy="917575"/>
          </a:xfrm>
          <a:prstGeom prst="rect">
            <a:avLst/>
          </a:prstGeom>
        </p:spPr>
        <p:txBody>
          <a:bodyPr/>
          <a:lstStyle>
            <a:lvl1pPr>
              <a:defRPr>
                <a:solidFill>
                  <a:schemeClr val="tx2"/>
                </a:solidFill>
              </a:defRPr>
            </a:lvl1pPr>
          </a:lstStyle>
          <a:p>
            <a:r>
              <a:rPr lang="en-US" sz="4799">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7254" y="684718"/>
            <a:ext cx="8623270" cy="4420683"/>
          </a:xfrm>
          <a:prstGeom prst="rect">
            <a:avLst/>
          </a:prstGeom>
        </p:spPr>
        <p:txBody>
          <a:bodyPr/>
          <a:lstStyle>
            <a:lvl1pPr>
              <a:buClr>
                <a:schemeClr val="tx2"/>
              </a:buClr>
              <a:defRPr sz="1999">
                <a:solidFill>
                  <a:schemeClr val="tx2"/>
                </a:solidFill>
              </a:defRPr>
            </a:lvl1pPr>
            <a:lvl2pPr>
              <a:buClr>
                <a:schemeClr val="tx2"/>
              </a:buClr>
              <a:defRPr sz="1999">
                <a:solidFill>
                  <a:schemeClr val="tx2"/>
                </a:solidFill>
              </a:defRPr>
            </a:lvl2pPr>
            <a:lvl3pPr>
              <a:buClr>
                <a:schemeClr val="tx2"/>
              </a:buClr>
              <a:defRPr sz="1999">
                <a:solidFill>
                  <a:schemeClr val="tx2"/>
                </a:solidFill>
              </a:defRPr>
            </a:lvl3pPr>
            <a:lvl4pPr>
              <a:buClr>
                <a:schemeClr val="tx2"/>
              </a:buClr>
              <a:defRPr sz="1999">
                <a:solidFill>
                  <a:schemeClr val="tx2"/>
                </a:solidFill>
              </a:defRPr>
            </a:lvl4pPr>
            <a:lvl5pPr>
              <a:buClr>
                <a:schemeClr val="tx2"/>
              </a:buClr>
              <a:defRPr sz="1999">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218082276"/>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2"/>
            <a:ext cx="2847972" cy="917575"/>
          </a:xfrm>
          <a:prstGeom prst="rect">
            <a:avLst/>
          </a:prstGeom>
        </p:spPr>
        <p:txBody>
          <a:bodyPr/>
          <a:lstStyle>
            <a:lvl1pPr>
              <a:defRPr>
                <a:solidFill>
                  <a:schemeClr val="tx2"/>
                </a:solidFill>
              </a:defRPr>
            </a:lvl1pPr>
          </a:lstStyle>
          <a:p>
            <a:r>
              <a:rPr lang="en-US" sz="4799">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4121602300"/>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20" y="2317689"/>
            <a:ext cx="11611293" cy="4083112"/>
          </a:xfrm>
          <a:prstGeom prst="rect">
            <a:avLst/>
          </a:prstGeom>
        </p:spPr>
        <p:txBody>
          <a:bodyPr/>
          <a:lstStyle>
            <a:lvl1pPr>
              <a:defRPr sz="1999"/>
            </a:lvl1pPr>
            <a:lvl2pPr>
              <a:defRPr sz="1999"/>
            </a:lvl2pPr>
            <a:lvl3pPr>
              <a:defRPr sz="1999"/>
            </a:lvl3pPr>
            <a:lvl4pPr>
              <a:defRPr sz="1999"/>
            </a:lvl4pPr>
            <a:lvl5pPr>
              <a:defRPr sz="199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White Background"/>
          <p:cNvGrpSpPr/>
          <p:nvPr/>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4" name="Subhead"/>
          <p:cNvSpPr txBox="1">
            <a:spLocks/>
          </p:cNvSpPr>
          <p:nvPr/>
        </p:nvSpPr>
        <p:spPr>
          <a:xfrm>
            <a:off x="274319" y="1415481"/>
            <a:ext cx="9872764"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r>
              <a:rPr sz="3999">
                <a:solidFill>
                  <a:srgbClr val="0072C6"/>
                </a:solidFill>
              </a:rPr>
              <a:t>Subhead</a:t>
            </a:r>
          </a:p>
        </p:txBody>
      </p:sp>
      <p:sp>
        <p:nvSpPr>
          <p:cNvPr id="13" name="Headline"/>
          <p:cNvSpPr>
            <a:spLocks noGrp="1"/>
          </p:cNvSpPr>
          <p:nvPr>
            <p:ph type="title" hasCustomPrompt="1"/>
          </p:nvPr>
        </p:nvSpPr>
        <p:spPr>
          <a:xfrm>
            <a:off x="274639" y="295279"/>
            <a:ext cx="9872764" cy="923922"/>
          </a:xfrm>
          <a:prstGeom prst="rect">
            <a:avLst/>
          </a:prstGeom>
        </p:spPr>
        <p:txBody>
          <a:bodyPr/>
          <a:lstStyle>
            <a:lvl1pPr>
              <a:defRPr sz="5198">
                <a:solidFill>
                  <a:schemeClr val="tx1"/>
                </a:solidFill>
              </a:defRPr>
            </a:lvl1pPr>
          </a:lstStyle>
          <a:p>
            <a:r>
              <a:rPr lang="en-US" dirty="0"/>
              <a:t>Headline</a:t>
            </a:r>
          </a:p>
        </p:txBody>
      </p:sp>
    </p:spTree>
    <p:extLst>
      <p:ext uri="{BB962C8B-B14F-4D97-AF65-F5344CB8AC3E}">
        <p14:creationId xmlns:p14="http://schemas.microsoft.com/office/powerpoint/2010/main" val="1213391843"/>
      </p:ext>
    </p:extLst>
  </p:cSld>
  <p:clrMapOvr>
    <a:masterClrMapping/>
  </p:clrMapOvr>
  <p:transition>
    <p:fade/>
  </p:transition>
  <p:hf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1811360086"/>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3" name="Headline"/>
          <p:cNvSpPr>
            <a:spLocks noGrp="1"/>
          </p:cNvSpPr>
          <p:nvPr>
            <p:ph type="title" hasCustomPrompt="1"/>
          </p:nvPr>
        </p:nvSpPr>
        <p:spPr>
          <a:xfrm>
            <a:off x="274639" y="295279"/>
            <a:ext cx="9872764" cy="923922"/>
          </a:xfrm>
          <a:prstGeom prst="rect">
            <a:avLst/>
          </a:prstGeom>
        </p:spPr>
        <p:txBody>
          <a:bodyPr/>
          <a:lstStyle>
            <a:lvl1pPr>
              <a:defRPr sz="5198">
                <a:solidFill>
                  <a:schemeClr val="tx1"/>
                </a:solidFill>
              </a:defRPr>
            </a:lvl1pPr>
          </a:lstStyle>
          <a:p>
            <a:r>
              <a:rPr lang="en-US" dirty="0"/>
              <a:t>Headline</a:t>
            </a:r>
          </a:p>
        </p:txBody>
      </p:sp>
    </p:spTree>
    <p:extLst>
      <p:ext uri="{BB962C8B-B14F-4D97-AF65-F5344CB8AC3E}">
        <p14:creationId xmlns:p14="http://schemas.microsoft.com/office/powerpoint/2010/main" val="3199898432"/>
      </p:ext>
    </p:extLst>
  </p:cSld>
  <p:clrMapOvr>
    <a:masterClrMapping/>
  </p:clrMapOvr>
  <p:transition>
    <p:fade/>
  </p:transition>
  <p:hf hdr="0" ftr="0" dt="0"/>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Tree>
    <p:extLst>
      <p:ext uri="{BB962C8B-B14F-4D97-AF65-F5344CB8AC3E}">
        <p14:creationId xmlns:p14="http://schemas.microsoft.com/office/powerpoint/2010/main" val="2252335924"/>
      </p:ext>
    </p:extLst>
  </p:cSld>
  <p:clrMapOvr>
    <a:masterClrMapping/>
  </p:clrMapOvr>
  <p:transition>
    <p:fade/>
  </p:transition>
  <p:hf hdr="0" ftr="0" dt="0"/>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5"/>
            <a:ext cx="8769842" cy="917575"/>
          </a:xfrm>
          <a:prstGeom prst="rect">
            <a:avLst/>
          </a:prstGeom>
        </p:spPr>
        <p:txBody>
          <a:bodyPr/>
          <a:lstStyle/>
          <a:p>
            <a:r>
              <a:rPr lang="en-US" sz="5398">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353" y="1828800"/>
            <a:ext cx="8740950" cy="4343400"/>
          </a:xfrm>
          <a:prstGeom prst="rect">
            <a:avLst/>
          </a:prstGeom>
        </p:spPr>
        <p:txBody>
          <a:bodyPr/>
          <a:lstStyle>
            <a:lvl1pPr>
              <a:defRPr sz="1999"/>
            </a:lvl1pPr>
            <a:lvl2pPr>
              <a:defRPr sz="1999"/>
            </a:lvl2pPr>
            <a:lvl3pPr>
              <a:defRPr sz="1999"/>
            </a:lvl3pPr>
            <a:lvl4pPr>
              <a:defRPr sz="1999"/>
            </a:lvl4pPr>
            <a:lvl5pPr>
              <a:defRPr sz="199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62991530"/>
      </p:ext>
    </p:extLst>
  </p:cSld>
  <p:clrMapOvr>
    <a:masterClrMapping/>
  </p:clrMapOvr>
  <p:transition>
    <p:fade/>
  </p:transition>
  <p:hf hdr="0" ftr="0" dt="0"/>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5"/>
            <a:ext cx="8769842" cy="917575"/>
          </a:xfrm>
          <a:prstGeom prst="rect">
            <a:avLst/>
          </a:prstGeom>
        </p:spPr>
        <p:txBody>
          <a:bodyPr/>
          <a:lstStyle/>
          <a:p>
            <a:r>
              <a:rPr lang="en-US" sz="5398">
                <a:solidFill>
                  <a:srgbClr val="92D050"/>
                </a:solidFill>
              </a:rPr>
              <a:t>Click to edit Master title style</a:t>
            </a:r>
            <a:endParaRPr lang="en-US" dirty="0">
              <a:solidFill>
                <a:schemeClr val="bg2"/>
              </a:solidFill>
            </a:endParaRPr>
          </a:p>
        </p:txBody>
      </p:sp>
    </p:spTree>
    <p:extLst>
      <p:ext uri="{BB962C8B-B14F-4D97-AF65-F5344CB8AC3E}">
        <p14:creationId xmlns:p14="http://schemas.microsoft.com/office/powerpoint/2010/main" val="349314251"/>
      </p:ext>
    </p:extLst>
  </p:cSld>
  <p:clrMapOvr>
    <a:masterClrMapping/>
  </p:clrMapOvr>
  <p:transition>
    <p:fade/>
  </p:transition>
  <p:hf hdr="0" ftr="0" dt="0"/>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468" y="2970215"/>
            <a:ext cx="10083890" cy="917575"/>
          </a:xfrm>
          <a:prstGeom prst="rect">
            <a:avLst/>
          </a:prstGeom>
        </p:spPr>
        <p:txBody>
          <a:bodyPr/>
          <a:lstStyle>
            <a:lvl1pPr algn="ctr">
              <a:defRPr sz="5998">
                <a:solidFill>
                  <a:srgbClr val="92D050"/>
                </a:solidFill>
              </a:defRPr>
            </a:lvl1pPr>
          </a:lstStyle>
          <a:p>
            <a:r>
              <a:rPr lang="en-US" sz="5398" dirty="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spTree>
    <p:extLst>
      <p:ext uri="{BB962C8B-B14F-4D97-AF65-F5344CB8AC3E}">
        <p14:creationId xmlns:p14="http://schemas.microsoft.com/office/powerpoint/2010/main" val="3496326270"/>
      </p:ext>
    </p:extLst>
  </p:cSld>
  <p:clrMapOvr>
    <a:masterClrMapping/>
  </p:clrMapOvr>
  <p:transition>
    <p:fade/>
  </p:transition>
  <p:hf hdr="0" ftr="0" dt="0"/>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Tree>
    <p:extLst>
      <p:ext uri="{BB962C8B-B14F-4D97-AF65-F5344CB8AC3E}">
        <p14:creationId xmlns:p14="http://schemas.microsoft.com/office/powerpoint/2010/main" val="541032994"/>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Tree>
    <p:extLst>
      <p:ext uri="{BB962C8B-B14F-4D97-AF65-F5344CB8AC3E}">
        <p14:creationId xmlns:p14="http://schemas.microsoft.com/office/powerpoint/2010/main" val="3376100691"/>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Tree>
    <p:extLst>
      <p:ext uri="{BB962C8B-B14F-4D97-AF65-F5344CB8AC3E}">
        <p14:creationId xmlns:p14="http://schemas.microsoft.com/office/powerpoint/2010/main" val="1047014993"/>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bwMode="auto">
          <a:xfrm>
            <a:off x="8882557" y="-1"/>
            <a:ext cx="3306269" cy="6855083"/>
          </a:xfrm>
          <a:prstGeom prst="rect">
            <a:avLst/>
          </a:prstGeom>
          <a:solidFill>
            <a:srgbClr val="00AEEF"/>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algn="ctr" defTabSz="932010" fontAlgn="base">
              <a:spcBef>
                <a:spcPct val="0"/>
              </a:spcBef>
              <a:spcAft>
                <a:spcPct val="0"/>
              </a:spcAft>
              <a:defRPr/>
            </a:pPr>
            <a:endParaRPr lang="en-US" sz="2243" kern="0" dirty="0">
              <a:gradFill>
                <a:gsLst>
                  <a:gs pos="0">
                    <a:srgbClr val="FFFFFF"/>
                  </a:gs>
                  <a:gs pos="100000">
                    <a:srgbClr val="FFFFFF"/>
                  </a:gs>
                </a:gsLst>
                <a:lin ang="5400000" scaled="0"/>
              </a:gradFill>
            </a:endParaRPr>
          </a:p>
        </p:txBody>
      </p:sp>
      <p:sp>
        <p:nvSpPr>
          <p:cNvPr id="6" name="Rounded Rectangle 29"/>
          <p:cNvSpPr/>
          <p:nvPr userDrawn="1"/>
        </p:nvSpPr>
        <p:spPr bwMode="black">
          <a:xfrm>
            <a:off x="9881695" y="1944139"/>
            <a:ext cx="1307993"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18" tIns="46618" rIns="46618" bIns="46618" numCol="1" spcCol="0" rtlCol="0" fromWordArt="0" anchor="ctr" anchorCtr="0" forceAA="0" compatLnSpc="1">
            <a:prstTxWarp prst="textNoShape">
              <a:avLst/>
            </a:prstTxWarp>
            <a:noAutofit/>
          </a:bodyPr>
          <a:lstStyle/>
          <a:p>
            <a:pPr algn="ctr" defTabSz="932010" fontAlgn="base">
              <a:spcBef>
                <a:spcPct val="0"/>
              </a:spcBef>
              <a:spcAft>
                <a:spcPct val="0"/>
              </a:spcAft>
              <a:defRPr/>
            </a:pPr>
            <a:endParaRPr lang="en-US" sz="1835"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itle 5"/>
          <p:cNvSpPr>
            <a:spLocks noGrp="1"/>
          </p:cNvSpPr>
          <p:nvPr>
            <p:ph type="title" idx="4294967295"/>
          </p:nvPr>
        </p:nvSpPr>
        <p:spPr>
          <a:xfrm>
            <a:off x="461144" y="158736"/>
            <a:ext cx="3693156" cy="2413891"/>
          </a:xfrm>
          <a:prstGeom prst="rect">
            <a:avLst/>
          </a:prstGeom>
        </p:spPr>
        <p:txBody>
          <a:bodyPr anchor="ctr">
            <a:noAutofit/>
          </a:bodyPr>
          <a:lstStyle>
            <a:lvl1pPr>
              <a:defRPr sz="8797"/>
            </a:lvl1pPr>
          </a:lstStyle>
          <a:p>
            <a:r>
              <a:rPr lang="en-US" sz="8795" dirty="0">
                <a:solidFill>
                  <a:schemeClr val="bg1">
                    <a:alpha val="99000"/>
                  </a:schemeClr>
                </a:solidFill>
              </a:rPr>
              <a:t>Q&amp;A</a:t>
            </a:r>
          </a:p>
        </p:txBody>
      </p:sp>
    </p:spTree>
    <p:extLst>
      <p:ext uri="{BB962C8B-B14F-4D97-AF65-F5344CB8AC3E}">
        <p14:creationId xmlns:p14="http://schemas.microsoft.com/office/powerpoint/2010/main" val="2237958584"/>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6"/>
            <a:ext cx="12188825" cy="6852165"/>
          </a:xfrm>
          <a:prstGeom prst="rect">
            <a:avLst/>
          </a:prstGeom>
        </p:spPr>
      </p:pic>
      <p:sp>
        <p:nvSpPr>
          <p:cNvPr id="8" name="Rectangle 7"/>
          <p:cNvSpPr/>
          <p:nvPr userDrawn="1"/>
        </p:nvSpPr>
        <p:spPr bwMode="auto">
          <a:xfrm>
            <a:off x="10184615" y="-1"/>
            <a:ext cx="2004210" cy="6855083"/>
          </a:xfrm>
          <a:prstGeom prst="rect">
            <a:avLst/>
          </a:prstGeom>
          <a:solidFill>
            <a:srgbClr val="8CC600"/>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algn="ctr" defTabSz="932010" fontAlgn="base">
              <a:spcBef>
                <a:spcPct val="0"/>
              </a:spcBef>
              <a:spcAft>
                <a:spcPct val="0"/>
              </a:spcAft>
              <a:defRPr/>
            </a:pPr>
            <a:endParaRPr lang="en-US" sz="2243" kern="0" dirty="0">
              <a:gradFill>
                <a:gsLst>
                  <a:gs pos="0">
                    <a:srgbClr val="FFFFFF"/>
                  </a:gs>
                  <a:gs pos="100000">
                    <a:srgbClr val="FFFFFF"/>
                  </a:gs>
                </a:gsLst>
                <a:lin ang="5400000" scaled="0"/>
              </a:gradFill>
            </a:endParaRPr>
          </a:p>
        </p:txBody>
      </p:sp>
      <p:sp>
        <p:nvSpPr>
          <p:cNvPr id="9" name="Freeform 64"/>
          <p:cNvSpPr>
            <a:spLocks noEditPoints="1"/>
          </p:cNvSpPr>
          <p:nvPr userDrawn="1"/>
        </p:nvSpPr>
        <p:spPr bwMode="black">
          <a:xfrm flipH="1">
            <a:off x="10595531" y="233151"/>
            <a:ext cx="1182378"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21" tIns="41961" rIns="83921" bIns="41961" numCol="1" anchor="t" anchorCtr="0" compatLnSpc="1">
            <a:prstTxWarp prst="textNoShape">
              <a:avLst/>
            </a:prstTxWarp>
          </a:bodyPr>
          <a:lstStyle/>
          <a:p>
            <a:pPr defTabSz="932279">
              <a:defRPr/>
            </a:pPr>
            <a:endParaRPr lang="en-US" sz="1632" kern="0">
              <a:solidFill>
                <a:srgbClr val="292929"/>
              </a:solidFill>
            </a:endParaRPr>
          </a:p>
        </p:txBody>
      </p:sp>
      <p:sp>
        <p:nvSpPr>
          <p:cNvPr id="4" name="Text Placeholder 3"/>
          <p:cNvSpPr>
            <a:spLocks noGrp="1"/>
          </p:cNvSpPr>
          <p:nvPr>
            <p:ph type="body" sz="quarter" idx="10"/>
          </p:nvPr>
        </p:nvSpPr>
        <p:spPr>
          <a:xfrm>
            <a:off x="589647" y="233152"/>
            <a:ext cx="9308263" cy="6416675"/>
          </a:xfrm>
          <a:prstGeom prst="rect">
            <a:avLst/>
          </a:prstGeom>
        </p:spPr>
        <p:txBody>
          <a:bodyPr/>
          <a:lstStyle>
            <a:lvl1pPr marL="0" indent="0">
              <a:buNone/>
              <a:defRPr sz="3599"/>
            </a:lvl1pPr>
            <a:lvl2pPr>
              <a:defRPr sz="3599"/>
            </a:lvl2pPr>
            <a:lvl3pPr>
              <a:defRPr sz="3599"/>
            </a:lvl3pPr>
            <a:lvl4pPr>
              <a:defRPr sz="3599"/>
            </a:lvl4pPr>
            <a:lvl5pPr>
              <a:defRPr sz="3599"/>
            </a:lvl5pPr>
          </a:lstStyle>
          <a:p>
            <a:pPr lvl="0"/>
            <a:r>
              <a:rPr lang="en-US" dirty="0"/>
              <a:t>Click to edit Master text styles</a:t>
            </a:r>
          </a:p>
        </p:txBody>
      </p:sp>
    </p:spTree>
    <p:extLst>
      <p:ext uri="{BB962C8B-B14F-4D97-AF65-F5344CB8AC3E}">
        <p14:creationId xmlns:p14="http://schemas.microsoft.com/office/powerpoint/2010/main" val="153524486"/>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bwMode="auto">
          <a:xfrm>
            <a:off x="8882557" y="-1"/>
            <a:ext cx="3306269" cy="6855083"/>
          </a:xfrm>
          <a:prstGeom prst="rect">
            <a:avLst/>
          </a:prstGeom>
          <a:solidFill>
            <a:srgbClr val="00AEEF"/>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1695" y="1944139"/>
            <a:ext cx="1307993"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18" tIns="46618" rIns="46618" bIns="46618" numCol="1" spcCol="0" rtlCol="0" fromWordArt="0" anchor="ctr" anchorCtr="0" forceAA="0" compatLnSpc="1">
            <a:prstTxWarp prst="textNoShape">
              <a:avLst/>
            </a:prstTxWarp>
            <a:noAutofit/>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1835"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144" y="158736"/>
            <a:ext cx="3693156" cy="2413891"/>
          </a:xfrm>
          <a:prstGeom prst="rect">
            <a:avLst/>
          </a:prstGeom>
        </p:spPr>
        <p:txBody>
          <a:bodyPr anchor="ctr">
            <a:noAutofit/>
          </a:bodyPr>
          <a:lstStyle>
            <a:lvl1pPr>
              <a:defRPr sz="8797"/>
            </a:lvl1pPr>
          </a:lstStyle>
          <a:p>
            <a:r>
              <a:rPr lang="en-US" sz="8795" dirty="0">
                <a:solidFill>
                  <a:schemeClr val="bg1">
                    <a:alpha val="99000"/>
                  </a:schemeClr>
                </a:solidFill>
              </a:rPr>
              <a:t>Q&amp;A</a:t>
            </a:r>
          </a:p>
        </p:txBody>
      </p:sp>
    </p:spTree>
    <p:extLst>
      <p:ext uri="{BB962C8B-B14F-4D97-AF65-F5344CB8AC3E}">
        <p14:creationId xmlns:p14="http://schemas.microsoft.com/office/powerpoint/2010/main" val="845463040"/>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88825"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
        <p:nvSpPr>
          <p:cNvPr id="3" name="Text Box 3"/>
          <p:cNvSpPr txBox="1">
            <a:spLocks noChangeArrowheads="1"/>
          </p:cNvSpPr>
          <p:nvPr userDrawn="1"/>
        </p:nvSpPr>
        <p:spPr bwMode="blackWhite">
          <a:xfrm>
            <a:off x="450085" y="5503176"/>
            <a:ext cx="8637119" cy="711824"/>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650"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650"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743" y="2968091"/>
            <a:ext cx="3223021" cy="690695"/>
          </a:xfrm>
          <a:prstGeom prst="rect">
            <a:avLst/>
          </a:prstGeom>
        </p:spPr>
      </p:pic>
    </p:spTree>
    <p:extLst>
      <p:ext uri="{BB962C8B-B14F-4D97-AF65-F5344CB8AC3E}">
        <p14:creationId xmlns:p14="http://schemas.microsoft.com/office/powerpoint/2010/main" val="2314556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6139"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6" name="Presenter"/>
          <p:cNvSpPr txBox="1">
            <a:spLocks/>
          </p:cNvSpPr>
          <p:nvPr/>
        </p:nvSpPr>
        <p:spPr>
          <a:xfrm>
            <a:off x="6340563" y="5233034"/>
            <a:ext cx="5668478" cy="1095241"/>
          </a:xfrm>
          <a:prstGeom prst="rect">
            <a:avLst/>
          </a:prstGeom>
        </p:spPr>
        <p:txBody>
          <a:bodyPr vert="horz" wrap="square" lIns="228540" tIns="91376" rIns="146202" bIns="91376"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283">
              <a:lnSpc>
                <a:spcPts val="2999"/>
              </a:lnSpc>
              <a:spcBef>
                <a:spcPts val="0"/>
              </a:spcBef>
              <a:spcAft>
                <a:spcPts val="1199"/>
              </a:spcAft>
              <a:defRPr/>
            </a:pPr>
            <a:r>
              <a:rPr lang="en-US" sz="2199" dirty="0">
                <a:solidFill>
                  <a:srgbClr val="FFFFFF"/>
                </a:solidFill>
              </a:rPr>
              <a:t>Presenter</a:t>
            </a:r>
            <a:endParaRPr sz="2199" dirty="0">
              <a:solidFill>
                <a:srgbClr val="FFFFFF"/>
              </a:solidFill>
            </a:endParaRPr>
          </a:p>
        </p:txBody>
      </p:sp>
      <p:sp>
        <p:nvSpPr>
          <p:cNvPr id="10" name="Title"/>
          <p:cNvSpPr>
            <a:spLocks noGrp="1"/>
          </p:cNvSpPr>
          <p:nvPr>
            <p:ph type="title" hasCustomPrompt="1"/>
          </p:nvPr>
        </p:nvSpPr>
        <p:spPr>
          <a:xfrm>
            <a:off x="6362423" y="4263385"/>
            <a:ext cx="5826403" cy="899665"/>
          </a:xfrm>
          <a:prstGeom prst="rect">
            <a:avLst/>
          </a:prstGeom>
        </p:spPr>
        <p:txBody>
          <a:bodyPr/>
          <a:lstStyle>
            <a:lvl1pPr>
              <a:defRPr lang="en-US" sz="5398"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2403251393"/>
      </p:ext>
    </p:extLst>
  </p:cSld>
  <p:clrMapOvr>
    <a:masterClrMapping/>
  </p:clrMapOvr>
  <p:transition>
    <p:fade/>
  </p:transition>
  <p:hf hdr="0" ftr="0" dt="0"/>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6139"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10" name="Title"/>
          <p:cNvSpPr>
            <a:spLocks noGrp="1"/>
          </p:cNvSpPr>
          <p:nvPr>
            <p:ph type="title" hasCustomPrompt="1"/>
          </p:nvPr>
        </p:nvSpPr>
        <p:spPr>
          <a:xfrm>
            <a:off x="6362423" y="4263385"/>
            <a:ext cx="5826403" cy="899665"/>
          </a:xfrm>
          <a:prstGeom prst="rect">
            <a:avLst/>
          </a:prstGeom>
        </p:spPr>
        <p:txBody>
          <a:bodyPr/>
          <a:lstStyle>
            <a:lvl1pPr>
              <a:defRPr lang="en-US" sz="5398"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2675342458"/>
      </p:ext>
    </p:extLst>
  </p:cSld>
  <p:clrMapOvr>
    <a:masterClrMapping/>
  </p:clrMapOvr>
  <p:transition>
    <p:fade/>
  </p:transition>
  <p:hf hdr="0" ftr="0" dt="0"/>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9" name="Title"/>
          <p:cNvSpPr>
            <a:spLocks noGrp="1"/>
          </p:cNvSpPr>
          <p:nvPr>
            <p:ph type="title" hasCustomPrompt="1"/>
          </p:nvPr>
        </p:nvSpPr>
        <p:spPr>
          <a:xfrm>
            <a:off x="0" y="2194769"/>
            <a:ext cx="12188826" cy="1081833"/>
          </a:xfrm>
          <a:prstGeom prst="rect">
            <a:avLst/>
          </a:prstGeom>
        </p:spPr>
        <p:txBody>
          <a:bodyPr/>
          <a:lstStyle>
            <a:lvl1pPr algn="ctr">
              <a:defRPr lang="en-US" sz="5398"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588" y="3276600"/>
            <a:ext cx="12188825" cy="990600"/>
          </a:xfrm>
          <a:prstGeom prst="rect">
            <a:avLst/>
          </a:prstGeom>
        </p:spPr>
        <p:txBody>
          <a:bodyPr/>
          <a:lstStyle>
            <a:lvl1pPr marL="0" indent="0" algn="ctr">
              <a:buNone/>
              <a:defRPr lang="en-US" sz="2199" b="0" kern="1200" cap="none" spc="-102"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757974293"/>
      </p:ext>
    </p:extLst>
  </p:cSld>
  <p:clrMapOvr>
    <a:masterClrMapping/>
  </p:clrMapOvr>
  <p:transition>
    <p:fade/>
  </p:transition>
  <p:hf hdr="0" ftr="0" dt="0"/>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265" y="2709522"/>
            <a:ext cx="10719432" cy="1266359"/>
          </a:xfrm>
          <a:prstGeom prst="rect">
            <a:avLst/>
          </a:prstGeom>
        </p:spPr>
        <p:txBody>
          <a:bodyPr>
            <a:noAutofit/>
          </a:bodyPr>
          <a:lstStyle>
            <a:lvl1pPr algn="ctr">
              <a:defRPr sz="7998"/>
            </a:lvl1pPr>
          </a:lstStyle>
          <a:p>
            <a:pPr algn="ctr"/>
            <a:r>
              <a:rPr lang="en-US" sz="7996" dirty="0"/>
              <a:t>Statement</a:t>
            </a:r>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Tree>
    <p:extLst>
      <p:ext uri="{BB962C8B-B14F-4D97-AF65-F5344CB8AC3E}">
        <p14:creationId xmlns:p14="http://schemas.microsoft.com/office/powerpoint/2010/main" val="1572708128"/>
      </p:ext>
    </p:extLst>
  </p:cSld>
  <p:clrMapOvr>
    <a:masterClrMapping/>
  </p:clrMapOvr>
  <p:transition>
    <p:fade/>
  </p:transition>
  <p:hf hdr="0" ftr="0" dt="0"/>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Tree>
    <p:extLst>
      <p:ext uri="{BB962C8B-B14F-4D97-AF65-F5344CB8AC3E}">
        <p14:creationId xmlns:p14="http://schemas.microsoft.com/office/powerpoint/2010/main" val="456163804"/>
      </p:ext>
    </p:extLst>
  </p:cSld>
  <p:clrMapOvr>
    <a:masterClrMapping/>
  </p:clrMapOvr>
  <p:transition>
    <p:fade/>
  </p:transition>
  <p:hf hdr="0" ftr="0" dt="0"/>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Tree>
    <p:extLst>
      <p:ext uri="{BB962C8B-B14F-4D97-AF65-F5344CB8AC3E}">
        <p14:creationId xmlns:p14="http://schemas.microsoft.com/office/powerpoint/2010/main" val="2911155394"/>
      </p:ext>
    </p:extLst>
  </p:cSld>
  <p:clrMapOvr>
    <a:masterClrMapping/>
  </p:clrMapOvr>
  <p:transition>
    <p:fade/>
  </p:transition>
  <p:hf hdr="0" ftr="0" dt="0"/>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4946" y="6474574"/>
            <a:ext cx="1157198"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Tree>
    <p:extLst>
      <p:ext uri="{BB962C8B-B14F-4D97-AF65-F5344CB8AC3E}">
        <p14:creationId xmlns:p14="http://schemas.microsoft.com/office/powerpoint/2010/main" val="1796360825"/>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449687483"/>
      </p:ext>
    </p:extLst>
  </p:cSld>
  <p:clrMapOvr>
    <a:masterClrMapping/>
  </p:clrMapOvr>
  <p:transition>
    <p:fade/>
  </p:transition>
  <p:hf hdr="0" ftr="0" dt="0"/>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725624516"/>
      </p:ext>
    </p:extLst>
  </p:cSld>
  <p:clrMapOvr>
    <a:masterClrMapping/>
  </p:clrMapOvr>
  <p:transition>
    <p:fade/>
  </p:transition>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lt">
    <p:spTree>
      <p:nvGrpSpPr>
        <p:cNvPr id="1" name=""/>
        <p:cNvGrpSpPr/>
        <p:nvPr/>
      </p:nvGrpSpPr>
      <p:grpSpPr>
        <a:xfrm>
          <a:off x="0" y="0"/>
          <a:ext cx="0" cy="0"/>
          <a:chOff x="0" y="0"/>
          <a:chExt cx="0" cy="0"/>
        </a:xfrm>
      </p:grpSpPr>
      <p:pic>
        <p:nvPicPr>
          <p:cNvPr id="6"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9" name="Title"/>
          <p:cNvSpPr>
            <a:spLocks noGrp="1"/>
          </p:cNvSpPr>
          <p:nvPr>
            <p:ph type="title" hasCustomPrompt="1"/>
          </p:nvPr>
        </p:nvSpPr>
        <p:spPr>
          <a:xfrm>
            <a:off x="0" y="2194767"/>
            <a:ext cx="12188826"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588" y="3276600"/>
            <a:ext cx="12188825"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334176547"/>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6"/>
            <a:ext cx="12188825" cy="6852165"/>
          </a:xfrm>
          <a:prstGeom prst="rect">
            <a:avLst/>
          </a:prstGeom>
        </p:spPr>
      </p:pic>
      <p:sp>
        <p:nvSpPr>
          <p:cNvPr id="8" name="Rectangle 7"/>
          <p:cNvSpPr/>
          <p:nvPr userDrawn="1"/>
        </p:nvSpPr>
        <p:spPr bwMode="auto">
          <a:xfrm>
            <a:off x="10184615" y="-1"/>
            <a:ext cx="2004210" cy="6855083"/>
          </a:xfrm>
          <a:prstGeom prst="rect">
            <a:avLst/>
          </a:prstGeom>
          <a:solidFill>
            <a:srgbClr val="8CC600"/>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5531" y="233151"/>
            <a:ext cx="1182378"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21" tIns="41961" rIns="83921" bIns="41961" numCol="1" anchor="t" anchorCtr="0" compatLnSpc="1">
            <a:prstTxWarp prst="textNoShape">
              <a:avLst/>
            </a:prstTxWarp>
          </a:bodyPr>
          <a:lstStyle/>
          <a:p>
            <a:pPr marL="0" marR="0" lvl="0" indent="0" defTabSz="93227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292929"/>
              </a:solidFill>
              <a:effectLst/>
              <a:uLnTx/>
              <a:uFillTx/>
            </a:endParaRPr>
          </a:p>
        </p:txBody>
      </p:sp>
      <p:sp>
        <p:nvSpPr>
          <p:cNvPr id="4" name="Text Placeholder 3"/>
          <p:cNvSpPr>
            <a:spLocks noGrp="1"/>
          </p:cNvSpPr>
          <p:nvPr>
            <p:ph type="body" sz="quarter" idx="10"/>
          </p:nvPr>
        </p:nvSpPr>
        <p:spPr>
          <a:xfrm>
            <a:off x="589647" y="233152"/>
            <a:ext cx="9308263" cy="6416675"/>
          </a:xfrm>
          <a:prstGeom prst="rect">
            <a:avLst/>
          </a:prstGeom>
        </p:spPr>
        <p:txBody>
          <a:bodyPr/>
          <a:lstStyle>
            <a:lvl1pPr marL="0" indent="0">
              <a:buNone/>
              <a:defRPr sz="3599"/>
            </a:lvl1pPr>
            <a:lvl2pPr>
              <a:defRPr sz="3599"/>
            </a:lvl2pPr>
            <a:lvl3pPr>
              <a:defRPr sz="3599"/>
            </a:lvl3pPr>
            <a:lvl4pPr>
              <a:defRPr sz="3599"/>
            </a:lvl4pPr>
            <a:lvl5pPr>
              <a:defRPr sz="3599"/>
            </a:lvl5pPr>
          </a:lstStyle>
          <a:p>
            <a:pPr lvl="0"/>
            <a:r>
              <a:rPr lang="en-US" dirty="0"/>
              <a:t>Click to edit Master text styles</a:t>
            </a:r>
          </a:p>
        </p:txBody>
      </p:sp>
    </p:spTree>
    <p:extLst>
      <p:ext uri="{BB962C8B-B14F-4D97-AF65-F5344CB8AC3E}">
        <p14:creationId xmlns:p14="http://schemas.microsoft.com/office/powerpoint/2010/main" val="1915913421"/>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3672412602"/>
      </p:ext>
    </p:extLst>
  </p:cSld>
  <p:clrMapOvr>
    <a:masterClrMapping/>
  </p:clrMapOvr>
  <p:transition>
    <p:fade/>
  </p:transition>
  <p:hf hdr="0" ftr="0" dt="0"/>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4946" y="6474574"/>
            <a:ext cx="1157198"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12" name="Body"/>
          <p:cNvSpPr>
            <a:spLocks noGrp="1"/>
          </p:cNvSpPr>
          <p:nvPr>
            <p:ph type="body" sz="quarter" idx="11"/>
          </p:nvPr>
        </p:nvSpPr>
        <p:spPr>
          <a:xfrm>
            <a:off x="373888" y="4824405"/>
            <a:ext cx="6748272" cy="1139825"/>
          </a:xfrm>
          <a:prstGeom prst="rect">
            <a:avLst/>
          </a:prstGeom>
        </p:spPr>
        <p:txBody>
          <a:bodyPr/>
          <a:lstStyle>
            <a:lvl1pPr>
              <a:buClr>
                <a:schemeClr val="tx2"/>
              </a:buClr>
              <a:defRPr lang="en-US" sz="1999" kern="1200" spc="0" baseline="0" dirty="0" smtClean="0">
                <a:solidFill>
                  <a:srgbClr val="0072C6"/>
                </a:solidFill>
                <a:latin typeface="Segoe UI Light" panose="020B0502040204020203" pitchFamily="34" charset="0"/>
                <a:ea typeface="+mn-ea"/>
                <a:cs typeface="+mn-cs"/>
              </a:defRPr>
            </a:lvl1pPr>
            <a:lvl2pPr>
              <a:buClr>
                <a:schemeClr val="tx2"/>
              </a:buClr>
              <a:defRPr lang="en-US" sz="1999" kern="1200" spc="0" baseline="0" dirty="0" smtClean="0">
                <a:solidFill>
                  <a:srgbClr val="0072C6"/>
                </a:solidFill>
                <a:latin typeface="Segoe UI Light" panose="020B0502040204020203" pitchFamily="34" charset="0"/>
                <a:ea typeface="+mn-ea"/>
                <a:cs typeface="+mn-cs"/>
              </a:defRPr>
            </a:lvl2pPr>
            <a:lvl3pPr>
              <a:buClr>
                <a:schemeClr val="tx2"/>
              </a:buClr>
              <a:defRPr lang="en-US" sz="1999" kern="1200" spc="0" baseline="0" dirty="0" smtClean="0">
                <a:solidFill>
                  <a:srgbClr val="0072C6"/>
                </a:solidFill>
                <a:latin typeface="Segoe UI Light" panose="020B0502040204020203" pitchFamily="34" charset="0"/>
                <a:ea typeface="+mn-ea"/>
                <a:cs typeface="+mn-cs"/>
              </a:defRPr>
            </a:lvl3pPr>
            <a:lvl4pPr>
              <a:buClr>
                <a:schemeClr val="tx2"/>
              </a:buClr>
              <a:defRPr lang="en-US" sz="1999" kern="1200" spc="0" baseline="0" dirty="0" smtClean="0">
                <a:solidFill>
                  <a:srgbClr val="0072C6"/>
                </a:solidFill>
                <a:latin typeface="Segoe UI Light" panose="020B0502040204020203" pitchFamily="34" charset="0"/>
                <a:ea typeface="+mn-ea"/>
                <a:cs typeface="+mn-cs"/>
              </a:defRPr>
            </a:lvl4pPr>
            <a:lvl5pPr>
              <a:buClr>
                <a:schemeClr val="tx2"/>
              </a:buClr>
              <a:defRPr lang="en-US" sz="1999" kern="1200" spc="0" baseline="0" dirty="0" smtClean="0">
                <a:solidFill>
                  <a:srgbClr val="0072C6"/>
                </a:solidFill>
                <a:latin typeface="Segoe UI Light" panose="020B0502040204020203"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Subhead"/>
          <p:cNvSpPr>
            <a:spLocks noGrp="1"/>
          </p:cNvSpPr>
          <p:nvPr>
            <p:ph type="body" sz="quarter" idx="12" hasCustomPrompt="1"/>
          </p:nvPr>
        </p:nvSpPr>
        <p:spPr>
          <a:xfrm>
            <a:off x="374650" y="3873502"/>
            <a:ext cx="6746875" cy="950913"/>
          </a:xfrm>
          <a:prstGeom prst="rect">
            <a:avLst/>
          </a:prstGeom>
        </p:spPr>
        <p:txBody>
          <a:bodyPr/>
          <a:lstStyle>
            <a:lvl1pPr marL="0" indent="0">
              <a:buNone/>
              <a:defRPr>
                <a:solidFill>
                  <a:schemeClr val="tx2"/>
                </a:solidFill>
              </a:defRPr>
            </a:lvl1pPr>
            <a:lvl2pPr marL="335975" indent="0">
              <a:buNone/>
              <a:defRPr>
                <a:solidFill>
                  <a:schemeClr val="tx2"/>
                </a:solidFill>
              </a:defRPr>
            </a:lvl2pPr>
            <a:lvl3pPr marL="559959" indent="0">
              <a:buNone/>
              <a:defRPr>
                <a:solidFill>
                  <a:schemeClr val="tx2"/>
                </a:solidFill>
              </a:defRPr>
            </a:lvl3pPr>
            <a:lvl4pPr marL="783943" indent="0">
              <a:buNone/>
              <a:defRPr>
                <a:solidFill>
                  <a:schemeClr val="tx2"/>
                </a:solidFill>
              </a:defRPr>
            </a:lvl4pPr>
            <a:lvl5pPr marL="1007927"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641" y="930352"/>
            <a:ext cx="9973765" cy="917575"/>
          </a:xfrm>
          <a:prstGeom prst="rect">
            <a:avLst/>
          </a:prstGeom>
        </p:spPr>
        <p:txBody>
          <a:bodyPr/>
          <a:lstStyle/>
          <a:p>
            <a:r>
              <a:rPr lang="en-US" sz="4799">
                <a:solidFill>
                  <a:schemeClr val="bg1"/>
                </a:solidFill>
              </a:rPr>
              <a:t>Click to edit Master title style</a:t>
            </a:r>
            <a:endParaRPr lang="en-US" sz="4799" dirty="0">
              <a:solidFill>
                <a:schemeClr val="bg1"/>
              </a:solidFill>
            </a:endParaRPr>
          </a:p>
        </p:txBody>
      </p:sp>
    </p:spTree>
    <p:extLst>
      <p:ext uri="{BB962C8B-B14F-4D97-AF65-F5344CB8AC3E}">
        <p14:creationId xmlns:p14="http://schemas.microsoft.com/office/powerpoint/2010/main" val="3614532788"/>
      </p:ext>
    </p:extLst>
  </p:cSld>
  <p:clrMapOvr>
    <a:masterClrMapping/>
  </p:clrMapOvr>
  <p:transition>
    <p:fade/>
  </p:transition>
  <p:hf hdr="0" ftr="0" dt="0"/>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4946" y="6474574"/>
            <a:ext cx="1157198"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14" name="Subhead"/>
          <p:cNvSpPr>
            <a:spLocks noGrp="1"/>
          </p:cNvSpPr>
          <p:nvPr>
            <p:ph type="body" sz="quarter" idx="12" hasCustomPrompt="1"/>
          </p:nvPr>
        </p:nvSpPr>
        <p:spPr>
          <a:xfrm>
            <a:off x="374650" y="3873502"/>
            <a:ext cx="6746875" cy="950913"/>
          </a:xfrm>
          <a:prstGeom prst="rect">
            <a:avLst/>
          </a:prstGeom>
        </p:spPr>
        <p:txBody>
          <a:bodyPr/>
          <a:lstStyle>
            <a:lvl1pPr marL="0" indent="0">
              <a:buNone/>
              <a:defRPr>
                <a:solidFill>
                  <a:schemeClr val="tx2"/>
                </a:solidFill>
              </a:defRPr>
            </a:lvl1pPr>
            <a:lvl2pPr marL="335975" indent="0">
              <a:buNone/>
              <a:defRPr>
                <a:solidFill>
                  <a:schemeClr val="tx2"/>
                </a:solidFill>
              </a:defRPr>
            </a:lvl2pPr>
            <a:lvl3pPr marL="559959" indent="0">
              <a:buNone/>
              <a:defRPr>
                <a:solidFill>
                  <a:schemeClr val="tx2"/>
                </a:solidFill>
              </a:defRPr>
            </a:lvl3pPr>
            <a:lvl4pPr marL="783943" indent="0">
              <a:buNone/>
              <a:defRPr>
                <a:solidFill>
                  <a:schemeClr val="tx2"/>
                </a:solidFill>
              </a:defRPr>
            </a:lvl4pPr>
            <a:lvl5pPr marL="1007927"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641" y="930352"/>
            <a:ext cx="9973765" cy="917575"/>
          </a:xfrm>
          <a:prstGeom prst="rect">
            <a:avLst/>
          </a:prstGeom>
        </p:spPr>
        <p:txBody>
          <a:bodyPr/>
          <a:lstStyle/>
          <a:p>
            <a:r>
              <a:rPr lang="en-US" sz="4799">
                <a:solidFill>
                  <a:schemeClr val="bg1"/>
                </a:solidFill>
              </a:rPr>
              <a:t>Click to edit Master title style</a:t>
            </a:r>
            <a:endParaRPr lang="en-US" sz="4799"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spTree>
    <p:extLst>
      <p:ext uri="{BB962C8B-B14F-4D97-AF65-F5344CB8AC3E}">
        <p14:creationId xmlns:p14="http://schemas.microsoft.com/office/powerpoint/2010/main" val="452053804"/>
      </p:ext>
    </p:extLst>
  </p:cSld>
  <p:clrMapOvr>
    <a:masterClrMapping/>
  </p:clrMapOvr>
  <p:transition>
    <p:fade/>
  </p:transition>
  <p:hf hdr="0" ftr="0" dt="0"/>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4946" y="6474574"/>
            <a:ext cx="1157198"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spTree>
    <p:extLst>
      <p:ext uri="{BB962C8B-B14F-4D97-AF65-F5344CB8AC3E}">
        <p14:creationId xmlns:p14="http://schemas.microsoft.com/office/powerpoint/2010/main" val="3607893867"/>
      </p:ext>
    </p:extLst>
  </p:cSld>
  <p:clrMapOvr>
    <a:masterClrMapping/>
  </p:clrMapOvr>
  <p:transition>
    <p:fade/>
  </p:transition>
  <p:hf hdr="0" ftr="0" dt="0"/>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930352"/>
            <a:ext cx="9973765" cy="917575"/>
          </a:xfrm>
          <a:prstGeom prst="rect">
            <a:avLst/>
          </a:prstGeom>
        </p:spPr>
        <p:txBody>
          <a:bodyPr/>
          <a:lstStyle>
            <a:lvl1pPr>
              <a:defRPr>
                <a:solidFill>
                  <a:schemeClr val="tx2"/>
                </a:solidFill>
              </a:defRPr>
            </a:lvl1pPr>
          </a:lstStyle>
          <a:p>
            <a:r>
              <a:rPr lang="en-US" sz="4799">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640" y="2193928"/>
            <a:ext cx="9974262" cy="2719388"/>
          </a:xfrm>
          <a:prstGeom prst="rect">
            <a:avLst/>
          </a:prstGeom>
        </p:spPr>
        <p:txBody>
          <a:bodyPr/>
          <a:lstStyle>
            <a:lvl1pPr>
              <a:buClr>
                <a:schemeClr val="tx2"/>
              </a:buClr>
              <a:defRPr sz="1999">
                <a:solidFill>
                  <a:schemeClr val="tx2"/>
                </a:solidFill>
              </a:defRPr>
            </a:lvl1pPr>
            <a:lvl2pPr>
              <a:buClr>
                <a:schemeClr val="tx2"/>
              </a:buClr>
              <a:defRPr sz="1999">
                <a:solidFill>
                  <a:schemeClr val="tx2"/>
                </a:solidFill>
              </a:defRPr>
            </a:lvl2pPr>
            <a:lvl3pPr>
              <a:buClr>
                <a:schemeClr val="tx2"/>
              </a:buClr>
              <a:defRPr sz="1999">
                <a:solidFill>
                  <a:schemeClr val="tx2"/>
                </a:solidFill>
              </a:defRPr>
            </a:lvl3pPr>
            <a:lvl4pPr>
              <a:buClr>
                <a:schemeClr val="tx2"/>
              </a:buClr>
              <a:defRPr sz="1999">
                <a:solidFill>
                  <a:schemeClr val="tx2"/>
                </a:solidFill>
              </a:defRPr>
            </a:lvl4pPr>
            <a:lvl5pPr>
              <a:buClr>
                <a:schemeClr val="tx2"/>
              </a:buClr>
              <a:defRPr sz="1999">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1610244941"/>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930352"/>
            <a:ext cx="9973765" cy="917575"/>
          </a:xfrm>
          <a:prstGeom prst="rect">
            <a:avLst/>
          </a:prstGeom>
        </p:spPr>
        <p:txBody>
          <a:bodyPr/>
          <a:lstStyle>
            <a:lvl1pPr>
              <a:defRPr>
                <a:solidFill>
                  <a:schemeClr val="tx2"/>
                </a:solidFill>
              </a:defRPr>
            </a:lvl1pPr>
          </a:lstStyle>
          <a:p>
            <a:r>
              <a:rPr lang="en-US" sz="4799">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423166918"/>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517956" y="5576548"/>
            <a:ext cx="8066963" cy="917575"/>
          </a:xfrm>
          <a:prstGeom prst="rect">
            <a:avLst/>
          </a:prstGeom>
        </p:spPr>
        <p:txBody>
          <a:bodyPr/>
          <a:lstStyle>
            <a:lvl1pPr>
              <a:defRPr>
                <a:solidFill>
                  <a:schemeClr val="bg1"/>
                </a:solidFill>
              </a:defRPr>
            </a:lvl1pPr>
          </a:lstStyle>
          <a:p>
            <a:r>
              <a:rPr lang="en-US" sz="4799">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350471698"/>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3475761439"/>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2"/>
            <a:ext cx="2847972" cy="917575"/>
          </a:xfrm>
          <a:prstGeom prst="rect">
            <a:avLst/>
          </a:prstGeom>
        </p:spPr>
        <p:txBody>
          <a:bodyPr/>
          <a:lstStyle>
            <a:lvl1pPr>
              <a:defRPr>
                <a:solidFill>
                  <a:schemeClr val="tx2"/>
                </a:solidFill>
              </a:defRPr>
            </a:lvl1pPr>
          </a:lstStyle>
          <a:p>
            <a:r>
              <a:rPr lang="en-US" sz="4799">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7254" y="684718"/>
            <a:ext cx="8623270" cy="4420683"/>
          </a:xfrm>
          <a:prstGeom prst="rect">
            <a:avLst/>
          </a:prstGeom>
        </p:spPr>
        <p:txBody>
          <a:bodyPr/>
          <a:lstStyle>
            <a:lvl1pPr>
              <a:buClr>
                <a:schemeClr val="tx2"/>
              </a:buClr>
              <a:defRPr sz="1999">
                <a:solidFill>
                  <a:schemeClr val="tx2"/>
                </a:solidFill>
              </a:defRPr>
            </a:lvl1pPr>
            <a:lvl2pPr>
              <a:buClr>
                <a:schemeClr val="tx2"/>
              </a:buClr>
              <a:defRPr sz="1999">
                <a:solidFill>
                  <a:schemeClr val="tx2"/>
                </a:solidFill>
              </a:defRPr>
            </a:lvl2pPr>
            <a:lvl3pPr>
              <a:buClr>
                <a:schemeClr val="tx2"/>
              </a:buClr>
              <a:defRPr sz="1999">
                <a:solidFill>
                  <a:schemeClr val="tx2"/>
                </a:solidFill>
              </a:defRPr>
            </a:lvl3pPr>
            <a:lvl4pPr>
              <a:buClr>
                <a:schemeClr val="tx2"/>
              </a:buClr>
              <a:defRPr sz="1999">
                <a:solidFill>
                  <a:schemeClr val="tx2"/>
                </a:solidFill>
              </a:defRPr>
            </a:lvl4pPr>
            <a:lvl5pPr>
              <a:buClr>
                <a:schemeClr val="tx2"/>
              </a:buClr>
              <a:defRPr sz="1999">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2547087931"/>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2"/>
            <a:ext cx="2847972" cy="917575"/>
          </a:xfrm>
          <a:prstGeom prst="rect">
            <a:avLst/>
          </a:prstGeom>
        </p:spPr>
        <p:txBody>
          <a:bodyPr/>
          <a:lstStyle>
            <a:lvl1pPr>
              <a:defRPr>
                <a:solidFill>
                  <a:schemeClr val="tx2"/>
                </a:solidFill>
              </a:defRPr>
            </a:lvl1pPr>
          </a:lstStyle>
          <a:p>
            <a:r>
              <a:rPr lang="en-US" sz="4799">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1357188536"/>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88825"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
        <p:nvSpPr>
          <p:cNvPr id="3" name="Text Box 3"/>
          <p:cNvSpPr txBox="1">
            <a:spLocks noChangeArrowheads="1"/>
          </p:cNvSpPr>
          <p:nvPr userDrawn="1"/>
        </p:nvSpPr>
        <p:spPr bwMode="blackWhite">
          <a:xfrm>
            <a:off x="450085" y="5503176"/>
            <a:ext cx="8637119" cy="711824"/>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650"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650"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743" y="2968091"/>
            <a:ext cx="3223021" cy="690695"/>
          </a:xfrm>
          <a:prstGeom prst="rect">
            <a:avLst/>
          </a:prstGeom>
        </p:spPr>
      </p:pic>
    </p:spTree>
    <p:extLst>
      <p:ext uri="{BB962C8B-B14F-4D97-AF65-F5344CB8AC3E}">
        <p14:creationId xmlns:p14="http://schemas.microsoft.com/office/powerpoint/2010/main" val="3050578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20" y="2317689"/>
            <a:ext cx="11611293" cy="4083112"/>
          </a:xfrm>
          <a:prstGeom prst="rect">
            <a:avLst/>
          </a:prstGeom>
        </p:spPr>
        <p:txBody>
          <a:bodyPr/>
          <a:lstStyle>
            <a:lvl1pPr>
              <a:defRPr sz="1999"/>
            </a:lvl1pPr>
            <a:lvl2pPr>
              <a:defRPr sz="1999"/>
            </a:lvl2pPr>
            <a:lvl3pPr>
              <a:defRPr sz="1999"/>
            </a:lvl3pPr>
            <a:lvl4pPr>
              <a:defRPr sz="1999"/>
            </a:lvl4pPr>
            <a:lvl5pPr>
              <a:defRPr sz="199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White Background"/>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5" name="Subhead"/>
          <p:cNvSpPr>
            <a:spLocks noGrp="1"/>
          </p:cNvSpPr>
          <p:nvPr>
            <p:ph type="body" sz="quarter" idx="11" hasCustomPrompt="1"/>
          </p:nvPr>
        </p:nvSpPr>
        <p:spPr>
          <a:xfrm>
            <a:off x="274320" y="1415482"/>
            <a:ext cx="9873083" cy="704850"/>
          </a:xfrm>
          <a:prstGeom prst="rect">
            <a:avLst/>
          </a:prstGeom>
        </p:spPr>
        <p:txBody>
          <a:bodyPr/>
          <a:lstStyle>
            <a:lvl1pPr marL="0" indent="0">
              <a:buNone/>
              <a:defRPr sz="3599">
                <a:solidFill>
                  <a:schemeClr val="tx2"/>
                </a:solidFill>
              </a:defRPr>
            </a:lvl1pPr>
          </a:lstStyle>
          <a:p>
            <a:r>
              <a:rPr lang="en-US" sz="3999" dirty="0">
                <a:solidFill>
                  <a:schemeClr val="tx2"/>
                </a:solidFill>
              </a:rPr>
              <a:t>Subhead</a:t>
            </a:r>
          </a:p>
        </p:txBody>
      </p:sp>
      <p:sp>
        <p:nvSpPr>
          <p:cNvPr id="13" name="Headline"/>
          <p:cNvSpPr>
            <a:spLocks noGrp="1"/>
          </p:cNvSpPr>
          <p:nvPr>
            <p:ph type="title" hasCustomPrompt="1"/>
          </p:nvPr>
        </p:nvSpPr>
        <p:spPr>
          <a:xfrm>
            <a:off x="274639" y="295279"/>
            <a:ext cx="9872764" cy="923922"/>
          </a:xfrm>
          <a:prstGeom prst="rect">
            <a:avLst/>
          </a:prstGeom>
        </p:spPr>
        <p:txBody>
          <a:bodyPr/>
          <a:lstStyle>
            <a:lvl1pPr>
              <a:defRPr sz="5198">
                <a:solidFill>
                  <a:schemeClr val="tx1"/>
                </a:solidFill>
              </a:defRPr>
            </a:lvl1pPr>
          </a:lstStyle>
          <a:p>
            <a:r>
              <a:rPr lang="en-US" dirty="0"/>
              <a:t>Headline</a:t>
            </a:r>
          </a:p>
        </p:txBody>
      </p:sp>
    </p:spTree>
    <p:extLst>
      <p:ext uri="{BB962C8B-B14F-4D97-AF65-F5344CB8AC3E}">
        <p14:creationId xmlns:p14="http://schemas.microsoft.com/office/powerpoint/2010/main" val="3991591498"/>
      </p:ext>
    </p:extLst>
  </p:cSld>
  <p:clrMapOvr>
    <a:masterClrMapping/>
  </p:clrMapOvr>
  <p:transition>
    <p:fade/>
  </p:transition>
  <p:hf hdr="0" ftr="0" dt="0"/>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3" name="Headline"/>
          <p:cNvSpPr>
            <a:spLocks noGrp="1"/>
          </p:cNvSpPr>
          <p:nvPr>
            <p:ph type="title" hasCustomPrompt="1"/>
          </p:nvPr>
        </p:nvSpPr>
        <p:spPr>
          <a:xfrm>
            <a:off x="274639" y="295279"/>
            <a:ext cx="9872764" cy="923922"/>
          </a:xfrm>
          <a:prstGeom prst="rect">
            <a:avLst/>
          </a:prstGeom>
        </p:spPr>
        <p:txBody>
          <a:bodyPr/>
          <a:lstStyle>
            <a:lvl1pPr>
              <a:defRPr sz="5198">
                <a:solidFill>
                  <a:schemeClr val="tx1"/>
                </a:solidFill>
              </a:defRPr>
            </a:lvl1pPr>
          </a:lstStyle>
          <a:p>
            <a:r>
              <a:rPr lang="en-US" dirty="0"/>
              <a:t>Headline</a:t>
            </a:r>
          </a:p>
        </p:txBody>
      </p:sp>
    </p:spTree>
    <p:extLst>
      <p:ext uri="{BB962C8B-B14F-4D97-AF65-F5344CB8AC3E}">
        <p14:creationId xmlns:p14="http://schemas.microsoft.com/office/powerpoint/2010/main" val="1858782268"/>
      </p:ext>
    </p:extLst>
  </p:cSld>
  <p:clrMapOvr>
    <a:masterClrMapping/>
  </p:clrMapOvr>
  <p:transition>
    <p:fade/>
  </p:transition>
  <p:hf hdr="0" ftr="0" dt="0"/>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Tree>
    <p:extLst>
      <p:ext uri="{BB962C8B-B14F-4D97-AF65-F5344CB8AC3E}">
        <p14:creationId xmlns:p14="http://schemas.microsoft.com/office/powerpoint/2010/main" val="2160925605"/>
      </p:ext>
    </p:extLst>
  </p:cSld>
  <p:clrMapOvr>
    <a:masterClrMapping/>
  </p:clrMapOvr>
  <p:transition>
    <p:fade/>
  </p:transition>
  <p:hf hdr="0" ftr="0" dt="0"/>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5"/>
            <a:ext cx="8769842" cy="917575"/>
          </a:xfrm>
          <a:prstGeom prst="rect">
            <a:avLst/>
          </a:prstGeom>
        </p:spPr>
        <p:txBody>
          <a:bodyPr/>
          <a:lstStyle/>
          <a:p>
            <a:r>
              <a:rPr lang="en-US" sz="5398">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353" y="1828800"/>
            <a:ext cx="8740950" cy="4343400"/>
          </a:xfrm>
          <a:prstGeom prst="rect">
            <a:avLst/>
          </a:prstGeom>
        </p:spPr>
        <p:txBody>
          <a:bodyPr/>
          <a:lstStyle>
            <a:lvl1pPr>
              <a:defRPr sz="1999"/>
            </a:lvl1pPr>
            <a:lvl2pPr>
              <a:defRPr sz="1999"/>
            </a:lvl2pPr>
            <a:lvl3pPr>
              <a:defRPr sz="1999"/>
            </a:lvl3pPr>
            <a:lvl4pPr>
              <a:defRPr sz="1999"/>
            </a:lvl4pPr>
            <a:lvl5pPr>
              <a:defRPr sz="199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68535628"/>
      </p:ext>
    </p:extLst>
  </p:cSld>
  <p:clrMapOvr>
    <a:masterClrMapping/>
  </p:clrMapOvr>
  <p:transition>
    <p:fade/>
  </p:transition>
  <p:hf hdr="0" ftr="0" dt="0"/>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5"/>
            <a:ext cx="8769842" cy="917575"/>
          </a:xfrm>
          <a:prstGeom prst="rect">
            <a:avLst/>
          </a:prstGeom>
        </p:spPr>
        <p:txBody>
          <a:bodyPr/>
          <a:lstStyle/>
          <a:p>
            <a:r>
              <a:rPr lang="en-US" sz="5398">
                <a:solidFill>
                  <a:srgbClr val="92D050"/>
                </a:solidFill>
              </a:rPr>
              <a:t>Click to edit Master title style</a:t>
            </a:r>
            <a:endParaRPr lang="en-US" dirty="0">
              <a:solidFill>
                <a:schemeClr val="bg2"/>
              </a:solidFill>
            </a:endParaRPr>
          </a:p>
        </p:txBody>
      </p:sp>
    </p:spTree>
    <p:extLst>
      <p:ext uri="{BB962C8B-B14F-4D97-AF65-F5344CB8AC3E}">
        <p14:creationId xmlns:p14="http://schemas.microsoft.com/office/powerpoint/2010/main" val="280465732"/>
      </p:ext>
    </p:extLst>
  </p:cSld>
  <p:clrMapOvr>
    <a:masterClrMapping/>
  </p:clrMapOvr>
  <p:transition>
    <p:fade/>
  </p:transition>
  <p:hf hdr="0" ftr="0" dt="0"/>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468" y="2970215"/>
            <a:ext cx="10083890" cy="917575"/>
          </a:xfrm>
          <a:prstGeom prst="rect">
            <a:avLst/>
          </a:prstGeom>
        </p:spPr>
        <p:txBody>
          <a:bodyPr/>
          <a:lstStyle>
            <a:lvl1pPr algn="ctr">
              <a:defRPr sz="5998">
                <a:solidFill>
                  <a:srgbClr val="92D050"/>
                </a:solidFill>
              </a:defRPr>
            </a:lvl1pPr>
          </a:lstStyle>
          <a:p>
            <a:r>
              <a:rPr lang="en-US" sz="5398" dirty="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spTree>
    <p:extLst>
      <p:ext uri="{BB962C8B-B14F-4D97-AF65-F5344CB8AC3E}">
        <p14:creationId xmlns:p14="http://schemas.microsoft.com/office/powerpoint/2010/main" val="2063373319"/>
      </p:ext>
    </p:extLst>
  </p:cSld>
  <p:clrMapOvr>
    <a:masterClrMapping/>
  </p:clrMapOvr>
  <p:transition>
    <p:fade/>
  </p:transition>
  <p:hf hdr="0" ftr="0" dt="0"/>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4217132443"/>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Tree>
    <p:extLst>
      <p:ext uri="{BB962C8B-B14F-4D97-AF65-F5344CB8AC3E}">
        <p14:creationId xmlns:p14="http://schemas.microsoft.com/office/powerpoint/2010/main" val="3512749286"/>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3047408767"/>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bwMode="auto">
          <a:xfrm>
            <a:off x="8882557" y="-1"/>
            <a:ext cx="3306269" cy="6855083"/>
          </a:xfrm>
          <a:prstGeom prst="rect">
            <a:avLst/>
          </a:prstGeom>
          <a:solidFill>
            <a:srgbClr val="00AEEF"/>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1695" y="1944139"/>
            <a:ext cx="1307993"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18" tIns="46618" rIns="46618" bIns="46618" numCol="1" spcCol="0" rtlCol="0" fromWordArt="0" anchor="ctr" anchorCtr="0" forceAA="0" compatLnSpc="1">
            <a:prstTxWarp prst="textNoShape">
              <a:avLst/>
            </a:prstTxWarp>
            <a:noAutofit/>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1835"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hasCustomPrompt="1"/>
          </p:nvPr>
        </p:nvSpPr>
        <p:spPr>
          <a:xfrm>
            <a:off x="461144" y="158736"/>
            <a:ext cx="3693156" cy="2413891"/>
          </a:xfrm>
          <a:prstGeom prst="rect">
            <a:avLst/>
          </a:prstGeom>
        </p:spPr>
        <p:txBody>
          <a:bodyPr anchor="ctr">
            <a:noAutofit/>
          </a:bodyPr>
          <a:lstStyle>
            <a:lvl1pPr>
              <a:defRPr sz="8797"/>
            </a:lvl1pPr>
          </a:lstStyle>
          <a:p>
            <a:r>
              <a:rPr lang="en-US" sz="8795" dirty="0">
                <a:solidFill>
                  <a:schemeClr val="bg1">
                    <a:alpha val="99000"/>
                  </a:schemeClr>
                </a:solidFill>
              </a:rPr>
              <a:t>Q&amp;A</a:t>
            </a:r>
          </a:p>
        </p:txBody>
      </p:sp>
    </p:spTree>
    <p:extLst>
      <p:ext uri="{BB962C8B-B14F-4D97-AF65-F5344CB8AC3E}">
        <p14:creationId xmlns:p14="http://schemas.microsoft.com/office/powerpoint/2010/main" val="1044188038"/>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134" y="353094"/>
            <a:ext cx="10986231"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a:t>Click to edit title</a:t>
            </a:r>
          </a:p>
        </p:txBody>
      </p:sp>
    </p:spTree>
    <p:extLst>
      <p:ext uri="{BB962C8B-B14F-4D97-AF65-F5344CB8AC3E}">
        <p14:creationId xmlns:p14="http://schemas.microsoft.com/office/powerpoint/2010/main" val="2914296614"/>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6"/>
            <a:ext cx="12188825" cy="6852165"/>
          </a:xfrm>
          <a:prstGeom prst="rect">
            <a:avLst/>
          </a:prstGeom>
        </p:spPr>
      </p:pic>
      <p:sp>
        <p:nvSpPr>
          <p:cNvPr id="8" name="Rectangle 7"/>
          <p:cNvSpPr/>
          <p:nvPr userDrawn="1"/>
        </p:nvSpPr>
        <p:spPr bwMode="auto">
          <a:xfrm>
            <a:off x="10184615" y="-1"/>
            <a:ext cx="2004210" cy="6855083"/>
          </a:xfrm>
          <a:prstGeom prst="rect">
            <a:avLst/>
          </a:prstGeom>
          <a:solidFill>
            <a:srgbClr val="8CC600"/>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5531" y="233151"/>
            <a:ext cx="1182378"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21" tIns="41961" rIns="83921" bIns="41961" numCol="1" anchor="t" anchorCtr="0" compatLnSpc="1">
            <a:prstTxWarp prst="textNoShape">
              <a:avLst/>
            </a:prstTxWarp>
          </a:bodyPr>
          <a:lstStyle/>
          <a:p>
            <a:pPr marL="0" marR="0" lvl="0" indent="0" defTabSz="93227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292929"/>
              </a:solidFill>
              <a:effectLst/>
              <a:uLnTx/>
              <a:uFillTx/>
            </a:endParaRPr>
          </a:p>
        </p:txBody>
      </p:sp>
      <p:sp>
        <p:nvSpPr>
          <p:cNvPr id="4" name="Text Placeholder 3"/>
          <p:cNvSpPr>
            <a:spLocks noGrp="1"/>
          </p:cNvSpPr>
          <p:nvPr>
            <p:ph type="body" sz="quarter" idx="10"/>
          </p:nvPr>
        </p:nvSpPr>
        <p:spPr>
          <a:xfrm>
            <a:off x="589647" y="233152"/>
            <a:ext cx="9308263" cy="6416675"/>
          </a:xfrm>
          <a:prstGeom prst="rect">
            <a:avLst/>
          </a:prstGeom>
        </p:spPr>
        <p:txBody>
          <a:bodyPr/>
          <a:lstStyle>
            <a:lvl1pPr marL="0" indent="0">
              <a:buNone/>
              <a:defRPr sz="3599"/>
            </a:lvl1pPr>
            <a:lvl2pPr>
              <a:defRPr sz="3599"/>
            </a:lvl2pPr>
            <a:lvl3pPr>
              <a:defRPr sz="3599"/>
            </a:lvl3pPr>
            <a:lvl4pPr>
              <a:defRPr sz="3599"/>
            </a:lvl4pPr>
            <a:lvl5pPr>
              <a:defRPr sz="3599"/>
            </a:lvl5pPr>
          </a:lstStyle>
          <a:p>
            <a:pPr lvl="0"/>
            <a:r>
              <a:rPr lang="en-US"/>
              <a:t>Click to edit Master text styles</a:t>
            </a:r>
          </a:p>
        </p:txBody>
      </p:sp>
    </p:spTree>
    <p:extLst>
      <p:ext uri="{BB962C8B-B14F-4D97-AF65-F5344CB8AC3E}">
        <p14:creationId xmlns:p14="http://schemas.microsoft.com/office/powerpoint/2010/main" val="2948180175"/>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88825"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
        <p:nvSpPr>
          <p:cNvPr id="3" name="Text Box 3"/>
          <p:cNvSpPr txBox="1">
            <a:spLocks noChangeArrowheads="1"/>
          </p:cNvSpPr>
          <p:nvPr userDrawn="1"/>
        </p:nvSpPr>
        <p:spPr bwMode="blackWhite">
          <a:xfrm>
            <a:off x="450085" y="5503176"/>
            <a:ext cx="8637119" cy="711824"/>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650"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650"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743" y="2968091"/>
            <a:ext cx="3223021" cy="690695"/>
          </a:xfrm>
          <a:prstGeom prst="rect">
            <a:avLst/>
          </a:prstGeom>
        </p:spPr>
      </p:pic>
    </p:spTree>
    <p:extLst>
      <p:ext uri="{BB962C8B-B14F-4D97-AF65-F5344CB8AC3E}">
        <p14:creationId xmlns:p14="http://schemas.microsoft.com/office/powerpoint/2010/main" val="2819289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AzureCon Title Slide">
    <p:spTree>
      <p:nvGrpSpPr>
        <p:cNvPr id="1" name=""/>
        <p:cNvGrpSpPr/>
        <p:nvPr/>
      </p:nvGrpSpPr>
      <p:grpSpPr>
        <a:xfrm>
          <a:off x="0" y="0"/>
          <a:ext cx="0" cy="0"/>
          <a:chOff x="0" y="0"/>
          <a:chExt cx="0" cy="0"/>
        </a:xfrm>
      </p:grpSpPr>
      <p:pic>
        <p:nvPicPr>
          <p:cNvPr id="7" name="Picture 5"/>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77" y="0"/>
            <a:ext cx="1218727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hasCustomPrompt="1"/>
          </p:nvPr>
        </p:nvSpPr>
        <p:spPr>
          <a:xfrm>
            <a:off x="269232" y="2084187"/>
            <a:ext cx="8961851" cy="1793090"/>
          </a:xfrm>
          <a:noFill/>
        </p:spPr>
        <p:txBody>
          <a:bodyPr lIns="146304" tIns="91440" rIns="146304" bIns="91440" anchor="t" anchorCtr="0"/>
          <a:lstStyle>
            <a:lvl1pPr>
              <a:defRPr sz="5293"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231" y="3878574"/>
            <a:ext cx="7169469"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a:p>
            <a:pPr lvl="0"/>
            <a:r>
              <a:rPr lang="en-US" dirty="0"/>
              <a:t>Speaker Title</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8096" y="470411"/>
            <a:ext cx="1613456" cy="345766"/>
          </a:xfrm>
          <a:prstGeom prst="rect">
            <a:avLst/>
          </a:prstGeom>
        </p:spPr>
      </p:pic>
      <p:sp>
        <p:nvSpPr>
          <p:cNvPr id="2" name="TextBox 1"/>
          <p:cNvSpPr txBox="1"/>
          <p:nvPr userDrawn="1"/>
        </p:nvSpPr>
        <p:spPr>
          <a:xfrm>
            <a:off x="10260783" y="291068"/>
            <a:ext cx="1658874" cy="615609"/>
          </a:xfrm>
          <a:prstGeom prst="rect">
            <a:avLst/>
          </a:prstGeom>
          <a:noFill/>
        </p:spPr>
        <p:txBody>
          <a:bodyPr wrap="none" lIns="179238" tIns="143391" rIns="179238" bIns="143391" rtlCol="0">
            <a:spAutoFit/>
          </a:bodyPr>
          <a:lstStyle/>
          <a:p>
            <a:pPr defTabSz="914180" eaLnBrk="1" fontAlgn="auto" hangingPunct="1">
              <a:lnSpc>
                <a:spcPct val="90000"/>
              </a:lnSpc>
              <a:spcBef>
                <a:spcPts val="0"/>
              </a:spcBef>
              <a:spcAft>
                <a:spcPts val="588"/>
              </a:spcAft>
            </a:pPr>
            <a:r>
              <a:rPr lang="en-US" sz="2352" dirty="0" err="1">
                <a:gradFill>
                  <a:gsLst>
                    <a:gs pos="2917">
                      <a:srgbClr val="FFFFFF"/>
                    </a:gs>
                    <a:gs pos="30000">
                      <a:srgbClr val="FFFFFF"/>
                    </a:gs>
                  </a:gsLst>
                  <a:lin ang="5400000" scaled="0"/>
                </a:gradFill>
                <a:latin typeface="Segoe UI"/>
                <a:ea typeface="+mn-ea"/>
              </a:rPr>
              <a:t>AzureCon</a:t>
            </a:r>
            <a:endParaRPr lang="en-US" sz="2352" dirty="0">
              <a:gradFill>
                <a:gsLst>
                  <a:gs pos="2917">
                    <a:srgbClr val="FFFFFF"/>
                  </a:gs>
                  <a:gs pos="30000">
                    <a:srgbClr val="FFFFFF"/>
                  </a:gs>
                </a:gsLst>
                <a:lin ang="5400000" scaled="0"/>
              </a:gradFill>
              <a:latin typeface="Segoe UI"/>
              <a:ea typeface="+mn-ea"/>
            </a:endParaRPr>
          </a:p>
        </p:txBody>
      </p:sp>
    </p:spTree>
    <p:extLst>
      <p:ext uri="{BB962C8B-B14F-4D97-AF65-F5344CB8AC3E}">
        <p14:creationId xmlns:p14="http://schemas.microsoft.com/office/powerpoint/2010/main" val="26623361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accent1"/>
        </a:solidFill>
        <a:effectLst/>
      </p:bgPr>
    </p:bg>
    <p:spTree>
      <p:nvGrpSpPr>
        <p:cNvPr id="1" name=""/>
        <p:cNvGrpSpPr/>
        <p:nvPr/>
      </p:nvGrpSpPr>
      <p:grpSpPr>
        <a:xfrm>
          <a:off x="0" y="0"/>
          <a:ext cx="0" cy="0"/>
          <a:chOff x="0" y="0"/>
          <a:chExt cx="0" cy="0"/>
        </a:xfrm>
      </p:grpSpPr>
      <p:grpSp>
        <p:nvGrpSpPr>
          <p:cNvPr id="16" name="Group 15"/>
          <p:cNvGrpSpPr/>
          <p:nvPr userDrawn="1"/>
        </p:nvGrpSpPr>
        <p:grpSpPr>
          <a:xfrm>
            <a:off x="-233099" y="0"/>
            <a:ext cx="12655023" cy="6842189"/>
            <a:chOff x="-237835" y="0"/>
            <a:chExt cx="12912145" cy="6978399"/>
          </a:xfrm>
        </p:grpSpPr>
        <p:sp>
          <p:nvSpPr>
            <p:cNvPr id="261" name="Rectangle 260"/>
            <p:cNvSpPr/>
            <p:nvPr/>
          </p:nvSpPr>
          <p:spPr bwMode="auto">
            <a:xfrm>
              <a:off x="0" y="0"/>
              <a:ext cx="12436475" cy="5949950"/>
            </a:xfrm>
            <a:prstGeom prst="rect">
              <a:avLst/>
            </a:prstGeom>
            <a:solidFill>
              <a:srgbClr val="002846"/>
            </a:solidFill>
            <a:ln w="10795" cap="flat" cmpd="sng" algn="ctr">
              <a:noFill/>
              <a:prstDash val="solid"/>
              <a:headEnd type="none" w="med" len="med"/>
              <a:tailEnd type="none" w="med" len="med"/>
            </a:ln>
            <a:effectLst/>
          </p:spPr>
          <p:txBody>
            <a:bodyPr lIns="0" tIns="46637" rIns="0" bIns="46637" anchor="ctr"/>
            <a:lstStyle/>
            <a:p>
              <a:pPr algn="ctr" defTabSz="913843" eaLnBrk="1" hangingPunct="1">
                <a:defRPr/>
              </a:pPr>
              <a:endParaRPr lang="en-US" sz="1960" kern="0" dirty="0">
                <a:gradFill>
                  <a:gsLst>
                    <a:gs pos="16814">
                      <a:srgbClr val="FFFFFF"/>
                    </a:gs>
                    <a:gs pos="46000">
                      <a:srgbClr val="FFFFFF"/>
                    </a:gs>
                  </a:gsLst>
                  <a:lin ang="5400000" scaled="0"/>
                </a:gradFill>
                <a:latin typeface="Segoe UI"/>
                <a:ea typeface="+mn-ea"/>
              </a:endParaRPr>
            </a:p>
          </p:txBody>
        </p:sp>
        <p:sp>
          <p:nvSpPr>
            <p:cNvPr id="262" name="Freeform 261"/>
            <p:cNvSpPr/>
            <p:nvPr/>
          </p:nvSpPr>
          <p:spPr bwMode="auto">
            <a:xfrm>
              <a:off x="11399838" y="2357438"/>
              <a:ext cx="68262" cy="38100"/>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w="9525" cap="flat" cmpd="sng" algn="ctr">
              <a:noFill/>
              <a:prstDash val="solid"/>
              <a:headEnd type="none" w="med" len="med"/>
              <a:tailEnd type="none" w="med" len="med"/>
            </a:ln>
            <a:effectLst/>
          </p:spPr>
          <p:txBody>
            <a:bodyPr anchor="ctr"/>
            <a:lstStyle/>
            <a:p>
              <a:pPr algn="ctr" defTabSz="913870" eaLnBrk="1" fontAlgn="auto" hangingPunct="1">
                <a:spcBef>
                  <a:spcPts val="0"/>
                </a:spcBef>
                <a:spcAft>
                  <a:spcPts val="0"/>
                </a:spcAft>
                <a:defRPr/>
              </a:pPr>
              <a:endParaRPr lang="en-US" sz="1799" kern="0">
                <a:solidFill>
                  <a:srgbClr val="FFFFFF"/>
                </a:solidFill>
                <a:latin typeface="Segoe UI"/>
                <a:ea typeface="+mn-ea"/>
              </a:endParaRPr>
            </a:p>
          </p:txBody>
        </p:sp>
        <p:sp>
          <p:nvSpPr>
            <p:cNvPr id="458" name="Rectangle 457"/>
            <p:cNvSpPr/>
            <p:nvPr/>
          </p:nvSpPr>
          <p:spPr bwMode="auto">
            <a:xfrm>
              <a:off x="112714" y="4411652"/>
              <a:ext cx="12203111" cy="1391390"/>
            </a:xfrm>
            <a:prstGeom prst="rect">
              <a:avLst/>
            </a:prstGeom>
            <a:solidFill>
              <a:srgbClr val="0072C6">
                <a:lumMod val="75000"/>
              </a:srgbClr>
            </a:solidFill>
            <a:ln w="6350" cap="flat" cmpd="sng" algn="ctr">
              <a:noFill/>
              <a:prstDash val="solid"/>
              <a:miter lim="800000"/>
              <a:headEnd type="none" w="med" len="med"/>
              <a:tailEnd type="none" w="med" len="med"/>
            </a:ln>
            <a:effectLst/>
          </p:spPr>
          <p:txBody>
            <a:bodyPr lIns="179285" tIns="91440" rIns="179285" bIns="143428"/>
            <a:lstStyle/>
            <a:p>
              <a:pPr algn="ctr" defTabSz="895740" eaLnBrk="1" hangingPunct="1">
                <a:lnSpc>
                  <a:spcPct val="90000"/>
                </a:lnSpc>
                <a:spcBef>
                  <a:spcPts val="0"/>
                </a:spcBef>
                <a:spcAft>
                  <a:spcPts val="0"/>
                </a:spcAft>
                <a:defRPr/>
              </a:pPr>
              <a:r>
                <a:rPr lang="en-US" sz="1568"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Infrastructure Services</a:t>
              </a:r>
            </a:p>
          </p:txBody>
        </p:sp>
        <p:grpSp>
          <p:nvGrpSpPr>
            <p:cNvPr id="459" name="Group 458"/>
            <p:cNvGrpSpPr/>
            <p:nvPr/>
          </p:nvGrpSpPr>
          <p:grpSpPr>
            <a:xfrm>
              <a:off x="2945483" y="4783867"/>
              <a:ext cx="2834641" cy="790575"/>
              <a:chOff x="3078280" y="4930775"/>
              <a:chExt cx="2834641" cy="790575"/>
            </a:xfrm>
          </p:grpSpPr>
          <p:sp>
            <p:nvSpPr>
              <p:cNvPr id="507" name="Rectangle 506"/>
              <p:cNvSpPr/>
              <p:nvPr/>
            </p:nvSpPr>
            <p:spPr bwMode="auto">
              <a:xfrm>
                <a:off x="3078280" y="4930775"/>
                <a:ext cx="283464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torage</a:t>
                </a:r>
              </a:p>
            </p:txBody>
          </p:sp>
          <p:grpSp>
            <p:nvGrpSpPr>
              <p:cNvPr id="508" name="Group 507"/>
              <p:cNvGrpSpPr/>
              <p:nvPr/>
            </p:nvGrpSpPr>
            <p:grpSpPr>
              <a:xfrm>
                <a:off x="3141325" y="5190883"/>
                <a:ext cx="920051" cy="363782"/>
                <a:chOff x="3141325" y="5190883"/>
                <a:chExt cx="920051" cy="363782"/>
              </a:xfrm>
            </p:grpSpPr>
            <p:sp>
              <p:nvSpPr>
                <p:cNvPr id="515" name="Rectangle 514"/>
                <p:cNvSpPr/>
                <p:nvPr/>
              </p:nvSpPr>
              <p:spPr bwMode="auto">
                <a:xfrm>
                  <a:off x="3399149" y="5190883"/>
                  <a:ext cx="662227"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BLOB </a:t>
                  </a:r>
                  <a:b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Storage</a:t>
                  </a:r>
                </a:p>
              </p:txBody>
            </p:sp>
            <p:pic>
              <p:nvPicPr>
                <p:cNvPr id="516" name="Picture 231" descr="Storage blob.png"/>
                <p:cNvPicPr>
                  <a:picLocks noChangeAspect="1"/>
                </p:cNvPicPr>
                <p:nvPr/>
              </p:nvPicPr>
              <p:blipFill>
                <a:blip r:embed="rId2">
                  <a:biLevel thresh="25000"/>
                  <a:extLst>
                    <a:ext uri="{28A0092B-C50C-407E-A947-70E740481C1C}">
                      <a14:useLocalDpi xmlns:a14="http://schemas.microsoft.com/office/drawing/2010/main" val="0"/>
                    </a:ext>
                  </a:extLst>
                </a:blip>
                <a:srcRect/>
                <a:stretch>
                  <a:fillRect/>
                </a:stretch>
              </p:blipFill>
              <p:spPr bwMode="auto">
                <a:xfrm>
                  <a:off x="314132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9" name="Group 508"/>
              <p:cNvGrpSpPr/>
              <p:nvPr/>
            </p:nvGrpSpPr>
            <p:grpSpPr>
              <a:xfrm>
                <a:off x="4130780" y="5194673"/>
                <a:ext cx="817562" cy="363782"/>
                <a:chOff x="4079535" y="5194673"/>
                <a:chExt cx="817562" cy="363782"/>
              </a:xfrm>
            </p:grpSpPr>
            <p:sp>
              <p:nvSpPr>
                <p:cNvPr id="513" name="Rectangle 512"/>
                <p:cNvSpPr/>
                <p:nvPr/>
              </p:nvSpPr>
              <p:spPr bwMode="auto">
                <a:xfrm>
                  <a:off x="4351381" y="5194673"/>
                  <a:ext cx="545716"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Azure </a:t>
                  </a:r>
                  <a:b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Files</a:t>
                  </a:r>
                </a:p>
              </p:txBody>
            </p:sp>
            <p:pic>
              <p:nvPicPr>
                <p:cNvPr id="514" name="Picture 232" descr="Storage blob.png"/>
                <p:cNvPicPr>
                  <a:picLocks noChangeAspect="1"/>
                </p:cNvPicPr>
                <p:nvPr/>
              </p:nvPicPr>
              <p:blipFill>
                <a:blip r:embed="rId2">
                  <a:biLevel thresh="25000"/>
                  <a:extLst>
                    <a:ext uri="{28A0092B-C50C-407E-A947-70E740481C1C}">
                      <a14:useLocalDpi xmlns:a14="http://schemas.microsoft.com/office/drawing/2010/main" val="0"/>
                    </a:ext>
                  </a:extLst>
                </a:blip>
                <a:srcRect/>
                <a:stretch>
                  <a:fillRect/>
                </a:stretch>
              </p:blipFill>
              <p:spPr bwMode="auto">
                <a:xfrm>
                  <a:off x="407953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10" name="Group 509"/>
              <p:cNvGrpSpPr/>
              <p:nvPr/>
            </p:nvGrpSpPr>
            <p:grpSpPr>
              <a:xfrm>
                <a:off x="5017746" y="5193643"/>
                <a:ext cx="895175" cy="363782"/>
                <a:chOff x="5017746" y="5193643"/>
                <a:chExt cx="895175" cy="363782"/>
              </a:xfrm>
            </p:grpSpPr>
            <p:sp>
              <p:nvSpPr>
                <p:cNvPr id="511" name="Rectangle 510"/>
                <p:cNvSpPr/>
                <p:nvPr/>
              </p:nvSpPr>
              <p:spPr bwMode="auto">
                <a:xfrm>
                  <a:off x="5292049" y="5193643"/>
                  <a:ext cx="620872"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Premium Storage</a:t>
                  </a:r>
                </a:p>
              </p:txBody>
            </p:sp>
            <p:pic>
              <p:nvPicPr>
                <p:cNvPr id="512" name="Picture 233" descr="Storage blob.png"/>
                <p:cNvPicPr>
                  <a:picLocks noChangeAspect="1"/>
                </p:cNvPicPr>
                <p:nvPr/>
              </p:nvPicPr>
              <p:blipFill>
                <a:blip r:embed="rId2">
                  <a:biLevel thresh="25000"/>
                  <a:extLst>
                    <a:ext uri="{28A0092B-C50C-407E-A947-70E740481C1C}">
                      <a14:useLocalDpi xmlns:a14="http://schemas.microsoft.com/office/drawing/2010/main" val="0"/>
                    </a:ext>
                  </a:extLst>
                </a:blip>
                <a:srcRect/>
                <a:stretch>
                  <a:fillRect/>
                </a:stretch>
              </p:blipFill>
              <p:spPr bwMode="auto">
                <a:xfrm>
                  <a:off x="5017746"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460" name="Group 459"/>
            <p:cNvGrpSpPr/>
            <p:nvPr/>
          </p:nvGrpSpPr>
          <p:grpSpPr>
            <a:xfrm>
              <a:off x="249566" y="4783867"/>
              <a:ext cx="2573556" cy="788988"/>
              <a:chOff x="249566" y="4930775"/>
              <a:chExt cx="2573556" cy="788988"/>
            </a:xfrm>
          </p:grpSpPr>
          <p:sp>
            <p:nvSpPr>
              <p:cNvPr id="484" name="Rectangle 483"/>
              <p:cNvSpPr/>
              <p:nvPr/>
            </p:nvSpPr>
            <p:spPr bwMode="auto">
              <a:xfrm>
                <a:off x="249566" y="4930775"/>
                <a:ext cx="2573556" cy="788988"/>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ute</a:t>
                </a:r>
              </a:p>
            </p:txBody>
          </p:sp>
          <p:grpSp>
            <p:nvGrpSpPr>
              <p:cNvPr id="486" name="Group 485"/>
              <p:cNvGrpSpPr/>
              <p:nvPr/>
            </p:nvGrpSpPr>
            <p:grpSpPr>
              <a:xfrm>
                <a:off x="485673" y="5263570"/>
                <a:ext cx="952409" cy="261937"/>
                <a:chOff x="607413" y="5263570"/>
                <a:chExt cx="952409" cy="261937"/>
              </a:xfrm>
            </p:grpSpPr>
            <p:sp>
              <p:nvSpPr>
                <p:cNvPr id="503" name="Rectangle 502"/>
                <p:cNvSpPr/>
                <p:nvPr/>
              </p:nvSpPr>
              <p:spPr bwMode="auto">
                <a:xfrm>
                  <a:off x="892212" y="5263570"/>
                  <a:ext cx="667610" cy="21810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Virtual</a:t>
                  </a:r>
                  <a:b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Machine</a:t>
                  </a:r>
                </a:p>
              </p:txBody>
            </p:sp>
            <p:pic>
              <p:nvPicPr>
                <p:cNvPr id="504" name="Picture 395"/>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607413" y="5263570"/>
                  <a:ext cx="261938"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87" name="Group 486"/>
              <p:cNvGrpSpPr/>
              <p:nvPr/>
            </p:nvGrpSpPr>
            <p:grpSpPr>
              <a:xfrm>
                <a:off x="1737729" y="5259936"/>
                <a:ext cx="934978" cy="239587"/>
                <a:chOff x="1737729" y="5267270"/>
                <a:chExt cx="934978" cy="239587"/>
              </a:xfrm>
            </p:grpSpPr>
            <p:sp>
              <p:nvSpPr>
                <p:cNvPr id="488" name="Rectangle 487"/>
                <p:cNvSpPr/>
                <p:nvPr/>
              </p:nvSpPr>
              <p:spPr bwMode="auto">
                <a:xfrm>
                  <a:off x="1970460" y="5267270"/>
                  <a:ext cx="702247" cy="239587"/>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Containers</a:t>
                  </a:r>
                </a:p>
              </p:txBody>
            </p:sp>
            <p:grpSp>
              <p:nvGrpSpPr>
                <p:cNvPr id="489" name="Group 411"/>
                <p:cNvGrpSpPr>
                  <a:grpSpLocks/>
                </p:cNvGrpSpPr>
                <p:nvPr/>
              </p:nvGrpSpPr>
              <p:grpSpPr bwMode="auto">
                <a:xfrm>
                  <a:off x="1737729" y="5302132"/>
                  <a:ext cx="220664" cy="169862"/>
                  <a:chOff x="1116824" y="5288934"/>
                  <a:chExt cx="294653" cy="226942"/>
                </a:xfrm>
              </p:grpSpPr>
              <p:grpSp>
                <p:nvGrpSpPr>
                  <p:cNvPr id="490" name="Group 489"/>
                  <p:cNvGrpSpPr/>
                  <p:nvPr/>
                </p:nvGrpSpPr>
                <p:grpSpPr>
                  <a:xfrm>
                    <a:off x="1143956" y="5308454"/>
                    <a:ext cx="97033" cy="104041"/>
                    <a:chOff x="429567" y="3925067"/>
                    <a:chExt cx="291844" cy="312924"/>
                  </a:xfrm>
                  <a:solidFill>
                    <a:srgbClr val="FFFFFF"/>
                  </a:solidFill>
                </p:grpSpPr>
                <p:sp>
                  <p:nvSpPr>
                    <p:cNvPr id="500" name="Diamond 499"/>
                    <p:cNvSpPr/>
                    <p:nvPr/>
                  </p:nvSpPr>
                  <p:spPr bwMode="auto">
                    <a:xfrm rot="19690132">
                      <a:off x="429567" y="3991206"/>
                      <a:ext cx="148049" cy="245584"/>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501" name="Diamond 500"/>
                    <p:cNvSpPr/>
                    <p:nvPr/>
                  </p:nvSpPr>
                  <p:spPr bwMode="auto">
                    <a:xfrm rot="1935408">
                      <a:off x="567471" y="3991342"/>
                      <a:ext cx="153940" cy="246649"/>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502" name="Diamond 501"/>
                    <p:cNvSpPr/>
                    <p:nvPr/>
                  </p:nvSpPr>
                  <p:spPr bwMode="auto">
                    <a:xfrm rot="5400000">
                      <a:off x="498047" y="3879246"/>
                      <a:ext cx="153941" cy="245584"/>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sp>
                <p:nvSpPr>
                  <p:cNvPr id="491" name="Rounded Rectangle 490"/>
                  <p:cNvSpPr/>
                  <p:nvPr/>
                </p:nvSpPr>
                <p:spPr bwMode="auto">
                  <a:xfrm>
                    <a:off x="1116824" y="5288934"/>
                    <a:ext cx="294653" cy="226942"/>
                  </a:xfrm>
                  <a:prstGeom prst="roundRect">
                    <a:avLst>
                      <a:gd name="adj" fmla="val 9184"/>
                    </a:avLst>
                  </a:prstGeom>
                  <a:noFill/>
                  <a:ln w="19050" cap="flat" cmpd="sng" algn="ctr">
                    <a:solidFill>
                      <a:srgbClr val="FFFFFF"/>
                    </a:solid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nvGrpSpPr>
                  <p:cNvPr id="492" name="Group 491"/>
                  <p:cNvGrpSpPr/>
                  <p:nvPr/>
                </p:nvGrpSpPr>
                <p:grpSpPr>
                  <a:xfrm>
                    <a:off x="1288799" y="5308986"/>
                    <a:ext cx="97033" cy="104040"/>
                    <a:chOff x="429561" y="3925070"/>
                    <a:chExt cx="291847" cy="312921"/>
                  </a:xfrm>
                  <a:solidFill>
                    <a:srgbClr val="FFFFFF"/>
                  </a:solidFill>
                </p:grpSpPr>
                <p:sp>
                  <p:nvSpPr>
                    <p:cNvPr id="497" name="Diamond 496"/>
                    <p:cNvSpPr/>
                    <p:nvPr/>
                  </p:nvSpPr>
                  <p:spPr bwMode="auto">
                    <a:xfrm rot="19690132">
                      <a:off x="429561" y="3991205"/>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8" name="Diamond 497"/>
                    <p:cNvSpPr/>
                    <p:nvPr/>
                  </p:nvSpPr>
                  <p:spPr bwMode="auto">
                    <a:xfrm rot="1935408">
                      <a:off x="567466" y="3991341"/>
                      <a:ext cx="153942" cy="246650"/>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9" name="Diamond 498"/>
                    <p:cNvSpPr/>
                    <p:nvPr/>
                  </p:nvSpPr>
                  <p:spPr bwMode="auto">
                    <a:xfrm rot="5400000">
                      <a:off x="498041" y="3879250"/>
                      <a:ext cx="153941" cy="245582"/>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nvGrpSpPr>
                  <p:cNvPr id="493" name="Group 492"/>
                  <p:cNvGrpSpPr/>
                  <p:nvPr/>
                </p:nvGrpSpPr>
                <p:grpSpPr>
                  <a:xfrm>
                    <a:off x="1220330" y="5390443"/>
                    <a:ext cx="97032" cy="104039"/>
                    <a:chOff x="429564" y="3925074"/>
                    <a:chExt cx="291843" cy="312917"/>
                  </a:xfrm>
                  <a:solidFill>
                    <a:srgbClr val="FFFFFF"/>
                  </a:solidFill>
                </p:grpSpPr>
                <p:sp>
                  <p:nvSpPr>
                    <p:cNvPr id="494" name="Diamond 493"/>
                    <p:cNvSpPr/>
                    <p:nvPr/>
                  </p:nvSpPr>
                  <p:spPr bwMode="auto">
                    <a:xfrm rot="19690132">
                      <a:off x="429564" y="3991204"/>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5" name="Diamond 494"/>
                    <p:cNvSpPr/>
                    <p:nvPr/>
                  </p:nvSpPr>
                  <p:spPr bwMode="auto">
                    <a:xfrm rot="1935408">
                      <a:off x="567465" y="3991345"/>
                      <a:ext cx="153942" cy="246646"/>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6" name="Diamond 495"/>
                    <p:cNvSpPr/>
                    <p:nvPr/>
                  </p:nvSpPr>
                  <p:spPr bwMode="auto">
                    <a:xfrm rot="5400000">
                      <a:off x="502612" y="3879253"/>
                      <a:ext cx="153940" cy="245581"/>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grpSp>
        </p:grpSp>
        <p:grpSp>
          <p:nvGrpSpPr>
            <p:cNvPr id="461" name="Group 460"/>
            <p:cNvGrpSpPr/>
            <p:nvPr/>
          </p:nvGrpSpPr>
          <p:grpSpPr>
            <a:xfrm>
              <a:off x="5900614" y="4783867"/>
              <a:ext cx="6292850" cy="790575"/>
              <a:chOff x="6022975" y="4930775"/>
              <a:chExt cx="6292850" cy="790575"/>
            </a:xfrm>
          </p:grpSpPr>
          <p:sp>
            <p:nvSpPr>
              <p:cNvPr id="462" name="Rectangle 461"/>
              <p:cNvSpPr/>
              <p:nvPr/>
            </p:nvSpPr>
            <p:spPr bwMode="auto">
              <a:xfrm>
                <a:off x="6022975" y="4930775"/>
                <a:ext cx="629285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Networking</a:t>
                </a:r>
              </a:p>
            </p:txBody>
          </p:sp>
          <p:grpSp>
            <p:nvGrpSpPr>
              <p:cNvPr id="463" name="Group 462"/>
              <p:cNvGrpSpPr/>
              <p:nvPr/>
            </p:nvGrpSpPr>
            <p:grpSpPr>
              <a:xfrm>
                <a:off x="6120092" y="5210907"/>
                <a:ext cx="947766" cy="346518"/>
                <a:chOff x="6120092" y="5210907"/>
                <a:chExt cx="947766" cy="346518"/>
              </a:xfrm>
            </p:grpSpPr>
            <p:sp>
              <p:nvSpPr>
                <p:cNvPr id="482" name="Rectangle 481"/>
                <p:cNvSpPr/>
                <p:nvPr/>
              </p:nvSpPr>
              <p:spPr bwMode="auto">
                <a:xfrm>
                  <a:off x="6388100" y="5210907"/>
                  <a:ext cx="679758"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Virtual Network</a:t>
                  </a:r>
                </a:p>
              </p:txBody>
            </p:sp>
            <p:pic>
              <p:nvPicPr>
                <p:cNvPr id="483" name="Picture 226"/>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6120092" y="5242269"/>
                  <a:ext cx="268287" cy="268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4" name="Group 463"/>
              <p:cNvGrpSpPr/>
              <p:nvPr/>
            </p:nvGrpSpPr>
            <p:grpSpPr>
              <a:xfrm>
                <a:off x="8599909" y="5210661"/>
                <a:ext cx="854686" cy="346764"/>
                <a:chOff x="8608651" y="5210661"/>
                <a:chExt cx="854686" cy="346764"/>
              </a:xfrm>
            </p:grpSpPr>
            <p:sp>
              <p:nvSpPr>
                <p:cNvPr id="480" name="Rectangle 479"/>
                <p:cNvSpPr/>
                <p:nvPr/>
              </p:nvSpPr>
              <p:spPr bwMode="auto">
                <a:xfrm>
                  <a:off x="8913208" y="5210661"/>
                  <a:ext cx="550129"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Express</a:t>
                  </a:r>
                </a:p>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Route</a:t>
                  </a:r>
                </a:p>
              </p:txBody>
            </p:sp>
            <p:pic>
              <p:nvPicPr>
                <p:cNvPr id="481" name="Picture 227"/>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a:off x="8608651" y="5234771"/>
                  <a:ext cx="285077" cy="283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5" name="Group 464"/>
              <p:cNvGrpSpPr/>
              <p:nvPr/>
            </p:nvGrpSpPr>
            <p:grpSpPr>
              <a:xfrm>
                <a:off x="9499896" y="5210661"/>
                <a:ext cx="856833" cy="346764"/>
                <a:chOff x="9542661" y="5210661"/>
                <a:chExt cx="856833" cy="346764"/>
              </a:xfrm>
            </p:grpSpPr>
            <p:sp>
              <p:nvSpPr>
                <p:cNvPr id="478" name="Rectangle 477"/>
                <p:cNvSpPr/>
                <p:nvPr/>
              </p:nvSpPr>
              <p:spPr bwMode="auto">
                <a:xfrm>
                  <a:off x="9773921" y="5210661"/>
                  <a:ext cx="625573"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Traffic Manager</a:t>
                  </a:r>
                </a:p>
              </p:txBody>
            </p:sp>
            <p:pic>
              <p:nvPicPr>
                <p:cNvPr id="479" name="Picture 88"/>
                <p:cNvPicPr>
                  <a:picLocks noChangeAspect="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9542661" y="5271638"/>
                  <a:ext cx="211137"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6" name="Group 465"/>
              <p:cNvGrpSpPr/>
              <p:nvPr/>
            </p:nvGrpSpPr>
            <p:grpSpPr>
              <a:xfrm>
                <a:off x="11270141" y="5210661"/>
                <a:ext cx="985359" cy="346764"/>
                <a:chOff x="11270141" y="5210661"/>
                <a:chExt cx="985359" cy="346764"/>
              </a:xfrm>
            </p:grpSpPr>
            <p:sp>
              <p:nvSpPr>
                <p:cNvPr id="476" name="Rectangle 475"/>
                <p:cNvSpPr/>
                <p:nvPr/>
              </p:nvSpPr>
              <p:spPr bwMode="auto">
                <a:xfrm>
                  <a:off x="11524599" y="5210661"/>
                  <a:ext cx="730901"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Application Gateway</a:t>
                  </a:r>
                </a:p>
              </p:txBody>
            </p:sp>
            <p:sp>
              <p:nvSpPr>
                <p:cNvPr id="477" name="Freeform 476"/>
                <p:cNvSpPr/>
                <p:nvPr/>
              </p:nvSpPr>
              <p:spPr bwMode="auto">
                <a:xfrm rot="2700000">
                  <a:off x="11270140" y="5281957"/>
                  <a:ext cx="188913" cy="188912"/>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nvGrpSpPr>
              <p:cNvPr id="467" name="Group 466"/>
              <p:cNvGrpSpPr/>
              <p:nvPr/>
            </p:nvGrpSpPr>
            <p:grpSpPr>
              <a:xfrm>
                <a:off x="7897520" y="5210661"/>
                <a:ext cx="657088" cy="346764"/>
                <a:chOff x="7872239" y="5210661"/>
                <a:chExt cx="657088" cy="346764"/>
              </a:xfrm>
            </p:grpSpPr>
            <p:sp>
              <p:nvSpPr>
                <p:cNvPr id="474" name="Rectangle 473"/>
                <p:cNvSpPr/>
                <p:nvPr/>
              </p:nvSpPr>
              <p:spPr bwMode="auto">
                <a:xfrm>
                  <a:off x="8127646" y="5210661"/>
                  <a:ext cx="401681" cy="346764"/>
                </a:xfrm>
                <a:prstGeom prst="rect">
                  <a:avLst/>
                </a:prstGeom>
                <a:noFill/>
                <a:ln w="6350" cap="flat" cmpd="sng" algn="ctr">
                  <a:noFill/>
                  <a:prstDash val="solid"/>
                  <a:miter lim="800000"/>
                  <a:headEnd type="none" w="med" len="med"/>
                  <a:tailEnd type="none" w="med" len="med"/>
                </a:ln>
                <a:effectLst/>
              </p:spPr>
              <p:txBody>
                <a:bodyPr lIns="45720" tIns="45720" rIns="45720" bIns="45720" anchor="ctr" anchorCtr="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DNS</a:t>
                  </a:r>
                </a:p>
              </p:txBody>
            </p:sp>
            <p:pic>
              <p:nvPicPr>
                <p:cNvPr id="475" name="Picture 3"/>
                <p:cNvPicPr>
                  <a:picLocks noChangeAspect="1"/>
                </p:cNvPicPr>
                <p:nvPr/>
              </p:nvPicPr>
              <p:blipFill>
                <a:blip r:embed="rId7">
                  <a:biLevel thresh="25000"/>
                  <a:extLst>
                    <a:ext uri="{28A0092B-C50C-407E-A947-70E740481C1C}">
                      <a14:useLocalDpi xmlns:a14="http://schemas.microsoft.com/office/drawing/2010/main" val="0"/>
                    </a:ext>
                  </a:extLst>
                </a:blip>
                <a:srcRect/>
                <a:stretch>
                  <a:fillRect/>
                </a:stretch>
              </p:blipFill>
              <p:spPr bwMode="auto">
                <a:xfrm>
                  <a:off x="7872239" y="5259380"/>
                  <a:ext cx="234066" cy="23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8" name="Group 467"/>
              <p:cNvGrpSpPr/>
              <p:nvPr/>
            </p:nvGrpSpPr>
            <p:grpSpPr>
              <a:xfrm>
                <a:off x="10402030" y="5210661"/>
                <a:ext cx="822809" cy="346764"/>
                <a:chOff x="10440820" y="5210661"/>
                <a:chExt cx="822809" cy="346764"/>
              </a:xfrm>
            </p:grpSpPr>
            <p:sp>
              <p:nvSpPr>
                <p:cNvPr id="472" name="Rectangle 471"/>
                <p:cNvSpPr/>
                <p:nvPr/>
              </p:nvSpPr>
              <p:spPr bwMode="auto">
                <a:xfrm>
                  <a:off x="10673647" y="5210661"/>
                  <a:ext cx="589982"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VPN </a:t>
                  </a:r>
                  <a:b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Gateway</a:t>
                  </a:r>
                </a:p>
              </p:txBody>
            </p:sp>
            <p:pic>
              <p:nvPicPr>
                <p:cNvPr id="473" name="Picture 9"/>
                <p:cNvPicPr>
                  <a:picLocks noChangeAspect="1"/>
                </p:cNvPicPr>
                <p:nvPr/>
              </p:nvPicPr>
              <p:blipFill>
                <a:blip r:embed="rId8">
                  <a:biLevel thresh="25000"/>
                  <a:extLst>
                    <a:ext uri="{28A0092B-C50C-407E-A947-70E740481C1C}">
                      <a14:useLocalDpi xmlns:a14="http://schemas.microsoft.com/office/drawing/2010/main" val="0"/>
                    </a:ext>
                  </a:extLst>
                </a:blip>
                <a:srcRect/>
                <a:stretch>
                  <a:fillRect/>
                </a:stretch>
              </p:blipFill>
              <p:spPr bwMode="auto">
                <a:xfrm>
                  <a:off x="10440820" y="5255763"/>
                  <a:ext cx="241300" cy="24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9" name="Group 468"/>
              <p:cNvGrpSpPr/>
              <p:nvPr/>
            </p:nvGrpSpPr>
            <p:grpSpPr>
              <a:xfrm>
                <a:off x="7004047" y="5210907"/>
                <a:ext cx="848172" cy="346518"/>
                <a:chOff x="7002727" y="5210907"/>
                <a:chExt cx="848172" cy="346518"/>
              </a:xfrm>
            </p:grpSpPr>
            <p:sp>
              <p:nvSpPr>
                <p:cNvPr id="470" name="Rectangle 469"/>
                <p:cNvSpPr/>
                <p:nvPr/>
              </p:nvSpPr>
              <p:spPr bwMode="auto">
                <a:xfrm>
                  <a:off x="7265455" y="5210907"/>
                  <a:ext cx="585444"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Load Balancer</a:t>
                  </a:r>
                </a:p>
              </p:txBody>
            </p:sp>
            <p:pic>
              <p:nvPicPr>
                <p:cNvPr id="471" name="Picture 11"/>
                <p:cNvPicPr>
                  <a:picLocks noChangeAspect="1"/>
                </p:cNvPicPr>
                <p:nvPr/>
              </p:nvPicPr>
              <p:blipFill>
                <a:blip r:embed="rId9">
                  <a:biLevel thresh="25000"/>
                  <a:extLst>
                    <a:ext uri="{28A0092B-C50C-407E-A947-70E740481C1C}">
                      <a14:useLocalDpi xmlns:a14="http://schemas.microsoft.com/office/drawing/2010/main" val="0"/>
                    </a:ext>
                  </a:extLst>
                </a:blip>
                <a:srcRect/>
                <a:stretch>
                  <a:fillRect/>
                </a:stretch>
              </p:blipFill>
              <p:spPr bwMode="auto">
                <a:xfrm>
                  <a:off x="7002727" y="5257351"/>
                  <a:ext cx="23971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342" name="Rectangle 341"/>
            <p:cNvSpPr/>
            <p:nvPr/>
          </p:nvSpPr>
          <p:spPr bwMode="auto">
            <a:xfrm>
              <a:off x="112714" y="104775"/>
              <a:ext cx="12203111" cy="4349182"/>
            </a:xfrm>
            <a:prstGeom prst="rect">
              <a:avLst/>
            </a:prstGeom>
            <a:solidFill>
              <a:srgbClr val="005695"/>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568"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Platform Services</a:t>
              </a:r>
            </a:p>
          </p:txBody>
        </p:sp>
        <p:grpSp>
          <p:nvGrpSpPr>
            <p:cNvPr id="14" name="Group 13"/>
            <p:cNvGrpSpPr/>
            <p:nvPr/>
          </p:nvGrpSpPr>
          <p:grpSpPr>
            <a:xfrm>
              <a:off x="249566" y="543029"/>
              <a:ext cx="11942434" cy="3795291"/>
              <a:chOff x="249566" y="543029"/>
              <a:chExt cx="11942434" cy="3795291"/>
            </a:xfrm>
          </p:grpSpPr>
          <p:grpSp>
            <p:nvGrpSpPr>
              <p:cNvPr id="343" name="Group 342"/>
              <p:cNvGrpSpPr/>
              <p:nvPr/>
            </p:nvGrpSpPr>
            <p:grpSpPr>
              <a:xfrm>
                <a:off x="2087227" y="543029"/>
                <a:ext cx="8372241" cy="3790160"/>
                <a:chOff x="2082009" y="543029"/>
                <a:chExt cx="8372241" cy="3790160"/>
              </a:xfrm>
            </p:grpSpPr>
            <p:grpSp>
              <p:nvGrpSpPr>
                <p:cNvPr id="344" name="Group 343"/>
                <p:cNvGrpSpPr/>
                <p:nvPr/>
              </p:nvGrpSpPr>
              <p:grpSpPr>
                <a:xfrm>
                  <a:off x="4343326" y="543029"/>
                  <a:ext cx="3736693" cy="1371600"/>
                  <a:chOff x="4336920" y="650979"/>
                  <a:chExt cx="3736693" cy="1371600"/>
                </a:xfrm>
              </p:grpSpPr>
              <p:sp>
                <p:nvSpPr>
                  <p:cNvPr id="439" name="Rectangle 438"/>
                  <p:cNvSpPr/>
                  <p:nvPr/>
                </p:nvSpPr>
                <p:spPr bwMode="auto">
                  <a:xfrm>
                    <a:off x="4336920" y="650979"/>
                    <a:ext cx="3736693"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Web and mobile</a:t>
                    </a:r>
                  </a:p>
                </p:txBody>
              </p:sp>
              <p:grpSp>
                <p:nvGrpSpPr>
                  <p:cNvPr id="440" name="Group 439"/>
                  <p:cNvGrpSpPr/>
                  <p:nvPr/>
                </p:nvGrpSpPr>
                <p:grpSpPr>
                  <a:xfrm>
                    <a:off x="4516491" y="1046498"/>
                    <a:ext cx="1003842" cy="300037"/>
                    <a:chOff x="4516491" y="987018"/>
                    <a:chExt cx="1003842" cy="300037"/>
                  </a:xfrm>
                </p:grpSpPr>
                <p:sp>
                  <p:nvSpPr>
                    <p:cNvPr id="456" name="TextBox 455"/>
                    <p:cNvSpPr txBox="1"/>
                    <p:nvPr/>
                  </p:nvSpPr>
                  <p:spPr bwMode="auto">
                    <a:xfrm>
                      <a:off x="4861521" y="987018"/>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Web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pps</a:t>
                      </a:r>
                    </a:p>
                  </p:txBody>
                </p:sp>
                <p:pic>
                  <p:nvPicPr>
                    <p:cNvPr id="457" name="Picture 151"/>
                    <p:cNvPicPr>
                      <a:picLocks noChangeAspect="1"/>
                    </p:cNvPicPr>
                    <p:nvPr/>
                  </p:nvPicPr>
                  <p:blipFill>
                    <a:blip r:embed="rId10">
                      <a:biLevel thresh="25000"/>
                      <a:extLst>
                        <a:ext uri="{28A0092B-C50C-407E-A947-70E740481C1C}">
                          <a14:useLocalDpi xmlns:a14="http://schemas.microsoft.com/office/drawing/2010/main" val="0"/>
                        </a:ext>
                      </a:extLst>
                    </a:blip>
                    <a:srcRect/>
                    <a:stretch>
                      <a:fillRect/>
                    </a:stretch>
                  </p:blipFill>
                  <p:spPr bwMode="auto">
                    <a:xfrm>
                      <a:off x="4516491" y="993596"/>
                      <a:ext cx="286768" cy="286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1" name="Group 440"/>
                  <p:cNvGrpSpPr/>
                  <p:nvPr/>
                </p:nvGrpSpPr>
                <p:grpSpPr>
                  <a:xfrm>
                    <a:off x="4516491" y="1617114"/>
                    <a:ext cx="1003842" cy="291190"/>
                    <a:chOff x="4516491" y="1514601"/>
                    <a:chExt cx="1003842" cy="291190"/>
                  </a:xfrm>
                </p:grpSpPr>
                <p:sp>
                  <p:nvSpPr>
                    <p:cNvPr id="454" name="TextBox 453"/>
                    <p:cNvSpPr txBox="1"/>
                    <p:nvPr/>
                  </p:nvSpPr>
                  <p:spPr bwMode="auto">
                    <a:xfrm>
                      <a:off x="4861521" y="1530021"/>
                      <a:ext cx="658812" cy="26035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Mobil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pps</a:t>
                      </a:r>
                    </a:p>
                  </p:txBody>
                </p:sp>
                <p:pic>
                  <p:nvPicPr>
                    <p:cNvPr id="455" name="Picture 153"/>
                    <p:cNvPicPr>
                      <a:picLocks noChangeAspect="1"/>
                    </p:cNvPicPr>
                    <p:nvPr/>
                  </p:nvPicPr>
                  <p:blipFill>
                    <a:blip r:embed="rId11">
                      <a:biLevel thresh="25000"/>
                      <a:extLst>
                        <a:ext uri="{28A0092B-C50C-407E-A947-70E740481C1C}">
                          <a14:useLocalDpi xmlns:a14="http://schemas.microsoft.com/office/drawing/2010/main" val="0"/>
                        </a:ext>
                      </a:extLst>
                    </a:blip>
                    <a:srcRect/>
                    <a:stretch>
                      <a:fillRect/>
                    </a:stretch>
                  </p:blipFill>
                  <p:spPr bwMode="auto">
                    <a:xfrm>
                      <a:off x="4516491" y="1514601"/>
                      <a:ext cx="291075" cy="29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2" name="Group 441"/>
                  <p:cNvGrpSpPr/>
                  <p:nvPr/>
                </p:nvGrpSpPr>
                <p:grpSpPr>
                  <a:xfrm>
                    <a:off x="6846369" y="1044910"/>
                    <a:ext cx="1017770" cy="301625"/>
                    <a:chOff x="6784198" y="987352"/>
                    <a:chExt cx="1017770" cy="301625"/>
                  </a:xfrm>
                </p:grpSpPr>
                <p:sp>
                  <p:nvSpPr>
                    <p:cNvPr id="452" name="TextBox 451"/>
                    <p:cNvSpPr txBox="1"/>
                    <p:nvPr/>
                  </p:nvSpPr>
                  <p:spPr bwMode="auto">
                    <a:xfrm>
                      <a:off x="7143156" y="98735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PI</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Management</a:t>
                      </a:r>
                    </a:p>
                  </p:txBody>
                </p:sp>
                <p:pic>
                  <p:nvPicPr>
                    <p:cNvPr id="453" name="Picture 155"/>
                    <p:cNvPicPr>
                      <a:picLocks noChangeAspect="1"/>
                    </p:cNvPicPr>
                    <p:nvPr/>
                  </p:nvPicPr>
                  <p:blipFill>
                    <a:blip r:embed="rId12">
                      <a:biLevel thresh="25000"/>
                      <a:extLst>
                        <a:ext uri="{28A0092B-C50C-407E-A947-70E740481C1C}">
                          <a14:useLocalDpi xmlns:a14="http://schemas.microsoft.com/office/drawing/2010/main" val="0"/>
                        </a:ext>
                      </a:extLst>
                    </a:blip>
                    <a:srcRect/>
                    <a:stretch>
                      <a:fillRect/>
                    </a:stretch>
                  </p:blipFill>
                  <p:spPr bwMode="auto">
                    <a:xfrm>
                      <a:off x="6784198" y="987819"/>
                      <a:ext cx="291528" cy="291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3" name="Group 442"/>
                  <p:cNvGrpSpPr/>
                  <p:nvPr/>
                </p:nvGrpSpPr>
                <p:grpSpPr>
                  <a:xfrm>
                    <a:off x="5673359" y="1051631"/>
                    <a:ext cx="1019983" cy="294904"/>
                    <a:chOff x="5648693" y="1000311"/>
                    <a:chExt cx="1019983" cy="294904"/>
                  </a:xfrm>
                </p:grpSpPr>
                <p:sp>
                  <p:nvSpPr>
                    <p:cNvPr id="450" name="TextBox 449"/>
                    <p:cNvSpPr txBox="1"/>
                    <p:nvPr/>
                  </p:nvSpPr>
                  <p:spPr bwMode="auto">
                    <a:xfrm>
                      <a:off x="6008276" y="1024727"/>
                      <a:ext cx="660400" cy="25717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PI</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pps</a:t>
                      </a:r>
                    </a:p>
                  </p:txBody>
                </p:sp>
                <p:pic>
                  <p:nvPicPr>
                    <p:cNvPr id="451" name="Picture 157"/>
                    <p:cNvPicPr>
                      <a:picLocks noChangeAspect="1"/>
                    </p:cNvPicPr>
                    <p:nvPr/>
                  </p:nvPicPr>
                  <p:blipFill>
                    <a:blip r:embed="rId13">
                      <a:biLevel thresh="25000"/>
                      <a:extLst>
                        <a:ext uri="{28A0092B-C50C-407E-A947-70E740481C1C}">
                          <a14:useLocalDpi xmlns:a14="http://schemas.microsoft.com/office/drawing/2010/main" val="0"/>
                        </a:ext>
                      </a:extLst>
                    </a:blip>
                    <a:srcRect/>
                    <a:stretch>
                      <a:fillRect/>
                    </a:stretch>
                  </p:blipFill>
                  <p:spPr bwMode="auto">
                    <a:xfrm>
                      <a:off x="5648693" y="1000311"/>
                      <a:ext cx="294787" cy="294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4" name="Group 443"/>
                  <p:cNvGrpSpPr/>
                  <p:nvPr/>
                </p:nvGrpSpPr>
                <p:grpSpPr>
                  <a:xfrm>
                    <a:off x="5673359" y="1617114"/>
                    <a:ext cx="1022642" cy="301625"/>
                    <a:chOff x="5646034" y="1516851"/>
                    <a:chExt cx="1022642" cy="301625"/>
                  </a:xfrm>
                </p:grpSpPr>
                <p:sp>
                  <p:nvSpPr>
                    <p:cNvPr id="448" name="TextBox 447"/>
                    <p:cNvSpPr txBox="1"/>
                    <p:nvPr/>
                  </p:nvSpPr>
                  <p:spPr bwMode="auto">
                    <a:xfrm>
                      <a:off x="6008276" y="151685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Logic</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pps</a:t>
                      </a:r>
                    </a:p>
                  </p:txBody>
                </p:sp>
                <p:pic>
                  <p:nvPicPr>
                    <p:cNvPr id="449" name="Picture 159"/>
                    <p:cNvPicPr>
                      <a:picLocks noChangeAspect="1"/>
                    </p:cNvPicPr>
                    <p:nvPr/>
                  </p:nvPicPr>
                  <p:blipFill>
                    <a:blip r:embed="rId14">
                      <a:biLevel thresh="25000"/>
                      <a:extLst>
                        <a:ext uri="{28A0092B-C50C-407E-A947-70E740481C1C}">
                          <a14:useLocalDpi xmlns:a14="http://schemas.microsoft.com/office/drawing/2010/main" val="0"/>
                        </a:ext>
                      </a:extLst>
                    </a:blip>
                    <a:srcRect/>
                    <a:stretch>
                      <a:fillRect/>
                    </a:stretch>
                  </p:blipFill>
                  <p:spPr bwMode="auto">
                    <a:xfrm>
                      <a:off x="5646034" y="1517893"/>
                      <a:ext cx="292406" cy="2925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5" name="Group 444"/>
                  <p:cNvGrpSpPr/>
                  <p:nvPr/>
                </p:nvGrpSpPr>
                <p:grpSpPr>
                  <a:xfrm>
                    <a:off x="6846368" y="1617114"/>
                    <a:ext cx="1017771" cy="301625"/>
                    <a:chOff x="6784198" y="1512087"/>
                    <a:chExt cx="1017771" cy="301625"/>
                  </a:xfrm>
                </p:grpSpPr>
                <p:sp>
                  <p:nvSpPr>
                    <p:cNvPr id="446" name="TextBox 445"/>
                    <p:cNvSpPr txBox="1"/>
                    <p:nvPr/>
                  </p:nvSpPr>
                  <p:spPr bwMode="auto">
                    <a:xfrm>
                      <a:off x="7143156" y="1512087"/>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Notification</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Hubs</a:t>
                      </a:r>
                    </a:p>
                  </p:txBody>
                </p:sp>
                <p:pic>
                  <p:nvPicPr>
                    <p:cNvPr id="447" name="Picture 161"/>
                    <p:cNvPicPr>
                      <a:picLocks noChangeAspect="1"/>
                    </p:cNvPicPr>
                    <p:nvPr/>
                  </p:nvPicPr>
                  <p:blipFill>
                    <a:blip r:embed="rId15">
                      <a:biLevel thresh="25000"/>
                      <a:extLst>
                        <a:ext uri="{28A0092B-C50C-407E-A947-70E740481C1C}">
                          <a14:useLocalDpi xmlns:a14="http://schemas.microsoft.com/office/drawing/2010/main" val="0"/>
                        </a:ext>
                      </a:extLst>
                    </a:blip>
                    <a:srcRect/>
                    <a:stretch>
                      <a:fillRect/>
                    </a:stretch>
                  </p:blipFill>
                  <p:spPr bwMode="auto">
                    <a:xfrm>
                      <a:off x="6784198" y="1519474"/>
                      <a:ext cx="289246" cy="289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345" name="Group 344"/>
                <p:cNvGrpSpPr/>
                <p:nvPr/>
              </p:nvGrpSpPr>
              <p:grpSpPr>
                <a:xfrm>
                  <a:off x="2082009" y="3493402"/>
                  <a:ext cx="2491556" cy="839787"/>
                  <a:chOff x="2082009" y="3607702"/>
                  <a:chExt cx="2491556" cy="839787"/>
                </a:xfrm>
              </p:grpSpPr>
              <p:sp>
                <p:nvSpPr>
                  <p:cNvPr id="431" name="Rectangle 430"/>
                  <p:cNvSpPr/>
                  <p:nvPr/>
                </p:nvSpPr>
                <p:spPr bwMode="auto">
                  <a:xfrm>
                    <a:off x="2082009" y="3607702"/>
                    <a:ext cx="2491556" cy="83978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Media and CDN</a:t>
                    </a:r>
                  </a:p>
                </p:txBody>
              </p:sp>
              <p:grpSp>
                <p:nvGrpSpPr>
                  <p:cNvPr id="432" name="Group 431"/>
                  <p:cNvGrpSpPr/>
                  <p:nvPr/>
                </p:nvGrpSpPr>
                <p:grpSpPr>
                  <a:xfrm>
                    <a:off x="2198592" y="4014101"/>
                    <a:ext cx="2079086" cy="300855"/>
                    <a:chOff x="2198592" y="4014101"/>
                    <a:chExt cx="2079086" cy="300855"/>
                  </a:xfrm>
                </p:grpSpPr>
                <p:grpSp>
                  <p:nvGrpSpPr>
                    <p:cNvPr id="433" name="Group 342"/>
                    <p:cNvGrpSpPr>
                      <a:grpSpLocks/>
                    </p:cNvGrpSpPr>
                    <p:nvPr/>
                  </p:nvGrpSpPr>
                  <p:grpSpPr bwMode="auto">
                    <a:xfrm>
                      <a:off x="3256056" y="4014101"/>
                      <a:ext cx="1021622" cy="300855"/>
                      <a:chOff x="3495416" y="3743131"/>
                      <a:chExt cx="1021282" cy="301105"/>
                    </a:xfrm>
                  </p:grpSpPr>
                  <p:sp>
                    <p:nvSpPr>
                      <p:cNvPr id="437" name="TextBox 162"/>
                      <p:cNvSpPr txBox="1">
                        <a:spLocks noChangeArrowheads="1"/>
                      </p:cNvSpPr>
                      <p:nvPr/>
                    </p:nvSpPr>
                    <p:spPr bwMode="auto">
                      <a:xfrm>
                        <a:off x="3857542" y="3743131"/>
                        <a:ext cx="659156" cy="301105"/>
                      </a:xfrm>
                      <a:prstGeom prst="rect">
                        <a:avLst/>
                      </a:prstGeom>
                      <a:noFill/>
                      <a:ln>
                        <a:noFill/>
                      </a:ln>
                      <a:extLst/>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altLang="en-US" sz="882" kern="0" dirty="0">
                            <a:gradFill>
                              <a:gsLst>
                                <a:gs pos="76250">
                                  <a:srgbClr val="FFFFFF"/>
                                </a:gs>
                                <a:gs pos="31000">
                                  <a:srgbClr val="FFFFFF"/>
                                </a:gs>
                              </a:gsLst>
                              <a:lin ang="5400000" scaled="0"/>
                            </a:gradFill>
                          </a:rPr>
                          <a:t>Content Delivery</a:t>
                        </a:r>
                        <a:br>
                          <a:rPr lang="en-US" altLang="en-US" sz="882" kern="0" dirty="0">
                            <a:gradFill>
                              <a:gsLst>
                                <a:gs pos="76250">
                                  <a:srgbClr val="FFFFFF"/>
                                </a:gs>
                                <a:gs pos="31000">
                                  <a:srgbClr val="FFFFFF"/>
                                </a:gs>
                              </a:gsLst>
                              <a:lin ang="5400000" scaled="0"/>
                            </a:gradFill>
                          </a:rPr>
                        </a:br>
                        <a:r>
                          <a:rPr lang="en-US" altLang="en-US" sz="882" kern="0" dirty="0">
                            <a:gradFill>
                              <a:gsLst>
                                <a:gs pos="76250">
                                  <a:srgbClr val="FFFFFF"/>
                                </a:gs>
                                <a:gs pos="31000">
                                  <a:srgbClr val="FFFFFF"/>
                                </a:gs>
                              </a:gsLst>
                              <a:lin ang="5400000" scaled="0"/>
                            </a:gradFill>
                          </a:rPr>
                          <a:t>Network (CDN)</a:t>
                        </a:r>
                      </a:p>
                    </p:txBody>
                  </p:sp>
                  <p:pic>
                    <p:nvPicPr>
                      <p:cNvPr id="438" name="Picture 163" descr="Content Delivery Network (CDN).png"/>
                      <p:cNvPicPr>
                        <a:picLocks noChangeAspect="1"/>
                      </p:cNvPicPr>
                      <p:nvPr/>
                    </p:nvPicPr>
                    <p:blipFill>
                      <a:blip r:embed="rId16">
                        <a:biLevel thresh="25000"/>
                        <a:extLst>
                          <a:ext uri="{28A0092B-C50C-407E-A947-70E740481C1C}">
                            <a14:useLocalDpi xmlns:a14="http://schemas.microsoft.com/office/drawing/2010/main" val="0"/>
                          </a:ext>
                        </a:extLst>
                      </a:blip>
                      <a:srcRect/>
                      <a:stretch>
                        <a:fillRect/>
                      </a:stretch>
                    </p:blipFill>
                    <p:spPr bwMode="auto">
                      <a:xfrm>
                        <a:off x="3495416" y="3745605"/>
                        <a:ext cx="296167" cy="296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34" name="Group 341"/>
                    <p:cNvGrpSpPr>
                      <a:grpSpLocks/>
                    </p:cNvGrpSpPr>
                    <p:nvPr/>
                  </p:nvGrpSpPr>
                  <p:grpSpPr bwMode="auto">
                    <a:xfrm>
                      <a:off x="2198592" y="4014101"/>
                      <a:ext cx="1014521" cy="300036"/>
                      <a:chOff x="2682792" y="3748793"/>
                      <a:chExt cx="1014184" cy="300286"/>
                    </a:xfrm>
                  </p:grpSpPr>
                  <p:sp>
                    <p:nvSpPr>
                      <p:cNvPr id="435" name="TextBox 434"/>
                      <p:cNvSpPr txBox="1"/>
                      <p:nvPr/>
                    </p:nvSpPr>
                    <p:spPr>
                      <a:xfrm>
                        <a:off x="3038382" y="3748793"/>
                        <a:ext cx="658594" cy="300286"/>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Media</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Services</a:t>
                        </a:r>
                      </a:p>
                    </p:txBody>
                  </p:sp>
                  <p:pic>
                    <p:nvPicPr>
                      <p:cNvPr id="436" name="Picture 165" descr="Media Services.png"/>
                      <p:cNvPicPr>
                        <a:picLocks noChangeAspect="1"/>
                      </p:cNvPicPr>
                      <p:nvPr/>
                    </p:nvPicPr>
                    <p:blipFill>
                      <a:blip r:embed="rId17">
                        <a:biLevel thresh="25000"/>
                        <a:extLst>
                          <a:ext uri="{28A0092B-C50C-407E-A947-70E740481C1C}">
                            <a14:useLocalDpi xmlns:a14="http://schemas.microsoft.com/office/drawing/2010/main" val="0"/>
                          </a:ext>
                        </a:extLst>
                      </a:blip>
                      <a:srcRect/>
                      <a:stretch>
                        <a:fillRect/>
                      </a:stretch>
                    </p:blipFill>
                    <p:spPr bwMode="auto">
                      <a:xfrm>
                        <a:off x="2682792" y="3757863"/>
                        <a:ext cx="282134" cy="282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6" name="Group 345"/>
                <p:cNvGrpSpPr/>
                <p:nvPr/>
              </p:nvGrpSpPr>
              <p:grpSpPr>
                <a:xfrm>
                  <a:off x="4695531" y="2024565"/>
                  <a:ext cx="2872932" cy="2304638"/>
                  <a:chOff x="4691833" y="2138865"/>
                  <a:chExt cx="2872932" cy="2304638"/>
                </a:xfrm>
              </p:grpSpPr>
              <p:sp>
                <p:nvSpPr>
                  <p:cNvPr id="411" name="Rectangle 410"/>
                  <p:cNvSpPr/>
                  <p:nvPr/>
                </p:nvSpPr>
                <p:spPr bwMode="auto">
                  <a:xfrm>
                    <a:off x="4691833" y="2138865"/>
                    <a:ext cx="2872932" cy="2304638"/>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nalytics and </a:t>
                    </a:r>
                    <a:r>
                      <a:rPr lang="en-US" sz="1176" kern="0" dirty="0" err="1">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oT</a:t>
                    </a:r>
                    <a:endPar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412" name="Group 411"/>
                  <p:cNvGrpSpPr/>
                  <p:nvPr/>
                </p:nvGrpSpPr>
                <p:grpSpPr>
                  <a:xfrm>
                    <a:off x="4948498" y="2556851"/>
                    <a:ext cx="2361121" cy="1587740"/>
                    <a:chOff x="4805017" y="2556851"/>
                    <a:chExt cx="2361121" cy="1587740"/>
                  </a:xfrm>
                </p:grpSpPr>
                <p:grpSp>
                  <p:nvGrpSpPr>
                    <p:cNvPr id="413" name="Group 412"/>
                    <p:cNvGrpSpPr/>
                    <p:nvPr/>
                  </p:nvGrpSpPr>
                  <p:grpSpPr>
                    <a:xfrm>
                      <a:off x="4811883" y="2556851"/>
                      <a:ext cx="1046240" cy="337079"/>
                      <a:chOff x="4811883" y="2556851"/>
                      <a:chExt cx="1046240" cy="337079"/>
                    </a:xfrm>
                  </p:grpSpPr>
                  <p:sp>
                    <p:nvSpPr>
                      <p:cNvPr id="429" name="TextBox 428"/>
                      <p:cNvSpPr txBox="1"/>
                      <p:nvPr/>
                    </p:nvSpPr>
                    <p:spPr bwMode="auto">
                      <a:xfrm>
                        <a:off x="5199310" y="2574578"/>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a:gradFill>
                              <a:gsLst>
                                <a:gs pos="76250">
                                  <a:srgbClr val="FFFFFF"/>
                                </a:gs>
                                <a:gs pos="31000">
                                  <a:srgbClr val="FFFFFF"/>
                                </a:gs>
                              </a:gsLst>
                              <a:lin ang="5400000" scaled="0"/>
                            </a:gradFill>
                          </a:rPr>
                          <a:t>HDInsight</a:t>
                        </a:r>
                        <a:endParaRPr lang="en-US" sz="980" kern="0" dirty="0">
                          <a:gradFill>
                            <a:gsLst>
                              <a:gs pos="76250">
                                <a:srgbClr val="FFFFFF"/>
                              </a:gs>
                              <a:gs pos="31000">
                                <a:srgbClr val="FFFFFF"/>
                              </a:gs>
                            </a:gsLst>
                            <a:lin ang="5400000" scaled="0"/>
                          </a:gradFill>
                        </a:endParaRPr>
                      </a:p>
                    </p:txBody>
                  </p:sp>
                  <p:pic>
                    <p:nvPicPr>
                      <p:cNvPr id="430" name="Picture 181"/>
                      <p:cNvPicPr>
                        <a:picLocks noChangeAspect="1"/>
                      </p:cNvPicPr>
                      <p:nvPr/>
                    </p:nvPicPr>
                    <p:blipFill>
                      <a:blip r:embed="rId18">
                        <a:biLevel thresh="25000"/>
                        <a:extLst>
                          <a:ext uri="{28A0092B-C50C-407E-A947-70E740481C1C}">
                            <a14:useLocalDpi xmlns:a14="http://schemas.microsoft.com/office/drawing/2010/main" val="0"/>
                          </a:ext>
                        </a:extLst>
                      </a:blip>
                      <a:srcRect/>
                      <a:stretch>
                        <a:fillRect/>
                      </a:stretch>
                    </p:blipFill>
                    <p:spPr bwMode="auto">
                      <a:xfrm>
                        <a:off x="4811883" y="2556851"/>
                        <a:ext cx="337162" cy="337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4" name="Group 413"/>
                    <p:cNvGrpSpPr/>
                    <p:nvPr/>
                  </p:nvGrpSpPr>
                  <p:grpSpPr>
                    <a:xfrm>
                      <a:off x="6162402" y="2574420"/>
                      <a:ext cx="1003736" cy="301625"/>
                      <a:chOff x="6162402" y="2574420"/>
                      <a:chExt cx="1003736" cy="301625"/>
                    </a:xfrm>
                  </p:grpSpPr>
                  <p:sp>
                    <p:nvSpPr>
                      <p:cNvPr id="427" name="TextBox 426"/>
                      <p:cNvSpPr txBox="1"/>
                      <p:nvPr/>
                    </p:nvSpPr>
                    <p:spPr bwMode="auto">
                      <a:xfrm>
                        <a:off x="6507325" y="25744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Machin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Learning</a:t>
                        </a:r>
                      </a:p>
                    </p:txBody>
                  </p:sp>
                  <p:pic>
                    <p:nvPicPr>
                      <p:cNvPr id="428" name="Picture 183"/>
                      <p:cNvPicPr>
                        <a:picLocks noChangeAspect="1"/>
                      </p:cNvPicPr>
                      <p:nvPr/>
                    </p:nvPicPr>
                    <p:blipFill>
                      <a:blip r:embed="rId19">
                        <a:biLevel thresh="25000"/>
                        <a:extLst>
                          <a:ext uri="{28A0092B-C50C-407E-A947-70E740481C1C}">
                            <a14:useLocalDpi xmlns:a14="http://schemas.microsoft.com/office/drawing/2010/main" val="0"/>
                          </a:ext>
                        </a:extLst>
                      </a:blip>
                      <a:srcRect/>
                      <a:stretch>
                        <a:fillRect/>
                      </a:stretch>
                    </p:blipFill>
                    <p:spPr bwMode="auto">
                      <a:xfrm>
                        <a:off x="6162402" y="2593257"/>
                        <a:ext cx="263720" cy="263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5" name="Group 414"/>
                    <p:cNvGrpSpPr/>
                    <p:nvPr/>
                  </p:nvGrpSpPr>
                  <p:grpSpPr>
                    <a:xfrm>
                      <a:off x="4805017" y="3834139"/>
                      <a:ext cx="1053105" cy="310452"/>
                      <a:chOff x="4805017" y="3834139"/>
                      <a:chExt cx="1053105" cy="310452"/>
                    </a:xfrm>
                  </p:grpSpPr>
                  <p:sp>
                    <p:nvSpPr>
                      <p:cNvPr id="425" name="TextBox 424"/>
                      <p:cNvSpPr txBox="1"/>
                      <p:nvPr/>
                    </p:nvSpPr>
                    <p:spPr bwMode="auto">
                      <a:xfrm>
                        <a:off x="5199310" y="3838553"/>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tream</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nalytics</a:t>
                        </a:r>
                      </a:p>
                    </p:txBody>
                  </p:sp>
                  <p:pic>
                    <p:nvPicPr>
                      <p:cNvPr id="426" name="Picture 185"/>
                      <p:cNvPicPr>
                        <a:picLocks noChangeAspect="1"/>
                      </p:cNvPicPr>
                      <p:nvPr/>
                    </p:nvPicPr>
                    <p:blipFill>
                      <a:blip r:embed="rId20">
                        <a:biLevel thresh="25000"/>
                        <a:extLst>
                          <a:ext uri="{28A0092B-C50C-407E-A947-70E740481C1C}">
                            <a14:useLocalDpi xmlns:a14="http://schemas.microsoft.com/office/drawing/2010/main" val="0"/>
                          </a:ext>
                        </a:extLst>
                      </a:blip>
                      <a:srcRect/>
                      <a:stretch>
                        <a:fillRect/>
                      </a:stretch>
                    </p:blipFill>
                    <p:spPr bwMode="auto">
                      <a:xfrm>
                        <a:off x="4805017" y="3834139"/>
                        <a:ext cx="310529" cy="3104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6" name="Group 415"/>
                    <p:cNvGrpSpPr/>
                    <p:nvPr/>
                  </p:nvGrpSpPr>
                  <p:grpSpPr>
                    <a:xfrm>
                      <a:off x="4809230" y="3192842"/>
                      <a:ext cx="1048893" cy="305501"/>
                      <a:chOff x="4809230" y="3192842"/>
                      <a:chExt cx="1048893" cy="305501"/>
                    </a:xfrm>
                  </p:grpSpPr>
                  <p:sp>
                    <p:nvSpPr>
                      <p:cNvPr id="423" name="TextBox 422"/>
                      <p:cNvSpPr txBox="1"/>
                      <p:nvPr/>
                    </p:nvSpPr>
                    <p:spPr bwMode="auto">
                      <a:xfrm>
                        <a:off x="5199310" y="3198305"/>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Data</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Factory</a:t>
                        </a:r>
                      </a:p>
                    </p:txBody>
                  </p:sp>
                  <p:pic>
                    <p:nvPicPr>
                      <p:cNvPr id="424" name="Picture 187"/>
                      <p:cNvPicPr>
                        <a:picLocks noChangeAspect="1"/>
                      </p:cNvPicPr>
                      <p:nvPr/>
                    </p:nvPicPr>
                    <p:blipFill>
                      <a:blip r:embed="rId21">
                        <a:biLevel thresh="25000"/>
                        <a:extLst>
                          <a:ext uri="{28A0092B-C50C-407E-A947-70E740481C1C}">
                            <a14:useLocalDpi xmlns:a14="http://schemas.microsoft.com/office/drawing/2010/main" val="0"/>
                          </a:ext>
                        </a:extLst>
                      </a:blip>
                      <a:srcRect/>
                      <a:stretch>
                        <a:fillRect/>
                      </a:stretch>
                    </p:blipFill>
                    <p:spPr bwMode="auto">
                      <a:xfrm>
                        <a:off x="4809230" y="3192842"/>
                        <a:ext cx="302103" cy="3020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7" name="Group 416"/>
                    <p:cNvGrpSpPr/>
                    <p:nvPr/>
                  </p:nvGrpSpPr>
                  <p:grpSpPr>
                    <a:xfrm>
                      <a:off x="6159534" y="3198305"/>
                      <a:ext cx="1006604" cy="300037"/>
                      <a:chOff x="6159534" y="3198305"/>
                      <a:chExt cx="1006604" cy="300037"/>
                    </a:xfrm>
                  </p:grpSpPr>
                  <p:sp>
                    <p:nvSpPr>
                      <p:cNvPr id="421" name="TextBox 420"/>
                      <p:cNvSpPr txBox="1"/>
                      <p:nvPr/>
                    </p:nvSpPr>
                    <p:spPr bwMode="auto">
                      <a:xfrm>
                        <a:off x="6507325" y="3198305"/>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Event</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Hubs</a:t>
                        </a:r>
                      </a:p>
                    </p:txBody>
                  </p:sp>
                  <p:pic>
                    <p:nvPicPr>
                      <p:cNvPr id="422" name="Picture 189"/>
                      <p:cNvPicPr>
                        <a:picLocks noChangeAspect="1"/>
                      </p:cNvPicPr>
                      <p:nvPr/>
                    </p:nvPicPr>
                    <p:blipFill>
                      <a:blip r:embed="rId22">
                        <a:biLevel thresh="25000"/>
                        <a:extLst>
                          <a:ext uri="{28A0092B-C50C-407E-A947-70E740481C1C}">
                            <a14:useLocalDpi xmlns:a14="http://schemas.microsoft.com/office/drawing/2010/main" val="0"/>
                          </a:ext>
                        </a:extLst>
                      </a:blip>
                      <a:srcRect/>
                      <a:stretch>
                        <a:fillRect/>
                      </a:stretch>
                    </p:blipFill>
                    <p:spPr bwMode="auto">
                      <a:xfrm>
                        <a:off x="6159534" y="3200784"/>
                        <a:ext cx="283827" cy="2963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8" name="Group 417"/>
                    <p:cNvGrpSpPr/>
                    <p:nvPr/>
                  </p:nvGrpSpPr>
                  <p:grpSpPr>
                    <a:xfrm>
                      <a:off x="6165936" y="3834755"/>
                      <a:ext cx="1000202" cy="296566"/>
                      <a:chOff x="6165936" y="3834755"/>
                      <a:chExt cx="1000202" cy="296566"/>
                    </a:xfrm>
                  </p:grpSpPr>
                  <p:sp>
                    <p:nvSpPr>
                      <p:cNvPr id="419" name="TextBox 418"/>
                      <p:cNvSpPr txBox="1"/>
                      <p:nvPr/>
                    </p:nvSpPr>
                    <p:spPr bwMode="auto">
                      <a:xfrm>
                        <a:off x="6507325" y="3853657"/>
                        <a:ext cx="658813" cy="25876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Mobil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Engagement</a:t>
                        </a:r>
                      </a:p>
                    </p:txBody>
                  </p:sp>
                  <p:pic>
                    <p:nvPicPr>
                      <p:cNvPr id="420" name="Picture 191"/>
                      <p:cNvPicPr>
                        <a:picLocks noChangeAspect="1"/>
                      </p:cNvPicPr>
                      <p:nvPr/>
                    </p:nvPicPr>
                    <p:blipFill>
                      <a:blip r:embed="rId23">
                        <a:biLevel thresh="25000"/>
                        <a:extLst>
                          <a:ext uri="{28A0092B-C50C-407E-A947-70E740481C1C}">
                            <a14:useLocalDpi xmlns:a14="http://schemas.microsoft.com/office/drawing/2010/main" val="0"/>
                          </a:ext>
                        </a:extLst>
                      </a:blip>
                      <a:srcRect/>
                      <a:stretch>
                        <a:fillRect/>
                      </a:stretch>
                    </p:blipFill>
                    <p:spPr bwMode="auto">
                      <a:xfrm>
                        <a:off x="6165936" y="3834755"/>
                        <a:ext cx="296639" cy="296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7" name="Group 346"/>
                <p:cNvGrpSpPr/>
                <p:nvPr/>
              </p:nvGrpSpPr>
              <p:grpSpPr>
                <a:xfrm>
                  <a:off x="2082009" y="2024566"/>
                  <a:ext cx="2498759" cy="1352550"/>
                  <a:chOff x="2082009" y="2138866"/>
                  <a:chExt cx="2498759" cy="1352550"/>
                </a:xfrm>
              </p:grpSpPr>
              <p:sp>
                <p:nvSpPr>
                  <p:cNvPr id="397" name="Rectangle 396"/>
                  <p:cNvSpPr/>
                  <p:nvPr/>
                </p:nvSpPr>
                <p:spPr bwMode="auto">
                  <a:xfrm>
                    <a:off x="2082009" y="2138866"/>
                    <a:ext cx="2498759" cy="135255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ntegration</a:t>
                    </a:r>
                  </a:p>
                </p:txBody>
              </p:sp>
              <p:grpSp>
                <p:nvGrpSpPr>
                  <p:cNvPr id="398" name="Group 397"/>
                  <p:cNvGrpSpPr/>
                  <p:nvPr/>
                </p:nvGrpSpPr>
                <p:grpSpPr>
                  <a:xfrm>
                    <a:off x="2198592" y="2559624"/>
                    <a:ext cx="2237004" cy="836418"/>
                    <a:chOff x="2198592" y="2559624"/>
                    <a:chExt cx="2237004" cy="836418"/>
                  </a:xfrm>
                </p:grpSpPr>
                <p:grpSp>
                  <p:nvGrpSpPr>
                    <p:cNvPr id="399" name="Group 398"/>
                    <p:cNvGrpSpPr/>
                    <p:nvPr/>
                  </p:nvGrpSpPr>
                  <p:grpSpPr>
                    <a:xfrm>
                      <a:off x="3513173" y="2559624"/>
                      <a:ext cx="922423" cy="301625"/>
                      <a:chOff x="3425188" y="2480831"/>
                      <a:chExt cx="922423" cy="301625"/>
                    </a:xfrm>
                  </p:grpSpPr>
                  <p:sp>
                    <p:nvSpPr>
                      <p:cNvPr id="409" name="TextBox 408"/>
                      <p:cNvSpPr txBox="1"/>
                      <p:nvPr/>
                    </p:nvSpPr>
                    <p:spPr bwMode="auto">
                      <a:xfrm>
                        <a:off x="3803029" y="2480831"/>
                        <a:ext cx="54458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a:gradFill>
                              <a:gsLst>
                                <a:gs pos="76250">
                                  <a:srgbClr val="FFFFFF"/>
                                </a:gs>
                                <a:gs pos="31000">
                                  <a:srgbClr val="FFFFFF"/>
                                </a:gs>
                              </a:gsLst>
                              <a:lin ang="5400000" scaled="0"/>
                            </a:gradFill>
                          </a:rPr>
                          <a:t>Biztalk</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Services</a:t>
                        </a:r>
                      </a:p>
                    </p:txBody>
                  </p:sp>
                  <p:pic>
                    <p:nvPicPr>
                      <p:cNvPr id="410" name="Picture 214" descr="BizTalk Services.png"/>
                      <p:cNvPicPr>
                        <a:picLocks noChangeAspect="1"/>
                      </p:cNvPicPr>
                      <p:nvPr/>
                    </p:nvPicPr>
                    <p:blipFill>
                      <a:blip r:embed="rId24">
                        <a:biLevel thresh="25000"/>
                        <a:extLst>
                          <a:ext uri="{28A0092B-C50C-407E-A947-70E740481C1C}">
                            <a14:useLocalDpi xmlns:a14="http://schemas.microsoft.com/office/drawing/2010/main" val="0"/>
                          </a:ext>
                        </a:extLst>
                      </a:blip>
                      <a:srcRect/>
                      <a:stretch>
                        <a:fillRect/>
                      </a:stretch>
                    </p:blipFill>
                    <p:spPr bwMode="auto">
                      <a:xfrm>
                        <a:off x="3425188" y="2484570"/>
                        <a:ext cx="293830" cy="294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0" name="Group 399"/>
                    <p:cNvGrpSpPr/>
                    <p:nvPr/>
                  </p:nvGrpSpPr>
                  <p:grpSpPr>
                    <a:xfrm>
                      <a:off x="2198592" y="3094417"/>
                      <a:ext cx="1020311" cy="301625"/>
                      <a:chOff x="2319949" y="3019151"/>
                      <a:chExt cx="1020311" cy="301625"/>
                    </a:xfrm>
                  </p:grpSpPr>
                  <p:sp>
                    <p:nvSpPr>
                      <p:cNvPr id="407" name="TextBox 406"/>
                      <p:cNvSpPr txBox="1"/>
                      <p:nvPr/>
                    </p:nvSpPr>
                    <p:spPr bwMode="auto">
                      <a:xfrm>
                        <a:off x="2681448" y="30191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Hybrid</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Connections</a:t>
                        </a:r>
                      </a:p>
                    </p:txBody>
                  </p:sp>
                  <p:pic>
                    <p:nvPicPr>
                      <p:cNvPr id="408" name="Picture 216" descr="Hybrid Connections (BizTalk).png"/>
                      <p:cNvPicPr>
                        <a:picLocks noChangeAspect="1"/>
                      </p:cNvPicPr>
                      <p:nvPr/>
                    </p:nvPicPr>
                    <p:blipFill>
                      <a:blip r:embed="rId25">
                        <a:biLevel thresh="25000"/>
                        <a:extLst>
                          <a:ext uri="{28A0092B-C50C-407E-A947-70E740481C1C}">
                            <a14:useLocalDpi xmlns:a14="http://schemas.microsoft.com/office/drawing/2010/main" val="0"/>
                          </a:ext>
                        </a:extLst>
                      </a:blip>
                      <a:srcRect/>
                      <a:stretch>
                        <a:fillRect/>
                      </a:stretch>
                    </p:blipFill>
                    <p:spPr bwMode="auto">
                      <a:xfrm>
                        <a:off x="2319949" y="3023735"/>
                        <a:ext cx="292141" cy="292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1" name="Group 400"/>
                    <p:cNvGrpSpPr/>
                    <p:nvPr/>
                  </p:nvGrpSpPr>
                  <p:grpSpPr>
                    <a:xfrm>
                      <a:off x="3521521" y="3094417"/>
                      <a:ext cx="869624" cy="301625"/>
                      <a:chOff x="3433536" y="3015624"/>
                      <a:chExt cx="869624" cy="301625"/>
                    </a:xfrm>
                  </p:grpSpPr>
                  <p:sp>
                    <p:nvSpPr>
                      <p:cNvPr id="405" name="TextBox 404"/>
                      <p:cNvSpPr txBox="1"/>
                      <p:nvPr/>
                    </p:nvSpPr>
                    <p:spPr bwMode="auto">
                      <a:xfrm>
                        <a:off x="3788740" y="3015624"/>
                        <a:ext cx="51442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ervic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Bus</a:t>
                        </a:r>
                      </a:p>
                    </p:txBody>
                  </p:sp>
                  <p:pic>
                    <p:nvPicPr>
                      <p:cNvPr id="406" name="Picture 218" descr="Service Bus.png"/>
                      <p:cNvPicPr>
                        <a:picLocks noChangeAspect="1"/>
                      </p:cNvPicPr>
                      <p:nvPr/>
                    </p:nvPicPr>
                    <p:blipFill>
                      <a:blip r:embed="rId26">
                        <a:biLevel thresh="25000"/>
                        <a:extLst>
                          <a:ext uri="{28A0092B-C50C-407E-A947-70E740481C1C}">
                            <a14:useLocalDpi xmlns:a14="http://schemas.microsoft.com/office/drawing/2010/main" val="0"/>
                          </a:ext>
                        </a:extLst>
                      </a:blip>
                      <a:srcRect/>
                      <a:stretch>
                        <a:fillRect/>
                      </a:stretch>
                    </p:blipFill>
                    <p:spPr bwMode="auto">
                      <a:xfrm>
                        <a:off x="3433536" y="3020078"/>
                        <a:ext cx="292402" cy="292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2" name="Group 401"/>
                    <p:cNvGrpSpPr/>
                    <p:nvPr/>
                  </p:nvGrpSpPr>
                  <p:grpSpPr>
                    <a:xfrm>
                      <a:off x="2198592" y="2560418"/>
                      <a:ext cx="1020559" cy="300037"/>
                      <a:chOff x="2319701" y="2482223"/>
                      <a:chExt cx="1020559" cy="300037"/>
                    </a:xfrm>
                  </p:grpSpPr>
                  <p:sp>
                    <p:nvSpPr>
                      <p:cNvPr id="403" name="TextBox 402"/>
                      <p:cNvSpPr txBox="1"/>
                      <p:nvPr/>
                    </p:nvSpPr>
                    <p:spPr bwMode="auto">
                      <a:xfrm>
                        <a:off x="2681448" y="2482223"/>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torag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queues</a:t>
                        </a:r>
                      </a:p>
                    </p:txBody>
                  </p:sp>
                  <p:pic>
                    <p:nvPicPr>
                      <p:cNvPr id="404" name="Picture 220" descr="Storage queue.png"/>
                      <p:cNvPicPr>
                        <a:picLocks noChangeAspect="1"/>
                      </p:cNvPicPr>
                      <p:nvPr/>
                    </p:nvPicPr>
                    <p:blipFill>
                      <a:blip r:embed="rId27">
                        <a:biLevel thresh="25000"/>
                        <a:extLst>
                          <a:ext uri="{28A0092B-C50C-407E-A947-70E740481C1C}">
                            <a14:useLocalDpi xmlns:a14="http://schemas.microsoft.com/office/drawing/2010/main" val="0"/>
                          </a:ext>
                        </a:extLst>
                      </a:blip>
                      <a:srcRect/>
                      <a:stretch>
                        <a:fillRect/>
                      </a:stretch>
                    </p:blipFill>
                    <p:spPr bwMode="auto">
                      <a:xfrm>
                        <a:off x="2319701" y="2485765"/>
                        <a:ext cx="292636" cy="2929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8" name="Group 347"/>
                <p:cNvGrpSpPr/>
                <p:nvPr/>
              </p:nvGrpSpPr>
              <p:grpSpPr>
                <a:xfrm>
                  <a:off x="7683226" y="2024565"/>
                  <a:ext cx="2771024" cy="2304637"/>
                  <a:chOff x="7683226" y="2138865"/>
                  <a:chExt cx="2771024" cy="2304637"/>
                </a:xfrm>
              </p:grpSpPr>
              <p:sp>
                <p:nvSpPr>
                  <p:cNvPr id="377" name="Rectangle 376"/>
                  <p:cNvSpPr/>
                  <p:nvPr/>
                </p:nvSpPr>
                <p:spPr bwMode="auto">
                  <a:xfrm>
                    <a:off x="7683226" y="2138865"/>
                    <a:ext cx="2771024" cy="230463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a:t>
                    </a:r>
                  </a:p>
                </p:txBody>
              </p:sp>
              <p:grpSp>
                <p:nvGrpSpPr>
                  <p:cNvPr id="378" name="Group 377"/>
                  <p:cNvGrpSpPr/>
                  <p:nvPr/>
                </p:nvGrpSpPr>
                <p:grpSpPr>
                  <a:xfrm>
                    <a:off x="7845950" y="2595968"/>
                    <a:ext cx="2445576" cy="1553509"/>
                    <a:chOff x="7799957" y="2595968"/>
                    <a:chExt cx="2445576" cy="1553509"/>
                  </a:xfrm>
                </p:grpSpPr>
                <p:grpSp>
                  <p:nvGrpSpPr>
                    <p:cNvPr id="379" name="Group 387"/>
                    <p:cNvGrpSpPr>
                      <a:grpSpLocks/>
                    </p:cNvGrpSpPr>
                    <p:nvPr/>
                  </p:nvGrpSpPr>
                  <p:grpSpPr bwMode="auto">
                    <a:xfrm>
                      <a:off x="7799957" y="2595969"/>
                      <a:ext cx="1016185" cy="301066"/>
                      <a:chOff x="8369631" y="3448242"/>
                      <a:chExt cx="1016411" cy="301033"/>
                    </a:xfrm>
                  </p:grpSpPr>
                  <p:sp>
                    <p:nvSpPr>
                      <p:cNvPr id="395" name="TextBox 394"/>
                      <p:cNvSpPr txBox="1"/>
                      <p:nvPr/>
                    </p:nvSpPr>
                    <p:spPr>
                      <a:xfrm>
                        <a:off x="8727084" y="3448242"/>
                        <a:ext cx="658958"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QL</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Database</a:t>
                        </a:r>
                      </a:p>
                    </p:txBody>
                  </p:sp>
                  <p:pic>
                    <p:nvPicPr>
                      <p:cNvPr id="396" name="Picture 171"/>
                      <p:cNvPicPr>
                        <a:picLocks noChangeAspect="1"/>
                      </p:cNvPicPr>
                      <p:nvPr/>
                    </p:nvPicPr>
                    <p:blipFill>
                      <a:blip r:embed="rId28">
                        <a:biLevel thresh="25000"/>
                        <a:extLst>
                          <a:ext uri="{28A0092B-C50C-407E-A947-70E740481C1C}">
                            <a14:useLocalDpi xmlns:a14="http://schemas.microsoft.com/office/drawing/2010/main" val="0"/>
                          </a:ext>
                        </a:extLst>
                      </a:blip>
                      <a:srcRect/>
                      <a:stretch>
                        <a:fillRect/>
                      </a:stretch>
                    </p:blipFill>
                    <p:spPr bwMode="auto">
                      <a:xfrm>
                        <a:off x="8369631" y="3452466"/>
                        <a:ext cx="296809" cy="296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0" name="Group 389"/>
                    <p:cNvGrpSpPr>
                      <a:grpSpLocks/>
                    </p:cNvGrpSpPr>
                    <p:nvPr/>
                  </p:nvGrpSpPr>
                  <p:grpSpPr bwMode="auto">
                    <a:xfrm>
                      <a:off x="7803051" y="3832282"/>
                      <a:ext cx="1013093" cy="300038"/>
                      <a:chOff x="8372726" y="4684418"/>
                      <a:chExt cx="1013318" cy="300005"/>
                    </a:xfrm>
                  </p:grpSpPr>
                  <p:sp>
                    <p:nvSpPr>
                      <p:cNvPr id="393" name="TextBox 392"/>
                      <p:cNvSpPr txBox="1"/>
                      <p:nvPr/>
                    </p:nvSpPr>
                    <p:spPr>
                      <a:xfrm>
                        <a:off x="8727084" y="4684418"/>
                        <a:ext cx="658960"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a:gradFill>
                              <a:gsLst>
                                <a:gs pos="76250">
                                  <a:srgbClr val="FFFFFF"/>
                                </a:gs>
                                <a:gs pos="31000">
                                  <a:srgbClr val="FFFFFF"/>
                                </a:gs>
                              </a:gsLst>
                              <a:lin ang="5400000" scaled="0"/>
                            </a:gradFill>
                          </a:rPr>
                          <a:t>DocumentDB</a:t>
                        </a:r>
                        <a:endParaRPr lang="en-US" sz="980" kern="0" dirty="0">
                          <a:gradFill>
                            <a:gsLst>
                              <a:gs pos="76250">
                                <a:srgbClr val="FFFFFF"/>
                              </a:gs>
                              <a:gs pos="31000">
                                <a:srgbClr val="FFFFFF"/>
                              </a:gs>
                            </a:gsLst>
                            <a:lin ang="5400000" scaled="0"/>
                          </a:gradFill>
                        </a:endParaRPr>
                      </a:p>
                    </p:txBody>
                  </p:sp>
                  <p:pic>
                    <p:nvPicPr>
                      <p:cNvPr id="394" name="Picture 173"/>
                      <p:cNvPicPr>
                        <a:picLocks noChangeAspect="1"/>
                      </p:cNvPicPr>
                      <p:nvPr/>
                    </p:nvPicPr>
                    <p:blipFill>
                      <a:blip r:embed="rId29">
                        <a:biLevel thresh="25000"/>
                        <a:extLst>
                          <a:ext uri="{28A0092B-C50C-407E-A947-70E740481C1C}">
                            <a14:useLocalDpi xmlns:a14="http://schemas.microsoft.com/office/drawing/2010/main" val="0"/>
                          </a:ext>
                        </a:extLst>
                      </a:blip>
                      <a:srcRect/>
                      <a:stretch>
                        <a:fillRect/>
                      </a:stretch>
                    </p:blipFill>
                    <p:spPr bwMode="auto">
                      <a:xfrm>
                        <a:off x="8372726" y="4693804"/>
                        <a:ext cx="290620" cy="290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1" name="Group 390"/>
                    <p:cNvGrpSpPr>
                      <a:grpSpLocks/>
                    </p:cNvGrpSpPr>
                    <p:nvPr/>
                  </p:nvGrpSpPr>
                  <p:grpSpPr bwMode="auto">
                    <a:xfrm>
                      <a:off x="7803720" y="3204660"/>
                      <a:ext cx="1012423" cy="309349"/>
                      <a:chOff x="8373395" y="4056866"/>
                      <a:chExt cx="1012648" cy="309315"/>
                    </a:xfrm>
                  </p:grpSpPr>
                  <p:sp>
                    <p:nvSpPr>
                      <p:cNvPr id="391" name="TextBox 390"/>
                      <p:cNvSpPr txBox="1"/>
                      <p:nvPr/>
                    </p:nvSpPr>
                    <p:spPr>
                      <a:xfrm>
                        <a:off x="8727084" y="4056866"/>
                        <a:ext cx="658959"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a:gradFill>
                              <a:gsLst>
                                <a:gs pos="76250">
                                  <a:srgbClr val="FFFFFF"/>
                                </a:gs>
                                <a:gs pos="31000">
                                  <a:srgbClr val="FFFFFF"/>
                                </a:gs>
                              </a:gsLst>
                              <a:lin ang="5400000" scaled="0"/>
                            </a:gradFill>
                          </a:rPr>
                          <a:t>Redis</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Cache</a:t>
                        </a:r>
                      </a:p>
                    </p:txBody>
                  </p:sp>
                  <p:pic>
                    <p:nvPicPr>
                      <p:cNvPr id="392" name="Picture 175"/>
                      <p:cNvPicPr>
                        <a:picLocks noChangeAspect="1"/>
                      </p:cNvPicPr>
                      <p:nvPr/>
                    </p:nvPicPr>
                    <p:blipFill>
                      <a:blip r:embed="rId30">
                        <a:biLevel thresh="25000"/>
                        <a:extLst>
                          <a:ext uri="{28A0092B-C50C-407E-A947-70E740481C1C}">
                            <a14:useLocalDpi xmlns:a14="http://schemas.microsoft.com/office/drawing/2010/main" val="0"/>
                          </a:ext>
                        </a:extLst>
                      </a:blip>
                      <a:srcRect/>
                      <a:stretch>
                        <a:fillRect/>
                      </a:stretch>
                    </p:blipFill>
                    <p:spPr bwMode="auto">
                      <a:xfrm>
                        <a:off x="8373395" y="4076899"/>
                        <a:ext cx="289282" cy="289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2" name="Group 391"/>
                    <p:cNvGrpSpPr>
                      <a:grpSpLocks/>
                    </p:cNvGrpSpPr>
                    <p:nvPr/>
                  </p:nvGrpSpPr>
                  <p:grpSpPr bwMode="auto">
                    <a:xfrm>
                      <a:off x="9163663" y="3193851"/>
                      <a:ext cx="1081869" cy="331906"/>
                      <a:chOff x="9733640" y="4046058"/>
                      <a:chExt cx="1082109" cy="331869"/>
                    </a:xfrm>
                  </p:grpSpPr>
                  <p:sp>
                    <p:nvSpPr>
                      <p:cNvPr id="389" name="TextBox 388"/>
                      <p:cNvSpPr txBox="1"/>
                      <p:nvPr/>
                    </p:nvSpPr>
                    <p:spPr>
                      <a:xfrm>
                        <a:off x="10156790" y="4061991"/>
                        <a:ext cx="658959" cy="30000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earch</a:t>
                        </a:r>
                      </a:p>
                    </p:txBody>
                  </p:sp>
                  <p:pic>
                    <p:nvPicPr>
                      <p:cNvPr id="390" name="Picture 177"/>
                      <p:cNvPicPr>
                        <a:picLocks noChangeAspect="1"/>
                      </p:cNvPicPr>
                      <p:nvPr/>
                    </p:nvPicPr>
                    <p:blipFill>
                      <a:blip r:embed="rId31">
                        <a:biLevel thresh="25000"/>
                        <a:extLst>
                          <a:ext uri="{28A0092B-C50C-407E-A947-70E740481C1C}">
                            <a14:useLocalDpi xmlns:a14="http://schemas.microsoft.com/office/drawing/2010/main" val="0"/>
                          </a:ext>
                        </a:extLst>
                      </a:blip>
                      <a:srcRect/>
                      <a:stretch>
                        <a:fillRect/>
                      </a:stretch>
                    </p:blipFill>
                    <p:spPr bwMode="auto">
                      <a:xfrm>
                        <a:off x="9733640" y="4046058"/>
                        <a:ext cx="331871" cy="3318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3" name="Group 392"/>
                    <p:cNvGrpSpPr>
                      <a:grpSpLocks/>
                    </p:cNvGrpSpPr>
                    <p:nvPr/>
                  </p:nvGrpSpPr>
                  <p:grpSpPr bwMode="auto">
                    <a:xfrm>
                      <a:off x="9193207" y="3828827"/>
                      <a:ext cx="1052326" cy="320650"/>
                      <a:chOff x="9763191" y="4680964"/>
                      <a:chExt cx="1052560" cy="320615"/>
                    </a:xfrm>
                  </p:grpSpPr>
                  <p:sp>
                    <p:nvSpPr>
                      <p:cNvPr id="387" name="TextBox 386"/>
                      <p:cNvSpPr txBox="1"/>
                      <p:nvPr/>
                    </p:nvSpPr>
                    <p:spPr>
                      <a:xfrm>
                        <a:off x="10156791" y="4693638"/>
                        <a:ext cx="658960"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Tables</a:t>
                        </a:r>
                      </a:p>
                    </p:txBody>
                  </p:sp>
                  <p:pic>
                    <p:nvPicPr>
                      <p:cNvPr id="388" name="Picture 179" descr="Storage table.png"/>
                      <p:cNvPicPr>
                        <a:picLocks noChangeAspect="1"/>
                      </p:cNvPicPr>
                      <p:nvPr/>
                    </p:nvPicPr>
                    <p:blipFill>
                      <a:blip r:embed="rId32">
                        <a:biLevel thresh="25000"/>
                        <a:extLst>
                          <a:ext uri="{28A0092B-C50C-407E-A947-70E740481C1C}">
                            <a14:useLocalDpi xmlns:a14="http://schemas.microsoft.com/office/drawing/2010/main" val="0"/>
                          </a:ext>
                        </a:extLst>
                      </a:blip>
                      <a:srcRect/>
                      <a:stretch>
                        <a:fillRect/>
                      </a:stretch>
                    </p:blipFill>
                    <p:spPr bwMode="auto">
                      <a:xfrm>
                        <a:off x="9763191" y="4680964"/>
                        <a:ext cx="320616" cy="320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4" name="Group 388"/>
                    <p:cNvGrpSpPr>
                      <a:grpSpLocks/>
                    </p:cNvGrpSpPr>
                    <p:nvPr/>
                  </p:nvGrpSpPr>
                  <p:grpSpPr bwMode="auto">
                    <a:xfrm>
                      <a:off x="9193207" y="2595968"/>
                      <a:ext cx="790386" cy="325437"/>
                      <a:chOff x="9763191" y="3448241"/>
                      <a:chExt cx="790562" cy="325401"/>
                    </a:xfrm>
                  </p:grpSpPr>
                  <p:pic>
                    <p:nvPicPr>
                      <p:cNvPr id="385" name="Picture 16"/>
                      <p:cNvPicPr>
                        <a:picLocks noChangeAspect="1"/>
                      </p:cNvPicPr>
                      <p:nvPr/>
                    </p:nvPicPr>
                    <p:blipFill>
                      <a:blip r:embed="rId33">
                        <a:extLst>
                          <a:ext uri="{28A0092B-C50C-407E-A947-70E740481C1C}">
                            <a14:useLocalDpi xmlns:a14="http://schemas.microsoft.com/office/drawing/2010/main" val="0"/>
                          </a:ext>
                        </a:extLst>
                      </a:blip>
                      <a:srcRect/>
                      <a:stretch>
                        <a:fillRect/>
                      </a:stretch>
                    </p:blipFill>
                    <p:spPr bwMode="auto">
                      <a:xfrm>
                        <a:off x="9763191" y="3452465"/>
                        <a:ext cx="320616" cy="290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6" name="TextBox 385"/>
                      <p:cNvSpPr txBox="1"/>
                      <p:nvPr/>
                    </p:nvSpPr>
                    <p:spPr>
                      <a:xfrm>
                        <a:off x="10156790" y="3448241"/>
                        <a:ext cx="396963" cy="325401"/>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QL Data</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Warehouse</a:t>
                        </a:r>
                      </a:p>
                    </p:txBody>
                  </p:sp>
                </p:grpSp>
              </p:grpSp>
            </p:grpSp>
            <p:grpSp>
              <p:nvGrpSpPr>
                <p:cNvPr id="349" name="Group 348"/>
                <p:cNvGrpSpPr/>
                <p:nvPr/>
              </p:nvGrpSpPr>
              <p:grpSpPr>
                <a:xfrm>
                  <a:off x="2082009" y="543029"/>
                  <a:ext cx="2144942" cy="1371600"/>
                  <a:chOff x="2082009" y="650979"/>
                  <a:chExt cx="2144942" cy="1371600"/>
                </a:xfrm>
              </p:grpSpPr>
              <p:sp>
                <p:nvSpPr>
                  <p:cNvPr id="364" name="Rectangle 363"/>
                  <p:cNvSpPr/>
                  <p:nvPr/>
                </p:nvSpPr>
                <p:spPr bwMode="auto">
                  <a:xfrm>
                    <a:off x="2082009" y="650979"/>
                    <a:ext cx="2144942"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ute</a:t>
                    </a:r>
                  </a:p>
                </p:txBody>
              </p:sp>
              <p:grpSp>
                <p:nvGrpSpPr>
                  <p:cNvPr id="365" name="Group 364"/>
                  <p:cNvGrpSpPr/>
                  <p:nvPr/>
                </p:nvGrpSpPr>
                <p:grpSpPr>
                  <a:xfrm>
                    <a:off x="2209151" y="1044910"/>
                    <a:ext cx="889842" cy="301625"/>
                    <a:chOff x="2315921" y="978921"/>
                    <a:chExt cx="889842" cy="301625"/>
                  </a:xfrm>
                </p:grpSpPr>
                <p:sp>
                  <p:nvSpPr>
                    <p:cNvPr id="375" name="TextBox 374"/>
                    <p:cNvSpPr txBox="1"/>
                    <p:nvPr/>
                  </p:nvSpPr>
                  <p:spPr bwMode="auto">
                    <a:xfrm>
                      <a:off x="2678517" y="978921"/>
                      <a:ext cx="527246"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Cloud</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services</a:t>
                      </a:r>
                    </a:p>
                  </p:txBody>
                </p:sp>
                <p:pic>
                  <p:nvPicPr>
                    <p:cNvPr id="376" name="Picture 145"/>
                    <p:cNvPicPr>
                      <a:picLocks noChangeAspect="1"/>
                    </p:cNvPicPr>
                    <p:nvPr/>
                  </p:nvPicPr>
                  <p:blipFill>
                    <a:blip r:embed="rId34">
                      <a:biLevel thresh="25000"/>
                      <a:extLst>
                        <a:ext uri="{28A0092B-C50C-407E-A947-70E740481C1C}">
                          <a14:useLocalDpi xmlns:a14="http://schemas.microsoft.com/office/drawing/2010/main" val="0"/>
                        </a:ext>
                      </a:extLst>
                    </a:blip>
                    <a:srcRect/>
                    <a:stretch>
                      <a:fillRect/>
                    </a:stretch>
                  </p:blipFill>
                  <p:spPr bwMode="auto">
                    <a:xfrm>
                      <a:off x="2315921" y="984779"/>
                      <a:ext cx="289808" cy="289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6" name="Group 365"/>
                  <p:cNvGrpSpPr/>
                  <p:nvPr/>
                </p:nvGrpSpPr>
                <p:grpSpPr>
                  <a:xfrm>
                    <a:off x="2209151" y="1617332"/>
                    <a:ext cx="751241" cy="303647"/>
                    <a:chOff x="2355344" y="1558000"/>
                    <a:chExt cx="751241" cy="303647"/>
                  </a:xfrm>
                </p:grpSpPr>
                <p:sp>
                  <p:nvSpPr>
                    <p:cNvPr id="373" name="TextBox 372"/>
                    <p:cNvSpPr txBox="1"/>
                    <p:nvPr/>
                  </p:nvSpPr>
                  <p:spPr bwMode="auto">
                    <a:xfrm>
                      <a:off x="2722967" y="1559012"/>
                      <a:ext cx="383618" cy="3016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Batch</a:t>
                      </a:r>
                    </a:p>
                  </p:txBody>
                </p:sp>
                <p:pic>
                  <p:nvPicPr>
                    <p:cNvPr id="374" name="Picture 147"/>
                    <p:cNvPicPr>
                      <a:picLocks noChangeAspect="1"/>
                    </p:cNvPicPr>
                    <p:nvPr/>
                  </p:nvPicPr>
                  <p:blipFill>
                    <a:blip r:embed="rId35">
                      <a:biLevel thresh="25000"/>
                      <a:extLst>
                        <a:ext uri="{28A0092B-C50C-407E-A947-70E740481C1C}">
                          <a14:useLocalDpi xmlns:a14="http://schemas.microsoft.com/office/drawing/2010/main" val="0"/>
                        </a:ext>
                      </a:extLst>
                    </a:blip>
                    <a:srcRect/>
                    <a:stretch>
                      <a:fillRect/>
                    </a:stretch>
                  </p:blipFill>
                  <p:spPr bwMode="auto">
                    <a:xfrm>
                      <a:off x="2355344" y="1558000"/>
                      <a:ext cx="303542" cy="3036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7" name="Group 366"/>
                  <p:cNvGrpSpPr/>
                  <p:nvPr/>
                </p:nvGrpSpPr>
                <p:grpSpPr>
                  <a:xfrm>
                    <a:off x="3226725" y="1617332"/>
                    <a:ext cx="865731" cy="301625"/>
                    <a:chOff x="3193533" y="1551343"/>
                    <a:chExt cx="865731" cy="301625"/>
                  </a:xfrm>
                </p:grpSpPr>
                <p:sp>
                  <p:nvSpPr>
                    <p:cNvPr id="371" name="TextBox 370"/>
                    <p:cNvSpPr txBox="1"/>
                    <p:nvPr/>
                  </p:nvSpPr>
                  <p:spPr bwMode="auto">
                    <a:xfrm>
                      <a:off x="3554337" y="1551343"/>
                      <a:ext cx="504927"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Remote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pp</a:t>
                      </a:r>
                    </a:p>
                  </p:txBody>
                </p:sp>
                <p:pic>
                  <p:nvPicPr>
                    <p:cNvPr id="372" name="Picture 149"/>
                    <p:cNvPicPr>
                      <a:picLocks noChangeAspect="1"/>
                    </p:cNvPicPr>
                    <p:nvPr/>
                  </p:nvPicPr>
                  <p:blipFill>
                    <a:blip r:embed="rId36">
                      <a:biLevel thresh="25000"/>
                      <a:extLst>
                        <a:ext uri="{28A0092B-C50C-407E-A947-70E740481C1C}">
                          <a14:useLocalDpi xmlns:a14="http://schemas.microsoft.com/office/drawing/2010/main" val="0"/>
                        </a:ext>
                      </a:extLst>
                    </a:blip>
                    <a:srcRect/>
                    <a:stretch>
                      <a:fillRect/>
                    </a:stretch>
                  </p:blipFill>
                  <p:spPr bwMode="auto">
                    <a:xfrm>
                      <a:off x="3193533" y="1556274"/>
                      <a:ext cx="291661" cy="291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8" name="Group 367"/>
                  <p:cNvGrpSpPr/>
                  <p:nvPr/>
                </p:nvGrpSpPr>
                <p:grpSpPr>
                  <a:xfrm>
                    <a:off x="3226725" y="1046498"/>
                    <a:ext cx="873084" cy="300037"/>
                    <a:chOff x="3380111" y="980440"/>
                    <a:chExt cx="873084" cy="300037"/>
                  </a:xfrm>
                </p:grpSpPr>
                <p:sp>
                  <p:nvSpPr>
                    <p:cNvPr id="369" name="TextBox 368"/>
                    <p:cNvSpPr txBox="1"/>
                    <p:nvPr/>
                  </p:nvSpPr>
                  <p:spPr bwMode="auto">
                    <a:xfrm>
                      <a:off x="3723011" y="980440"/>
                      <a:ext cx="530184"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ervic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fabric</a:t>
                      </a:r>
                    </a:p>
                  </p:txBody>
                </p:sp>
                <p:sp>
                  <p:nvSpPr>
                    <p:cNvPr id="370" name="Freeform 369"/>
                    <p:cNvSpPr/>
                    <p:nvPr/>
                  </p:nvSpPr>
                  <p:spPr bwMode="auto">
                    <a:xfrm>
                      <a:off x="3380111" y="993933"/>
                      <a:ext cx="282575" cy="273050"/>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rgbClr val="FFFFFF"/>
                    </a:solidFill>
                    <a:ln w="9525" cap="flat" cmpd="sng" algn="ctr">
                      <a:solidFill>
                        <a:srgbClr val="FFFFFF"/>
                      </a:solid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grpSp>
              <p:nvGrpSpPr>
                <p:cNvPr id="350" name="Group 349"/>
                <p:cNvGrpSpPr/>
                <p:nvPr/>
              </p:nvGrpSpPr>
              <p:grpSpPr>
                <a:xfrm>
                  <a:off x="8203323" y="543029"/>
                  <a:ext cx="2250927" cy="1371600"/>
                  <a:chOff x="8203323" y="650979"/>
                  <a:chExt cx="2250927" cy="1371600"/>
                </a:xfrm>
              </p:grpSpPr>
              <p:sp>
                <p:nvSpPr>
                  <p:cNvPr id="351" name="Rectangle 350"/>
                  <p:cNvSpPr/>
                  <p:nvPr/>
                </p:nvSpPr>
                <p:spPr bwMode="auto">
                  <a:xfrm>
                    <a:off x="8203323" y="650979"/>
                    <a:ext cx="2250927"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eveloper services</a:t>
                    </a:r>
                  </a:p>
                </p:txBody>
              </p:sp>
              <p:grpSp>
                <p:nvGrpSpPr>
                  <p:cNvPr id="352" name="Group 351"/>
                  <p:cNvGrpSpPr/>
                  <p:nvPr/>
                </p:nvGrpSpPr>
                <p:grpSpPr>
                  <a:xfrm>
                    <a:off x="8316462" y="1050815"/>
                    <a:ext cx="1048050" cy="290595"/>
                    <a:chOff x="8316462" y="1050815"/>
                    <a:chExt cx="1048050" cy="290595"/>
                  </a:xfrm>
                </p:grpSpPr>
                <p:sp>
                  <p:nvSpPr>
                    <p:cNvPr id="362" name="TextBox 361"/>
                    <p:cNvSpPr txBox="1"/>
                    <p:nvPr/>
                  </p:nvSpPr>
                  <p:spPr bwMode="auto">
                    <a:xfrm>
                      <a:off x="8694587" y="1065786"/>
                      <a:ext cx="669925" cy="2508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Visual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Studio</a:t>
                      </a:r>
                    </a:p>
                  </p:txBody>
                </p:sp>
                <p:pic>
                  <p:nvPicPr>
                    <p:cNvPr id="363" name="Picture 167" descr="Visual Studio Online.png"/>
                    <p:cNvPicPr>
                      <a:picLocks noChangeAspect="1"/>
                    </p:cNvPicPr>
                    <p:nvPr/>
                  </p:nvPicPr>
                  <p:blipFill>
                    <a:blip r:embed="rId37">
                      <a:biLevel thresh="25000"/>
                      <a:extLst>
                        <a:ext uri="{28A0092B-C50C-407E-A947-70E740481C1C}">
                          <a14:useLocalDpi xmlns:a14="http://schemas.microsoft.com/office/drawing/2010/main" val="0"/>
                        </a:ext>
                      </a:extLst>
                    </a:blip>
                    <a:srcRect/>
                    <a:stretch>
                      <a:fillRect/>
                    </a:stretch>
                  </p:blipFill>
                  <p:spPr bwMode="auto">
                    <a:xfrm>
                      <a:off x="8316462" y="1050815"/>
                      <a:ext cx="290580" cy="290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3" name="Group 352"/>
                  <p:cNvGrpSpPr/>
                  <p:nvPr/>
                </p:nvGrpSpPr>
                <p:grpSpPr>
                  <a:xfrm>
                    <a:off x="9413978" y="1606382"/>
                    <a:ext cx="957567" cy="312845"/>
                    <a:chOff x="9413978" y="1606382"/>
                    <a:chExt cx="957567" cy="312845"/>
                  </a:xfrm>
                </p:grpSpPr>
                <p:sp>
                  <p:nvSpPr>
                    <p:cNvPr id="360" name="TextBox 359"/>
                    <p:cNvSpPr txBox="1"/>
                    <p:nvPr/>
                  </p:nvSpPr>
                  <p:spPr bwMode="auto">
                    <a:xfrm>
                      <a:off x="9712733" y="161760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pplication</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Insights</a:t>
                      </a:r>
                    </a:p>
                  </p:txBody>
                </p:sp>
                <p:pic>
                  <p:nvPicPr>
                    <p:cNvPr id="361" name="Picture 169" descr="Application Insights.png"/>
                    <p:cNvPicPr>
                      <a:picLocks noChangeAspect="1"/>
                    </p:cNvPicPr>
                    <p:nvPr/>
                  </p:nvPicPr>
                  <p:blipFill>
                    <a:blip r:embed="rId38">
                      <a:biLevel thresh="25000"/>
                      <a:extLst>
                        <a:ext uri="{28A0092B-C50C-407E-A947-70E740481C1C}">
                          <a14:useLocalDpi xmlns:a14="http://schemas.microsoft.com/office/drawing/2010/main" val="0"/>
                        </a:ext>
                      </a:extLst>
                    </a:blip>
                    <a:srcRect/>
                    <a:stretch>
                      <a:fillRect/>
                    </a:stretch>
                  </p:blipFill>
                  <p:spPr bwMode="auto">
                    <a:xfrm>
                      <a:off x="9413978" y="1606382"/>
                      <a:ext cx="292365" cy="29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4" name="Group 353"/>
                  <p:cNvGrpSpPr/>
                  <p:nvPr/>
                </p:nvGrpSpPr>
                <p:grpSpPr>
                  <a:xfrm>
                    <a:off x="9408787" y="1025699"/>
                    <a:ext cx="875200" cy="302765"/>
                    <a:chOff x="9408787" y="1025699"/>
                    <a:chExt cx="875200" cy="302765"/>
                  </a:xfrm>
                </p:grpSpPr>
                <p:pic>
                  <p:nvPicPr>
                    <p:cNvPr id="358" name="Picture 272"/>
                    <p:cNvPicPr>
                      <a:picLocks noChangeAspect="1"/>
                    </p:cNvPicPr>
                    <p:nvPr/>
                  </p:nvPicPr>
                  <p:blipFill>
                    <a:blip r:embed="rId39">
                      <a:biLevel thresh="25000"/>
                      <a:extLst>
                        <a:ext uri="{28A0092B-C50C-407E-A947-70E740481C1C}">
                          <a14:useLocalDpi xmlns:a14="http://schemas.microsoft.com/office/drawing/2010/main" val="0"/>
                        </a:ext>
                      </a:extLst>
                    </a:blip>
                    <a:srcRect/>
                    <a:stretch>
                      <a:fillRect/>
                    </a:stretch>
                  </p:blipFill>
                  <p:spPr bwMode="auto">
                    <a:xfrm>
                      <a:off x="9408787" y="1025699"/>
                      <a:ext cx="302749" cy="302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9" name="TextBox 358"/>
                    <p:cNvSpPr txBox="1"/>
                    <p:nvPr/>
                  </p:nvSpPr>
                  <p:spPr bwMode="auto">
                    <a:xfrm>
                      <a:off x="9742651" y="1059753"/>
                      <a:ext cx="541336" cy="2492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zure SDK</a:t>
                      </a:r>
                    </a:p>
                  </p:txBody>
                </p:sp>
              </p:grpSp>
              <p:grpSp>
                <p:nvGrpSpPr>
                  <p:cNvPr id="355" name="Group 354"/>
                  <p:cNvGrpSpPr/>
                  <p:nvPr/>
                </p:nvGrpSpPr>
                <p:grpSpPr>
                  <a:xfrm>
                    <a:off x="8316496" y="1621631"/>
                    <a:ext cx="1048016" cy="280129"/>
                    <a:chOff x="8316496" y="1621631"/>
                    <a:chExt cx="1048016" cy="280129"/>
                  </a:xfrm>
                </p:grpSpPr>
                <p:sp>
                  <p:nvSpPr>
                    <p:cNvPr id="356" name="TextBox 355"/>
                    <p:cNvSpPr txBox="1"/>
                    <p:nvPr/>
                  </p:nvSpPr>
                  <p:spPr bwMode="auto">
                    <a:xfrm>
                      <a:off x="8704112" y="1650936"/>
                      <a:ext cx="660400" cy="2508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Team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Project</a:t>
                      </a:r>
                    </a:p>
                  </p:txBody>
                </p:sp>
                <p:sp>
                  <p:nvSpPr>
                    <p:cNvPr id="357" name="Freeform 356"/>
                    <p:cNvSpPr/>
                    <p:nvPr/>
                  </p:nvSpPr>
                  <p:spPr bwMode="auto">
                    <a:xfrm>
                      <a:off x="8316496" y="1621631"/>
                      <a:ext cx="290512" cy="249237"/>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grpSp>
          <p:grpSp>
            <p:nvGrpSpPr>
              <p:cNvPr id="4" name="Group 3"/>
              <p:cNvGrpSpPr/>
              <p:nvPr userDrawn="1"/>
            </p:nvGrpSpPr>
            <p:grpSpPr>
              <a:xfrm>
                <a:off x="249566" y="543029"/>
                <a:ext cx="1720893" cy="3795291"/>
                <a:chOff x="249566" y="543029"/>
                <a:chExt cx="1720893" cy="3795291"/>
              </a:xfrm>
            </p:grpSpPr>
            <p:sp>
              <p:nvSpPr>
                <p:cNvPr id="319" name="Rectangle 318"/>
                <p:cNvSpPr/>
                <p:nvPr/>
              </p:nvSpPr>
              <p:spPr bwMode="auto">
                <a:xfrm>
                  <a:off x="249566" y="543029"/>
                  <a:ext cx="1720893" cy="3795291"/>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algn="ctr" defTabSz="895740" eaLnBrk="1" hangingPunct="1">
                    <a:lnSpc>
                      <a:spcPct val="90000"/>
                    </a:lnSpc>
                    <a:spcBef>
                      <a:spcPts val="0"/>
                    </a:spcBef>
                    <a:spcAft>
                      <a:spcPts val="0"/>
                    </a:spcAft>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ecurity and Management</a:t>
                  </a:r>
                </a:p>
              </p:txBody>
            </p:sp>
            <p:grpSp>
              <p:nvGrpSpPr>
                <p:cNvPr id="3" name="Group 2"/>
                <p:cNvGrpSpPr/>
                <p:nvPr/>
              </p:nvGrpSpPr>
              <p:grpSpPr>
                <a:xfrm>
                  <a:off x="365563" y="1115018"/>
                  <a:ext cx="1458716" cy="3120525"/>
                  <a:chOff x="419554" y="1199688"/>
                  <a:chExt cx="1458716" cy="3120525"/>
                </a:xfrm>
              </p:grpSpPr>
              <p:grpSp>
                <p:nvGrpSpPr>
                  <p:cNvPr id="321" name="Group 320"/>
                  <p:cNvGrpSpPr/>
                  <p:nvPr/>
                </p:nvGrpSpPr>
                <p:grpSpPr>
                  <a:xfrm>
                    <a:off x="442574" y="1656149"/>
                    <a:ext cx="1027708" cy="303213"/>
                    <a:chOff x="368069" y="1313314"/>
                    <a:chExt cx="1027708" cy="303213"/>
                  </a:xfrm>
                </p:grpSpPr>
                <p:sp>
                  <p:nvSpPr>
                    <p:cNvPr id="340" name="TextBox 339"/>
                    <p:cNvSpPr txBox="1"/>
                    <p:nvPr/>
                  </p:nvSpPr>
                  <p:spPr bwMode="auto">
                    <a:xfrm>
                      <a:off x="736963" y="1314902"/>
                      <a:ext cx="658814"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ctiv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Directory</a:t>
                      </a:r>
                    </a:p>
                  </p:txBody>
                </p:sp>
                <p:pic>
                  <p:nvPicPr>
                    <p:cNvPr id="341" name="Picture 193" descr="Azure Active Directory.png"/>
                    <p:cNvPicPr>
                      <a:picLocks noChangeAspect="1"/>
                    </p:cNvPicPr>
                    <p:nvPr/>
                  </p:nvPicPr>
                  <p:blipFill>
                    <a:blip r:embed="rId40">
                      <a:biLevel thresh="25000"/>
                      <a:extLst>
                        <a:ext uri="{28A0092B-C50C-407E-A947-70E740481C1C}">
                          <a14:useLocalDpi xmlns:a14="http://schemas.microsoft.com/office/drawing/2010/main" val="0"/>
                        </a:ext>
                      </a:extLst>
                    </a:blip>
                    <a:srcRect/>
                    <a:stretch>
                      <a:fillRect/>
                    </a:stretch>
                  </p:blipFill>
                  <p:spPr bwMode="auto">
                    <a:xfrm>
                      <a:off x="368069" y="1313314"/>
                      <a:ext cx="298175" cy="298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2" name="Group 321"/>
                  <p:cNvGrpSpPr/>
                  <p:nvPr/>
                </p:nvGrpSpPr>
                <p:grpSpPr>
                  <a:xfrm>
                    <a:off x="466215" y="2129907"/>
                    <a:ext cx="1004066" cy="301625"/>
                    <a:chOff x="391710" y="1847920"/>
                    <a:chExt cx="1004066" cy="301625"/>
                  </a:xfrm>
                </p:grpSpPr>
                <p:sp>
                  <p:nvSpPr>
                    <p:cNvPr id="338" name="TextBox 337"/>
                    <p:cNvSpPr txBox="1"/>
                    <p:nvPr/>
                  </p:nvSpPr>
                  <p:spPr bwMode="auto">
                    <a:xfrm>
                      <a:off x="736963" y="18479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Multi-factor</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uthentication</a:t>
                      </a:r>
                    </a:p>
                  </p:txBody>
                </p:sp>
                <p:pic>
                  <p:nvPicPr>
                    <p:cNvPr id="339" name="Picture 195" descr="Multi-Factor Authentication.png"/>
                    <p:cNvPicPr>
                      <a:picLocks noChangeAspect="1"/>
                    </p:cNvPicPr>
                    <p:nvPr/>
                  </p:nvPicPr>
                  <p:blipFill>
                    <a:blip r:embed="rId41">
                      <a:biLevel thresh="25000"/>
                      <a:extLst>
                        <a:ext uri="{28A0092B-C50C-407E-A947-70E740481C1C}">
                          <a14:useLocalDpi xmlns:a14="http://schemas.microsoft.com/office/drawing/2010/main" val="0"/>
                        </a:ext>
                      </a:extLst>
                    </a:blip>
                    <a:srcRect/>
                    <a:stretch>
                      <a:fillRect/>
                    </a:stretch>
                  </p:blipFill>
                  <p:spPr bwMode="auto">
                    <a:xfrm>
                      <a:off x="391710" y="1854270"/>
                      <a:ext cx="288064" cy="28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3" name="Group 322"/>
                  <p:cNvGrpSpPr/>
                  <p:nvPr/>
                </p:nvGrpSpPr>
                <p:grpSpPr>
                  <a:xfrm>
                    <a:off x="442574" y="2602077"/>
                    <a:ext cx="1027706" cy="301625"/>
                    <a:chOff x="368069" y="2341251"/>
                    <a:chExt cx="1027706" cy="301625"/>
                  </a:xfrm>
                </p:grpSpPr>
                <p:sp>
                  <p:nvSpPr>
                    <p:cNvPr id="336" name="TextBox 335"/>
                    <p:cNvSpPr txBox="1"/>
                    <p:nvPr/>
                  </p:nvSpPr>
                  <p:spPr bwMode="auto">
                    <a:xfrm>
                      <a:off x="736963" y="23412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utomation</a:t>
                      </a:r>
                    </a:p>
                  </p:txBody>
                </p:sp>
                <p:pic>
                  <p:nvPicPr>
                    <p:cNvPr id="337" name="Picture 198" descr="Azure automation.png"/>
                    <p:cNvPicPr>
                      <a:picLocks noChangeAspect="1"/>
                    </p:cNvPicPr>
                    <p:nvPr/>
                  </p:nvPicPr>
                  <p:blipFill>
                    <a:blip r:embed="rId42">
                      <a:biLevel thresh="25000"/>
                      <a:extLst>
                        <a:ext uri="{28A0092B-C50C-407E-A947-70E740481C1C}">
                          <a14:useLocalDpi xmlns:a14="http://schemas.microsoft.com/office/drawing/2010/main" val="0"/>
                        </a:ext>
                      </a:extLst>
                    </a:blip>
                    <a:srcRect/>
                    <a:stretch>
                      <a:fillRect/>
                    </a:stretch>
                  </p:blipFill>
                  <p:spPr bwMode="auto">
                    <a:xfrm>
                      <a:off x="368069" y="2347601"/>
                      <a:ext cx="289482" cy="290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4" name="Group 323"/>
                  <p:cNvGrpSpPr/>
                  <p:nvPr/>
                </p:nvGrpSpPr>
                <p:grpSpPr>
                  <a:xfrm>
                    <a:off x="442574" y="1199688"/>
                    <a:ext cx="1027707" cy="285916"/>
                    <a:chOff x="368069" y="762503"/>
                    <a:chExt cx="1027707" cy="285916"/>
                  </a:xfrm>
                </p:grpSpPr>
                <p:sp>
                  <p:nvSpPr>
                    <p:cNvPr id="334" name="TextBox 333"/>
                    <p:cNvSpPr txBox="1"/>
                    <p:nvPr/>
                  </p:nvSpPr>
                  <p:spPr bwMode="auto">
                    <a:xfrm>
                      <a:off x="736963" y="789031"/>
                      <a:ext cx="658813" cy="232860"/>
                    </a:xfrm>
                    <a:prstGeom prst="rect">
                      <a:avLst/>
                    </a:prstGeom>
                    <a:noFill/>
                    <a:ln>
                      <a:noFill/>
                    </a:ln>
                  </p:spPr>
                  <p:txBody>
                    <a:bodyPr wrap="none" lIns="0" tIns="27971" rIns="0" bIns="0" anchor="ctr" anchorCtr="0"/>
                    <a:lstStyle/>
                    <a:p>
                      <a:pPr defTabSz="913764">
                        <a:lnSpc>
                          <a:spcPct val="90000"/>
                        </a:lnSpc>
                        <a:spcBef>
                          <a:spcPts val="588"/>
                        </a:spcBef>
                        <a:defRPr/>
                      </a:pPr>
                      <a:r>
                        <a:rPr lang="en-US" sz="980" kern="0" dirty="0">
                          <a:gradFill>
                            <a:gsLst>
                              <a:gs pos="76250">
                                <a:srgbClr val="FFFFFF"/>
                              </a:gs>
                              <a:gs pos="31000">
                                <a:srgbClr val="FFFFFF"/>
                              </a:gs>
                            </a:gsLst>
                            <a:lin ang="5400000" scaled="0"/>
                          </a:gradFill>
                          <a:latin typeface="Segoe UI"/>
                          <a:ea typeface="Arial Unicode MS" panose="020B0604020202020204" pitchFamily="34" charset="-128"/>
                          <a:cs typeface="Segoe UI Light" panose="020B0502040204020203" pitchFamily="34" charset="0"/>
                        </a:rPr>
                        <a:t>Portal</a:t>
                      </a:r>
                    </a:p>
                  </p:txBody>
                </p:sp>
                <p:pic>
                  <p:nvPicPr>
                    <p:cNvPr id="335" name="Picture 200" descr="Azure subscription.png"/>
                    <p:cNvPicPr>
                      <a:picLocks noChangeAspect="1"/>
                    </p:cNvPicPr>
                    <p:nvPr/>
                  </p:nvPicPr>
                  <p:blipFill>
                    <a:blip r:embed="rId43">
                      <a:biLevel thresh="25000"/>
                      <a:extLst>
                        <a:ext uri="{28A0092B-C50C-407E-A947-70E740481C1C}">
                          <a14:useLocalDpi xmlns:a14="http://schemas.microsoft.com/office/drawing/2010/main" val="0"/>
                        </a:ext>
                      </a:extLst>
                    </a:blip>
                    <a:srcRect/>
                    <a:stretch>
                      <a:fillRect/>
                    </a:stretch>
                  </p:blipFill>
                  <p:spPr bwMode="auto">
                    <a:xfrm>
                      <a:off x="368069" y="762503"/>
                      <a:ext cx="286234" cy="285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5" name="Group 324"/>
                  <p:cNvGrpSpPr/>
                  <p:nvPr/>
                </p:nvGrpSpPr>
                <p:grpSpPr>
                  <a:xfrm>
                    <a:off x="442574" y="3074247"/>
                    <a:ext cx="1027707" cy="301625"/>
                    <a:chOff x="368069" y="2835216"/>
                    <a:chExt cx="1027707" cy="301625"/>
                  </a:xfrm>
                </p:grpSpPr>
                <p:sp>
                  <p:nvSpPr>
                    <p:cNvPr id="332" name="TextBox 331"/>
                    <p:cNvSpPr txBox="1"/>
                    <p:nvPr/>
                  </p:nvSpPr>
                  <p:spPr bwMode="auto">
                    <a:xfrm>
                      <a:off x="736963" y="2835216"/>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Key vault</a:t>
                      </a:r>
                    </a:p>
                  </p:txBody>
                </p:sp>
                <p:pic>
                  <p:nvPicPr>
                    <p:cNvPr id="333" name="Picture 204" descr="AzureKeyVault_icon_white.png"/>
                    <p:cNvPicPr>
                      <a:picLocks noChangeAspect="1"/>
                    </p:cNvPicPr>
                    <p:nvPr/>
                  </p:nvPicPr>
                  <p:blipFill>
                    <a:blip r:embed="rId44">
                      <a:extLst>
                        <a:ext uri="{28A0092B-C50C-407E-A947-70E740481C1C}">
                          <a14:useLocalDpi xmlns:a14="http://schemas.microsoft.com/office/drawing/2010/main" val="0"/>
                        </a:ext>
                      </a:extLst>
                    </a:blip>
                    <a:srcRect/>
                    <a:stretch>
                      <a:fillRect/>
                    </a:stretch>
                  </p:blipFill>
                  <p:spPr bwMode="auto">
                    <a:xfrm>
                      <a:off x="368069" y="2835216"/>
                      <a:ext cx="266988" cy="296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6" name="Group 325"/>
                  <p:cNvGrpSpPr/>
                  <p:nvPr/>
                </p:nvGrpSpPr>
                <p:grpSpPr>
                  <a:xfrm>
                    <a:off x="419554" y="3546417"/>
                    <a:ext cx="1458716" cy="301625"/>
                    <a:chOff x="345049" y="3328988"/>
                    <a:chExt cx="1458716" cy="301625"/>
                  </a:xfrm>
                </p:grpSpPr>
                <p:sp>
                  <p:nvSpPr>
                    <p:cNvPr id="330" name="TextBox 329"/>
                    <p:cNvSpPr txBox="1"/>
                    <p:nvPr/>
                  </p:nvSpPr>
                  <p:spPr bwMode="auto">
                    <a:xfrm>
                      <a:off x="736963" y="3328988"/>
                      <a:ext cx="106680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tor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Marketplace</a:t>
                      </a:r>
                    </a:p>
                  </p:txBody>
                </p:sp>
                <p:pic>
                  <p:nvPicPr>
                    <p:cNvPr id="331" name="Picture 230" descr="Azure Marketplace.png"/>
                    <p:cNvPicPr>
                      <a:picLocks noChangeAspect="1"/>
                    </p:cNvPicPr>
                    <p:nvPr/>
                  </p:nvPicPr>
                  <p:blipFill>
                    <a:blip r:embed="rId45">
                      <a:biLevel thresh="25000"/>
                      <a:extLst>
                        <a:ext uri="{28A0092B-C50C-407E-A947-70E740481C1C}">
                          <a14:useLocalDpi xmlns:a14="http://schemas.microsoft.com/office/drawing/2010/main" val="0"/>
                        </a:ext>
                      </a:extLst>
                    </a:blip>
                    <a:srcRect/>
                    <a:stretch>
                      <a:fillRect/>
                    </a:stretch>
                  </p:blipFill>
                  <p:spPr bwMode="auto">
                    <a:xfrm>
                      <a:off x="345049" y="3338513"/>
                      <a:ext cx="291101" cy="291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7" name="Group 326"/>
                  <p:cNvGrpSpPr/>
                  <p:nvPr/>
                </p:nvGrpSpPr>
                <p:grpSpPr>
                  <a:xfrm>
                    <a:off x="442574" y="4018588"/>
                    <a:ext cx="1029294" cy="301625"/>
                    <a:chOff x="368069" y="3867931"/>
                    <a:chExt cx="1029294" cy="301625"/>
                  </a:xfrm>
                </p:grpSpPr>
                <p:pic>
                  <p:nvPicPr>
                    <p:cNvPr id="328" name="Picture 412"/>
                    <p:cNvPicPr>
                      <a:picLocks noChangeAspect="1"/>
                    </p:cNvPicPr>
                    <p:nvPr/>
                  </p:nvPicPr>
                  <p:blipFill>
                    <a:blip r:embed="rId46">
                      <a:biLevel thresh="25000"/>
                      <a:extLst>
                        <a:ext uri="{28A0092B-C50C-407E-A947-70E740481C1C}">
                          <a14:useLocalDpi xmlns:a14="http://schemas.microsoft.com/office/drawing/2010/main" val="0"/>
                        </a:ext>
                      </a:extLst>
                    </a:blip>
                    <a:srcRect/>
                    <a:stretch>
                      <a:fillRect/>
                    </a:stretch>
                  </p:blipFill>
                  <p:spPr bwMode="auto">
                    <a:xfrm>
                      <a:off x="368069" y="3891744"/>
                      <a:ext cx="252343" cy="25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9" name="TextBox 328"/>
                    <p:cNvSpPr txBox="1"/>
                    <p:nvPr/>
                  </p:nvSpPr>
                  <p:spPr bwMode="auto">
                    <a:xfrm>
                      <a:off x="736963" y="386793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VM Image Gallery</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nd VM Depot</a:t>
                      </a:r>
                    </a:p>
                  </p:txBody>
                </p:sp>
              </p:grpSp>
            </p:grpSp>
          </p:grpSp>
          <p:grpSp>
            <p:nvGrpSpPr>
              <p:cNvPr id="13" name="Group 12"/>
              <p:cNvGrpSpPr/>
              <p:nvPr userDrawn="1"/>
            </p:nvGrpSpPr>
            <p:grpSpPr>
              <a:xfrm>
                <a:off x="10572607" y="543029"/>
                <a:ext cx="1619393" cy="3786173"/>
                <a:chOff x="10572607" y="543029"/>
                <a:chExt cx="1619393" cy="3786173"/>
              </a:xfrm>
            </p:grpSpPr>
            <p:sp>
              <p:nvSpPr>
                <p:cNvPr id="288" name="Rectangle 287"/>
                <p:cNvSpPr/>
                <p:nvPr/>
              </p:nvSpPr>
              <p:spPr bwMode="auto">
                <a:xfrm>
                  <a:off x="10572607" y="543029"/>
                  <a:ext cx="1619393" cy="3786173"/>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algn="ctr" defTabSz="895740" eaLnBrk="1" hangingPunct="1">
                    <a:lnSpc>
                      <a:spcPct val="90000"/>
                    </a:lnSpc>
                    <a:spcBef>
                      <a:spcPts val="0"/>
                    </a:spcBef>
                    <a:spcAft>
                      <a:spcPts val="0"/>
                    </a:spcAft>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Hybrid</a:t>
                  </a:r>
                </a:p>
                <a:p>
                  <a:pPr algn="ctr" defTabSz="895740" eaLnBrk="1" hangingPunct="1">
                    <a:lnSpc>
                      <a:spcPct val="90000"/>
                    </a:lnSpc>
                    <a:spcBef>
                      <a:spcPts val="0"/>
                    </a:spcBef>
                    <a:spcAft>
                      <a:spcPts val="0"/>
                    </a:spcAft>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Operations</a:t>
                  </a:r>
                </a:p>
              </p:txBody>
            </p:sp>
            <p:grpSp>
              <p:nvGrpSpPr>
                <p:cNvPr id="12" name="Group 11"/>
                <p:cNvGrpSpPr/>
                <p:nvPr userDrawn="1"/>
              </p:nvGrpSpPr>
              <p:grpSpPr>
                <a:xfrm>
                  <a:off x="10757536" y="1170330"/>
                  <a:ext cx="1249535" cy="2996155"/>
                  <a:chOff x="10729741" y="1170330"/>
                  <a:chExt cx="1249535" cy="2996155"/>
                </a:xfrm>
              </p:grpSpPr>
              <p:grpSp>
                <p:nvGrpSpPr>
                  <p:cNvPr id="7" name="Group 6"/>
                  <p:cNvGrpSpPr/>
                  <p:nvPr userDrawn="1"/>
                </p:nvGrpSpPr>
                <p:grpSpPr>
                  <a:xfrm>
                    <a:off x="10729741" y="2078817"/>
                    <a:ext cx="1064688" cy="300038"/>
                    <a:chOff x="10729741" y="1826583"/>
                    <a:chExt cx="1064688" cy="300038"/>
                  </a:xfrm>
                </p:grpSpPr>
                <p:sp>
                  <p:nvSpPr>
                    <p:cNvPr id="317" name="TextBox 316"/>
                    <p:cNvSpPr txBox="1"/>
                    <p:nvPr/>
                  </p:nvSpPr>
                  <p:spPr bwMode="auto">
                    <a:xfrm>
                      <a:off x="11135616" y="1826583"/>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Backup</a:t>
                      </a:r>
                    </a:p>
                  </p:txBody>
                </p:sp>
                <p:pic>
                  <p:nvPicPr>
                    <p:cNvPr id="318" name="Picture 206" descr="Backup Service.png"/>
                    <p:cNvPicPr>
                      <a:picLocks noChangeAspect="1"/>
                    </p:cNvPicPr>
                    <p:nvPr/>
                  </p:nvPicPr>
                  <p:blipFill>
                    <a:blip r:embed="rId47">
                      <a:biLevel thresh="25000"/>
                      <a:extLst>
                        <a:ext uri="{28A0092B-C50C-407E-A947-70E740481C1C}">
                          <a14:useLocalDpi xmlns:a14="http://schemas.microsoft.com/office/drawing/2010/main" val="0"/>
                        </a:ext>
                      </a:extLst>
                    </a:blip>
                    <a:srcRect/>
                    <a:stretch>
                      <a:fillRect/>
                    </a:stretch>
                  </p:blipFill>
                  <p:spPr bwMode="auto">
                    <a:xfrm>
                      <a:off x="10729741" y="1828595"/>
                      <a:ext cx="296404" cy="29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0" name="Group 9"/>
                  <p:cNvGrpSpPr/>
                  <p:nvPr userDrawn="1"/>
                </p:nvGrpSpPr>
                <p:grpSpPr>
                  <a:xfrm>
                    <a:off x="10735019" y="3417554"/>
                    <a:ext cx="1059409" cy="301625"/>
                    <a:chOff x="10735019" y="3369011"/>
                    <a:chExt cx="1059409" cy="301625"/>
                  </a:xfrm>
                </p:grpSpPr>
                <p:sp>
                  <p:nvSpPr>
                    <p:cNvPr id="315" name="TextBox 314"/>
                    <p:cNvSpPr txBox="1"/>
                    <p:nvPr/>
                  </p:nvSpPr>
                  <p:spPr bwMode="auto">
                    <a:xfrm>
                      <a:off x="11135616" y="336901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it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Recovery</a:t>
                      </a:r>
                    </a:p>
                  </p:txBody>
                </p:sp>
                <p:pic>
                  <p:nvPicPr>
                    <p:cNvPr id="316" name="Picture 210" descr="Site Recovery.png"/>
                    <p:cNvPicPr>
                      <a:picLocks noChangeAspect="1"/>
                    </p:cNvPicPr>
                    <p:nvPr/>
                  </p:nvPicPr>
                  <p:blipFill>
                    <a:blip r:embed="rId48">
                      <a:biLevel thresh="25000"/>
                      <a:extLst>
                        <a:ext uri="{28A0092B-C50C-407E-A947-70E740481C1C}">
                          <a14:useLocalDpi xmlns:a14="http://schemas.microsoft.com/office/drawing/2010/main" val="0"/>
                        </a:ext>
                      </a:extLst>
                    </a:blip>
                    <a:srcRect/>
                    <a:stretch>
                      <a:fillRect/>
                    </a:stretch>
                  </p:blipFill>
                  <p:spPr bwMode="auto">
                    <a:xfrm>
                      <a:off x="10735019" y="3369011"/>
                      <a:ext cx="285848" cy="286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Group 8"/>
                  <p:cNvGrpSpPr/>
                  <p:nvPr userDrawn="1"/>
                </p:nvGrpSpPr>
                <p:grpSpPr>
                  <a:xfrm>
                    <a:off x="10734570" y="2971838"/>
                    <a:ext cx="1059859" cy="300037"/>
                    <a:chOff x="10734570" y="2856179"/>
                    <a:chExt cx="1059859" cy="300037"/>
                  </a:xfrm>
                </p:grpSpPr>
                <p:sp>
                  <p:nvSpPr>
                    <p:cNvPr id="313" name="TextBox 312"/>
                    <p:cNvSpPr txBox="1"/>
                    <p:nvPr/>
                  </p:nvSpPr>
                  <p:spPr bwMode="auto">
                    <a:xfrm>
                      <a:off x="11135616" y="2856179"/>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Import/Export</a:t>
                      </a:r>
                    </a:p>
                  </p:txBody>
                </p:sp>
                <p:pic>
                  <p:nvPicPr>
                    <p:cNvPr id="314" name="Picture 212" descr="Storage (Azure).png"/>
                    <p:cNvPicPr>
                      <a:picLocks noChangeAspect="1"/>
                    </p:cNvPicPr>
                    <p:nvPr/>
                  </p:nvPicPr>
                  <p:blipFill>
                    <a:blip r:embed="rId49">
                      <a:biLevel thresh="25000"/>
                      <a:extLst>
                        <a:ext uri="{28A0092B-C50C-407E-A947-70E740481C1C}">
                          <a14:useLocalDpi xmlns:a14="http://schemas.microsoft.com/office/drawing/2010/main" val="0"/>
                        </a:ext>
                      </a:extLst>
                    </a:blip>
                    <a:srcRect/>
                    <a:stretch>
                      <a:fillRect/>
                    </a:stretch>
                  </p:blipFill>
                  <p:spPr bwMode="auto">
                    <a:xfrm>
                      <a:off x="10734570" y="2856179"/>
                      <a:ext cx="286746" cy="286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 name="Group 4"/>
                  <p:cNvGrpSpPr/>
                  <p:nvPr userDrawn="1"/>
                </p:nvGrpSpPr>
                <p:grpSpPr>
                  <a:xfrm>
                    <a:off x="10755293" y="1616047"/>
                    <a:ext cx="1223983" cy="317091"/>
                    <a:chOff x="10755293" y="1282976"/>
                    <a:chExt cx="1223983" cy="317091"/>
                  </a:xfrm>
                </p:grpSpPr>
                <p:sp>
                  <p:nvSpPr>
                    <p:cNvPr id="311" name="TextBox 310"/>
                    <p:cNvSpPr txBox="1"/>
                    <p:nvPr/>
                  </p:nvSpPr>
                  <p:spPr bwMode="auto">
                    <a:xfrm>
                      <a:off x="11135616" y="1291503"/>
                      <a:ext cx="843660" cy="30023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D Privileged</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Identity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Management</a:t>
                      </a:r>
                    </a:p>
                  </p:txBody>
                </p:sp>
                <p:pic>
                  <p:nvPicPr>
                    <p:cNvPr id="312" name="Picture 271"/>
                    <p:cNvPicPr>
                      <a:picLocks noChangeAspect="1"/>
                    </p:cNvPicPr>
                    <p:nvPr/>
                  </p:nvPicPr>
                  <p:blipFill>
                    <a:blip r:embed="rId50">
                      <a:extLst>
                        <a:ext uri="{28A0092B-C50C-407E-A947-70E740481C1C}">
                          <a14:useLocalDpi xmlns:a14="http://schemas.microsoft.com/office/drawing/2010/main" val="0"/>
                        </a:ext>
                      </a:extLst>
                    </a:blip>
                    <a:srcRect/>
                    <a:stretch>
                      <a:fillRect/>
                    </a:stretch>
                  </p:blipFill>
                  <p:spPr bwMode="auto">
                    <a:xfrm>
                      <a:off x="10755293" y="1282976"/>
                      <a:ext cx="245301" cy="317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 name="Group 7"/>
                  <p:cNvGrpSpPr/>
                  <p:nvPr userDrawn="1"/>
                </p:nvGrpSpPr>
                <p:grpSpPr>
                  <a:xfrm>
                    <a:off x="10737716" y="2524534"/>
                    <a:ext cx="1058300" cy="301625"/>
                    <a:chOff x="10737716" y="2349114"/>
                    <a:chExt cx="1058300" cy="301625"/>
                  </a:xfrm>
                </p:grpSpPr>
                <p:sp>
                  <p:nvSpPr>
                    <p:cNvPr id="309" name="TextBox 308"/>
                    <p:cNvSpPr txBox="1"/>
                    <p:nvPr/>
                  </p:nvSpPr>
                  <p:spPr bwMode="auto">
                    <a:xfrm>
                      <a:off x="11135616" y="2349114"/>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Operational</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Insights</a:t>
                      </a:r>
                    </a:p>
                  </p:txBody>
                </p:sp>
                <p:pic>
                  <p:nvPicPr>
                    <p:cNvPr id="310" name="Picture 329" descr="Operational Insights.png"/>
                    <p:cNvPicPr>
                      <a:picLocks noChangeAspect="1"/>
                    </p:cNvPicPr>
                    <p:nvPr/>
                  </p:nvPicPr>
                  <p:blipFill>
                    <a:blip r:embed="rId51">
                      <a:biLevel thresh="25000"/>
                      <a:extLst>
                        <a:ext uri="{28A0092B-C50C-407E-A947-70E740481C1C}">
                          <a14:useLocalDpi xmlns:a14="http://schemas.microsoft.com/office/drawing/2010/main" val="0"/>
                        </a:ext>
                      </a:extLst>
                    </a:blip>
                    <a:srcRect/>
                    <a:stretch>
                      <a:fillRect/>
                    </a:stretch>
                  </p:blipFill>
                  <p:spPr bwMode="auto">
                    <a:xfrm>
                      <a:off x="10737716" y="2349114"/>
                      <a:ext cx="280454" cy="280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 name="Group 5"/>
                  <p:cNvGrpSpPr/>
                  <p:nvPr userDrawn="1"/>
                </p:nvGrpSpPr>
                <p:grpSpPr>
                  <a:xfrm>
                    <a:off x="10731079" y="1170330"/>
                    <a:ext cx="1063349" cy="300038"/>
                    <a:chOff x="10731079" y="777857"/>
                    <a:chExt cx="1063349" cy="300038"/>
                  </a:xfrm>
                </p:grpSpPr>
                <p:sp>
                  <p:nvSpPr>
                    <p:cNvPr id="299" name="TextBox 298"/>
                    <p:cNvSpPr txBox="1"/>
                    <p:nvPr/>
                  </p:nvSpPr>
                  <p:spPr bwMode="auto">
                    <a:xfrm>
                      <a:off x="11135616" y="777857"/>
                      <a:ext cx="658812"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zure AD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Connect Health</a:t>
                      </a:r>
                    </a:p>
                  </p:txBody>
                </p:sp>
                <p:grpSp>
                  <p:nvGrpSpPr>
                    <p:cNvPr id="300" name="Group 228"/>
                    <p:cNvGrpSpPr>
                      <a:grpSpLocks/>
                    </p:cNvGrpSpPr>
                    <p:nvPr/>
                  </p:nvGrpSpPr>
                  <p:grpSpPr bwMode="auto">
                    <a:xfrm>
                      <a:off x="10731079" y="777857"/>
                      <a:ext cx="293729" cy="278603"/>
                      <a:chOff x="10757647" y="1125048"/>
                      <a:chExt cx="293741" cy="279390"/>
                    </a:xfrm>
                  </p:grpSpPr>
                  <p:pic>
                    <p:nvPicPr>
                      <p:cNvPr id="301" name="Picture 221" descr="Azure Active Directory.png"/>
                      <p:cNvPicPr>
                        <a:picLocks noChangeAspect="1"/>
                      </p:cNvPicPr>
                      <p:nvPr/>
                    </p:nvPicPr>
                    <p:blipFill>
                      <a:blip r:embed="rId40">
                        <a:biLevel thresh="25000"/>
                        <a:extLst>
                          <a:ext uri="{28A0092B-C50C-407E-A947-70E740481C1C}">
                            <a14:useLocalDpi xmlns:a14="http://schemas.microsoft.com/office/drawing/2010/main" val="0"/>
                          </a:ext>
                        </a:extLst>
                      </a:blip>
                      <a:srcRect/>
                      <a:stretch>
                        <a:fillRect/>
                      </a:stretch>
                    </p:blipFill>
                    <p:spPr bwMode="auto">
                      <a:xfrm>
                        <a:off x="10757647" y="1125048"/>
                        <a:ext cx="262077" cy="26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2" name="Heart 301"/>
                      <p:cNvSpPr/>
                      <p:nvPr/>
                    </p:nvSpPr>
                    <p:spPr bwMode="auto">
                      <a:xfrm>
                        <a:off x="10905290" y="1274695"/>
                        <a:ext cx="146056" cy="128950"/>
                      </a:xfrm>
                      <a:prstGeom prst="heart">
                        <a:avLst/>
                      </a:prstGeom>
                      <a:solidFill>
                        <a:srgbClr val="FFFFFF"/>
                      </a:solidFill>
                      <a:ln w="12700" cap="flat" cmpd="sng" algn="ctr">
                        <a:solidFill>
                          <a:srgbClr val="005695"/>
                        </a:solid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nvGrpSpPr>
                      <p:cNvPr id="303" name="Group 21"/>
                      <p:cNvGrpSpPr>
                        <a:grpSpLocks/>
                      </p:cNvGrpSpPr>
                      <p:nvPr/>
                    </p:nvGrpSpPr>
                    <p:grpSpPr bwMode="auto">
                      <a:xfrm>
                        <a:off x="10911015" y="1312918"/>
                        <a:ext cx="107890" cy="50915"/>
                        <a:chOff x="11033154" y="1382736"/>
                        <a:chExt cx="155481" cy="72283"/>
                      </a:xfrm>
                    </p:grpSpPr>
                    <p:cxnSp>
                      <p:nvCxnSpPr>
                        <p:cNvPr id="304" name="Straight Connector 303"/>
                        <p:cNvCxnSpPr/>
                        <p:nvPr/>
                      </p:nvCxnSpPr>
                      <p:spPr>
                        <a:xfrm flipV="1">
                          <a:off x="11034055" y="1414354"/>
                          <a:ext cx="50333" cy="0"/>
                        </a:xfrm>
                        <a:prstGeom prst="line">
                          <a:avLst/>
                        </a:prstGeom>
                        <a:noFill/>
                        <a:ln w="9525" cap="flat" cmpd="sng" algn="ctr">
                          <a:solidFill>
                            <a:srgbClr val="005695"/>
                          </a:solidFill>
                          <a:prstDash val="solid"/>
                          <a:headEnd type="none"/>
                          <a:tailEnd type="none"/>
                        </a:ln>
                        <a:effectLst/>
                      </p:spPr>
                    </p:cxnSp>
                    <p:cxnSp>
                      <p:nvCxnSpPr>
                        <p:cNvPr id="305" name="Straight Connector 304"/>
                        <p:cNvCxnSpPr/>
                        <p:nvPr/>
                      </p:nvCxnSpPr>
                      <p:spPr>
                        <a:xfrm flipV="1">
                          <a:off x="11139295" y="1418875"/>
                          <a:ext cx="50333" cy="0"/>
                        </a:xfrm>
                        <a:prstGeom prst="line">
                          <a:avLst/>
                        </a:prstGeom>
                        <a:noFill/>
                        <a:ln w="9525" cap="flat" cmpd="sng" algn="ctr">
                          <a:solidFill>
                            <a:srgbClr val="005695"/>
                          </a:solidFill>
                          <a:prstDash val="solid"/>
                          <a:headEnd type="none"/>
                          <a:tailEnd type="none"/>
                        </a:ln>
                        <a:effectLst/>
                      </p:spPr>
                    </p:cxnSp>
                    <p:cxnSp>
                      <p:nvCxnSpPr>
                        <p:cNvPr id="306" name="Straight Connector 305"/>
                        <p:cNvCxnSpPr/>
                        <p:nvPr/>
                      </p:nvCxnSpPr>
                      <p:spPr>
                        <a:xfrm>
                          <a:off x="11114130" y="1382713"/>
                          <a:ext cx="0" cy="70062"/>
                        </a:xfrm>
                        <a:prstGeom prst="line">
                          <a:avLst/>
                        </a:prstGeom>
                        <a:noFill/>
                        <a:ln w="9525" cap="flat" cmpd="sng" algn="ctr">
                          <a:solidFill>
                            <a:srgbClr val="005695"/>
                          </a:solidFill>
                          <a:prstDash val="solid"/>
                          <a:headEnd type="none"/>
                          <a:tailEnd type="none"/>
                        </a:ln>
                        <a:effectLst/>
                      </p:spPr>
                    </p:cxnSp>
                    <p:cxnSp>
                      <p:nvCxnSpPr>
                        <p:cNvPr id="307" name="Straight Connector 306"/>
                        <p:cNvCxnSpPr/>
                        <p:nvPr/>
                      </p:nvCxnSpPr>
                      <p:spPr>
                        <a:xfrm flipV="1">
                          <a:off x="11082100" y="1387233"/>
                          <a:ext cx="25166" cy="27121"/>
                        </a:xfrm>
                        <a:prstGeom prst="line">
                          <a:avLst/>
                        </a:prstGeom>
                        <a:noFill/>
                        <a:ln w="9525" cap="flat" cmpd="sng" algn="ctr">
                          <a:solidFill>
                            <a:srgbClr val="005695"/>
                          </a:solidFill>
                          <a:prstDash val="solid"/>
                          <a:headEnd type="none"/>
                          <a:tailEnd type="none"/>
                        </a:ln>
                        <a:effectLst/>
                      </p:spPr>
                    </p:cxnSp>
                    <p:cxnSp>
                      <p:nvCxnSpPr>
                        <p:cNvPr id="308" name="Straight Connector 307"/>
                        <p:cNvCxnSpPr/>
                        <p:nvPr/>
                      </p:nvCxnSpPr>
                      <p:spPr>
                        <a:xfrm flipV="1">
                          <a:off x="11107266" y="1418875"/>
                          <a:ext cx="34318" cy="36161"/>
                        </a:xfrm>
                        <a:prstGeom prst="line">
                          <a:avLst/>
                        </a:prstGeom>
                        <a:noFill/>
                        <a:ln w="9525" cap="flat" cmpd="sng" algn="ctr">
                          <a:solidFill>
                            <a:srgbClr val="005695"/>
                          </a:solidFill>
                          <a:prstDash val="solid"/>
                          <a:headEnd type="none"/>
                          <a:tailEnd type="none"/>
                        </a:ln>
                        <a:effectLst/>
                      </p:spPr>
                    </p:cxnSp>
                  </p:grpSp>
                </p:grpSp>
              </p:grpSp>
              <p:grpSp>
                <p:nvGrpSpPr>
                  <p:cNvPr id="11" name="Group 10"/>
                  <p:cNvGrpSpPr/>
                  <p:nvPr userDrawn="1"/>
                </p:nvGrpSpPr>
                <p:grpSpPr>
                  <a:xfrm>
                    <a:off x="10734275" y="3864860"/>
                    <a:ext cx="1060154" cy="301625"/>
                    <a:chOff x="10734275" y="3881794"/>
                    <a:chExt cx="1060154" cy="301625"/>
                  </a:xfrm>
                </p:grpSpPr>
                <p:sp>
                  <p:nvSpPr>
                    <p:cNvPr id="297" name="TextBox 296"/>
                    <p:cNvSpPr txBox="1"/>
                    <p:nvPr/>
                  </p:nvSpPr>
                  <p:spPr>
                    <a:xfrm>
                      <a:off x="11135616" y="3881794"/>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a:gradFill>
                            <a:gsLst>
                              <a:gs pos="76250">
                                <a:srgbClr val="FFFFFF"/>
                              </a:gs>
                              <a:gs pos="31000">
                                <a:srgbClr val="FFFFFF"/>
                              </a:gs>
                            </a:gsLst>
                            <a:lin ang="5400000" scaled="0"/>
                          </a:gradFill>
                        </a:rPr>
                        <a:t>StorSimple</a:t>
                      </a:r>
                      <a:endParaRPr lang="en-US" sz="980" kern="0" dirty="0">
                        <a:gradFill>
                          <a:gsLst>
                            <a:gs pos="76250">
                              <a:srgbClr val="FFFFFF"/>
                            </a:gs>
                            <a:gs pos="31000">
                              <a:srgbClr val="FFFFFF"/>
                            </a:gs>
                          </a:gsLst>
                          <a:lin ang="5400000" scaled="0"/>
                        </a:gradFill>
                      </a:endParaRPr>
                    </a:p>
                  </p:txBody>
                </p:sp>
                <p:pic>
                  <p:nvPicPr>
                    <p:cNvPr id="298" name="Picture 208" descr="StorSimple.png"/>
                    <p:cNvPicPr>
                      <a:picLocks noChangeAspect="1"/>
                    </p:cNvPicPr>
                    <p:nvPr/>
                  </p:nvPicPr>
                  <p:blipFill>
                    <a:blip r:embed="rId52">
                      <a:biLevel thresh="25000"/>
                      <a:extLst>
                        <a:ext uri="{28A0092B-C50C-407E-A947-70E740481C1C}">
                          <a14:useLocalDpi xmlns:a14="http://schemas.microsoft.com/office/drawing/2010/main" val="0"/>
                        </a:ext>
                      </a:extLst>
                    </a:blip>
                    <a:srcRect/>
                    <a:stretch>
                      <a:fillRect/>
                    </a:stretch>
                  </p:blipFill>
                  <p:spPr bwMode="auto">
                    <a:xfrm>
                      <a:off x="10734275" y="3881794"/>
                      <a:ext cx="287337"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sp>
          <p:nvSpPr>
            <p:cNvPr id="265" name="Rectangle 264"/>
            <p:cNvSpPr/>
            <p:nvPr/>
          </p:nvSpPr>
          <p:spPr bwMode="auto">
            <a:xfrm>
              <a:off x="-102722" y="5682116"/>
              <a:ext cx="12641920" cy="1282663"/>
            </a:xfrm>
            <a:prstGeom prst="rect">
              <a:avLst/>
            </a:prstGeom>
            <a:solidFill>
              <a:srgbClr val="002846"/>
            </a:solidFill>
            <a:ln w="6350" cap="flat" cmpd="sng" algn="ctr">
              <a:noFill/>
              <a:prstDash val="solid"/>
              <a:miter lim="800000"/>
              <a:headEnd type="none" w="med" len="med"/>
              <a:tailEnd type="none" w="med" len="med"/>
            </a:ln>
            <a:effectLst/>
          </p:spPr>
          <p:txBody>
            <a:bodyPr lIns="179285" tIns="91440" rIns="179285" bIns="143428"/>
            <a:lstStyle/>
            <a:p>
              <a:pPr algn="ctr" defTabSz="895740" eaLnBrk="1" hangingPunct="1">
                <a:lnSpc>
                  <a:spcPct val="90000"/>
                </a:lnSpc>
                <a:spcBef>
                  <a:spcPts val="0"/>
                </a:spcBef>
                <a:spcAft>
                  <a:spcPts val="0"/>
                </a:spcAft>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center Infrastructure (24 regions, 19 online)</a:t>
              </a:r>
            </a:p>
          </p:txBody>
        </p:sp>
        <p:grpSp>
          <p:nvGrpSpPr>
            <p:cNvPr id="266" name="Group 265"/>
            <p:cNvGrpSpPr/>
            <p:nvPr/>
          </p:nvGrpSpPr>
          <p:grpSpPr>
            <a:xfrm>
              <a:off x="-237835" y="6137034"/>
              <a:ext cx="12912145" cy="841365"/>
              <a:chOff x="-19051" y="6476517"/>
              <a:chExt cx="12493626" cy="693589"/>
            </a:xfrm>
          </p:grpSpPr>
          <p:pic>
            <p:nvPicPr>
              <p:cNvPr id="267" name="Picture 2"/>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54625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8" name="Picture 44"/>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232891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9" name="Picture 45"/>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11156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0" name="Picture 46"/>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88969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1" name="Picture 47"/>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4672345"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2" name="Picture 48"/>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5455000"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3" name="Picture 49"/>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623765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4" name="Picture 50"/>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020309"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5" name="Picture 51"/>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80296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6" name="Picture 52"/>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858561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7" name="Picture 53"/>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9368272"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8" name="Picture 54"/>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15092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9" name="Picture 56"/>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93358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0" name="Picture 57"/>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1716236"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1" name="Picture 58"/>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905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2" name="Picture 59"/>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6360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Tree>
    <p:extLst>
      <p:ext uri="{BB962C8B-B14F-4D97-AF65-F5344CB8AC3E}">
        <p14:creationId xmlns:p14="http://schemas.microsoft.com/office/powerpoint/2010/main" val="1494974626"/>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Single column white with bullets">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6"/>
            <a:ext cx="6273339" cy="1943393"/>
          </a:xfrm>
        </p:spPr>
        <p:txBody>
          <a:bodyPr wrap="square">
            <a:spAutoFit/>
          </a:bodyPr>
          <a:lstStyle>
            <a:lvl1pPr marL="392089" indent="-392089">
              <a:spcBef>
                <a:spcPts val="1200"/>
              </a:spcBef>
              <a:buClr>
                <a:srgbClr val="92D050"/>
              </a:buClr>
              <a:buSzPct val="100000"/>
              <a:buFont typeface="Wingdings" panose="05000000000000000000" pitchFamily="2" charset="2"/>
              <a:buChar char="ü"/>
              <a:defRPr sz="3136">
                <a:gradFill>
                  <a:gsLst>
                    <a:gs pos="7500">
                      <a:schemeClr val="bg1"/>
                    </a:gs>
                    <a:gs pos="43000">
                      <a:schemeClr val="bg1"/>
                    </a:gs>
                  </a:gsLst>
                  <a:lin ang="5400000" scaled="0"/>
                </a:gradFill>
              </a:defRPr>
            </a:lvl1pPr>
            <a:lvl2pPr marL="672153" indent="-280064">
              <a:buClr>
                <a:srgbClr val="92D050"/>
              </a:buClr>
              <a:buSzPct val="100000"/>
              <a:buFont typeface="Wingdings" panose="05000000000000000000" pitchFamily="2" charset="2"/>
              <a:buChar char="ü"/>
              <a:defRPr sz="2352">
                <a:gradFill>
                  <a:gsLst>
                    <a:gs pos="7500">
                      <a:schemeClr val="bg1"/>
                    </a:gs>
                    <a:gs pos="43000">
                      <a:schemeClr val="bg1"/>
                    </a:gs>
                  </a:gsLst>
                  <a:lin ang="5400000" scaled="0"/>
                </a:gradFill>
              </a:defRPr>
            </a:lvl2pPr>
            <a:lvl3pPr marL="684600" indent="267616">
              <a:buClr>
                <a:srgbClr val="92D050"/>
              </a:buClr>
              <a:buSzPct val="100000"/>
              <a:buFont typeface="Wingdings" panose="05000000000000000000" pitchFamily="2" charset="2"/>
              <a:buChar char="ü"/>
              <a:tabLst/>
              <a:defRPr sz="1960">
                <a:gradFill>
                  <a:gsLst>
                    <a:gs pos="7500">
                      <a:schemeClr val="bg1"/>
                    </a:gs>
                    <a:gs pos="43000">
                      <a:schemeClr val="bg1"/>
                    </a:gs>
                  </a:gsLst>
                  <a:lin ang="5400000" scaled="0"/>
                </a:gradFill>
              </a:defRPr>
            </a:lvl3pPr>
            <a:lvl4pPr marL="952216" indent="224051">
              <a:buClr>
                <a:srgbClr val="92D050"/>
              </a:buClr>
              <a:buSzPct val="100000"/>
              <a:buFont typeface="Wingdings" panose="05000000000000000000" pitchFamily="2" charset="2"/>
              <a:buChar char="ü"/>
              <a:defRPr>
                <a:gradFill>
                  <a:gsLst>
                    <a:gs pos="7500">
                      <a:schemeClr val="bg1"/>
                    </a:gs>
                    <a:gs pos="43000">
                      <a:schemeClr val="bg1"/>
                    </a:gs>
                  </a:gsLst>
                  <a:lin ang="5400000" scaled="0"/>
                </a:gradFill>
              </a:defRPr>
            </a:lvl4pPr>
            <a:lvl5pPr marL="1176267" indent="-224051">
              <a:buClr>
                <a:srgbClr val="92D050"/>
              </a:buClr>
              <a:buSzPct val="100000"/>
              <a:buFont typeface="Wingdings" panose="05000000000000000000" pitchFamily="2" charset="2"/>
              <a:buChar char="ü"/>
              <a:tabLst/>
              <a:defRPr>
                <a:gradFill>
                  <a:gsLst>
                    <a:gs pos="7500">
                      <a:schemeClr val="bg1"/>
                    </a:gs>
                    <a:gs pos="43000">
                      <a:schemeClr val="bg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a:xfrm>
            <a:off x="1557" y="5222104"/>
            <a:ext cx="12187269"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80" eaLnBrk="1" fontAlgn="auto" hangingPunct="1">
              <a:spcBef>
                <a:spcPts val="0"/>
              </a:spcBef>
              <a:spcAft>
                <a:spcPts val="0"/>
              </a:spcAft>
              <a:defRPr/>
            </a:pPr>
            <a:endParaRPr lang="en-US" sz="1764">
              <a:solidFill>
                <a:srgbClr val="FFFFFF"/>
              </a:solidFill>
            </a:endParaRPr>
          </a:p>
        </p:txBody>
      </p:sp>
      <p:sp>
        <p:nvSpPr>
          <p:cNvPr id="8" name="Freeform 99"/>
          <p:cNvSpPr>
            <a:spLocks noChangeAspect="1"/>
          </p:cNvSpPr>
          <p:nvPr userDrawn="1"/>
        </p:nvSpPr>
        <p:spPr bwMode="black">
          <a:xfrm>
            <a:off x="474546" y="5491047"/>
            <a:ext cx="564787"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60" tIns="34280" rIns="68560" bIns="34280"/>
          <a:lstStyle/>
          <a:p>
            <a:pPr defTabSz="914180" eaLnBrk="1" fontAlgn="auto" hangingPunct="1">
              <a:spcBef>
                <a:spcPts val="0"/>
              </a:spcBef>
              <a:spcAft>
                <a:spcPts val="0"/>
              </a:spcAft>
              <a:defRPr/>
            </a:pPr>
            <a:endParaRPr lang="en-US" sz="1323" dirty="0">
              <a:solidFill>
                <a:srgbClr val="000000"/>
              </a:solidFill>
              <a:latin typeface="Segoe UI"/>
              <a:ea typeface="+mn-ea"/>
            </a:endParaRPr>
          </a:p>
        </p:txBody>
      </p:sp>
      <p:grpSp>
        <p:nvGrpSpPr>
          <p:cNvPr id="9" name="Group 8"/>
          <p:cNvGrpSpPr>
            <a:grpSpLocks/>
          </p:cNvGrpSpPr>
          <p:nvPr userDrawn="1"/>
        </p:nvGrpSpPr>
        <p:grpSpPr bwMode="auto">
          <a:xfrm flipH="1">
            <a:off x="7080846" y="1905173"/>
            <a:ext cx="4227347"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7500">
                      <a:schemeClr val="bg1"/>
                    </a:gs>
                    <a:gs pos="55000">
                      <a:schemeClr val="bg1"/>
                    </a:gs>
                  </a:gsLst>
                  <a:lin ang="5400000" scaled="0"/>
                </a:gradFill>
              </a:defRPr>
            </a:lvl1pPr>
          </a:lstStyle>
          <a:p>
            <a:r>
              <a:rPr lang="en-US"/>
              <a:t>Click to edit Master title style</a:t>
            </a:r>
          </a:p>
        </p:txBody>
      </p:sp>
      <p:sp>
        <p:nvSpPr>
          <p:cNvPr id="15" name="Text Placeholder 14"/>
          <p:cNvSpPr>
            <a:spLocks noGrp="1"/>
          </p:cNvSpPr>
          <p:nvPr>
            <p:ph type="body" sz="quarter" idx="11" hasCustomPrompt="1"/>
          </p:nvPr>
        </p:nvSpPr>
        <p:spPr>
          <a:xfrm>
            <a:off x="1039333" y="5403224"/>
            <a:ext cx="10880324" cy="615609"/>
          </a:xfrm>
        </p:spPr>
        <p:txBody>
          <a:bodyPr/>
          <a:lstStyle>
            <a:lvl1pPr marL="0" indent="0">
              <a:buFontTx/>
              <a:buNone/>
              <a:defRPr lang="en-US" sz="3136"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14180" rtl="0" eaLnBrk="1" fontAlgn="auto" latinLnBrk="0" hangingPunct="1">
              <a:lnSpc>
                <a:spcPct val="90000"/>
              </a:lnSpc>
              <a:spcBef>
                <a:spcPct val="20000"/>
              </a:spcBef>
              <a:spcAft>
                <a:spcPts val="0"/>
              </a:spcAft>
              <a:buClrTx/>
              <a:buSzPct val="90000"/>
              <a:buFontTx/>
              <a:buNone/>
              <a:tabLst/>
            </a:pPr>
            <a:r>
              <a:rPr lang="en-US" dirty="0"/>
              <a:t>Potential highlight or call to action goes here</a:t>
            </a:r>
          </a:p>
        </p:txBody>
      </p:sp>
    </p:spTree>
    <p:extLst>
      <p:ext uri="{BB962C8B-B14F-4D97-AF65-F5344CB8AC3E}">
        <p14:creationId xmlns:p14="http://schemas.microsoft.com/office/powerpoint/2010/main" val="305445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Single column Blue with bullets">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6"/>
            <a:ext cx="6273339" cy="1943393"/>
          </a:xfrm>
        </p:spPr>
        <p:txBody>
          <a:bodyPr wrap="square">
            <a:spAutoFit/>
          </a:bodyPr>
          <a:lstStyle>
            <a:lvl1pPr marL="392089" indent="-392089">
              <a:spcBef>
                <a:spcPts val="1200"/>
              </a:spcBef>
              <a:buClr>
                <a:srgbClr val="92D050"/>
              </a:buClr>
              <a:buSzPct val="100000"/>
              <a:buFont typeface="Wingdings" panose="05000000000000000000" pitchFamily="2" charset="2"/>
              <a:buChar char="ü"/>
              <a:defRPr sz="3136">
                <a:gradFill>
                  <a:gsLst>
                    <a:gs pos="82500">
                      <a:schemeClr val="tx1"/>
                    </a:gs>
                    <a:gs pos="43000">
                      <a:schemeClr val="tx1"/>
                    </a:gs>
                  </a:gsLst>
                  <a:lin ang="5400000" scaled="0"/>
                </a:gradFill>
              </a:defRPr>
            </a:lvl1pPr>
            <a:lvl2pPr marL="672153" indent="-280064">
              <a:buClr>
                <a:srgbClr val="92D050"/>
              </a:buClr>
              <a:buSzPct val="100000"/>
              <a:buFont typeface="Wingdings" panose="05000000000000000000" pitchFamily="2" charset="2"/>
              <a:buChar char="ü"/>
              <a:defRPr sz="2352">
                <a:gradFill>
                  <a:gsLst>
                    <a:gs pos="82500">
                      <a:schemeClr val="tx1"/>
                    </a:gs>
                    <a:gs pos="43000">
                      <a:schemeClr val="tx1"/>
                    </a:gs>
                  </a:gsLst>
                  <a:lin ang="5400000" scaled="0"/>
                </a:gradFill>
              </a:defRPr>
            </a:lvl2pPr>
            <a:lvl3pPr marL="684600" indent="267616">
              <a:buClr>
                <a:srgbClr val="92D050"/>
              </a:buClr>
              <a:buSzPct val="100000"/>
              <a:buFont typeface="Wingdings" panose="05000000000000000000" pitchFamily="2" charset="2"/>
              <a:buChar char="ü"/>
              <a:tabLst/>
              <a:defRPr sz="1960">
                <a:gradFill>
                  <a:gsLst>
                    <a:gs pos="82500">
                      <a:schemeClr val="tx1"/>
                    </a:gs>
                    <a:gs pos="43000">
                      <a:schemeClr val="tx1"/>
                    </a:gs>
                  </a:gsLst>
                  <a:lin ang="5400000" scaled="0"/>
                </a:gradFill>
              </a:defRPr>
            </a:lvl3pPr>
            <a:lvl4pPr marL="952216" indent="224051">
              <a:buClr>
                <a:srgbClr val="92D050"/>
              </a:buClr>
              <a:buSzPct val="100000"/>
              <a:buFont typeface="Wingdings" panose="05000000000000000000" pitchFamily="2" charset="2"/>
              <a:buChar char="ü"/>
              <a:defRPr>
                <a:gradFill>
                  <a:gsLst>
                    <a:gs pos="82500">
                      <a:schemeClr val="tx1"/>
                    </a:gs>
                    <a:gs pos="43000">
                      <a:schemeClr val="tx1"/>
                    </a:gs>
                  </a:gsLst>
                  <a:lin ang="5400000" scaled="0"/>
                </a:gradFill>
              </a:defRPr>
            </a:lvl4pPr>
            <a:lvl5pPr marL="1176267" indent="-224051">
              <a:buClr>
                <a:srgbClr val="92D050"/>
              </a:buClr>
              <a:buSzPct val="100000"/>
              <a:buFont typeface="Wingdings" panose="05000000000000000000" pitchFamily="2" charset="2"/>
              <a:buChar char="ü"/>
              <a:tabLst/>
              <a:defRPr>
                <a:gradFill>
                  <a:gsLst>
                    <a:gs pos="82500">
                      <a:schemeClr val="tx1"/>
                    </a:gs>
                    <a:gs pos="4300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a:xfrm>
            <a:off x="1557" y="5222104"/>
            <a:ext cx="12187269"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80" eaLnBrk="1" fontAlgn="auto" hangingPunct="1">
              <a:spcBef>
                <a:spcPts val="0"/>
              </a:spcBef>
              <a:spcAft>
                <a:spcPts val="0"/>
              </a:spcAft>
              <a:defRPr/>
            </a:pPr>
            <a:endParaRPr lang="en-US" sz="1764">
              <a:solidFill>
                <a:srgbClr val="FFFFFF"/>
              </a:solidFill>
            </a:endParaRPr>
          </a:p>
        </p:txBody>
      </p:sp>
      <p:sp>
        <p:nvSpPr>
          <p:cNvPr id="8" name="Freeform 99"/>
          <p:cNvSpPr>
            <a:spLocks noChangeAspect="1"/>
          </p:cNvSpPr>
          <p:nvPr userDrawn="1"/>
        </p:nvSpPr>
        <p:spPr bwMode="black">
          <a:xfrm>
            <a:off x="474546" y="5491047"/>
            <a:ext cx="564787"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60" tIns="34280" rIns="68560" bIns="34280"/>
          <a:lstStyle/>
          <a:p>
            <a:pPr defTabSz="914180" eaLnBrk="1" fontAlgn="auto" hangingPunct="1">
              <a:spcBef>
                <a:spcPts val="0"/>
              </a:spcBef>
              <a:spcAft>
                <a:spcPts val="0"/>
              </a:spcAft>
              <a:defRPr/>
            </a:pPr>
            <a:endParaRPr lang="en-US" sz="1323" dirty="0">
              <a:solidFill>
                <a:srgbClr val="000000"/>
              </a:solidFill>
              <a:latin typeface="Segoe UI"/>
              <a:ea typeface="+mn-ea"/>
            </a:endParaRPr>
          </a:p>
        </p:txBody>
      </p:sp>
      <p:grpSp>
        <p:nvGrpSpPr>
          <p:cNvPr id="9" name="Group 8"/>
          <p:cNvGrpSpPr>
            <a:grpSpLocks/>
          </p:cNvGrpSpPr>
          <p:nvPr userDrawn="1"/>
        </p:nvGrpSpPr>
        <p:grpSpPr bwMode="auto">
          <a:xfrm flipH="1">
            <a:off x="7080846" y="1905173"/>
            <a:ext cx="4227347"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3750">
                      <a:schemeClr val="tx1"/>
                    </a:gs>
                    <a:gs pos="32000">
                      <a:schemeClr val="tx1"/>
                    </a:gs>
                  </a:gsLst>
                  <a:lin ang="5400000" scaled="0"/>
                </a:gradFill>
              </a:defRPr>
            </a:lvl1pPr>
          </a:lstStyle>
          <a:p>
            <a:r>
              <a:rPr lang="en-US"/>
              <a:t>Click to edit Master title style</a:t>
            </a:r>
          </a:p>
        </p:txBody>
      </p:sp>
      <p:sp>
        <p:nvSpPr>
          <p:cNvPr id="15" name="Text Placeholder 14"/>
          <p:cNvSpPr>
            <a:spLocks noGrp="1"/>
          </p:cNvSpPr>
          <p:nvPr>
            <p:ph type="body" sz="quarter" idx="11" hasCustomPrompt="1"/>
          </p:nvPr>
        </p:nvSpPr>
        <p:spPr>
          <a:xfrm>
            <a:off x="1039333" y="5403224"/>
            <a:ext cx="10880324" cy="615609"/>
          </a:xfrm>
        </p:spPr>
        <p:txBody>
          <a:bodyPr/>
          <a:lstStyle>
            <a:lvl1pPr marL="0" indent="0">
              <a:buFontTx/>
              <a:buNone/>
              <a:defRPr lang="en-US" sz="3136"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14180" rtl="0" eaLnBrk="1" fontAlgn="auto" latinLnBrk="0" hangingPunct="1">
              <a:lnSpc>
                <a:spcPct val="90000"/>
              </a:lnSpc>
              <a:spcBef>
                <a:spcPct val="20000"/>
              </a:spcBef>
              <a:spcAft>
                <a:spcPts val="0"/>
              </a:spcAft>
              <a:buClrTx/>
              <a:buSzPct val="90000"/>
              <a:buFontTx/>
              <a:buNone/>
              <a:tabLst/>
            </a:pPr>
            <a:r>
              <a:rPr lang="en-US" dirty="0"/>
              <a:t>Potential highlight or call to action goes here</a:t>
            </a:r>
          </a:p>
        </p:txBody>
      </p:sp>
    </p:spTree>
    <p:extLst>
      <p:ext uri="{BB962C8B-B14F-4D97-AF65-F5344CB8AC3E}">
        <p14:creationId xmlns:p14="http://schemas.microsoft.com/office/powerpoint/2010/main" val="31394452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Single column Grey with bullets">
    <p:bg>
      <p:bgPr>
        <a:solidFill>
          <a:srgbClr val="1E1E1E"/>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6"/>
            <a:ext cx="6273339" cy="1943393"/>
          </a:xfrm>
        </p:spPr>
        <p:txBody>
          <a:bodyPr wrap="square">
            <a:spAutoFit/>
          </a:bodyPr>
          <a:lstStyle>
            <a:lvl1pPr marL="392089" indent="-392089">
              <a:spcBef>
                <a:spcPts val="1200"/>
              </a:spcBef>
              <a:buClr>
                <a:srgbClr val="92D050"/>
              </a:buClr>
              <a:buSzPct val="100000"/>
              <a:buFont typeface="Wingdings" panose="05000000000000000000" pitchFamily="2" charset="2"/>
              <a:buChar char="ü"/>
              <a:defRPr sz="3136">
                <a:gradFill>
                  <a:gsLst>
                    <a:gs pos="82500">
                      <a:schemeClr val="tx1"/>
                    </a:gs>
                    <a:gs pos="43000">
                      <a:schemeClr val="tx1"/>
                    </a:gs>
                  </a:gsLst>
                  <a:lin ang="5400000" scaled="0"/>
                </a:gradFill>
              </a:defRPr>
            </a:lvl1pPr>
            <a:lvl2pPr marL="672153" indent="-280064">
              <a:buClr>
                <a:srgbClr val="92D050"/>
              </a:buClr>
              <a:buSzPct val="100000"/>
              <a:buFont typeface="Wingdings" panose="05000000000000000000" pitchFamily="2" charset="2"/>
              <a:buChar char="ü"/>
              <a:defRPr sz="2352">
                <a:gradFill>
                  <a:gsLst>
                    <a:gs pos="82500">
                      <a:schemeClr val="tx1"/>
                    </a:gs>
                    <a:gs pos="43000">
                      <a:schemeClr val="tx1"/>
                    </a:gs>
                  </a:gsLst>
                  <a:lin ang="5400000" scaled="0"/>
                </a:gradFill>
              </a:defRPr>
            </a:lvl2pPr>
            <a:lvl3pPr marL="684600" indent="267616">
              <a:buClr>
                <a:srgbClr val="92D050"/>
              </a:buClr>
              <a:buSzPct val="100000"/>
              <a:buFont typeface="Wingdings" panose="05000000000000000000" pitchFamily="2" charset="2"/>
              <a:buChar char="ü"/>
              <a:tabLst/>
              <a:defRPr sz="1960">
                <a:gradFill>
                  <a:gsLst>
                    <a:gs pos="82500">
                      <a:schemeClr val="tx1"/>
                    </a:gs>
                    <a:gs pos="43000">
                      <a:schemeClr val="tx1"/>
                    </a:gs>
                  </a:gsLst>
                  <a:lin ang="5400000" scaled="0"/>
                </a:gradFill>
              </a:defRPr>
            </a:lvl3pPr>
            <a:lvl4pPr marL="952216" indent="224051">
              <a:buClr>
                <a:srgbClr val="92D050"/>
              </a:buClr>
              <a:buSzPct val="100000"/>
              <a:buFont typeface="Wingdings" panose="05000000000000000000" pitchFamily="2" charset="2"/>
              <a:buChar char="ü"/>
              <a:defRPr>
                <a:gradFill>
                  <a:gsLst>
                    <a:gs pos="82500">
                      <a:schemeClr val="tx1"/>
                    </a:gs>
                    <a:gs pos="43000">
                      <a:schemeClr val="tx1"/>
                    </a:gs>
                  </a:gsLst>
                  <a:lin ang="5400000" scaled="0"/>
                </a:gradFill>
              </a:defRPr>
            </a:lvl4pPr>
            <a:lvl5pPr marL="1176267" indent="-224051">
              <a:buClr>
                <a:srgbClr val="92D050"/>
              </a:buClr>
              <a:buSzPct val="100000"/>
              <a:buFont typeface="Wingdings" panose="05000000000000000000" pitchFamily="2" charset="2"/>
              <a:buChar char="ü"/>
              <a:tabLst/>
              <a:defRPr>
                <a:gradFill>
                  <a:gsLst>
                    <a:gs pos="82500">
                      <a:schemeClr val="tx1"/>
                    </a:gs>
                    <a:gs pos="4300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a:xfrm>
            <a:off x="1557" y="5222104"/>
            <a:ext cx="12187269"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80" eaLnBrk="1" fontAlgn="auto" hangingPunct="1">
              <a:spcBef>
                <a:spcPts val="0"/>
              </a:spcBef>
              <a:spcAft>
                <a:spcPts val="0"/>
              </a:spcAft>
              <a:defRPr/>
            </a:pPr>
            <a:endParaRPr lang="en-US" sz="1764">
              <a:solidFill>
                <a:srgbClr val="FFFFFF"/>
              </a:solidFill>
            </a:endParaRPr>
          </a:p>
        </p:txBody>
      </p:sp>
      <p:sp>
        <p:nvSpPr>
          <p:cNvPr id="8" name="Freeform 99"/>
          <p:cNvSpPr>
            <a:spLocks noChangeAspect="1"/>
          </p:cNvSpPr>
          <p:nvPr userDrawn="1"/>
        </p:nvSpPr>
        <p:spPr bwMode="black">
          <a:xfrm>
            <a:off x="474546" y="5491047"/>
            <a:ext cx="564787"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60" tIns="34280" rIns="68560" bIns="34280"/>
          <a:lstStyle/>
          <a:p>
            <a:pPr defTabSz="914180" eaLnBrk="1" fontAlgn="auto" hangingPunct="1">
              <a:spcBef>
                <a:spcPts val="0"/>
              </a:spcBef>
              <a:spcAft>
                <a:spcPts val="0"/>
              </a:spcAft>
              <a:defRPr/>
            </a:pPr>
            <a:endParaRPr lang="en-US" sz="1323" dirty="0">
              <a:solidFill>
                <a:srgbClr val="000000"/>
              </a:solidFill>
              <a:latin typeface="Segoe UI"/>
              <a:ea typeface="+mn-ea"/>
            </a:endParaRPr>
          </a:p>
        </p:txBody>
      </p:sp>
      <p:grpSp>
        <p:nvGrpSpPr>
          <p:cNvPr id="9" name="Group 8"/>
          <p:cNvGrpSpPr>
            <a:grpSpLocks/>
          </p:cNvGrpSpPr>
          <p:nvPr userDrawn="1"/>
        </p:nvGrpSpPr>
        <p:grpSpPr bwMode="auto">
          <a:xfrm flipH="1">
            <a:off x="7080846" y="1905173"/>
            <a:ext cx="4227347"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3750">
                      <a:schemeClr val="tx1"/>
                    </a:gs>
                    <a:gs pos="32000">
                      <a:schemeClr val="tx1"/>
                    </a:gs>
                  </a:gsLst>
                  <a:lin ang="5400000" scaled="0"/>
                </a:gradFill>
              </a:defRPr>
            </a:lvl1pPr>
          </a:lstStyle>
          <a:p>
            <a:r>
              <a:rPr lang="en-US"/>
              <a:t>Click to edit Master title style</a:t>
            </a:r>
          </a:p>
        </p:txBody>
      </p:sp>
      <p:sp>
        <p:nvSpPr>
          <p:cNvPr id="15" name="Text Placeholder 14"/>
          <p:cNvSpPr>
            <a:spLocks noGrp="1"/>
          </p:cNvSpPr>
          <p:nvPr>
            <p:ph type="body" sz="quarter" idx="11" hasCustomPrompt="1"/>
          </p:nvPr>
        </p:nvSpPr>
        <p:spPr>
          <a:xfrm>
            <a:off x="1039333" y="5403224"/>
            <a:ext cx="10880324" cy="615609"/>
          </a:xfrm>
        </p:spPr>
        <p:txBody>
          <a:bodyPr/>
          <a:lstStyle>
            <a:lvl1pPr marL="0" indent="0">
              <a:buFontTx/>
              <a:buNone/>
              <a:defRPr sz="3136" baseline="0">
                <a:gradFill>
                  <a:gsLst>
                    <a:gs pos="15000">
                      <a:srgbClr val="1E1E1E"/>
                    </a:gs>
                    <a:gs pos="49000">
                      <a:srgbClr val="1E1E1E"/>
                    </a:gs>
                  </a:gsLst>
                  <a:lin ang="5400000" scaled="0"/>
                </a:gradFill>
              </a:defRPr>
            </a:lvl1pPr>
          </a:lstStyle>
          <a:p>
            <a:pPr lvl="0"/>
            <a:r>
              <a:rPr lang="en-US" dirty="0"/>
              <a:t>Potential highlight or call to action goes here</a:t>
            </a:r>
          </a:p>
        </p:txBody>
      </p:sp>
    </p:spTree>
    <p:extLst>
      <p:ext uri="{BB962C8B-B14F-4D97-AF65-F5344CB8AC3E}">
        <p14:creationId xmlns:p14="http://schemas.microsoft.com/office/powerpoint/2010/main" val="27338881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itle &amp; Non-bulleted text Blue">
    <p:spTree>
      <p:nvGrpSpPr>
        <p:cNvPr id="1" name=""/>
        <p:cNvGrpSpPr/>
        <p:nvPr/>
      </p:nvGrpSpPr>
      <p:grpSpPr>
        <a:xfrm>
          <a:off x="0" y="0"/>
          <a:ext cx="0" cy="0"/>
          <a:chOff x="0" y="0"/>
          <a:chExt cx="0" cy="0"/>
        </a:xfrm>
      </p:grpSpPr>
      <p:sp>
        <p:nvSpPr>
          <p:cNvPr id="2" name="Title 1"/>
          <p:cNvSpPr>
            <a:spLocks noGrp="1"/>
          </p:cNvSpPr>
          <p:nvPr>
            <p:ph type="title"/>
          </p:nvPr>
        </p:nvSpPr>
        <p:spPr>
          <a:xfrm>
            <a:off x="269170" y="289510"/>
            <a:ext cx="5825242" cy="1267431"/>
          </a:xfrm>
        </p:spPr>
        <p:txBody>
          <a:bodyPr vert="horz" wrap="square" lIns="146304" tIns="91440" rIns="146304" bIns="91440" rtlCol="0">
            <a:spAutoFit/>
          </a:bodyPr>
          <a:lstStyle>
            <a:lvl1pPr>
              <a:defRPr lang="en-US" sz="3920"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a:t>Click to edit Master title style</a:t>
            </a:r>
            <a:endParaRPr lang="en-US" dirty="0"/>
          </a:p>
        </p:txBody>
      </p:sp>
      <p:pic>
        <p:nvPicPr>
          <p:cNvPr id="4" name="Picture 2" descr="cropped16x9_code.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097525" y="0"/>
            <a:ext cx="60913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0"/>
          </p:nvPr>
        </p:nvSpPr>
        <p:spPr>
          <a:xfrm>
            <a:off x="269170" y="1635897"/>
            <a:ext cx="5825242" cy="561290"/>
          </a:xfrm>
        </p:spPr>
        <p:txBody>
          <a:bodyPr/>
          <a:lstStyle>
            <a:lvl1pPr marL="0" indent="0">
              <a:buNone/>
              <a:defRPr sz="2744"/>
            </a:lvl1pPr>
          </a:lstStyle>
          <a:p>
            <a:pPr lvl="0"/>
            <a:r>
              <a:rPr lang="en-US"/>
              <a:t>Click to edit Master text styles</a:t>
            </a:r>
          </a:p>
        </p:txBody>
      </p:sp>
    </p:spTree>
    <p:extLst>
      <p:ext uri="{BB962C8B-B14F-4D97-AF65-F5344CB8AC3E}">
        <p14:creationId xmlns:p14="http://schemas.microsoft.com/office/powerpoint/2010/main" val="117125665"/>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itle &amp; Non-bulleted text Green">
    <p:bg>
      <p:bgPr>
        <a:solidFill>
          <a:srgbClr val="89C40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69170" y="291102"/>
            <a:ext cx="5825243" cy="1267431"/>
          </a:xfrm>
        </p:spPr>
        <p:txBody>
          <a:bodyPr/>
          <a:lstStyle>
            <a:lvl1pPr marL="0" indent="0">
              <a:buNone/>
              <a:defRPr sz="3920">
                <a:gradFill>
                  <a:gsLst>
                    <a:gs pos="15000">
                      <a:srgbClr val="1E1E1E"/>
                    </a:gs>
                    <a:gs pos="49000">
                      <a:srgbClr val="1E1E1E"/>
                    </a:gs>
                  </a:gsLst>
                  <a:lin ang="5400000" scaled="0"/>
                </a:gradFill>
              </a:defRPr>
            </a:lvl1pPr>
            <a:lvl2pPr marL="0" indent="0">
              <a:buFontTx/>
              <a:buNone/>
              <a:defRPr sz="1960">
                <a:gradFill>
                  <a:gsLst>
                    <a:gs pos="73750">
                      <a:schemeClr val="bg1"/>
                    </a:gs>
                    <a:gs pos="36000">
                      <a:schemeClr val="bg1"/>
                    </a:gs>
                  </a:gsLst>
                  <a:lin ang="5400000" scaled="0"/>
                </a:gradFill>
              </a:defRPr>
            </a:lvl2pPr>
            <a:lvl3pPr marL="224051" indent="0">
              <a:buNone/>
              <a:defRPr/>
            </a:lvl3pPr>
            <a:lvl4pPr marL="448102" indent="0">
              <a:buNone/>
              <a:defRPr/>
            </a:lvl4pPr>
            <a:lvl5pPr marL="672153" indent="0">
              <a:buNone/>
              <a:defRPr/>
            </a:lvl5pPr>
          </a:lstStyle>
          <a:p>
            <a:pPr lvl="0"/>
            <a:r>
              <a:rPr lang="en-US"/>
              <a:t>Click to edit Master text styles</a:t>
            </a:r>
          </a:p>
        </p:txBody>
      </p:sp>
      <p:pic>
        <p:nvPicPr>
          <p:cNvPr id="4" name="Picture 2" descr="cropped16x9_code.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097525" y="0"/>
            <a:ext cx="60913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7"/>
          <p:cNvSpPr>
            <a:spLocks noGrp="1"/>
          </p:cNvSpPr>
          <p:nvPr>
            <p:ph type="body" sz="quarter" idx="11"/>
          </p:nvPr>
        </p:nvSpPr>
        <p:spPr>
          <a:xfrm>
            <a:off x="269169" y="1635897"/>
            <a:ext cx="5735625" cy="561290"/>
          </a:xfrm>
        </p:spPr>
        <p:txBody>
          <a:bodyPr/>
          <a:lstStyle>
            <a:lvl1pPr marL="0" indent="0">
              <a:buNone/>
              <a:defRPr sz="2744">
                <a:gradFill>
                  <a:gsLst>
                    <a:gs pos="15000">
                      <a:srgbClr val="1E1E1E"/>
                    </a:gs>
                    <a:gs pos="49000">
                      <a:srgbClr val="1E1E1E"/>
                    </a:gs>
                  </a:gsLst>
                  <a:lin ang="5400000" scaled="0"/>
                </a:gradFill>
              </a:defRPr>
            </a:lvl1pPr>
          </a:lstStyle>
          <a:p>
            <a:pPr lvl="0"/>
            <a:r>
              <a:rPr lang="en-US"/>
              <a:t>Click to edit Master text styles</a:t>
            </a:r>
          </a:p>
        </p:txBody>
      </p:sp>
    </p:spTree>
    <p:extLst>
      <p:ext uri="{BB962C8B-B14F-4D97-AF65-F5344CB8AC3E}">
        <p14:creationId xmlns:p14="http://schemas.microsoft.com/office/powerpoint/2010/main" val="1391541877"/>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tle &amp; Non-bulleted text Alt. Blue">
    <p:spTree>
      <p:nvGrpSpPr>
        <p:cNvPr id="1" name=""/>
        <p:cNvGrpSpPr/>
        <p:nvPr/>
      </p:nvGrpSpPr>
      <p:grpSpPr>
        <a:xfrm>
          <a:off x="0" y="0"/>
          <a:ext cx="0" cy="0"/>
          <a:chOff x="0" y="0"/>
          <a:chExt cx="0" cy="0"/>
        </a:xfrm>
      </p:grpSpPr>
      <p:sp>
        <p:nvSpPr>
          <p:cNvPr id="2" name="Title 1"/>
          <p:cNvSpPr>
            <a:spLocks noGrp="1"/>
          </p:cNvSpPr>
          <p:nvPr>
            <p:ph type="title"/>
          </p:nvPr>
        </p:nvSpPr>
        <p:spPr>
          <a:xfrm>
            <a:off x="269170" y="289510"/>
            <a:ext cx="5825242" cy="1267431"/>
          </a:xfrm>
        </p:spPr>
        <p:txBody>
          <a:bodyPr vert="horz" wrap="square" lIns="146304" tIns="91440" rIns="146304" bIns="91440" rtlCol="0">
            <a:spAutoFit/>
          </a:bodyPr>
          <a:lstStyle>
            <a:lvl1pPr>
              <a:defRPr lang="en-US" sz="3920"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a:t>Click to edit Master title style</a:t>
            </a:r>
            <a:endParaRPr lang="en-US" dirty="0"/>
          </a:p>
        </p:txBody>
      </p:sp>
      <p:sp>
        <p:nvSpPr>
          <p:cNvPr id="5" name="Text Placeholder 4"/>
          <p:cNvSpPr>
            <a:spLocks noGrp="1"/>
          </p:cNvSpPr>
          <p:nvPr>
            <p:ph type="body" sz="quarter" idx="10"/>
          </p:nvPr>
        </p:nvSpPr>
        <p:spPr>
          <a:xfrm>
            <a:off x="269170" y="1635897"/>
            <a:ext cx="5825242" cy="561290"/>
          </a:xfrm>
        </p:spPr>
        <p:txBody>
          <a:bodyPr/>
          <a:lstStyle>
            <a:lvl1pPr marL="0" indent="0">
              <a:buNone/>
              <a:defRPr sz="2744"/>
            </a:lvl1pPr>
          </a:lstStyle>
          <a:p>
            <a:pPr lvl="0"/>
            <a:r>
              <a:rPr lang="en-US"/>
              <a:t>Click to edit Master text styles</a:t>
            </a:r>
          </a:p>
        </p:txBody>
      </p:sp>
    </p:spTree>
    <p:extLst>
      <p:ext uri="{BB962C8B-B14F-4D97-AF65-F5344CB8AC3E}">
        <p14:creationId xmlns:p14="http://schemas.microsoft.com/office/powerpoint/2010/main" val="1064379830"/>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3" y="5670380"/>
            <a:ext cx="11648624" cy="884990"/>
          </a:xfrm>
          <a:noFill/>
        </p:spPr>
        <p:txBody>
          <a:bodyPr lIns="146304" tIns="109728" rIns="146304" bIns="109728" anchor="b">
            <a:noAutofit/>
          </a:bodyPr>
          <a:lstStyle>
            <a:lvl1pPr marL="0" indent="0">
              <a:spcBef>
                <a:spcPts val="0"/>
              </a:spcBef>
              <a:buNone/>
              <a:defRPr sz="196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232" y="2075840"/>
            <a:ext cx="11650424" cy="1801436"/>
          </a:xfrm>
          <a:noFill/>
        </p:spPr>
        <p:txBody>
          <a:bodyPr lIns="146304" tIns="91440" rIns="146304" bIns="91440" anchor="t" anchorCtr="0"/>
          <a:lstStyle>
            <a:lvl1pPr>
              <a:defRPr sz="5293" spc="-98" baseline="0">
                <a:gradFill>
                  <a:gsLst>
                    <a:gs pos="3333">
                      <a:schemeClr val="tx1"/>
                    </a:gs>
                    <a:gs pos="39000">
                      <a:schemeClr val="tx1"/>
                    </a:gs>
                  </a:gsLst>
                  <a:lin ang="5400000" scaled="0"/>
                </a:gradFill>
              </a:defRPr>
            </a:lvl1pPr>
          </a:lstStyle>
          <a:p>
            <a:r>
              <a:rPr lang="en-US" dirty="0"/>
              <a:t>Presentation title</a:t>
            </a:r>
          </a:p>
        </p:txBody>
      </p:sp>
      <p:sp>
        <p:nvSpPr>
          <p:cNvPr id="4" name="Text Placeholder 2"/>
          <p:cNvSpPr>
            <a:spLocks noGrp="1"/>
          </p:cNvSpPr>
          <p:nvPr>
            <p:ph type="body" sz="quarter" idx="13" hasCustomPrompt="1"/>
          </p:nvPr>
        </p:nvSpPr>
        <p:spPr>
          <a:xfrm>
            <a:off x="269232" y="301617"/>
            <a:ext cx="3583210" cy="566950"/>
          </a:xfrm>
        </p:spPr>
        <p:txBody>
          <a:bodyPr lIns="182880" tIns="146304" rIns="182880" bIns="146304"/>
          <a:lstStyle>
            <a:lvl1pPr marL="0" indent="0">
              <a:buNone/>
              <a:defRPr sz="1960">
                <a:latin typeface="+mn-lt"/>
              </a:defRPr>
            </a:lvl1pPr>
            <a:lvl2pPr marL="336076" indent="0">
              <a:buNone/>
              <a:defRPr sz="1960"/>
            </a:lvl2pPr>
            <a:lvl3pPr marL="560127" indent="0">
              <a:buNone/>
              <a:defRPr sz="1960"/>
            </a:lvl3pPr>
            <a:lvl4pPr marL="784178" indent="0">
              <a:buNone/>
              <a:defRPr sz="1960"/>
            </a:lvl4pPr>
            <a:lvl5pPr marL="1008229" indent="0">
              <a:buNone/>
              <a:defRPr sz="1960"/>
            </a:lvl5pPr>
          </a:lstStyle>
          <a:p>
            <a:pPr lvl="0"/>
            <a:r>
              <a:rPr lang="en-US" dirty="0"/>
              <a:t>Session Code Here</a:t>
            </a:r>
          </a:p>
        </p:txBody>
      </p:sp>
    </p:spTree>
    <p:extLst>
      <p:ext uri="{BB962C8B-B14F-4D97-AF65-F5344CB8AC3E}">
        <p14:creationId xmlns:p14="http://schemas.microsoft.com/office/powerpoint/2010/main" val="28934405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amp; Non-bulleted text Alt. Grey">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170" y="289510"/>
            <a:ext cx="5825242" cy="1267431"/>
          </a:xfrm>
        </p:spPr>
        <p:txBody>
          <a:bodyPr vert="horz" wrap="square" lIns="146304" tIns="91440" rIns="146304" bIns="91440" rtlCol="0">
            <a:spAutoFit/>
          </a:bodyPr>
          <a:lstStyle>
            <a:lvl1pPr>
              <a:defRPr lang="en-US" sz="3920"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a:t>Click to edit Master title style</a:t>
            </a:r>
            <a:endParaRPr lang="en-US" dirty="0"/>
          </a:p>
        </p:txBody>
      </p:sp>
      <p:sp>
        <p:nvSpPr>
          <p:cNvPr id="5" name="Text Placeholder 4"/>
          <p:cNvSpPr>
            <a:spLocks noGrp="1"/>
          </p:cNvSpPr>
          <p:nvPr>
            <p:ph type="body" sz="quarter" idx="10"/>
          </p:nvPr>
        </p:nvSpPr>
        <p:spPr>
          <a:xfrm>
            <a:off x="269170" y="1635897"/>
            <a:ext cx="5825242" cy="561290"/>
          </a:xfrm>
        </p:spPr>
        <p:txBody>
          <a:bodyPr/>
          <a:lstStyle>
            <a:lvl1pPr marL="0" indent="0">
              <a:buNone/>
              <a:defRPr sz="2744"/>
            </a:lvl1pPr>
          </a:lstStyle>
          <a:p>
            <a:pPr lvl="0"/>
            <a:r>
              <a:rPr lang="en-US"/>
              <a:t>Click to edit Master text styles</a:t>
            </a:r>
          </a:p>
        </p:txBody>
      </p:sp>
    </p:spTree>
    <p:extLst>
      <p:ext uri="{BB962C8B-B14F-4D97-AF65-F5344CB8AC3E}">
        <p14:creationId xmlns:p14="http://schemas.microsoft.com/office/powerpoint/2010/main" val="2186250252"/>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1985641"/>
          </a:xfrm>
        </p:spPr>
        <p:txBody>
          <a:bodyPr>
            <a:spAutoFit/>
          </a:bodyPr>
          <a:lstStyle>
            <a:lvl1pPr marL="0" indent="0">
              <a:buFontTx/>
              <a:buNone/>
              <a:defRPr sz="3528"/>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7117233"/>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itle and non-bulleted Content with artwork">
    <p:spTree>
      <p:nvGrpSpPr>
        <p:cNvPr id="1" name=""/>
        <p:cNvGrpSpPr/>
        <p:nvPr/>
      </p:nvGrpSpPr>
      <p:grpSpPr>
        <a:xfrm>
          <a:off x="0" y="0"/>
          <a:ext cx="0" cy="0"/>
          <a:chOff x="0" y="0"/>
          <a:chExt cx="0" cy="0"/>
        </a:xfrm>
      </p:grpSpPr>
      <p:pic>
        <p:nvPicPr>
          <p:cNvPr id="5"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8727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0"/>
          </p:nvPr>
        </p:nvSpPr>
        <p:spPr>
          <a:xfrm>
            <a:off x="269169" y="1189177"/>
            <a:ext cx="11650488" cy="669927"/>
          </a:xfrm>
        </p:spPr>
        <p:txBody>
          <a:bodyPr>
            <a:spAutoFit/>
          </a:bodyPr>
          <a:lstStyle>
            <a:lvl1pPr marL="0" indent="0">
              <a:buFontTx/>
              <a:buNone/>
              <a:defRPr sz="3528"/>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a:t>Click to edit Master text styles</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8402739"/>
      </p:ext>
    </p:extLst>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1985641"/>
          </a:xfrm>
        </p:spPr>
        <p:txBody>
          <a:bodyPr>
            <a:spAutoFit/>
          </a:bodyPr>
          <a:lstStyle>
            <a:lvl1pPr>
              <a:defRPr sz="352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42238578"/>
      </p:ext>
    </p:extLst>
  </p:cSld>
  <p:clrMapOvr>
    <a:masterClrMapping/>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5"/>
            <a:ext cx="5377147"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0" y="1189175"/>
            <a:ext cx="5377147"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29821925"/>
      </p:ext>
    </p:extLst>
  </p:cSld>
  <p:clrMapOvr>
    <a:masterClrMapping/>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0"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16440461"/>
      </p:ext>
    </p:extLst>
  </p:cSld>
  <p:clrMapOvr>
    <a:masterClrMapping/>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wo Column Green Bullet text">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6"/>
            <a:ext cx="5377147" cy="2377940"/>
          </a:xfrm>
        </p:spPr>
        <p:txBody>
          <a:bodyPr wrap="square">
            <a:spAutoFit/>
          </a:bodyPr>
          <a:lstStyle>
            <a:lvl1pPr marL="392089" indent="-392089">
              <a:spcBef>
                <a:spcPts val="1200"/>
              </a:spcBef>
              <a:buClr>
                <a:srgbClr val="89C402"/>
              </a:buClr>
              <a:buSzPct val="100000"/>
              <a:buFont typeface="Wingdings" panose="05000000000000000000" pitchFamily="2" charset="2"/>
              <a:buChar char="ü"/>
              <a:defRPr sz="3136"/>
            </a:lvl1pPr>
            <a:lvl2pPr marL="728165" indent="-336076">
              <a:buClr>
                <a:srgbClr val="89C402"/>
              </a:buClr>
              <a:buSzPct val="100000"/>
              <a:buFont typeface="Wingdings" panose="05000000000000000000" pitchFamily="2" charset="2"/>
              <a:buChar char="ü"/>
              <a:defRPr sz="2352"/>
            </a:lvl2pPr>
            <a:lvl3pPr marL="1008229" indent="-280064">
              <a:buClr>
                <a:srgbClr val="89C402"/>
              </a:buClr>
              <a:buSzPct val="100000"/>
              <a:buFont typeface="Wingdings" panose="05000000000000000000" pitchFamily="2" charset="2"/>
              <a:buChar char="ü"/>
              <a:tabLst/>
              <a:defRPr sz="1960"/>
            </a:lvl3pPr>
            <a:lvl4pPr marL="1232280" indent="-224051">
              <a:buClr>
                <a:srgbClr val="89C402"/>
              </a:buClr>
              <a:buSzPct val="100000"/>
              <a:buFont typeface="Wingdings" panose="05000000000000000000" pitchFamily="2" charset="2"/>
              <a:buChar char="ü"/>
              <a:defRPr lang="en-US" sz="1764" kern="1200" spc="0" baseline="0" dirty="0">
                <a:gradFill>
                  <a:gsLst>
                    <a:gs pos="1250">
                      <a:schemeClr val="tx1"/>
                    </a:gs>
                    <a:gs pos="100000">
                      <a:schemeClr val="tx1"/>
                    </a:gs>
                  </a:gsLst>
                  <a:lin ang="5400000" scaled="0"/>
                </a:gradFill>
                <a:latin typeface="+mn-lt"/>
                <a:ea typeface="+mn-ea"/>
                <a:cs typeface="+mn-cs"/>
              </a:defRPr>
            </a:lvl4pPr>
            <a:lvl5pPr marL="1232280" indent="-224051">
              <a:buClr>
                <a:srgbClr val="89C402"/>
              </a:buClr>
              <a:buSzPct val="100000"/>
              <a:buFont typeface="Wingdings" panose="05000000000000000000" pitchFamily="2" charset="2"/>
              <a:buChar char="ü"/>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3"/>
          <p:cNvSpPr>
            <a:spLocks noGrp="1"/>
          </p:cNvSpPr>
          <p:nvPr>
            <p:ph type="body" sz="quarter" idx="11"/>
          </p:nvPr>
        </p:nvSpPr>
        <p:spPr>
          <a:xfrm>
            <a:off x="6544828" y="1189176"/>
            <a:ext cx="5377147" cy="2377940"/>
          </a:xfrm>
        </p:spPr>
        <p:txBody>
          <a:bodyPr wrap="square">
            <a:spAutoFit/>
          </a:bodyPr>
          <a:lstStyle>
            <a:lvl1pPr marL="392089" indent="-392089">
              <a:spcBef>
                <a:spcPts val="1200"/>
              </a:spcBef>
              <a:buClr>
                <a:srgbClr val="89C402"/>
              </a:buClr>
              <a:buSzPct val="100000"/>
              <a:buFont typeface="Wingdings" panose="05000000000000000000" pitchFamily="2" charset="2"/>
              <a:buChar char="ü"/>
              <a:defRPr sz="3136"/>
            </a:lvl1pPr>
            <a:lvl2pPr marL="728165" indent="-336076">
              <a:buClr>
                <a:srgbClr val="89C402"/>
              </a:buClr>
              <a:buSzPct val="100000"/>
              <a:buFont typeface="Wingdings" panose="05000000000000000000" pitchFamily="2" charset="2"/>
              <a:buChar char="ü"/>
              <a:defRPr sz="2352"/>
            </a:lvl2pPr>
            <a:lvl3pPr marL="1008229" indent="-280064">
              <a:buClr>
                <a:srgbClr val="89C402"/>
              </a:buClr>
              <a:buSzPct val="100000"/>
              <a:buFont typeface="Wingdings" panose="05000000000000000000" pitchFamily="2" charset="2"/>
              <a:buChar char="ü"/>
              <a:tabLst/>
              <a:defRPr sz="1960"/>
            </a:lvl3pPr>
            <a:lvl4pPr marL="1232280" indent="-224051">
              <a:buClr>
                <a:srgbClr val="89C402"/>
              </a:buClr>
              <a:buSzPct val="100000"/>
              <a:buFont typeface="Wingdings" panose="05000000000000000000" pitchFamily="2" charset="2"/>
              <a:buChar char="ü"/>
              <a:defRPr lang="en-US" sz="1764" kern="1200" spc="0" baseline="0" dirty="0">
                <a:gradFill>
                  <a:gsLst>
                    <a:gs pos="1250">
                      <a:schemeClr val="tx1"/>
                    </a:gs>
                    <a:gs pos="100000">
                      <a:schemeClr val="tx1"/>
                    </a:gs>
                  </a:gsLst>
                  <a:lin ang="5400000" scaled="0"/>
                </a:gradFill>
                <a:latin typeface="+mn-lt"/>
                <a:ea typeface="+mn-ea"/>
                <a:cs typeface="+mn-cs"/>
              </a:defRPr>
            </a:lvl4pPr>
            <a:lvl5pPr marL="1232280" indent="-224051">
              <a:buClr>
                <a:srgbClr val="89C402"/>
              </a:buClr>
              <a:buSzPct val="100000"/>
              <a:buFont typeface="Wingdings" panose="05000000000000000000" pitchFamily="2" charset="2"/>
              <a:buChar char="ü"/>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7908166"/>
      </p:ext>
    </p:extLst>
  </p:cSld>
  <p:clrMapOvr>
    <a:masterClrMapping/>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379852753"/>
      </p:ext>
    </p:extLst>
  </p:cSld>
  <p:clrMapOvr>
    <a:masterClrMapping/>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itle and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 Placeholder 3"/>
          <p:cNvSpPr>
            <a:spLocks noGrp="1"/>
          </p:cNvSpPr>
          <p:nvPr>
            <p:ph type="body" sz="quarter" idx="10" hasCustomPrompt="1"/>
          </p:nvPr>
        </p:nvSpPr>
        <p:spPr>
          <a:xfrm>
            <a:off x="269169" y="1008336"/>
            <a:ext cx="11650488" cy="561290"/>
          </a:xfrm>
        </p:spPr>
        <p:txBody>
          <a:bodyPr/>
          <a:lstStyle>
            <a:lvl1pPr marL="0" indent="0">
              <a:buFontTx/>
              <a:buNone/>
              <a:defRPr sz="2744" baseline="0"/>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dirty="0"/>
              <a:t>Sub-head, or additional information goes here</a:t>
            </a:r>
          </a:p>
        </p:txBody>
      </p:sp>
    </p:spTree>
    <p:extLst>
      <p:ext uri="{BB962C8B-B14F-4D97-AF65-F5344CB8AC3E}">
        <p14:creationId xmlns:p14="http://schemas.microsoft.com/office/powerpoint/2010/main" val="783089645"/>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itle and subhead dark grey">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 Placeholder 3"/>
          <p:cNvSpPr>
            <a:spLocks noGrp="1"/>
          </p:cNvSpPr>
          <p:nvPr>
            <p:ph type="body" sz="quarter" idx="10" hasCustomPrompt="1"/>
          </p:nvPr>
        </p:nvSpPr>
        <p:spPr>
          <a:xfrm>
            <a:off x="269169" y="1008336"/>
            <a:ext cx="11650488" cy="561290"/>
          </a:xfrm>
        </p:spPr>
        <p:txBody>
          <a:bodyPr/>
          <a:lstStyle>
            <a:lvl1pPr marL="0" indent="0">
              <a:buFontTx/>
              <a:buNone/>
              <a:defRPr sz="2744" baseline="0"/>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dirty="0"/>
              <a:t>Sub-head, or additional information goes here</a:t>
            </a:r>
          </a:p>
        </p:txBody>
      </p:sp>
    </p:spTree>
    <p:extLst>
      <p:ext uri="{BB962C8B-B14F-4D97-AF65-F5344CB8AC3E}">
        <p14:creationId xmlns:p14="http://schemas.microsoft.com/office/powerpoint/2010/main" val="4070447848"/>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3" y="5670380"/>
            <a:ext cx="8960050" cy="884990"/>
          </a:xfrm>
          <a:noFill/>
        </p:spPr>
        <p:txBody>
          <a:bodyPr lIns="146304" tIns="109728" rIns="146304" bIns="109728" anchor="b">
            <a:noAutofit/>
          </a:bodyPr>
          <a:lstStyle>
            <a:lvl1pPr marL="0" indent="0">
              <a:spcBef>
                <a:spcPts val="0"/>
              </a:spcBef>
              <a:buNone/>
              <a:defRPr sz="196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232" y="2075840"/>
            <a:ext cx="11650424" cy="1801436"/>
          </a:xfrm>
          <a:noFill/>
        </p:spPr>
        <p:txBody>
          <a:bodyPr lIns="146304" tIns="91440" rIns="146304" bIns="91440" anchor="t" anchorCtr="0"/>
          <a:lstStyle>
            <a:lvl1pPr>
              <a:defRPr sz="5293" spc="-98"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127231" y="5984140"/>
            <a:ext cx="1607206"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19" tIns="44810" rIns="89619" bIns="44810" numCol="1" anchor="t" anchorCtr="0" compatLnSpc="1">
            <a:prstTxWarp prst="textNoShape">
              <a:avLst/>
            </a:prstTxWarp>
          </a:bodyPr>
          <a:lstStyle/>
          <a:p>
            <a:pPr defTabSz="914180"/>
            <a:endParaRPr lang="en-US" sz="1764">
              <a:solidFill>
                <a:srgbClr val="404040"/>
              </a:solidFill>
            </a:endParaRPr>
          </a:p>
        </p:txBody>
      </p:sp>
      <p:sp>
        <p:nvSpPr>
          <p:cNvPr id="6" name="Text Placeholder 2"/>
          <p:cNvSpPr>
            <a:spLocks noGrp="1"/>
          </p:cNvSpPr>
          <p:nvPr>
            <p:ph type="body" sz="quarter" idx="13" hasCustomPrompt="1"/>
          </p:nvPr>
        </p:nvSpPr>
        <p:spPr>
          <a:xfrm>
            <a:off x="269232" y="301617"/>
            <a:ext cx="3583210" cy="566950"/>
          </a:xfrm>
        </p:spPr>
        <p:txBody>
          <a:bodyPr lIns="182880" tIns="146304" rIns="182880" bIns="146304"/>
          <a:lstStyle>
            <a:lvl1pPr marL="0" indent="0">
              <a:buNone/>
              <a:defRPr sz="1960">
                <a:latin typeface="+mn-lt"/>
              </a:defRPr>
            </a:lvl1pPr>
            <a:lvl2pPr marL="336076" indent="0">
              <a:buNone/>
              <a:defRPr sz="1960"/>
            </a:lvl2pPr>
            <a:lvl3pPr marL="560127" indent="0">
              <a:buNone/>
              <a:defRPr sz="1960"/>
            </a:lvl3pPr>
            <a:lvl4pPr marL="784178" indent="0">
              <a:buNone/>
              <a:defRPr sz="1960"/>
            </a:lvl4pPr>
            <a:lvl5pPr marL="1008229" indent="0">
              <a:buNone/>
              <a:defRPr sz="1960"/>
            </a:lvl5pPr>
          </a:lstStyle>
          <a:p>
            <a:pPr lvl="0"/>
            <a:r>
              <a:rPr lang="en-US" dirty="0"/>
              <a:t>Session Code Here</a:t>
            </a:r>
          </a:p>
        </p:txBody>
      </p:sp>
    </p:spTree>
    <p:extLst>
      <p:ext uri="{BB962C8B-B14F-4D97-AF65-F5344CB8AC3E}">
        <p14:creationId xmlns:p14="http://schemas.microsoft.com/office/powerpoint/2010/main" val="17124778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1158793"/>
          </a:xfrm>
          <a:noFill/>
        </p:spPr>
        <p:txBody>
          <a:bodyPr tIns="91440" bIns="91440" anchor="t" anchorCtr="0">
            <a:spAutoFit/>
          </a:bodyPr>
          <a:lstStyle>
            <a:lvl1pPr>
              <a:defRPr sz="7057"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170" y="3877276"/>
            <a:ext cx="9858106" cy="778565"/>
          </a:xfrm>
          <a:noFill/>
        </p:spPr>
        <p:txBody>
          <a:bodyPr lIns="182880" tIns="146304" rIns="182880" bIns="146304">
            <a:sp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7159689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1158793"/>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1664977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88258894"/>
      </p:ext>
    </p:extLst>
  </p:cSld>
  <p:clrMapOvr>
    <a:masterClrMapping/>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91408625"/>
      </p:ext>
    </p:extLst>
  </p:cSld>
  <p:clrMapOvr>
    <a:masterClrMapping/>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bg1">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991141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76250">
                      <a:schemeClr val="tx1"/>
                    </a:gs>
                    <a:gs pos="31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308246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1" y="1217195"/>
            <a:ext cx="5377147"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5968" y="0"/>
            <a:ext cx="6092857"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200032281"/>
      </p:ext>
    </p:extLst>
  </p:cSld>
  <p:clrMapOvr>
    <a:masterClrMapping/>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8602315"/>
      </p:ext>
    </p:extLst>
  </p:cSld>
  <p:clrMapOvr>
    <a:masterClrMapping/>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94622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1">
            <a:lumMod val="5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47100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50651691"/>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Blank Accent Color 3">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81658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0" tIns="45710" rIns="45710" bIns="45710" numCol="1" spcCol="0" rtlCol="0" fromWordArt="0" anchor="ctr" anchorCtr="0" forceAA="0" compatLnSpc="1">
            <a:prstTxWarp prst="textNoShape">
              <a:avLst/>
            </a:prstTxWarp>
            <a:noAutofit/>
          </a:bodyPr>
          <a:lstStyle/>
          <a:p>
            <a:pPr algn="ctr" defTabSz="913916" eaLnBrk="1" hangingPunct="1"/>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69" y="1197322"/>
            <a:ext cx="11650487"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5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76326730"/>
      </p:ext>
    </p:extLst>
  </p:cSld>
  <p:clrMapOvr>
    <a:masterClrMapping/>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Developer Code Layout Blue Header">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314067"/>
            <a:ext cx="11652805" cy="899665"/>
          </a:xfrm>
        </p:spPr>
        <p:txBody>
          <a:bodyPr/>
          <a:lstStyle>
            <a:lvl1pPr>
              <a:defRPr baseline="0">
                <a:gradFill>
                  <a:gsLst>
                    <a:gs pos="22500">
                      <a:schemeClr val="bg2"/>
                    </a:gs>
                    <a:gs pos="48000">
                      <a:schemeClr val="bg2"/>
                    </a:gs>
                  </a:gsLst>
                  <a:lin ang="5400000" scaled="0"/>
                </a:gradFill>
              </a:defRPr>
            </a:lvl1pPr>
          </a:lstStyle>
          <a:p>
            <a:r>
              <a:rPr lang="en-US" dirty="0"/>
              <a:t>Slide for developer code</a:t>
            </a:r>
          </a:p>
        </p:txBody>
      </p:sp>
      <p:sp>
        <p:nvSpPr>
          <p:cNvPr id="5" name="Text Placeholder 4"/>
          <p:cNvSpPr>
            <a:spLocks noGrp="1"/>
          </p:cNvSpPr>
          <p:nvPr>
            <p:ph type="body" sz="quarter" idx="10"/>
          </p:nvPr>
        </p:nvSpPr>
        <p:spPr>
          <a:xfrm>
            <a:off x="269169" y="1197322"/>
            <a:ext cx="11650487"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5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05340065"/>
      </p:ext>
    </p:extLst>
  </p:cSld>
  <p:clrMapOvr>
    <a:masterClrMapping/>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169" y="6171616"/>
            <a:ext cx="11650487" cy="395317"/>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737" fontAlgn="auto">
              <a:spcBef>
                <a:spcPts val="0"/>
              </a:spcBef>
              <a:spcAft>
                <a:spcPts val="0"/>
              </a:spcAft>
            </a:pPr>
            <a:r>
              <a:rPr lang="en-US" sz="686" dirty="0">
                <a:gradFill>
                  <a:gsLst>
                    <a:gs pos="0">
                      <a:srgbClr val="FFFFFF"/>
                    </a:gs>
                    <a:gs pos="100000">
                      <a:srgbClr val="FFFFFF"/>
                    </a:gs>
                  </a:gsLst>
                  <a:lin ang="5400000" scaled="0"/>
                </a:gradFill>
                <a:latin typeface="Segoe UI"/>
                <a:ea typeface="+mn-ea"/>
                <a:cs typeface="Segoe UI" pitchFamily="34" charset="0"/>
              </a:rPr>
              <a:t>© 2015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085" y="3083653"/>
            <a:ext cx="3223021" cy="690695"/>
          </a:xfrm>
          <a:prstGeom prst="rect">
            <a:avLst/>
          </a:prstGeom>
        </p:spPr>
      </p:pic>
    </p:spTree>
    <p:extLst>
      <p:ext uri="{BB962C8B-B14F-4D97-AF65-F5344CB8AC3E}">
        <p14:creationId xmlns:p14="http://schemas.microsoft.com/office/powerpoint/2010/main" val="262501508"/>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Appendix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Appendix</a:t>
            </a:r>
          </a:p>
        </p:txBody>
      </p:sp>
    </p:spTree>
    <p:extLst>
      <p:ext uri="{BB962C8B-B14F-4D97-AF65-F5344CB8AC3E}">
        <p14:creationId xmlns:p14="http://schemas.microsoft.com/office/powerpoint/2010/main" val="3031062186"/>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761518262"/>
      </p:ext>
    </p:extLst>
  </p:cSld>
  <p:clrMapOvr>
    <a:masterClrMapping/>
  </p:clrMapOvr>
  <p:transition>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232" y="2532455"/>
            <a:ext cx="8961851" cy="1793090"/>
          </a:xfrm>
          <a:noFill/>
        </p:spPr>
        <p:txBody>
          <a:bodyPr lIns="146304" tIns="91440" rIns="146304" bIns="91440" anchor="ctr" anchorCtr="0"/>
          <a:lstStyle>
            <a:lvl1pPr>
              <a:defRPr sz="5293"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231" y="4775125"/>
            <a:ext cx="8961852"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493216" y="477196"/>
            <a:ext cx="1254668" cy="267546"/>
          </a:xfrm>
          <a:prstGeom prst="rect">
            <a:avLst/>
          </a:prstGeom>
        </p:spPr>
      </p:pic>
    </p:spTree>
    <p:extLst>
      <p:ext uri="{BB962C8B-B14F-4D97-AF65-F5344CB8AC3E}">
        <p14:creationId xmlns:p14="http://schemas.microsoft.com/office/powerpoint/2010/main" val="16214612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169" y="1189177"/>
            <a:ext cx="11650488" cy="2024871"/>
          </a:xfrm>
        </p:spPr>
        <p:txBody>
          <a:bodyPr/>
          <a:lstStyle>
            <a:lvl1pPr marL="0" indent="0">
              <a:buNone/>
              <a:defRPr>
                <a:gradFill>
                  <a:gsLst>
                    <a:gs pos="1250">
                      <a:schemeClr val="tx1"/>
                    </a:gs>
                    <a:gs pos="99000">
                      <a:schemeClr val="tx1"/>
                    </a:gs>
                  </a:gsLst>
                  <a:lin ang="5400000" scaled="0"/>
                </a:gradFill>
              </a:defRPr>
            </a:lvl1pPr>
            <a:lvl2pPr marL="0" indent="0">
              <a:buFontTx/>
              <a:buNone/>
              <a:defRPr sz="2352"/>
            </a:lvl2pPr>
            <a:lvl3pPr marL="224051" indent="0">
              <a:buNone/>
              <a:defRPr/>
            </a:lvl3pPr>
            <a:lvl4pPr marL="448102" indent="0">
              <a:buNone/>
              <a:defRPr/>
            </a:lvl4pPr>
            <a:lvl5pPr marL="672153"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68098604"/>
      </p:ext>
    </p:extLst>
  </p:cSld>
  <p:clrMapOvr>
    <a:masterClrMapping/>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052030"/>
          </a:xfrm>
        </p:spPr>
        <p:txBody>
          <a:bodyPr>
            <a:spAutoFit/>
          </a:bodyPr>
          <a:lstStyle>
            <a:lvl1pPr>
              <a:defRPr sz="392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17987793"/>
      </p:ext>
    </p:extLst>
  </p:cSld>
  <p:clrMapOvr>
    <a:masterClrMapping/>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6"/>
            <a:ext cx="5377147" cy="1943393"/>
          </a:xfrm>
        </p:spPr>
        <p:txBody>
          <a:bodyPr wrap="square">
            <a:spAutoFit/>
          </a:bodyPr>
          <a:lstStyle>
            <a:lvl1pPr marL="0" indent="0">
              <a:spcBef>
                <a:spcPts val="1200"/>
              </a:spcBef>
              <a:buClr>
                <a:schemeClr val="tx1"/>
              </a:buClr>
              <a:buFont typeface="Wingdings" pitchFamily="2" charset="2"/>
              <a:buNone/>
              <a:defRPr sz="3136"/>
            </a:lvl1pPr>
            <a:lvl2pPr marL="0" indent="0">
              <a:buNone/>
              <a:defRPr sz="2352"/>
            </a:lvl2pPr>
            <a:lvl3pPr marL="227163" indent="0">
              <a:buNone/>
              <a:tabLst/>
              <a:defRPr sz="1960"/>
            </a:lvl3pPr>
            <a:lvl4pPr marL="451214" indent="0">
              <a:buNone/>
              <a:defRPr/>
            </a:lvl4pPr>
            <a:lvl5pPr marL="67215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2510" y="1189176"/>
            <a:ext cx="5377147" cy="1943393"/>
          </a:xfrm>
        </p:spPr>
        <p:txBody>
          <a:bodyPr wrap="square">
            <a:spAutoFit/>
          </a:bodyPr>
          <a:lstStyle>
            <a:lvl1pPr marL="0" indent="0">
              <a:spcBef>
                <a:spcPts val="1200"/>
              </a:spcBef>
              <a:buClr>
                <a:schemeClr val="tx1"/>
              </a:buClr>
              <a:buFont typeface="Wingdings" pitchFamily="2" charset="2"/>
              <a:buNone/>
              <a:defRPr sz="3136"/>
            </a:lvl1pPr>
            <a:lvl2pPr marL="0" indent="0">
              <a:buNone/>
              <a:defRPr sz="2352"/>
            </a:lvl2pPr>
            <a:lvl3pPr marL="227163" indent="0">
              <a:buNone/>
              <a:tabLst/>
              <a:defRPr sz="1960"/>
            </a:lvl3pPr>
            <a:lvl4pPr marL="451214" indent="0">
              <a:buNone/>
              <a:defRPr/>
            </a:lvl4pPr>
            <a:lvl5pPr marL="67215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10551286"/>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6249" y="1635896"/>
            <a:ext cx="8603408" cy="4931036"/>
          </a:xfrm>
        </p:spPr>
        <p:txBody>
          <a:bodyPr wrap="square">
            <a:noAutofit/>
          </a:bodyPr>
          <a:lstStyle>
            <a:lvl3pPr>
              <a:defRPr sz="2352"/>
            </a:lvl3pPr>
            <a:lvl4pPr>
              <a:defRPr sz="1960"/>
            </a:lvl4pPr>
            <a:lvl5pPr>
              <a:defRPr sz="196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10" y="1635896"/>
            <a:ext cx="2688574" cy="4931036"/>
          </a:xfrm>
        </p:spPr>
        <p:txBody>
          <a:bodyPr>
            <a:noAutofit/>
          </a:bodyPr>
          <a:lstStyle>
            <a:lvl1pPr marL="0" indent="0">
              <a:buNone/>
              <a:defRPr kumimoji="0" lang="en-US" sz="2352" b="0" i="0" u="none" strike="noStrike" kern="1200" cap="none" spc="0" normalizeH="0" baseline="0" dirty="0" smtClean="0">
                <a:ln>
                  <a:noFill/>
                </a:ln>
                <a:gradFill>
                  <a:gsLst>
                    <a:gs pos="100000">
                      <a:schemeClr val="tx1"/>
                    </a:gs>
                    <a:gs pos="0">
                      <a:schemeClr val="tx1"/>
                    </a:gs>
                  </a:gsLst>
                  <a:lin ang="5400000" scaled="0"/>
                </a:gradFill>
                <a:effectLst/>
                <a:uLnTx/>
                <a:uFillTx/>
                <a:latin typeface="+mn-lt"/>
                <a:ea typeface="+mj-ea"/>
                <a:cs typeface="+mj-cs"/>
              </a:defRPr>
            </a:lvl1pPr>
          </a:lstStyle>
          <a:p>
            <a:pPr marL="0" marR="0" lvl="0" indent="0" algn="l" defTabSz="895974" rtl="0" eaLnBrk="1" fontAlgn="auto" latinLnBrk="0" hangingPunct="1">
              <a:lnSpc>
                <a:spcPct val="100000"/>
              </a:lnSpc>
              <a:spcBef>
                <a:spcPct val="0"/>
              </a:spcBef>
              <a:spcAft>
                <a:spcPts val="0"/>
              </a:spcAft>
              <a:buClrTx/>
              <a:buSzTx/>
              <a:tabLst/>
              <a:defRPr/>
            </a:pPr>
            <a:r>
              <a:rPr lang="en-US" dirty="0"/>
              <a:t>Click to edit Master text styles</a:t>
            </a:r>
          </a:p>
        </p:txBody>
      </p:sp>
    </p:spTree>
    <p:extLst>
      <p:ext uri="{BB962C8B-B14F-4D97-AF65-F5344CB8AC3E}">
        <p14:creationId xmlns:p14="http://schemas.microsoft.com/office/powerpoint/2010/main" val="3392485709"/>
      </p:ext>
    </p:extLst>
  </p:cSld>
  <p:clrMapOvr>
    <a:masterClrMapping/>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2510"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04567171"/>
      </p:ext>
    </p:extLst>
  </p:cSld>
  <p:clrMapOvr>
    <a:masterClrMapping/>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789152554"/>
      </p:ext>
    </p:extLst>
  </p:cSld>
  <p:clrMapOvr>
    <a:masterClrMapping/>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itle Only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2721017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Quote slide - Blue">
    <p:bg>
      <p:bgRef idx="1001">
        <a:schemeClr val="bg2"/>
      </p:bgRef>
    </p:bg>
    <p:spTree>
      <p:nvGrpSpPr>
        <p:cNvPr id="1" name=""/>
        <p:cNvGrpSpPr/>
        <p:nvPr/>
      </p:nvGrpSpPr>
      <p:grpSpPr>
        <a:xfrm>
          <a:off x="0" y="0"/>
          <a:ext cx="0" cy="0"/>
          <a:chOff x="0" y="0"/>
          <a:chExt cx="0" cy="0"/>
        </a:xfrm>
      </p:grpSpPr>
      <p:sp>
        <p:nvSpPr>
          <p:cNvPr id="5" name="Title 4"/>
          <p:cNvSpPr>
            <a:spLocks noGrp="1"/>
          </p:cNvSpPr>
          <p:nvPr>
            <p:ph type="title"/>
          </p:nvPr>
        </p:nvSpPr>
        <p:spPr>
          <a:xfrm>
            <a:off x="1079503" y="2906011"/>
            <a:ext cx="10032135" cy="899665"/>
          </a:xfrm>
        </p:spPr>
        <p:txBody>
          <a:bodyPr anchor="ctr" anchorCtr="0"/>
          <a:lstStyle>
            <a:lvl1pPr algn="l">
              <a:defRPr>
                <a:gradFill>
                  <a:gsLst>
                    <a:gs pos="1250">
                      <a:schemeClr val="tx1"/>
                    </a:gs>
                    <a:gs pos="100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0156331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Section Title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1"/>
            <a:ext cx="11650488" cy="1063736"/>
          </a:xfrm>
          <a:noFill/>
        </p:spPr>
        <p:txBody>
          <a:bodyPr tIns="91440" bIns="91440" anchor="t" anchorCtr="0">
            <a:spAutoFit/>
          </a:bodyPr>
          <a:lstStyle>
            <a:lvl1pPr>
              <a:defRPr sz="6371"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659273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124345"/>
      </p:ext>
    </p:extLst>
  </p:cSld>
  <p:clrMapOvr>
    <a:masterClrMapping/>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60646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86"/>
            <a:ext cx="9856549" cy="1063736"/>
          </a:xfrm>
          <a:noFill/>
        </p:spPr>
        <p:txBody>
          <a:bodyPr tIns="91440" bIns="91440" anchor="t" anchorCtr="0">
            <a:spAutoFit/>
          </a:bodyPr>
          <a:lstStyle>
            <a:lvl1pPr>
              <a:defRPr lang="en-US" sz="6371"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5136386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86"/>
            <a:ext cx="9856549" cy="1063736"/>
          </a:xfrm>
          <a:noFill/>
        </p:spPr>
        <p:txBody>
          <a:bodyPr tIns="91440" bIns="91440" anchor="t" anchorCtr="0">
            <a:spAutoFit/>
          </a:bodyPr>
          <a:lstStyle>
            <a:lvl1pPr>
              <a:defRPr sz="6371"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170" y="4773829"/>
            <a:ext cx="9858106"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3886908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1632216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361" y="2084173"/>
            <a:ext cx="9858104" cy="1793104"/>
          </a:xfrm>
        </p:spPr>
        <p:txBody>
          <a:bodyPr/>
          <a:lstStyle>
            <a:lvl1pPr>
              <a:defRPr sz="4704" baseline="0"/>
            </a:lvl1pPr>
          </a:lstStyle>
          <a:p>
            <a:r>
              <a:rPr lang="en-US" dirty="0"/>
              <a:t>Click to edit Master title style</a:t>
            </a:r>
          </a:p>
        </p:txBody>
      </p:sp>
    </p:spTree>
    <p:extLst>
      <p:ext uri="{BB962C8B-B14F-4D97-AF65-F5344CB8AC3E}">
        <p14:creationId xmlns:p14="http://schemas.microsoft.com/office/powerpoint/2010/main" val="2560666077"/>
      </p:ext>
    </p:extLst>
  </p:cSld>
  <p:clrMapOvr>
    <a:masterClrMapping/>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userDrawn="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algn="ctr" defTabSz="932103"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6951" y="4928557"/>
            <a:ext cx="2713898" cy="1972396"/>
          </a:xfrm>
          <a:prstGeom prst="rect">
            <a:avLst/>
          </a:prstGeom>
        </p:spPr>
      </p:pic>
      <p:pic>
        <p:nvPicPr>
          <p:cNvPr id="12" name="Azure Dark" descr="MS-Azure_rgb_Blk.png"/>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10359585" y="151316"/>
            <a:ext cx="1660940" cy="382084"/>
          </a:xfrm>
          <a:prstGeom prst="rect">
            <a:avLst/>
          </a:prstGeom>
        </p:spPr>
      </p:pic>
      <p:sp>
        <p:nvSpPr>
          <p:cNvPr id="10" name="Headline"/>
          <p:cNvSpPr>
            <a:spLocks noGrp="1"/>
          </p:cNvSpPr>
          <p:nvPr>
            <p:ph type="title"/>
          </p:nvPr>
        </p:nvSpPr>
        <p:spPr>
          <a:xfrm>
            <a:off x="2517956" y="5576547"/>
            <a:ext cx="8066963" cy="917575"/>
          </a:xfrm>
          <a:prstGeom prst="rect">
            <a:avLst/>
          </a:prstGeom>
        </p:spPr>
        <p:txBody>
          <a:bodyPr/>
          <a:lstStyle>
            <a:lvl1pPr>
              <a:defRPr>
                <a:solidFill>
                  <a:schemeClr val="bg1"/>
                </a:solidFill>
              </a:defRPr>
            </a:lvl1pPr>
          </a:lstStyle>
          <a:p>
            <a:r>
              <a:rPr lang="en-US" sz="4799"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17005987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userDrawn="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355988" y="147877"/>
            <a:ext cx="1661800" cy="382281"/>
          </a:xfrm>
          <a:prstGeom prst="rect">
            <a:avLst/>
          </a:prstGeom>
        </p:spPr>
      </p:pic>
      <p:pic>
        <p:nvPicPr>
          <p:cNvPr id="6" name="Logo" descr="MS Logo White.png"/>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354270744"/>
      </p:ext>
    </p:extLst>
  </p:cSld>
  <p:clrMapOvr>
    <a:masterClrMapping/>
  </p:clrMapOvr>
  <p:transition>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804945" y="6474572"/>
            <a:ext cx="1157198" cy="248097"/>
          </a:xfrm>
          <a:prstGeom prst="rect">
            <a:avLst/>
          </a:prstGeom>
        </p:spPr>
      </p:pic>
      <p:pic>
        <p:nvPicPr>
          <p:cNvPr id="6" name="Azure Dark" descr="MS-Azure_rgb_Blk.png"/>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10359585" y="151316"/>
            <a:ext cx="1660940" cy="382084"/>
          </a:xfrm>
          <a:prstGeom prst="rect">
            <a:avLst/>
          </a:prstGeom>
        </p:spPr>
      </p:pic>
    </p:spTree>
    <p:extLst>
      <p:ext uri="{BB962C8B-B14F-4D97-AF65-F5344CB8AC3E}">
        <p14:creationId xmlns:p14="http://schemas.microsoft.com/office/powerpoint/2010/main" val="25474955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userDrawn="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355988" y="147877"/>
            <a:ext cx="1661800" cy="382281"/>
          </a:xfrm>
          <a:prstGeom prst="rect">
            <a:avLst/>
          </a:prstGeom>
        </p:spPr>
      </p:pic>
    </p:spTree>
    <p:extLst>
      <p:ext uri="{BB962C8B-B14F-4D97-AF65-F5344CB8AC3E}">
        <p14:creationId xmlns:p14="http://schemas.microsoft.com/office/powerpoint/2010/main" val="3771003152"/>
      </p:ext>
    </p:extLst>
  </p:cSld>
  <p:clrMapOvr>
    <a:masterClrMapping/>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email">
            <a:extLst>
              <a:ext uri="{28A0092B-C50C-407E-A947-70E740481C1C}">
                <a14:useLocalDpi xmlns:a14="http://schemas.microsoft.com/office/drawing/2010/main"/>
              </a:ext>
            </a:extLst>
          </a:blip>
          <a:srcRect l="2944" t="1853" r="1090"/>
          <a:stretch/>
        </p:blipFill>
        <p:spPr>
          <a:xfrm flipH="1">
            <a:off x="0" y="2"/>
            <a:ext cx="12187089" cy="6857996"/>
          </a:xfrm>
          <a:prstGeom prst="rect">
            <a:avLst/>
          </a:prstGeom>
        </p:spPr>
      </p:pic>
      <p:sp>
        <p:nvSpPr>
          <p:cNvPr id="2" name="Rectangle 1"/>
          <p:cNvSpPr/>
          <p:nvPr userDrawn="1"/>
        </p:nvSpPr>
        <p:spPr bwMode="auto">
          <a:xfrm>
            <a:off x="265994" y="2084173"/>
            <a:ext cx="6276515"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1" hangingPunct="1">
              <a:lnSpc>
                <a:spcPct val="90000"/>
              </a:lnSpc>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2" y="2084173"/>
            <a:ext cx="6273277" cy="1793104"/>
          </a:xfrm>
          <a:noFill/>
        </p:spPr>
        <p:txBody>
          <a:bodyPr lIns="146304" tIns="91440" rIns="146304" bIns="91440" anchor="t" anchorCtr="0"/>
          <a:lstStyle>
            <a:lvl1pPr>
              <a:defRPr sz="5293"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13" y="3877257"/>
            <a:ext cx="6274896" cy="1698765"/>
          </a:xfrm>
        </p:spPr>
        <p:txBody>
          <a:bodyPr tIns="109728" bIns="109728">
            <a:noAutofit/>
          </a:bodyPr>
          <a:lstStyle>
            <a:lvl1pPr marL="0" indent="0">
              <a:spcBef>
                <a:spcPts val="0"/>
              </a:spcBef>
              <a:buNone/>
              <a:defRPr sz="3136">
                <a:gradFill>
                  <a:gsLst>
                    <a:gs pos="64646">
                      <a:srgbClr val="FFFFFF"/>
                    </a:gs>
                    <a:gs pos="45000">
                      <a:srgbClr val="FFFFFF"/>
                    </a:gs>
                  </a:gsLst>
                  <a:lin ang="5400000" scaled="0"/>
                </a:gradFill>
              </a:defRPr>
            </a:lvl1pPr>
          </a:lstStyle>
          <a:p>
            <a:pPr lvl="0"/>
            <a:r>
              <a:rPr lang="en-US" dirty="0"/>
              <a:t>Speaker Name</a:t>
            </a:r>
          </a:p>
        </p:txBody>
      </p:sp>
      <p:sp>
        <p:nvSpPr>
          <p:cNvPr id="8" name="Rectangle 7"/>
          <p:cNvSpPr/>
          <p:nvPr userDrawn="1"/>
        </p:nvSpPr>
        <p:spPr bwMode="auto">
          <a:xfrm>
            <a:off x="448096" y="470068"/>
            <a:ext cx="2060121" cy="393703"/>
          </a:xfrm>
          <a:prstGeom prst="rect">
            <a:avLst/>
          </a:prstGeom>
          <a:noFill/>
          <a:ln w="6350" cap="sq">
            <a:solidFill>
              <a:srgbClr val="525252"/>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16" eaLnBrk="1" hangingPunct="1">
              <a:lnSpc>
                <a:spcPct val="90000"/>
              </a:lnSpc>
              <a:defRPr/>
            </a:pPr>
            <a:r>
              <a:rPr lang="en-US" sz="2744" dirty="0">
                <a:gradFill>
                  <a:gsLst>
                    <a:gs pos="93939">
                      <a:srgbClr val="525252"/>
                    </a:gs>
                    <a:gs pos="80808">
                      <a:srgbClr val="525252"/>
                    </a:gs>
                  </a:gsLst>
                  <a:lin ang="5400000" scaled="1"/>
                </a:gradFill>
                <a:ea typeface="Segoe UI" pitchFamily="34" charset="0"/>
                <a:cs typeface="Segoe UI" pitchFamily="34" charset="0"/>
              </a:rPr>
              <a:t>Product logo</a:t>
            </a:r>
          </a:p>
        </p:txBody>
      </p:sp>
      <p:sp>
        <p:nvSpPr>
          <p:cNvPr id="10" name="Rectangle 9"/>
          <p:cNvSpPr/>
          <p:nvPr userDrawn="1"/>
        </p:nvSpPr>
        <p:spPr bwMode="auto">
          <a:xfrm>
            <a:off x="448096" y="863772"/>
            <a:ext cx="2060121"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16" eaLnBrk="1" hangingPunct="1">
              <a:lnSpc>
                <a:spcPct val="90000"/>
              </a:lnSpc>
              <a:defRPr/>
            </a:pPr>
            <a:r>
              <a:rPr lang="en-US" sz="1372" dirty="0">
                <a:gradFill>
                  <a:gsLst>
                    <a:gs pos="93939">
                      <a:srgbClr val="525252"/>
                    </a:gs>
                    <a:gs pos="80808">
                      <a:srgbClr val="525252"/>
                    </a:gs>
                  </a:gsLst>
                  <a:lin ang="5400000" scaled="1"/>
                </a:gradFill>
                <a:ea typeface="Segoe UI" pitchFamily="34" charset="0"/>
                <a:cs typeface="Segoe UI" pitchFamily="34" charset="0"/>
              </a:rPr>
              <a:t>Update on slide master</a:t>
            </a:r>
          </a:p>
        </p:txBody>
      </p:sp>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6598" y="6029312"/>
            <a:ext cx="1668354" cy="358621"/>
          </a:xfrm>
          <a:prstGeom prst="rect">
            <a:avLst/>
          </a:prstGeom>
        </p:spPr>
      </p:pic>
    </p:spTree>
    <p:extLst>
      <p:ext uri="{BB962C8B-B14F-4D97-AF65-F5344CB8AC3E}">
        <p14:creationId xmlns:p14="http://schemas.microsoft.com/office/powerpoint/2010/main" val="1525546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232" y="2084187"/>
            <a:ext cx="8961851" cy="1793090"/>
          </a:xfrm>
          <a:noFill/>
        </p:spPr>
        <p:txBody>
          <a:bodyPr lIns="146304" tIns="91440" rIns="146304" bIns="91440" anchor="t" anchorCtr="0"/>
          <a:lstStyle>
            <a:lvl1pPr>
              <a:defRPr sz="5293"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231" y="3878574"/>
            <a:ext cx="7169469"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096" y="6029312"/>
            <a:ext cx="1673454" cy="358621"/>
          </a:xfrm>
          <a:prstGeom prst="rect">
            <a:avLst/>
          </a:prstGeom>
        </p:spPr>
      </p:pic>
      <p:sp>
        <p:nvSpPr>
          <p:cNvPr id="8" name="Rectangle 7"/>
          <p:cNvSpPr/>
          <p:nvPr userDrawn="1"/>
        </p:nvSpPr>
        <p:spPr bwMode="auto">
          <a:xfrm>
            <a:off x="448096" y="470068"/>
            <a:ext cx="2060121"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16" eaLnBrk="1" hangingPunct="1">
              <a:lnSpc>
                <a:spcPct val="90000"/>
              </a:lnSpc>
              <a:defRPr/>
            </a:pPr>
            <a:r>
              <a:rPr lang="en-US" sz="2744" dirty="0">
                <a:gradFill>
                  <a:gsLst>
                    <a:gs pos="51515">
                      <a:srgbClr val="FFFFFF"/>
                    </a:gs>
                    <a:gs pos="43000">
                      <a:srgbClr val="FFFFFF"/>
                    </a:gs>
                  </a:gsLst>
                  <a:lin ang="5400000" scaled="1"/>
                </a:gradFill>
                <a:ea typeface="Segoe UI" pitchFamily="34" charset="0"/>
                <a:cs typeface="Segoe UI" pitchFamily="34" charset="0"/>
              </a:rPr>
              <a:t>Product logo</a:t>
            </a:r>
          </a:p>
        </p:txBody>
      </p:sp>
      <p:sp>
        <p:nvSpPr>
          <p:cNvPr id="10" name="Rectangle 9"/>
          <p:cNvSpPr/>
          <p:nvPr userDrawn="1"/>
        </p:nvSpPr>
        <p:spPr bwMode="auto">
          <a:xfrm>
            <a:off x="448096" y="863772"/>
            <a:ext cx="2060121"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16" eaLnBrk="1" hangingPunct="1">
              <a:lnSpc>
                <a:spcPct val="90000"/>
              </a:lnSpc>
              <a:defRPr/>
            </a:pPr>
            <a:r>
              <a:rPr lang="en-US" sz="1372" dirty="0">
                <a:gradFill>
                  <a:gsLst>
                    <a:gs pos="51515">
                      <a:srgbClr val="FFFFFF"/>
                    </a:gs>
                    <a:gs pos="43000">
                      <a:srgbClr val="FFFFFF"/>
                    </a:gs>
                  </a:gsLst>
                  <a:lin ang="5400000" scaled="1"/>
                </a:gradFill>
                <a:ea typeface="Segoe UI" pitchFamily="34" charset="0"/>
                <a:cs typeface="Segoe UI" pitchFamily="34" charset="0"/>
              </a:rPr>
              <a:t>Update on slide master</a:t>
            </a:r>
          </a:p>
        </p:txBody>
      </p:sp>
    </p:spTree>
    <p:extLst>
      <p:ext uri="{BB962C8B-B14F-4D97-AF65-F5344CB8AC3E}">
        <p14:creationId xmlns:p14="http://schemas.microsoft.com/office/powerpoint/2010/main" val="41113845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169" y="1189177"/>
            <a:ext cx="11650488"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11425691"/>
      </p:ext>
    </p:extLst>
  </p:cSld>
  <p:clrMapOvr>
    <a:masterClrMapping/>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1985641"/>
          </a:xfrm>
        </p:spPr>
        <p:txBody>
          <a:bodyPr>
            <a:spAutoFit/>
          </a:bodyPr>
          <a:lstStyle>
            <a:lvl1pPr>
              <a:defRPr sz="3528"/>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6998742"/>
      </p:ext>
    </p:extLst>
  </p:cSld>
  <p:clrMapOvr>
    <a:masterClrMapping/>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5"/>
            <a:ext cx="5377147"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2510" y="1189175"/>
            <a:ext cx="5377147"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26379867"/>
      </p:ext>
    </p:extLst>
  </p:cSld>
  <p:clrMapOvr>
    <a:masterClrMapping/>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2510"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55927373"/>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10" y="1635896"/>
            <a:ext cx="2688574" cy="4931036"/>
          </a:xfrm>
        </p:spPr>
        <p:txBody>
          <a:bodyPr>
            <a:noAutofit/>
          </a:bodyPr>
          <a:lstStyle>
            <a:lvl1pPr>
              <a:defRPr kumimoji="0" lang="en-US" sz="2352" b="0" i="0" u="none" strike="noStrike" kern="1200" cap="none" spc="0" normalizeH="0" baseline="0" dirty="0" smtClean="0">
                <a:ln>
                  <a:noFill/>
                </a:ln>
                <a:gradFill>
                  <a:gsLst>
                    <a:gs pos="92208">
                      <a:schemeClr val="tx1"/>
                    </a:gs>
                    <a:gs pos="0">
                      <a:schemeClr val="tx1"/>
                    </a:gs>
                  </a:gsLst>
                  <a:lin ang="5400000" scaled="0"/>
                </a:gradFill>
                <a:effectLst/>
                <a:uLnTx/>
                <a:uFillTx/>
                <a:latin typeface="+mn-lt"/>
                <a:ea typeface="+mj-ea"/>
                <a:cs typeface="+mj-cs"/>
              </a:defRPr>
            </a:lvl1pPr>
          </a:lstStyle>
          <a:p>
            <a:pPr marL="0" marR="0" lvl="0" indent="0" algn="l" defTabSz="895974" rtl="0" eaLnBrk="1" fontAlgn="auto" latinLnBrk="0" hangingPunct="1">
              <a:lnSpc>
                <a:spcPct val="100000"/>
              </a:lnSpc>
              <a:spcBef>
                <a:spcPct val="0"/>
              </a:spcBef>
              <a:spcAft>
                <a:spcPts val="0"/>
              </a:spcAft>
              <a:buClrTx/>
              <a:buSzTx/>
              <a:buFont typeface="Arial" pitchFamily="34" charset="0"/>
              <a:buNone/>
              <a:tabLst/>
              <a:defRPr/>
            </a:pPr>
            <a:r>
              <a:rPr lang="en-US" dirty="0"/>
              <a:t>Click to edit Master text styles</a:t>
            </a:r>
          </a:p>
        </p:txBody>
      </p:sp>
    </p:spTree>
    <p:extLst>
      <p:ext uri="{BB962C8B-B14F-4D97-AF65-F5344CB8AC3E}">
        <p14:creationId xmlns:p14="http://schemas.microsoft.com/office/powerpoint/2010/main" val="3562853318"/>
      </p:ext>
    </p:extLst>
  </p:cSld>
  <p:clrMapOvr>
    <a:masterClrMapping/>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927076294"/>
      </p:ext>
    </p:extLst>
  </p:cSld>
  <p:clrMapOvr>
    <a:masterClrMapping/>
  </p:clrMapOvr>
  <p:transition>
    <p:fade/>
  </p:transition>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1158793"/>
          </a:xfrm>
          <a:noFill/>
        </p:spPr>
        <p:txBody>
          <a:bodyPr tIns="91440" bIns="91440" anchor="t" anchorCtr="0">
            <a:spAutoFit/>
          </a:bodyPr>
          <a:lstStyle>
            <a:lvl1pPr>
              <a:defRPr sz="7057"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170" y="3877276"/>
            <a:ext cx="9858106" cy="778565"/>
          </a:xfrm>
          <a:noFill/>
        </p:spPr>
        <p:txBody>
          <a:bodyPr lIns="182880" tIns="146304" rIns="182880" bIns="146304">
            <a:sp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9544498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1158793"/>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518159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66410202"/>
      </p:ext>
    </p:extLst>
  </p:cSld>
  <p:clrMapOvr>
    <a:masterClrMapping/>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93064081"/>
      </p:ext>
    </p:extLst>
  </p:cSld>
  <p:clrMapOvr>
    <a:masterClrMapping/>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94833365"/>
      </p:ext>
    </p:extLst>
  </p:cSld>
  <p:clrMapOvr>
    <a:masterClrMapping/>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47384777"/>
      </p:ext>
    </p:extLst>
  </p:cSld>
  <p:clrMapOvr>
    <a:masterClrMapping/>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1" y="1217195"/>
            <a:ext cx="5377147"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5968" y="0"/>
            <a:ext cx="6092857"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767854601"/>
      </p:ext>
    </p:extLst>
  </p:cSld>
  <p:clrMapOvr>
    <a:masterClrMapping/>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9868789"/>
      </p:ext>
    </p:extLst>
  </p:cSld>
  <p:clrMapOvr>
    <a:masterClrMapping/>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4115037"/>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0126" y="2980724"/>
            <a:ext cx="7169534" cy="896552"/>
          </a:xfrm>
        </p:spPr>
        <p:txBody>
          <a:bodyPr wrap="square" lIns="182880" tIns="146304" rIns="182880" bIns="146304" anchor="ctr">
            <a:noAutofit/>
          </a:bodyPr>
          <a:lstStyle>
            <a:lvl1pPr>
              <a:lnSpc>
                <a:spcPct val="95000"/>
              </a:lnSpc>
              <a:spcBef>
                <a:spcPts val="0"/>
              </a:spcBef>
              <a:spcAft>
                <a:spcPts val="1600"/>
              </a:spcAft>
              <a:defRPr lang="en-US" sz="3528"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2">
                <a:solidFill>
                  <a:srgbClr val="FFFFFF"/>
                </a:solidFill>
              </a:defRPr>
            </a:lvl2pPr>
            <a:lvl3pPr>
              <a:lnSpc>
                <a:spcPct val="100000"/>
              </a:lnSpc>
              <a:spcBef>
                <a:spcPts val="800"/>
              </a:spcBef>
              <a:defRPr sz="1862">
                <a:solidFill>
                  <a:srgbClr val="FFFFFF"/>
                </a:solidFill>
              </a:defRPr>
            </a:lvl3pPr>
            <a:lvl4pPr>
              <a:lnSpc>
                <a:spcPct val="100000"/>
              </a:lnSpc>
              <a:spcBef>
                <a:spcPts val="800"/>
              </a:spcBef>
              <a:defRPr sz="1862">
                <a:solidFill>
                  <a:srgbClr val="FFFFFF"/>
                </a:solidFill>
              </a:defRPr>
            </a:lvl4pPr>
            <a:lvl5pPr>
              <a:lnSpc>
                <a:spcPct val="100000"/>
              </a:lnSpc>
              <a:spcBef>
                <a:spcPts val="800"/>
              </a:spcBef>
              <a:defRPr sz="1862">
                <a:solidFill>
                  <a:srgbClr val="FFFFFF"/>
                </a:solidFill>
              </a:defRPr>
            </a:lvl5pPr>
          </a:lstStyle>
          <a:p>
            <a:pPr marL="0" lvl="0" indent="0" algn="l" defTabSz="895974" rtl="0" eaLnBrk="1" latinLnBrk="0" hangingPunct="1">
              <a:spcBef>
                <a:spcPct val="20000"/>
              </a:spcBef>
              <a:buFont typeface="Arial" pitchFamily="34" charset="0"/>
              <a:buNone/>
            </a:pPr>
            <a:r>
              <a:rPr lang="en-US" dirty="0"/>
              <a:t>Click to edit Master text styles</a:t>
            </a:r>
          </a:p>
        </p:txBody>
      </p:sp>
      <p:sp>
        <p:nvSpPr>
          <p:cNvPr id="15" name="Title 1"/>
          <p:cNvSpPr>
            <a:spLocks noGrp="1"/>
          </p:cNvSpPr>
          <p:nvPr>
            <p:ph type="ctrTitle" hasCustomPrompt="1"/>
          </p:nvPr>
        </p:nvSpPr>
        <p:spPr>
          <a:xfrm>
            <a:off x="269170" y="1507552"/>
            <a:ext cx="3853643"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3"/>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525"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869376734"/>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04529615"/>
      </p:ext>
    </p:extLst>
  </p:cSld>
  <p:clrMapOvr>
    <a:masterClrMapping/>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8077833"/>
      </p:ext>
    </p:extLst>
  </p:cSld>
  <p:clrMapOvr>
    <a:masterClrMapping/>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0" tIns="45710" rIns="45710" bIns="45710" numCol="1" spcCol="0" rtlCol="0" fromWordArt="0" anchor="ctr" anchorCtr="0" forceAA="0" compatLnSpc="1">
            <a:prstTxWarp prst="textNoShape">
              <a:avLst/>
            </a:prstTxWarp>
            <a:noAutofit/>
          </a:bodyPr>
          <a:lstStyle/>
          <a:p>
            <a:pPr algn="ctr" defTabSz="913916" eaLnBrk="1" hangingPunct="1"/>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69" y="1197322"/>
            <a:ext cx="11650487"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5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1431514"/>
      </p:ext>
    </p:extLst>
  </p:cSld>
  <p:clrMapOvr>
    <a:masterClrMapping/>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170" y="6170059"/>
            <a:ext cx="11620304" cy="395317"/>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737" fontAlgn="auto">
              <a:spcBef>
                <a:spcPts val="0"/>
              </a:spcBef>
              <a:spcAft>
                <a:spcPts val="0"/>
              </a:spcAft>
            </a:pPr>
            <a:r>
              <a:rPr lang="en-US" sz="686" dirty="0">
                <a:gradFill>
                  <a:gsLst>
                    <a:gs pos="0">
                      <a:srgbClr val="FFFFFF"/>
                    </a:gs>
                    <a:gs pos="100000">
                      <a:srgbClr val="FFFFFF"/>
                    </a:gs>
                  </a:gsLst>
                  <a:lin ang="5400000" scaled="0"/>
                </a:gradFill>
                <a:latin typeface="Segoe UI"/>
                <a:ea typeface="+mn-ea"/>
                <a:cs typeface="Segoe UI" pitchFamily="34" charset="0"/>
              </a:rPr>
              <a:t>© 2015 Microsoft Corporation. All rights reserved. </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085" y="3083653"/>
            <a:ext cx="3223021" cy="690695"/>
          </a:xfrm>
          <a:prstGeom prst="rect">
            <a:avLst/>
          </a:prstGeom>
        </p:spPr>
      </p:pic>
    </p:spTree>
    <p:extLst>
      <p:ext uri="{BB962C8B-B14F-4D97-AF65-F5344CB8AC3E}">
        <p14:creationId xmlns:p14="http://schemas.microsoft.com/office/powerpoint/2010/main" val="4092221928"/>
      </p:ext>
    </p:extLst>
  </p:cSld>
  <p:clrMapOvr>
    <a:masterClrMapping/>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035369332"/>
      </p:ext>
    </p:extLst>
  </p:cSld>
  <p:clrMapOvr>
    <a:masterClrMapping/>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6139"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6" name="Presenter"/>
          <p:cNvSpPr txBox="1">
            <a:spLocks/>
          </p:cNvSpPr>
          <p:nvPr/>
        </p:nvSpPr>
        <p:spPr>
          <a:xfrm>
            <a:off x="6340563" y="5233034"/>
            <a:ext cx="5668478" cy="1095241"/>
          </a:xfrm>
          <a:prstGeom prst="rect">
            <a:avLst/>
          </a:prstGeom>
        </p:spPr>
        <p:txBody>
          <a:bodyPr vert="horz" wrap="square" lIns="228540" tIns="91376" rIns="146202" bIns="91376"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283">
              <a:lnSpc>
                <a:spcPts val="2999"/>
              </a:lnSpc>
              <a:spcBef>
                <a:spcPts val="0"/>
              </a:spcBef>
              <a:spcAft>
                <a:spcPts val="1199"/>
              </a:spcAft>
              <a:defRPr/>
            </a:pPr>
            <a:r>
              <a:rPr lang="en-US" sz="2199" dirty="0">
                <a:solidFill>
                  <a:srgbClr val="FFFFFF"/>
                </a:solidFill>
              </a:rPr>
              <a:t>Presenter</a:t>
            </a:r>
            <a:endParaRPr sz="2199" dirty="0">
              <a:solidFill>
                <a:srgbClr val="FFFFFF"/>
              </a:solidFill>
            </a:endParaRPr>
          </a:p>
        </p:txBody>
      </p:sp>
      <p:sp>
        <p:nvSpPr>
          <p:cNvPr id="10" name="Title"/>
          <p:cNvSpPr>
            <a:spLocks noGrp="1"/>
          </p:cNvSpPr>
          <p:nvPr>
            <p:ph type="title" hasCustomPrompt="1"/>
          </p:nvPr>
        </p:nvSpPr>
        <p:spPr>
          <a:xfrm>
            <a:off x="6362423" y="4263385"/>
            <a:ext cx="5826403" cy="899665"/>
          </a:xfrm>
          <a:prstGeom prst="rect">
            <a:avLst/>
          </a:prstGeom>
        </p:spPr>
        <p:txBody>
          <a:bodyPr/>
          <a:lstStyle>
            <a:lvl1pPr>
              <a:defRPr lang="en-US" sz="5398"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2531057136"/>
      </p:ext>
    </p:extLst>
  </p:cSld>
  <p:clrMapOvr>
    <a:masterClrMapping/>
  </p:clrMapOvr>
  <p:transition>
    <p:fade/>
  </p:transition>
  <p:hf hdr="0" ftr="0" dt="0"/>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6139"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10" name="Title"/>
          <p:cNvSpPr>
            <a:spLocks noGrp="1"/>
          </p:cNvSpPr>
          <p:nvPr>
            <p:ph type="title" hasCustomPrompt="1"/>
          </p:nvPr>
        </p:nvSpPr>
        <p:spPr>
          <a:xfrm>
            <a:off x="6362423" y="4263385"/>
            <a:ext cx="5826403" cy="899665"/>
          </a:xfrm>
          <a:prstGeom prst="rect">
            <a:avLst/>
          </a:prstGeom>
        </p:spPr>
        <p:txBody>
          <a:bodyPr/>
          <a:lstStyle>
            <a:lvl1pPr>
              <a:defRPr lang="en-US" sz="5398"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3930648400"/>
      </p:ext>
    </p:extLst>
  </p:cSld>
  <p:clrMapOvr>
    <a:masterClrMapping/>
  </p:clrMapOvr>
  <p:transition>
    <p:fade/>
  </p:transition>
  <p:hf hdr="0" ftr="0" dt="0"/>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9" name="Title"/>
          <p:cNvSpPr>
            <a:spLocks noGrp="1"/>
          </p:cNvSpPr>
          <p:nvPr>
            <p:ph type="title" hasCustomPrompt="1"/>
          </p:nvPr>
        </p:nvSpPr>
        <p:spPr>
          <a:xfrm>
            <a:off x="0" y="2194769"/>
            <a:ext cx="12188826" cy="1081833"/>
          </a:xfrm>
          <a:prstGeom prst="rect">
            <a:avLst/>
          </a:prstGeom>
        </p:spPr>
        <p:txBody>
          <a:bodyPr/>
          <a:lstStyle>
            <a:lvl1pPr algn="ctr">
              <a:defRPr lang="en-US" sz="5398"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588" y="3276600"/>
            <a:ext cx="12188825" cy="990600"/>
          </a:xfrm>
          <a:prstGeom prst="rect">
            <a:avLst/>
          </a:prstGeom>
        </p:spPr>
        <p:txBody>
          <a:bodyPr/>
          <a:lstStyle>
            <a:lvl1pPr marL="0" indent="0" algn="ctr">
              <a:buNone/>
              <a:defRPr lang="en-US" sz="2199" b="0" kern="1200" cap="none" spc="-102"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2542801061"/>
      </p:ext>
    </p:extLst>
  </p:cSld>
  <p:clrMapOvr>
    <a:masterClrMapping/>
  </p:clrMapOvr>
  <p:transition>
    <p:fade/>
  </p:transition>
  <p:hf hdr="0" ftr="0" dt="0"/>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265" y="2709522"/>
            <a:ext cx="10719432" cy="1266359"/>
          </a:xfrm>
          <a:prstGeom prst="rect">
            <a:avLst/>
          </a:prstGeom>
        </p:spPr>
        <p:txBody>
          <a:bodyPr>
            <a:noAutofit/>
          </a:bodyPr>
          <a:lstStyle>
            <a:lvl1pPr algn="ctr">
              <a:defRPr sz="7998"/>
            </a:lvl1pPr>
          </a:lstStyle>
          <a:p>
            <a:pPr algn="ctr"/>
            <a:r>
              <a:rPr lang="en-US" sz="7996" dirty="0"/>
              <a:t>Statement</a:t>
            </a:r>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Tree>
    <p:extLst>
      <p:ext uri="{BB962C8B-B14F-4D97-AF65-F5344CB8AC3E}">
        <p14:creationId xmlns:p14="http://schemas.microsoft.com/office/powerpoint/2010/main" val="645975635"/>
      </p:ext>
    </p:extLst>
  </p:cSld>
  <p:clrMapOvr>
    <a:masterClrMapping/>
  </p:clrMapOvr>
  <p:transition>
    <p:fade/>
  </p:transition>
  <p:hf hdr="0" ftr="0" dt="0"/>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Tree>
    <p:extLst>
      <p:ext uri="{BB962C8B-B14F-4D97-AF65-F5344CB8AC3E}">
        <p14:creationId xmlns:p14="http://schemas.microsoft.com/office/powerpoint/2010/main" val="3516681528"/>
      </p:ext>
    </p:extLst>
  </p:cSld>
  <p:clrMapOvr>
    <a:masterClrMapping/>
  </p:clrMapOvr>
  <p:transition>
    <p:fade/>
  </p:transition>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265" y="2709520"/>
            <a:ext cx="10719432" cy="1266359"/>
          </a:xfrm>
          <a:prstGeom prst="rect">
            <a:avLst/>
          </a:prstGeom>
        </p:spPr>
        <p:txBody>
          <a:bodyPr>
            <a:noAutofit/>
          </a:bodyPr>
          <a:lstStyle>
            <a:lvl1pPr algn="ctr">
              <a:defRPr sz="8000"/>
            </a:lvl1pPr>
          </a:lstStyle>
          <a:p>
            <a:pPr algn="ctr"/>
            <a:r>
              <a:rPr lang="en-US" sz="7998" dirty="0"/>
              <a:t>Statement</a:t>
            </a:r>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578714624"/>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0126" y="2980724"/>
            <a:ext cx="7169534" cy="896552"/>
          </a:xfrm>
        </p:spPr>
        <p:txBody>
          <a:bodyPr vert="horz" wrap="square" lIns="182880" tIns="146304" rIns="182880" bIns="146304" rtlCol="0" anchor="ctr">
            <a:noAutofit/>
          </a:bodyPr>
          <a:lstStyle>
            <a:lvl1pPr>
              <a:defRPr lang="en-US" sz="3528"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5974" rtl="0" eaLnBrk="1" latinLnBrk="0" hangingPunct="1">
              <a:spcBef>
                <a:spcPct val="20000"/>
              </a:spcBef>
              <a:spcAft>
                <a:spcPts val="1600"/>
              </a:spcAft>
              <a:buFont typeface="Arial" pitchFamily="34" charset="0"/>
              <a:buNone/>
            </a:pPr>
            <a:r>
              <a:rPr lang="en-US" dirty="0"/>
              <a:t>Click to edit Master text styles</a:t>
            </a:r>
          </a:p>
        </p:txBody>
      </p:sp>
      <p:sp>
        <p:nvSpPr>
          <p:cNvPr id="6" name="Text Placeholder 8"/>
          <p:cNvSpPr>
            <a:spLocks noGrp="1"/>
          </p:cNvSpPr>
          <p:nvPr>
            <p:ph type="body" sz="quarter" idx="16" hasCustomPrompt="1"/>
          </p:nvPr>
        </p:nvSpPr>
        <p:spPr>
          <a:xfrm>
            <a:off x="269172" y="291070"/>
            <a:ext cx="11650487" cy="896552"/>
          </a:xfrm>
        </p:spPr>
        <p:txBody>
          <a:bodyPr vert="horz" lIns="182880" tIns="146304" rIns="182880" bIns="146304" rtlCol="0" anchor="t">
            <a:noAutofit/>
          </a:bodyPr>
          <a:lstStyle>
            <a:lvl1pPr marL="0" indent="0" algn="l" defTabSz="914180"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a:t>Click to edit master text styles</a:t>
            </a:r>
          </a:p>
        </p:txBody>
      </p:sp>
      <p:sp>
        <p:nvSpPr>
          <p:cNvPr id="5" name="Title 1"/>
          <p:cNvSpPr>
            <a:spLocks noGrp="1"/>
          </p:cNvSpPr>
          <p:nvPr>
            <p:ph type="ctrTitle" hasCustomPrompt="1"/>
          </p:nvPr>
        </p:nvSpPr>
        <p:spPr>
          <a:xfrm>
            <a:off x="269170" y="1507552"/>
            <a:ext cx="3853643"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3"/>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525"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1271768693"/>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Tree>
    <p:extLst>
      <p:ext uri="{BB962C8B-B14F-4D97-AF65-F5344CB8AC3E}">
        <p14:creationId xmlns:p14="http://schemas.microsoft.com/office/powerpoint/2010/main" val="2855631266"/>
      </p:ext>
    </p:extLst>
  </p:cSld>
  <p:clrMapOvr>
    <a:masterClrMapping/>
  </p:clrMapOvr>
  <p:transition>
    <p:fade/>
  </p:transition>
  <p:hf hdr="0" ftr="0" dt="0"/>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4946" y="6474574"/>
            <a:ext cx="1157198"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Tree>
    <p:extLst>
      <p:ext uri="{BB962C8B-B14F-4D97-AF65-F5344CB8AC3E}">
        <p14:creationId xmlns:p14="http://schemas.microsoft.com/office/powerpoint/2010/main" val="2254858854"/>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3642149511"/>
      </p:ext>
    </p:extLst>
  </p:cSld>
  <p:clrMapOvr>
    <a:masterClrMapping/>
  </p:clrMapOvr>
  <p:transition>
    <p:fade/>
  </p:transition>
  <p:hf hdr="0" ftr="0" dt="0"/>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2474578916"/>
      </p:ext>
    </p:extLst>
  </p:cSld>
  <p:clrMapOvr>
    <a:masterClrMapping/>
  </p:clrMapOvr>
  <p:transition>
    <p:fade/>
  </p:transition>
  <p:hf hdr="0" ftr="0" dt="0"/>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3076041270"/>
      </p:ext>
    </p:extLst>
  </p:cSld>
  <p:clrMapOvr>
    <a:masterClrMapping/>
  </p:clrMapOvr>
  <p:transition>
    <p:fade/>
  </p:transition>
  <p:hf hdr="0" ftr="0" dt="0"/>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4946" y="6474574"/>
            <a:ext cx="1157198"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12" name="Body"/>
          <p:cNvSpPr>
            <a:spLocks noGrp="1"/>
          </p:cNvSpPr>
          <p:nvPr>
            <p:ph type="body" sz="quarter" idx="11"/>
          </p:nvPr>
        </p:nvSpPr>
        <p:spPr>
          <a:xfrm>
            <a:off x="373888" y="4824405"/>
            <a:ext cx="6748272" cy="1139825"/>
          </a:xfrm>
          <a:prstGeom prst="rect">
            <a:avLst/>
          </a:prstGeom>
        </p:spPr>
        <p:txBody>
          <a:bodyPr/>
          <a:lstStyle>
            <a:lvl1pPr>
              <a:buClr>
                <a:schemeClr val="tx2"/>
              </a:buClr>
              <a:defRPr lang="en-US" sz="1999" kern="1200" spc="0" baseline="0" dirty="0" smtClean="0">
                <a:solidFill>
                  <a:srgbClr val="0072C6"/>
                </a:solidFill>
                <a:latin typeface="Segoe UI Light" panose="020B0502040204020203" pitchFamily="34" charset="0"/>
                <a:ea typeface="+mn-ea"/>
                <a:cs typeface="+mn-cs"/>
              </a:defRPr>
            </a:lvl1pPr>
            <a:lvl2pPr>
              <a:buClr>
                <a:schemeClr val="tx2"/>
              </a:buClr>
              <a:defRPr lang="en-US" sz="1999" kern="1200" spc="0" baseline="0" dirty="0" smtClean="0">
                <a:solidFill>
                  <a:srgbClr val="0072C6"/>
                </a:solidFill>
                <a:latin typeface="Segoe UI Light" panose="020B0502040204020203" pitchFamily="34" charset="0"/>
                <a:ea typeface="+mn-ea"/>
                <a:cs typeface="+mn-cs"/>
              </a:defRPr>
            </a:lvl2pPr>
            <a:lvl3pPr>
              <a:buClr>
                <a:schemeClr val="tx2"/>
              </a:buClr>
              <a:defRPr lang="en-US" sz="1999" kern="1200" spc="0" baseline="0" dirty="0" smtClean="0">
                <a:solidFill>
                  <a:srgbClr val="0072C6"/>
                </a:solidFill>
                <a:latin typeface="Segoe UI Light" panose="020B0502040204020203" pitchFamily="34" charset="0"/>
                <a:ea typeface="+mn-ea"/>
                <a:cs typeface="+mn-cs"/>
              </a:defRPr>
            </a:lvl3pPr>
            <a:lvl4pPr>
              <a:buClr>
                <a:schemeClr val="tx2"/>
              </a:buClr>
              <a:defRPr lang="en-US" sz="1999" kern="1200" spc="0" baseline="0" dirty="0" smtClean="0">
                <a:solidFill>
                  <a:srgbClr val="0072C6"/>
                </a:solidFill>
                <a:latin typeface="Segoe UI Light" panose="020B0502040204020203" pitchFamily="34" charset="0"/>
                <a:ea typeface="+mn-ea"/>
                <a:cs typeface="+mn-cs"/>
              </a:defRPr>
            </a:lvl4pPr>
            <a:lvl5pPr>
              <a:buClr>
                <a:schemeClr val="tx2"/>
              </a:buClr>
              <a:defRPr lang="en-US" sz="1999" kern="1200" spc="0" baseline="0" dirty="0" smtClean="0">
                <a:solidFill>
                  <a:srgbClr val="0072C6"/>
                </a:solidFill>
                <a:latin typeface="Segoe UI Light" panose="020B0502040204020203"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Subhead"/>
          <p:cNvSpPr>
            <a:spLocks noGrp="1"/>
          </p:cNvSpPr>
          <p:nvPr>
            <p:ph type="body" sz="quarter" idx="12" hasCustomPrompt="1"/>
          </p:nvPr>
        </p:nvSpPr>
        <p:spPr>
          <a:xfrm>
            <a:off x="374650" y="3873502"/>
            <a:ext cx="6746875" cy="950913"/>
          </a:xfrm>
          <a:prstGeom prst="rect">
            <a:avLst/>
          </a:prstGeom>
        </p:spPr>
        <p:txBody>
          <a:bodyPr/>
          <a:lstStyle>
            <a:lvl1pPr marL="0" indent="0">
              <a:buNone/>
              <a:defRPr>
                <a:solidFill>
                  <a:schemeClr val="tx2"/>
                </a:solidFill>
              </a:defRPr>
            </a:lvl1pPr>
            <a:lvl2pPr marL="335975" indent="0">
              <a:buNone/>
              <a:defRPr>
                <a:solidFill>
                  <a:schemeClr val="tx2"/>
                </a:solidFill>
              </a:defRPr>
            </a:lvl2pPr>
            <a:lvl3pPr marL="559959" indent="0">
              <a:buNone/>
              <a:defRPr>
                <a:solidFill>
                  <a:schemeClr val="tx2"/>
                </a:solidFill>
              </a:defRPr>
            </a:lvl3pPr>
            <a:lvl4pPr marL="783943" indent="0">
              <a:buNone/>
              <a:defRPr>
                <a:solidFill>
                  <a:schemeClr val="tx2"/>
                </a:solidFill>
              </a:defRPr>
            </a:lvl4pPr>
            <a:lvl5pPr marL="1007927"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641" y="930352"/>
            <a:ext cx="9973765" cy="917575"/>
          </a:xfrm>
          <a:prstGeom prst="rect">
            <a:avLst/>
          </a:prstGeom>
        </p:spPr>
        <p:txBody>
          <a:bodyPr/>
          <a:lstStyle/>
          <a:p>
            <a:r>
              <a:rPr lang="en-US" sz="4799">
                <a:solidFill>
                  <a:schemeClr val="bg1"/>
                </a:solidFill>
              </a:rPr>
              <a:t>Click to edit Master title style</a:t>
            </a:r>
            <a:endParaRPr lang="en-US" sz="4799" dirty="0">
              <a:solidFill>
                <a:schemeClr val="bg1"/>
              </a:solidFill>
            </a:endParaRPr>
          </a:p>
        </p:txBody>
      </p:sp>
    </p:spTree>
    <p:extLst>
      <p:ext uri="{BB962C8B-B14F-4D97-AF65-F5344CB8AC3E}">
        <p14:creationId xmlns:p14="http://schemas.microsoft.com/office/powerpoint/2010/main" val="138198607"/>
      </p:ext>
    </p:extLst>
  </p:cSld>
  <p:clrMapOvr>
    <a:masterClrMapping/>
  </p:clrMapOvr>
  <p:transition>
    <p:fade/>
  </p:transition>
  <p:hf hdr="0" ftr="0" dt="0"/>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4946" y="6474574"/>
            <a:ext cx="1157198"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14" name="Subhead"/>
          <p:cNvSpPr>
            <a:spLocks noGrp="1"/>
          </p:cNvSpPr>
          <p:nvPr>
            <p:ph type="body" sz="quarter" idx="12" hasCustomPrompt="1"/>
          </p:nvPr>
        </p:nvSpPr>
        <p:spPr>
          <a:xfrm>
            <a:off x="374650" y="3873502"/>
            <a:ext cx="6746875" cy="950913"/>
          </a:xfrm>
          <a:prstGeom prst="rect">
            <a:avLst/>
          </a:prstGeom>
        </p:spPr>
        <p:txBody>
          <a:bodyPr/>
          <a:lstStyle>
            <a:lvl1pPr marL="0" indent="0">
              <a:buNone/>
              <a:defRPr>
                <a:solidFill>
                  <a:schemeClr val="tx2"/>
                </a:solidFill>
              </a:defRPr>
            </a:lvl1pPr>
            <a:lvl2pPr marL="335975" indent="0">
              <a:buNone/>
              <a:defRPr>
                <a:solidFill>
                  <a:schemeClr val="tx2"/>
                </a:solidFill>
              </a:defRPr>
            </a:lvl2pPr>
            <a:lvl3pPr marL="559959" indent="0">
              <a:buNone/>
              <a:defRPr>
                <a:solidFill>
                  <a:schemeClr val="tx2"/>
                </a:solidFill>
              </a:defRPr>
            </a:lvl3pPr>
            <a:lvl4pPr marL="783943" indent="0">
              <a:buNone/>
              <a:defRPr>
                <a:solidFill>
                  <a:schemeClr val="tx2"/>
                </a:solidFill>
              </a:defRPr>
            </a:lvl4pPr>
            <a:lvl5pPr marL="1007927"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641" y="930352"/>
            <a:ext cx="9973765" cy="917575"/>
          </a:xfrm>
          <a:prstGeom prst="rect">
            <a:avLst/>
          </a:prstGeom>
        </p:spPr>
        <p:txBody>
          <a:bodyPr/>
          <a:lstStyle/>
          <a:p>
            <a:r>
              <a:rPr lang="en-US" sz="4799">
                <a:solidFill>
                  <a:schemeClr val="bg1"/>
                </a:solidFill>
              </a:rPr>
              <a:t>Click to edit Master title style</a:t>
            </a:r>
            <a:endParaRPr lang="en-US" sz="4799"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spTree>
    <p:extLst>
      <p:ext uri="{BB962C8B-B14F-4D97-AF65-F5344CB8AC3E}">
        <p14:creationId xmlns:p14="http://schemas.microsoft.com/office/powerpoint/2010/main" val="845834792"/>
      </p:ext>
    </p:extLst>
  </p:cSld>
  <p:clrMapOvr>
    <a:masterClrMapping/>
  </p:clrMapOvr>
  <p:transition>
    <p:fade/>
  </p:transition>
  <p:hf hdr="0" ftr="0" dt="0"/>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4946" y="6474574"/>
            <a:ext cx="1157198"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spTree>
    <p:extLst>
      <p:ext uri="{BB962C8B-B14F-4D97-AF65-F5344CB8AC3E}">
        <p14:creationId xmlns:p14="http://schemas.microsoft.com/office/powerpoint/2010/main" val="3492457305"/>
      </p:ext>
    </p:extLst>
  </p:cSld>
  <p:clrMapOvr>
    <a:masterClrMapping/>
  </p:clrMapOvr>
  <p:transition>
    <p:fade/>
  </p:transition>
  <p:hf hdr="0" ftr="0" dt="0"/>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930352"/>
            <a:ext cx="9973765" cy="917575"/>
          </a:xfrm>
          <a:prstGeom prst="rect">
            <a:avLst/>
          </a:prstGeom>
        </p:spPr>
        <p:txBody>
          <a:bodyPr/>
          <a:lstStyle>
            <a:lvl1pPr>
              <a:defRPr>
                <a:solidFill>
                  <a:schemeClr val="tx2"/>
                </a:solidFill>
              </a:defRPr>
            </a:lvl1pPr>
          </a:lstStyle>
          <a:p>
            <a:r>
              <a:rPr lang="en-US" sz="4799">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640" y="2193928"/>
            <a:ext cx="9974262" cy="2719388"/>
          </a:xfrm>
          <a:prstGeom prst="rect">
            <a:avLst/>
          </a:prstGeom>
        </p:spPr>
        <p:txBody>
          <a:bodyPr/>
          <a:lstStyle>
            <a:lvl1pPr>
              <a:buClr>
                <a:schemeClr val="tx2"/>
              </a:buClr>
              <a:defRPr sz="1999">
                <a:solidFill>
                  <a:schemeClr val="tx2"/>
                </a:solidFill>
              </a:defRPr>
            </a:lvl1pPr>
            <a:lvl2pPr>
              <a:buClr>
                <a:schemeClr val="tx2"/>
              </a:buClr>
              <a:defRPr sz="1999">
                <a:solidFill>
                  <a:schemeClr val="tx2"/>
                </a:solidFill>
              </a:defRPr>
            </a:lvl2pPr>
            <a:lvl3pPr>
              <a:buClr>
                <a:schemeClr val="tx2"/>
              </a:buClr>
              <a:defRPr sz="1999">
                <a:solidFill>
                  <a:schemeClr val="tx2"/>
                </a:solidFill>
              </a:defRPr>
            </a:lvl3pPr>
            <a:lvl4pPr>
              <a:buClr>
                <a:schemeClr val="tx2"/>
              </a:buClr>
              <a:defRPr sz="1999">
                <a:solidFill>
                  <a:schemeClr val="tx2"/>
                </a:solidFill>
              </a:defRPr>
            </a:lvl4pPr>
            <a:lvl5pPr>
              <a:buClr>
                <a:schemeClr val="tx2"/>
              </a:buClr>
              <a:defRPr sz="1999">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608338469"/>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930352"/>
            <a:ext cx="9973765" cy="917575"/>
          </a:xfrm>
          <a:prstGeom prst="rect">
            <a:avLst/>
          </a:prstGeom>
        </p:spPr>
        <p:txBody>
          <a:bodyPr/>
          <a:lstStyle>
            <a:lvl1pPr>
              <a:defRPr>
                <a:solidFill>
                  <a:schemeClr val="tx2"/>
                </a:solidFill>
              </a:defRPr>
            </a:lvl1pPr>
          </a:lstStyle>
          <a:p>
            <a:r>
              <a:rPr lang="en-US" sz="4799">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2513820265"/>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0126" y="2980724"/>
            <a:ext cx="7169534" cy="896552"/>
          </a:xfrm>
        </p:spPr>
        <p:txBody>
          <a:bodyPr vert="horz" wrap="square" lIns="182880" tIns="146304" rIns="182880" bIns="146304" rtlCol="0" anchor="ctr">
            <a:noAutofit/>
          </a:bodyPr>
          <a:lstStyle>
            <a:lvl1pPr>
              <a:defRPr lang="en-US" sz="3528" kern="1200" dirty="0" smtClean="0">
                <a:gradFill>
                  <a:gsLst>
                    <a:gs pos="12264">
                      <a:schemeClr val="tx1">
                        <a:lumMod val="75000"/>
                        <a:lumOff val="25000"/>
                      </a:schemeClr>
                    </a:gs>
                    <a:gs pos="71000">
                      <a:schemeClr val="tx1">
                        <a:lumMod val="75000"/>
                        <a:lumOff val="25000"/>
                      </a:schemeClr>
                    </a:gs>
                  </a:gsLst>
                  <a:lin ang="5400000" scaled="0"/>
                </a:gradFill>
                <a:latin typeface="+mj-lt"/>
                <a:ea typeface="+mn-ea"/>
                <a:cs typeface="+mn-cs"/>
              </a:defRPr>
            </a:lvl1pPr>
          </a:lstStyle>
          <a:p>
            <a:pPr marL="0" lvl="0" indent="0" algn="l" defTabSz="895974" rtl="0" eaLnBrk="1" latinLnBrk="0" hangingPunct="1">
              <a:spcBef>
                <a:spcPct val="20000"/>
              </a:spcBef>
              <a:buFont typeface="Arial" pitchFamily="34" charset="0"/>
              <a:buNone/>
            </a:pPr>
            <a:r>
              <a:rPr lang="en-US" dirty="0"/>
              <a:t>Click to edit Master text styles</a:t>
            </a:r>
          </a:p>
        </p:txBody>
      </p:sp>
      <p:sp>
        <p:nvSpPr>
          <p:cNvPr id="7" name="Picture Placeholder 12"/>
          <p:cNvSpPr>
            <a:spLocks noGrp="1"/>
          </p:cNvSpPr>
          <p:nvPr>
            <p:ph type="pic" sz="quarter" idx="16"/>
          </p:nvPr>
        </p:nvSpPr>
        <p:spPr>
          <a:xfrm>
            <a:off x="269169" y="1505896"/>
            <a:ext cx="3853623"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dirty="0"/>
              <a:t>Click icon to add picture</a:t>
            </a:r>
          </a:p>
        </p:txBody>
      </p:sp>
      <p:sp>
        <p:nvSpPr>
          <p:cNvPr id="3" name="Title 2"/>
          <p:cNvSpPr>
            <a:spLocks noGrp="1"/>
          </p:cNvSpPr>
          <p:nvPr>
            <p:ph type="title"/>
          </p:nvPr>
        </p:nvSpPr>
        <p:spPr/>
        <p:txBody>
          <a:bodyPr wrap="none" lIns="182880" tIns="146304" rIns="182880" bIns="146304"/>
          <a:lstStyle/>
          <a:p>
            <a:r>
              <a:rPr lang="en-US" dirty="0"/>
              <a:t>Click to edit Master title style</a:t>
            </a:r>
          </a:p>
        </p:txBody>
      </p:sp>
    </p:spTree>
    <p:extLst>
      <p:ext uri="{BB962C8B-B14F-4D97-AF65-F5344CB8AC3E}">
        <p14:creationId xmlns:p14="http://schemas.microsoft.com/office/powerpoint/2010/main" val="868349158"/>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517956" y="5576548"/>
            <a:ext cx="8066963" cy="917575"/>
          </a:xfrm>
          <a:prstGeom prst="rect">
            <a:avLst/>
          </a:prstGeom>
        </p:spPr>
        <p:txBody>
          <a:bodyPr/>
          <a:lstStyle>
            <a:lvl1pPr>
              <a:defRPr>
                <a:solidFill>
                  <a:schemeClr val="bg1"/>
                </a:solidFill>
              </a:defRPr>
            </a:lvl1pPr>
          </a:lstStyle>
          <a:p>
            <a:r>
              <a:rPr lang="en-US" sz="4799">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1680121826"/>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1349358625"/>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2"/>
            <a:ext cx="2847972" cy="917575"/>
          </a:xfrm>
          <a:prstGeom prst="rect">
            <a:avLst/>
          </a:prstGeom>
        </p:spPr>
        <p:txBody>
          <a:bodyPr/>
          <a:lstStyle>
            <a:lvl1pPr>
              <a:defRPr>
                <a:solidFill>
                  <a:schemeClr val="tx2"/>
                </a:solidFill>
              </a:defRPr>
            </a:lvl1pPr>
          </a:lstStyle>
          <a:p>
            <a:r>
              <a:rPr lang="en-US" sz="4799">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7254" y="684718"/>
            <a:ext cx="8623270" cy="4420683"/>
          </a:xfrm>
          <a:prstGeom prst="rect">
            <a:avLst/>
          </a:prstGeom>
        </p:spPr>
        <p:txBody>
          <a:bodyPr/>
          <a:lstStyle>
            <a:lvl1pPr>
              <a:buClr>
                <a:schemeClr val="tx2"/>
              </a:buClr>
              <a:defRPr sz="1999">
                <a:solidFill>
                  <a:schemeClr val="tx2"/>
                </a:solidFill>
              </a:defRPr>
            </a:lvl1pPr>
            <a:lvl2pPr>
              <a:buClr>
                <a:schemeClr val="tx2"/>
              </a:buClr>
              <a:defRPr sz="1999">
                <a:solidFill>
                  <a:schemeClr val="tx2"/>
                </a:solidFill>
              </a:defRPr>
            </a:lvl2pPr>
            <a:lvl3pPr>
              <a:buClr>
                <a:schemeClr val="tx2"/>
              </a:buClr>
              <a:defRPr sz="1999">
                <a:solidFill>
                  <a:schemeClr val="tx2"/>
                </a:solidFill>
              </a:defRPr>
            </a:lvl3pPr>
            <a:lvl4pPr>
              <a:buClr>
                <a:schemeClr val="tx2"/>
              </a:buClr>
              <a:defRPr sz="1999">
                <a:solidFill>
                  <a:schemeClr val="tx2"/>
                </a:solidFill>
              </a:defRPr>
            </a:lvl4pPr>
            <a:lvl5pPr>
              <a:buClr>
                <a:schemeClr val="tx2"/>
              </a:buClr>
              <a:defRPr sz="1999">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3095549795"/>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2"/>
            <a:ext cx="2847972" cy="917575"/>
          </a:xfrm>
          <a:prstGeom prst="rect">
            <a:avLst/>
          </a:prstGeom>
        </p:spPr>
        <p:txBody>
          <a:bodyPr/>
          <a:lstStyle>
            <a:lvl1pPr>
              <a:defRPr>
                <a:solidFill>
                  <a:schemeClr val="tx2"/>
                </a:solidFill>
              </a:defRPr>
            </a:lvl1pPr>
          </a:lstStyle>
          <a:p>
            <a:r>
              <a:rPr lang="en-US" sz="4799">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238170069"/>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20" y="2317689"/>
            <a:ext cx="11611293" cy="4083112"/>
          </a:xfrm>
          <a:prstGeom prst="rect">
            <a:avLst/>
          </a:prstGeom>
        </p:spPr>
        <p:txBody>
          <a:bodyPr/>
          <a:lstStyle>
            <a:lvl1pPr>
              <a:defRPr sz="1999"/>
            </a:lvl1pPr>
            <a:lvl2pPr>
              <a:defRPr sz="1999"/>
            </a:lvl2pPr>
            <a:lvl3pPr>
              <a:defRPr sz="1999"/>
            </a:lvl3pPr>
            <a:lvl4pPr>
              <a:defRPr sz="1999"/>
            </a:lvl4pPr>
            <a:lvl5pPr>
              <a:defRPr sz="199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White Background"/>
          <p:cNvGrpSpPr/>
          <p:nvPr/>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4" name="Subhead"/>
          <p:cNvSpPr txBox="1">
            <a:spLocks/>
          </p:cNvSpPr>
          <p:nvPr/>
        </p:nvSpPr>
        <p:spPr>
          <a:xfrm>
            <a:off x="274319" y="1415481"/>
            <a:ext cx="9872764"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r>
              <a:rPr lang="en-US" sz="3999" dirty="0">
                <a:solidFill>
                  <a:schemeClr val="tx2"/>
                </a:solidFill>
              </a:rPr>
              <a:t>Subhead</a:t>
            </a:r>
          </a:p>
        </p:txBody>
      </p:sp>
      <p:sp>
        <p:nvSpPr>
          <p:cNvPr id="13" name="Headline"/>
          <p:cNvSpPr>
            <a:spLocks noGrp="1"/>
          </p:cNvSpPr>
          <p:nvPr>
            <p:ph type="title" hasCustomPrompt="1"/>
          </p:nvPr>
        </p:nvSpPr>
        <p:spPr>
          <a:xfrm>
            <a:off x="274639" y="295279"/>
            <a:ext cx="9872764" cy="923922"/>
          </a:xfrm>
          <a:prstGeom prst="rect">
            <a:avLst/>
          </a:prstGeom>
        </p:spPr>
        <p:txBody>
          <a:bodyPr/>
          <a:lstStyle>
            <a:lvl1pPr>
              <a:defRPr sz="5198">
                <a:solidFill>
                  <a:schemeClr val="tx1"/>
                </a:solidFill>
              </a:defRPr>
            </a:lvl1pPr>
          </a:lstStyle>
          <a:p>
            <a:r>
              <a:rPr lang="en-US" dirty="0"/>
              <a:t>Headline</a:t>
            </a:r>
          </a:p>
        </p:txBody>
      </p:sp>
    </p:spTree>
    <p:extLst>
      <p:ext uri="{BB962C8B-B14F-4D97-AF65-F5344CB8AC3E}">
        <p14:creationId xmlns:p14="http://schemas.microsoft.com/office/powerpoint/2010/main" val="3014679559"/>
      </p:ext>
    </p:extLst>
  </p:cSld>
  <p:clrMapOvr>
    <a:masterClrMapping/>
  </p:clrMapOvr>
  <p:transition>
    <p:fade/>
  </p:transition>
  <p:hf hdr="0" ftr="0" dt="0"/>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3" name="Headline"/>
          <p:cNvSpPr>
            <a:spLocks noGrp="1"/>
          </p:cNvSpPr>
          <p:nvPr>
            <p:ph type="title" hasCustomPrompt="1"/>
          </p:nvPr>
        </p:nvSpPr>
        <p:spPr>
          <a:xfrm>
            <a:off x="274639" y="295279"/>
            <a:ext cx="9872764" cy="923922"/>
          </a:xfrm>
          <a:prstGeom prst="rect">
            <a:avLst/>
          </a:prstGeom>
        </p:spPr>
        <p:txBody>
          <a:bodyPr/>
          <a:lstStyle>
            <a:lvl1pPr>
              <a:defRPr sz="5198">
                <a:solidFill>
                  <a:schemeClr val="tx1"/>
                </a:solidFill>
              </a:defRPr>
            </a:lvl1pPr>
          </a:lstStyle>
          <a:p>
            <a:r>
              <a:rPr lang="en-US" dirty="0"/>
              <a:t>Headline</a:t>
            </a:r>
          </a:p>
        </p:txBody>
      </p:sp>
    </p:spTree>
    <p:extLst>
      <p:ext uri="{BB962C8B-B14F-4D97-AF65-F5344CB8AC3E}">
        <p14:creationId xmlns:p14="http://schemas.microsoft.com/office/powerpoint/2010/main" val="4244717487"/>
      </p:ext>
    </p:extLst>
  </p:cSld>
  <p:clrMapOvr>
    <a:masterClrMapping/>
  </p:clrMapOvr>
  <p:transition>
    <p:fade/>
  </p:transition>
  <p:hf hdr="0" ftr="0" dt="0"/>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Tree>
    <p:extLst>
      <p:ext uri="{BB962C8B-B14F-4D97-AF65-F5344CB8AC3E}">
        <p14:creationId xmlns:p14="http://schemas.microsoft.com/office/powerpoint/2010/main" val="569804706"/>
      </p:ext>
    </p:extLst>
  </p:cSld>
  <p:clrMapOvr>
    <a:masterClrMapping/>
  </p:clrMapOvr>
  <p:transition>
    <p:fade/>
  </p:transition>
  <p:hf hdr="0" ftr="0" dt="0"/>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5"/>
            <a:ext cx="8769842" cy="917575"/>
          </a:xfrm>
          <a:prstGeom prst="rect">
            <a:avLst/>
          </a:prstGeom>
        </p:spPr>
        <p:txBody>
          <a:bodyPr/>
          <a:lstStyle/>
          <a:p>
            <a:r>
              <a:rPr lang="en-US" sz="5398">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353" y="1828800"/>
            <a:ext cx="8740950" cy="4343400"/>
          </a:xfrm>
          <a:prstGeom prst="rect">
            <a:avLst/>
          </a:prstGeom>
        </p:spPr>
        <p:txBody>
          <a:bodyPr/>
          <a:lstStyle>
            <a:lvl1pPr>
              <a:defRPr sz="1999"/>
            </a:lvl1pPr>
            <a:lvl2pPr>
              <a:defRPr sz="1999"/>
            </a:lvl2pPr>
            <a:lvl3pPr>
              <a:defRPr sz="1999"/>
            </a:lvl3pPr>
            <a:lvl4pPr>
              <a:defRPr sz="1999"/>
            </a:lvl4pPr>
            <a:lvl5pPr>
              <a:defRPr sz="199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2947280"/>
      </p:ext>
    </p:extLst>
  </p:cSld>
  <p:clrMapOvr>
    <a:masterClrMapping/>
  </p:clrMapOvr>
  <p:transition>
    <p:fade/>
  </p:transition>
  <p:hf hdr="0" ftr="0" dt="0"/>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5"/>
            <a:ext cx="8769842" cy="917575"/>
          </a:xfrm>
          <a:prstGeom prst="rect">
            <a:avLst/>
          </a:prstGeom>
        </p:spPr>
        <p:txBody>
          <a:bodyPr/>
          <a:lstStyle/>
          <a:p>
            <a:r>
              <a:rPr lang="en-US" sz="5398">
                <a:solidFill>
                  <a:srgbClr val="92D050"/>
                </a:solidFill>
              </a:rPr>
              <a:t>Click to edit Master title style</a:t>
            </a:r>
            <a:endParaRPr lang="en-US" dirty="0">
              <a:solidFill>
                <a:schemeClr val="bg2"/>
              </a:solidFill>
            </a:endParaRPr>
          </a:p>
        </p:txBody>
      </p:sp>
    </p:spTree>
    <p:extLst>
      <p:ext uri="{BB962C8B-B14F-4D97-AF65-F5344CB8AC3E}">
        <p14:creationId xmlns:p14="http://schemas.microsoft.com/office/powerpoint/2010/main" val="1070622867"/>
      </p:ext>
    </p:extLst>
  </p:cSld>
  <p:clrMapOvr>
    <a:masterClrMapping/>
  </p:clrMapOvr>
  <p:transition>
    <p:fade/>
  </p:transition>
  <p:hf hdr="0" ftr="0" dt="0"/>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468" y="2970215"/>
            <a:ext cx="10083890" cy="917575"/>
          </a:xfrm>
          <a:prstGeom prst="rect">
            <a:avLst/>
          </a:prstGeom>
        </p:spPr>
        <p:txBody>
          <a:bodyPr/>
          <a:lstStyle>
            <a:lvl1pPr algn="ctr">
              <a:defRPr sz="5998">
                <a:solidFill>
                  <a:srgbClr val="92D050"/>
                </a:solidFill>
              </a:defRPr>
            </a:lvl1pPr>
          </a:lstStyle>
          <a:p>
            <a:r>
              <a:rPr lang="en-US" sz="5398" dirty="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spTree>
    <p:extLst>
      <p:ext uri="{BB962C8B-B14F-4D97-AF65-F5344CB8AC3E}">
        <p14:creationId xmlns:p14="http://schemas.microsoft.com/office/powerpoint/2010/main" val="4283794211"/>
      </p:ext>
    </p:extLst>
  </p:cSld>
  <p:clrMapOvr>
    <a:masterClrMapping/>
  </p:clrMapOvr>
  <p:transition>
    <p:fade/>
  </p:transition>
  <p:hf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1504822"/>
          </a:xfrm>
        </p:spPr>
        <p:txBody>
          <a:bodyPr>
            <a:spAutoFit/>
          </a:bodyPr>
          <a:lstStyle>
            <a:lvl1pPr>
              <a:defRPr lang="en-US" sz="2352" kern="1200" dirty="0" smtClean="0">
                <a:gradFill>
                  <a:gsLst>
                    <a:gs pos="66981">
                      <a:schemeClr val="tx1">
                        <a:lumMod val="75000"/>
                        <a:lumOff val="25000"/>
                      </a:schemeClr>
                    </a:gs>
                    <a:gs pos="0">
                      <a:schemeClr val="tx1">
                        <a:lumMod val="75000"/>
                        <a:lumOff val="25000"/>
                      </a:schemeClr>
                    </a:gs>
                  </a:gsLst>
                  <a:lin ang="5400000" scaled="0"/>
                </a:gradFill>
                <a:latin typeface="Consolas" pitchFamily="49" charset="0"/>
                <a:ea typeface="+mn-ea"/>
                <a:cs typeface="Consolas" pitchFamily="49" charset="0"/>
              </a:defRPr>
            </a:lvl1pPr>
            <a:lvl2pPr marL="572574" indent="-236498">
              <a:defRPr lang="en-US" sz="2352" kern="1200" dirty="0" smtClean="0">
                <a:gradFill>
                  <a:gsLst>
                    <a:gs pos="66981">
                      <a:schemeClr val="tx1">
                        <a:lumMod val="75000"/>
                        <a:lumOff val="25000"/>
                      </a:schemeClr>
                    </a:gs>
                    <a:gs pos="0">
                      <a:schemeClr val="tx1">
                        <a:lumMod val="75000"/>
                        <a:lumOff val="25000"/>
                      </a:schemeClr>
                    </a:gs>
                  </a:gsLst>
                  <a:lin ang="5400000" scaled="0"/>
                </a:gradFill>
                <a:latin typeface="Consolas" pitchFamily="49" charset="0"/>
                <a:ea typeface="+mn-ea"/>
                <a:cs typeface="Consolas" pitchFamily="49" charset="0"/>
              </a:defRPr>
            </a:lvl2pPr>
            <a:lvl3pPr marL="560069" indent="-336076">
              <a:defRPr lang="en-US" sz="2352" kern="1200" dirty="0" smtClean="0">
                <a:gradFill>
                  <a:gsLst>
                    <a:gs pos="66981">
                      <a:schemeClr val="tx1">
                        <a:lumMod val="75000"/>
                        <a:lumOff val="25000"/>
                      </a:schemeClr>
                    </a:gs>
                    <a:gs pos="0">
                      <a:schemeClr val="tx1">
                        <a:lumMod val="75000"/>
                        <a:lumOff val="25000"/>
                      </a:schemeClr>
                    </a:gs>
                  </a:gsLst>
                  <a:lin ang="5400000" scaled="0"/>
                </a:gradFill>
                <a:latin typeface="Consolas" pitchFamily="49" charset="0"/>
                <a:ea typeface="+mn-ea"/>
                <a:cs typeface="Consolas" pitchFamily="49" charset="0"/>
              </a:defRPr>
            </a:lvl3pPr>
            <a:lvl4pPr>
              <a:defRPr sz="1960"/>
            </a:lvl4pPr>
            <a:lvl5pPr>
              <a:defRPr sz="1960"/>
            </a:lvl5pPr>
          </a:lstStyle>
          <a:p>
            <a:pPr marL="0" lvl="0" indent="0" algn="l" defTabSz="895974" rtl="0" eaLnBrk="1" latinLnBrk="0" hangingPunct="1">
              <a:spcBef>
                <a:spcPct val="20000"/>
              </a:spcBef>
              <a:spcAft>
                <a:spcPts val="800"/>
              </a:spcAft>
              <a:buFont typeface="Arial" pitchFamily="34" charset="0"/>
              <a:buNone/>
            </a:pPr>
            <a:r>
              <a:rPr lang="en-US" dirty="0"/>
              <a:t>Click to edit Master text styles</a:t>
            </a:r>
          </a:p>
          <a:p>
            <a:pPr marL="0" marR="0" lvl="1" indent="0" algn="l" defTabSz="895974" rtl="0" eaLnBrk="1" fontAlgn="auto" latinLnBrk="0" hangingPunct="1">
              <a:lnSpc>
                <a:spcPct val="90000"/>
              </a:lnSpc>
              <a:spcBef>
                <a:spcPct val="20000"/>
              </a:spcBef>
              <a:spcAft>
                <a:spcPts val="800"/>
              </a:spcAft>
              <a:buClr>
                <a:schemeClr val="tx1"/>
              </a:buClr>
              <a:buSzPct val="90000"/>
              <a:buFont typeface="Arial" pitchFamily="34" charset="0"/>
              <a:buNone/>
              <a:tabLst/>
            </a:pPr>
            <a:r>
              <a:rPr lang="en-US" dirty="0"/>
              <a:t>Second level</a:t>
            </a:r>
          </a:p>
          <a:p>
            <a:pPr marL="447986" lvl="2" indent="-223993" algn="l" defTabSz="895974" rtl="0" eaLnBrk="1" latinLnBrk="0" hangingPunct="1">
              <a:spcBef>
                <a:spcPct val="20000"/>
              </a:spcBef>
              <a:spcAft>
                <a:spcPts val="800"/>
              </a:spcAft>
              <a:buFont typeface="Arial" pitchFamily="34" charset="0"/>
              <a:buChar char="•"/>
            </a:pPr>
            <a:r>
              <a:rPr lang="en-US" dirty="0"/>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95360583"/>
      </p:ext>
    </p:extLst>
  </p:cSld>
  <p:clrMapOvr>
    <a:masterClrMapping/>
  </p:clrMapOvr>
  <p:transition>
    <p:fade/>
  </p:transition>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4149396877"/>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Tree>
    <p:extLst>
      <p:ext uri="{BB962C8B-B14F-4D97-AF65-F5344CB8AC3E}">
        <p14:creationId xmlns:p14="http://schemas.microsoft.com/office/powerpoint/2010/main" val="2057719657"/>
      </p:ext>
    </p:extLst>
  </p:cSld>
  <p:clrMapOvr>
    <a:masterClrMapping/>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386784381"/>
      </p:ext>
    </p:extLst>
  </p:cSld>
  <p:clrMapOvr>
    <a:masterClrMapping/>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bwMode="auto">
          <a:xfrm>
            <a:off x="8882557" y="-1"/>
            <a:ext cx="3306269" cy="6855083"/>
          </a:xfrm>
          <a:prstGeom prst="rect">
            <a:avLst/>
          </a:prstGeom>
          <a:solidFill>
            <a:srgbClr val="00AEEF"/>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1695" y="1944139"/>
            <a:ext cx="1307993"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18" tIns="46618" rIns="46618" bIns="46618" numCol="1" spcCol="0" rtlCol="0" fromWordArt="0" anchor="ctr" anchorCtr="0" forceAA="0" compatLnSpc="1">
            <a:prstTxWarp prst="textNoShape">
              <a:avLst/>
            </a:prstTxWarp>
            <a:noAutofit/>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1835"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144" y="158736"/>
            <a:ext cx="3693156" cy="2413891"/>
          </a:xfrm>
          <a:prstGeom prst="rect">
            <a:avLst/>
          </a:prstGeom>
        </p:spPr>
        <p:txBody>
          <a:bodyPr anchor="ctr">
            <a:noAutofit/>
          </a:bodyPr>
          <a:lstStyle>
            <a:lvl1pPr>
              <a:defRPr sz="8797"/>
            </a:lvl1pPr>
          </a:lstStyle>
          <a:p>
            <a:r>
              <a:rPr lang="en-US" sz="8795" dirty="0">
                <a:solidFill>
                  <a:schemeClr val="bg1">
                    <a:alpha val="99000"/>
                  </a:schemeClr>
                </a:solidFill>
              </a:rPr>
              <a:t>Q&amp;A</a:t>
            </a:r>
          </a:p>
        </p:txBody>
      </p:sp>
    </p:spTree>
    <p:extLst>
      <p:ext uri="{BB962C8B-B14F-4D97-AF65-F5344CB8AC3E}">
        <p14:creationId xmlns:p14="http://schemas.microsoft.com/office/powerpoint/2010/main" val="2882934071"/>
      </p:ext>
    </p:extLst>
  </p:cSld>
  <p:clrMapOvr>
    <a:masterClrMapping/>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6"/>
            <a:ext cx="12188825" cy="6852165"/>
          </a:xfrm>
          <a:prstGeom prst="rect">
            <a:avLst/>
          </a:prstGeom>
        </p:spPr>
      </p:pic>
      <p:sp>
        <p:nvSpPr>
          <p:cNvPr id="8" name="Rectangle 7"/>
          <p:cNvSpPr/>
          <p:nvPr userDrawn="1"/>
        </p:nvSpPr>
        <p:spPr bwMode="auto">
          <a:xfrm>
            <a:off x="10184615" y="-1"/>
            <a:ext cx="2004210" cy="6855083"/>
          </a:xfrm>
          <a:prstGeom prst="rect">
            <a:avLst/>
          </a:prstGeom>
          <a:solidFill>
            <a:srgbClr val="8CC600"/>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5531" y="233151"/>
            <a:ext cx="1182378"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21" tIns="41961" rIns="83921" bIns="41961" numCol="1" anchor="t" anchorCtr="0" compatLnSpc="1">
            <a:prstTxWarp prst="textNoShape">
              <a:avLst/>
            </a:prstTxWarp>
          </a:bodyPr>
          <a:lstStyle/>
          <a:p>
            <a:pPr marL="0" marR="0" lvl="0" indent="0" defTabSz="93227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292929"/>
              </a:solidFill>
              <a:effectLst/>
              <a:uLnTx/>
              <a:uFillTx/>
            </a:endParaRPr>
          </a:p>
        </p:txBody>
      </p:sp>
      <p:sp>
        <p:nvSpPr>
          <p:cNvPr id="4" name="Text Placeholder 3"/>
          <p:cNvSpPr>
            <a:spLocks noGrp="1"/>
          </p:cNvSpPr>
          <p:nvPr>
            <p:ph type="body" sz="quarter" idx="10"/>
          </p:nvPr>
        </p:nvSpPr>
        <p:spPr>
          <a:xfrm>
            <a:off x="589647" y="233152"/>
            <a:ext cx="9308263" cy="6416675"/>
          </a:xfrm>
          <a:prstGeom prst="rect">
            <a:avLst/>
          </a:prstGeom>
        </p:spPr>
        <p:txBody>
          <a:bodyPr/>
          <a:lstStyle>
            <a:lvl1pPr marL="0" indent="0">
              <a:buNone/>
              <a:defRPr sz="3599"/>
            </a:lvl1pPr>
            <a:lvl2pPr>
              <a:defRPr sz="3599"/>
            </a:lvl2pPr>
            <a:lvl3pPr>
              <a:defRPr sz="3599"/>
            </a:lvl3pPr>
            <a:lvl4pPr>
              <a:defRPr sz="3599"/>
            </a:lvl4pPr>
            <a:lvl5pPr>
              <a:defRPr sz="3599"/>
            </a:lvl5pPr>
          </a:lstStyle>
          <a:p>
            <a:pPr lvl="0"/>
            <a:r>
              <a:rPr lang="en-US" dirty="0"/>
              <a:t>Click to edit Master text styles</a:t>
            </a:r>
          </a:p>
        </p:txBody>
      </p:sp>
    </p:spTree>
    <p:extLst>
      <p:ext uri="{BB962C8B-B14F-4D97-AF65-F5344CB8AC3E}">
        <p14:creationId xmlns:p14="http://schemas.microsoft.com/office/powerpoint/2010/main" val="4117211071"/>
      </p:ext>
    </p:extLst>
  </p:cSld>
  <p:clrMapOvr>
    <a:masterClrMapping/>
  </p:clrMapOvr>
  <p:transition>
    <p:fade/>
  </p:transition>
</p:sldLayout>
</file>

<file path=ppt/slideLayouts/slideLayout425.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88825"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
        <p:nvSpPr>
          <p:cNvPr id="3" name="Text Box 3"/>
          <p:cNvSpPr txBox="1">
            <a:spLocks noChangeArrowheads="1"/>
          </p:cNvSpPr>
          <p:nvPr userDrawn="1"/>
        </p:nvSpPr>
        <p:spPr bwMode="blackWhite">
          <a:xfrm>
            <a:off x="450085" y="5503176"/>
            <a:ext cx="8637119" cy="711824"/>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650"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650"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743" y="2968091"/>
            <a:ext cx="3223021" cy="690695"/>
          </a:xfrm>
          <a:prstGeom prst="rect">
            <a:avLst/>
          </a:prstGeom>
        </p:spPr>
      </p:pic>
    </p:spTree>
    <p:extLst>
      <p:ext uri="{BB962C8B-B14F-4D97-AF65-F5344CB8AC3E}">
        <p14:creationId xmlns:p14="http://schemas.microsoft.com/office/powerpoint/2010/main" val="1495404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170" y="289512"/>
            <a:ext cx="11652805" cy="899665"/>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4185599811"/>
      </p:ext>
    </p:extLst>
  </p:cSld>
  <p:clrMapOvr>
    <a:masterClrMapping/>
  </p:clrMapOvr>
  <p:transition>
    <p:fade/>
  </p:transition>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val="0"/>
              </a:ext>
            </a:extLst>
          </a:blip>
          <a:stretch>
            <a:fillRect/>
          </a:stretch>
        </p:blipFill>
        <p:spPr bwMode="gray">
          <a:xfrm>
            <a:off x="10218724" y="6061768"/>
            <a:ext cx="1522007" cy="326167"/>
          </a:xfrm>
          <a:prstGeom prst="rect">
            <a:avLst/>
          </a:prstGeom>
        </p:spPr>
      </p:pic>
      <p:pic>
        <p:nvPicPr>
          <p:cNvPr id="5" name="Picture 4"/>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469737" y="484298"/>
            <a:ext cx="7000222" cy="1344828"/>
          </a:xfrm>
          <a:prstGeom prst="rect">
            <a:avLst/>
          </a:prstGeom>
        </p:spPr>
      </p:pic>
    </p:spTree>
    <p:extLst>
      <p:ext uri="{BB962C8B-B14F-4D97-AF65-F5344CB8AC3E}">
        <p14:creationId xmlns:p14="http://schemas.microsoft.com/office/powerpoint/2010/main" val="2772044101"/>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90"/>
            <a:ext cx="12185713" cy="2551127"/>
          </a:xfrm>
          <a:prstGeom prst="rect">
            <a:avLst/>
          </a:prstGeom>
          <a:solidFill>
            <a:srgbClr val="4DA0E2"/>
          </a:solidFill>
          <a:ln>
            <a:noFill/>
          </a:ln>
        </p:spPr>
        <p:txBody>
          <a:bodyPr vert="horz" wrap="square" lIns="89596" tIns="44798" rIns="89596" bIns="44798" numCol="1" anchor="t" anchorCtr="0" compatLnSpc="1">
            <a:prstTxWarp prst="textNoShape">
              <a:avLst/>
            </a:prstTxWarp>
          </a:bodyPr>
          <a:lstStyle/>
          <a:p>
            <a:pPr marL="0" marR="0" lvl="0" indent="0" algn="l" defTabSz="913906" rtl="0" eaLnBrk="1" fontAlgn="auto" latinLnBrk="0" hangingPunct="1">
              <a:lnSpc>
                <a:spcPct val="100000"/>
              </a:lnSpc>
              <a:spcBef>
                <a:spcPts val="0"/>
              </a:spcBef>
              <a:spcAft>
                <a:spcPts val="0"/>
              </a:spcAft>
              <a:buClrTx/>
              <a:buSzTx/>
              <a:buFontTx/>
              <a:buNone/>
              <a:tabLst/>
              <a:defRPr/>
            </a:pPr>
            <a:endParaRPr kumimoji="0" lang="en-US" sz="1763"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1" y="5729528"/>
            <a:ext cx="12185714" cy="1131586"/>
          </a:xfrm>
          <a:prstGeom prst="rect">
            <a:avLst/>
          </a:prstGeom>
          <a:solidFill>
            <a:srgbClr val="00188F"/>
          </a:solidFill>
          <a:ln>
            <a:noFill/>
          </a:ln>
          <a:extLst/>
        </p:spPr>
        <p:txBody>
          <a:bodyPr vert="horz" wrap="square" lIns="89596" tIns="44798" rIns="89596" bIns="44798" numCol="1" anchor="t" anchorCtr="0" compatLnSpc="1">
            <a:prstTxWarp prst="textNoShape">
              <a:avLst/>
            </a:prstTxWarp>
          </a:bodyPr>
          <a:lstStyle/>
          <a:p>
            <a:pPr marL="0" marR="0" lvl="0" indent="0" algn="l" defTabSz="913906" rtl="0" eaLnBrk="1" fontAlgn="auto" latinLnBrk="0" hangingPunct="1">
              <a:lnSpc>
                <a:spcPct val="100000"/>
              </a:lnSpc>
              <a:spcBef>
                <a:spcPts val="0"/>
              </a:spcBef>
              <a:spcAft>
                <a:spcPts val="0"/>
              </a:spcAft>
              <a:buClrTx/>
              <a:buSzTx/>
              <a:buFontTx/>
              <a:buNone/>
              <a:tabLst/>
              <a:defRPr/>
            </a:pPr>
            <a:endParaRPr kumimoji="0" lang="en-US" sz="1763"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13" y="3343394"/>
            <a:ext cx="12182603"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96" tIns="44798" rIns="89596" bIns="44798" numCol="1" anchor="t" anchorCtr="0" compatLnSpc="1">
            <a:prstTxWarp prst="textNoShape">
              <a:avLst/>
            </a:prstTxWarp>
          </a:bodyPr>
          <a:lstStyle/>
          <a:p>
            <a:pPr marL="0" marR="0" lvl="0" indent="0" algn="l" defTabSz="913906" rtl="0" eaLnBrk="1" fontAlgn="auto" latinLnBrk="0" hangingPunct="1">
              <a:lnSpc>
                <a:spcPct val="100000"/>
              </a:lnSpc>
              <a:spcBef>
                <a:spcPts val="0"/>
              </a:spcBef>
              <a:spcAft>
                <a:spcPts val="0"/>
              </a:spcAft>
              <a:buClrTx/>
              <a:buSzTx/>
              <a:buFontTx/>
              <a:buNone/>
              <a:tabLst/>
              <a:defRPr/>
            </a:pPr>
            <a:endParaRPr kumimoji="0" lang="en-US" sz="1763"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2"/>
            <a:ext cx="12188203"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1" tIns="143354" rIns="179191" bIns="143354" numCol="1" spcCol="0" rtlCol="0" fromWordArt="0" anchor="t" anchorCtr="0" forceAA="0" compatLnSpc="1">
            <a:prstTxWarp prst="textNoShape">
              <a:avLst/>
            </a:prstTxWarp>
            <a:noAutofit/>
          </a:bodyPr>
          <a:lstStyle/>
          <a:p>
            <a:pPr marL="0" marR="0" lvl="0" indent="0" algn="ctr" defTabSz="913642" rtl="0" eaLnBrk="1" fontAlgn="base" latinLnBrk="0" hangingPunct="1">
              <a:lnSpc>
                <a:spcPct val="90000"/>
              </a:lnSpc>
              <a:spcBef>
                <a:spcPct val="0"/>
              </a:spcBef>
              <a:spcAft>
                <a:spcPct val="0"/>
              </a:spcAft>
              <a:buClrTx/>
              <a:buSzTx/>
              <a:buFontTx/>
              <a:buNone/>
              <a:tabLst/>
              <a:defRPr/>
            </a:pPr>
            <a:endParaRPr kumimoji="0" lang="en-US" sz="2351"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034" y="3877273"/>
            <a:ext cx="6271784" cy="1794661"/>
          </a:xfrm>
          <a:noFill/>
        </p:spPr>
        <p:txBody>
          <a:bodyPr lIns="146304" tIns="109728" rIns="146304" bIns="109728">
            <a:no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233" y="2075840"/>
            <a:ext cx="9858042" cy="1801436"/>
          </a:xfrm>
          <a:noFill/>
        </p:spPr>
        <p:txBody>
          <a:bodyPr lIns="146304" tIns="91440" rIns="146304" bIns="91440" anchor="t" anchorCtr="0"/>
          <a:lstStyle>
            <a:lvl1pPr>
              <a:defRPr sz="5879"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207" y="6061768"/>
            <a:ext cx="1522007" cy="326167"/>
          </a:xfrm>
          <a:prstGeom prst="rect">
            <a:avLst/>
          </a:prstGeom>
        </p:spPr>
      </p:pic>
      <p:sp>
        <p:nvSpPr>
          <p:cNvPr id="8" name="Rectangle 6"/>
          <p:cNvSpPr>
            <a:spLocks noChangeArrowheads="1"/>
          </p:cNvSpPr>
          <p:nvPr userDrawn="1"/>
        </p:nvSpPr>
        <p:spPr bwMode="auto">
          <a:xfrm>
            <a:off x="3113" y="4309990"/>
            <a:ext cx="12185713"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596" tIns="44798" rIns="89596" bIns="44798" numCol="1" anchor="t" anchorCtr="0" compatLnSpc="1">
            <a:prstTxWarp prst="textNoShape">
              <a:avLst/>
            </a:prstTxWarp>
          </a:bodyPr>
          <a:lstStyle/>
          <a:p>
            <a:pPr marL="0" marR="0" lvl="0" indent="0" algn="l" defTabSz="913906" rtl="0" eaLnBrk="1" fontAlgn="auto" latinLnBrk="0" hangingPunct="1">
              <a:lnSpc>
                <a:spcPct val="100000"/>
              </a:lnSpc>
              <a:spcBef>
                <a:spcPts val="0"/>
              </a:spcBef>
              <a:spcAft>
                <a:spcPts val="0"/>
              </a:spcAft>
              <a:buClrTx/>
              <a:buSzTx/>
              <a:buFontTx/>
              <a:buNone/>
              <a:tabLst/>
              <a:defRPr/>
            </a:pPr>
            <a:endParaRPr kumimoji="0" lang="en-US" sz="1763" b="0" i="0" u="none" strike="noStrike" kern="1200" cap="none" spc="0" normalizeH="0" baseline="0" noProof="0">
              <a:ln>
                <a:noFill/>
              </a:ln>
              <a:solidFill>
                <a:srgbClr val="FFFFFF"/>
              </a:solidFill>
              <a:effectLst/>
              <a:uLnTx/>
              <a:uFillTx/>
              <a:latin typeface="Segoe UI"/>
              <a:ea typeface="+mn-ea"/>
              <a:cs typeface="+mn-cs"/>
            </a:endParaRPr>
          </a:p>
        </p:txBody>
      </p:sp>
      <p:sp>
        <p:nvSpPr>
          <p:cNvPr id="14" name="TextBox 7"/>
          <p:cNvSpPr txBox="1"/>
          <p:nvPr userDrawn="1"/>
        </p:nvSpPr>
        <p:spPr bwMode="white">
          <a:xfrm>
            <a:off x="4330873" y="6566900"/>
            <a:ext cx="35270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5898"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
        <p:nvSpPr>
          <p:cNvPr id="17" name="Text Placeholder 16"/>
          <p:cNvSpPr>
            <a:spLocks noGrp="1"/>
          </p:cNvSpPr>
          <p:nvPr>
            <p:ph type="body" sz="quarter" idx="13" hasCustomPrompt="1"/>
          </p:nvPr>
        </p:nvSpPr>
        <p:spPr>
          <a:xfrm>
            <a:off x="269170" y="291069"/>
            <a:ext cx="3584765" cy="452654"/>
          </a:xfrm>
        </p:spPr>
        <p:txBody>
          <a:bodyPr/>
          <a:lstStyle>
            <a:lvl1pPr marL="0" indent="0">
              <a:buNone/>
              <a:defRPr sz="1959">
                <a:latin typeface="+mn-lt"/>
              </a:defRPr>
            </a:lvl1pPr>
            <a:lvl2pPr marL="335975" indent="0">
              <a:buNone/>
              <a:defRPr sz="1959"/>
            </a:lvl2pPr>
            <a:lvl3pPr marL="559959" indent="0">
              <a:buNone/>
              <a:defRPr sz="1959"/>
            </a:lvl3pPr>
            <a:lvl4pPr marL="783943" indent="0">
              <a:buNone/>
              <a:defRPr sz="1959"/>
            </a:lvl4pPr>
            <a:lvl5pPr marL="1007927" indent="0">
              <a:buNone/>
              <a:defRPr sz="1959"/>
            </a:lvl5pPr>
          </a:lstStyle>
          <a:p>
            <a:pPr lvl="0"/>
            <a:r>
              <a:rPr lang="en-US" dirty="0"/>
              <a:t>Session Code</a:t>
            </a:r>
          </a:p>
        </p:txBody>
      </p:sp>
      <p:sp>
        <p:nvSpPr>
          <p:cNvPr id="15" name="Text Placeholder 16"/>
          <p:cNvSpPr>
            <a:spLocks noGrp="1"/>
          </p:cNvSpPr>
          <p:nvPr>
            <p:ph type="body" sz="quarter" idx="14" hasCustomPrompt="1"/>
          </p:nvPr>
        </p:nvSpPr>
        <p:spPr>
          <a:xfrm>
            <a:off x="8334894" y="291069"/>
            <a:ext cx="3584765" cy="452654"/>
          </a:xfrm>
        </p:spPr>
        <p:txBody>
          <a:bodyPr/>
          <a:lstStyle>
            <a:lvl1pPr marL="0" indent="0" algn="r">
              <a:buNone/>
              <a:defRPr sz="1959">
                <a:latin typeface="+mn-lt"/>
              </a:defRPr>
            </a:lvl1pPr>
            <a:lvl2pPr marL="335975" indent="0">
              <a:buNone/>
              <a:defRPr sz="1959"/>
            </a:lvl2pPr>
            <a:lvl3pPr marL="559959" indent="0">
              <a:buNone/>
              <a:defRPr sz="1959"/>
            </a:lvl3pPr>
            <a:lvl4pPr marL="783943" indent="0">
              <a:buNone/>
              <a:defRPr sz="1959"/>
            </a:lvl4pPr>
            <a:lvl5pPr marL="1007927" indent="0">
              <a:buNone/>
              <a:defRPr sz="1959"/>
            </a:lvl5pPr>
          </a:lstStyle>
          <a:p>
            <a:pPr lvl="0"/>
            <a:r>
              <a:rPr lang="en-US" dirty="0"/>
              <a:t>Yammer hashtag</a:t>
            </a:r>
          </a:p>
        </p:txBody>
      </p:sp>
    </p:spTree>
    <p:extLst>
      <p:ext uri="{BB962C8B-B14F-4D97-AF65-F5344CB8AC3E}">
        <p14:creationId xmlns:p14="http://schemas.microsoft.com/office/powerpoint/2010/main" val="289055804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3"/>
            <a:ext cx="6271784" cy="1794661"/>
          </a:xfrm>
          <a:noFill/>
        </p:spPr>
        <p:txBody>
          <a:bodyPr lIns="146304" tIns="109728" rIns="146304" bIns="109728">
            <a:no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233" y="2075840"/>
            <a:ext cx="9858042" cy="1801436"/>
          </a:xfrm>
          <a:noFill/>
        </p:spPr>
        <p:txBody>
          <a:bodyPr lIns="146304" tIns="91440" rIns="146304" bIns="91440" anchor="t" anchorCtr="0"/>
          <a:lstStyle>
            <a:lvl1pPr>
              <a:defRPr sz="5879"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207" y="6061768"/>
            <a:ext cx="1522007" cy="326167"/>
          </a:xfrm>
          <a:prstGeom prst="rect">
            <a:avLst/>
          </a:prstGeom>
        </p:spPr>
      </p:pic>
      <p:sp>
        <p:nvSpPr>
          <p:cNvPr id="8" name="Rectangle 6"/>
          <p:cNvSpPr>
            <a:spLocks noChangeArrowheads="1"/>
          </p:cNvSpPr>
          <p:nvPr userDrawn="1"/>
        </p:nvSpPr>
        <p:spPr bwMode="auto">
          <a:xfrm>
            <a:off x="3113" y="4309990"/>
            <a:ext cx="12185713"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596" tIns="44798" rIns="89596" bIns="44798" numCol="1" anchor="t" anchorCtr="0" compatLnSpc="1">
            <a:prstTxWarp prst="textNoShape">
              <a:avLst/>
            </a:prstTxWarp>
          </a:bodyPr>
          <a:lstStyle/>
          <a:p>
            <a:pPr marL="0" marR="0" lvl="0" indent="0" algn="l" defTabSz="913906" rtl="0" eaLnBrk="1" fontAlgn="auto" latinLnBrk="0" hangingPunct="1">
              <a:lnSpc>
                <a:spcPct val="100000"/>
              </a:lnSpc>
              <a:spcBef>
                <a:spcPts val="0"/>
              </a:spcBef>
              <a:spcAft>
                <a:spcPts val="0"/>
              </a:spcAft>
              <a:buClrTx/>
              <a:buSzTx/>
              <a:buFontTx/>
              <a:buNone/>
              <a:tabLst/>
              <a:defRPr/>
            </a:pPr>
            <a:endParaRPr kumimoji="0" lang="en-US" sz="1763" b="0" i="0" u="none" strike="noStrike" kern="1200" cap="none" spc="0" normalizeH="0" baseline="0" noProof="0">
              <a:ln>
                <a:noFill/>
              </a:ln>
              <a:solidFill>
                <a:srgbClr val="FFFFFF"/>
              </a:solidFill>
              <a:effectLst/>
              <a:uLnTx/>
              <a:uFillTx/>
              <a:latin typeface="Segoe UI"/>
              <a:ea typeface="+mn-ea"/>
              <a:cs typeface="+mn-cs"/>
            </a:endParaRPr>
          </a:p>
        </p:txBody>
      </p:sp>
      <p:sp>
        <p:nvSpPr>
          <p:cNvPr id="14" name="TextBox 7"/>
          <p:cNvSpPr txBox="1"/>
          <p:nvPr userDrawn="1"/>
        </p:nvSpPr>
        <p:spPr bwMode="white">
          <a:xfrm>
            <a:off x="4366222" y="6566900"/>
            <a:ext cx="34563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5898"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
        <p:nvSpPr>
          <p:cNvPr id="15" name="Text Placeholder 16"/>
          <p:cNvSpPr>
            <a:spLocks noGrp="1"/>
          </p:cNvSpPr>
          <p:nvPr>
            <p:ph type="body" sz="quarter" idx="13" hasCustomPrompt="1"/>
          </p:nvPr>
        </p:nvSpPr>
        <p:spPr>
          <a:xfrm>
            <a:off x="269170" y="291069"/>
            <a:ext cx="3584765" cy="452654"/>
          </a:xfrm>
        </p:spPr>
        <p:txBody>
          <a:bodyPr/>
          <a:lstStyle>
            <a:lvl1pPr marL="0" indent="0">
              <a:buNone/>
              <a:defRPr sz="1959">
                <a:latin typeface="+mn-lt"/>
              </a:defRPr>
            </a:lvl1pPr>
            <a:lvl2pPr marL="335975" indent="0">
              <a:buNone/>
              <a:defRPr sz="1959"/>
            </a:lvl2pPr>
            <a:lvl3pPr marL="559959" indent="0">
              <a:buNone/>
              <a:defRPr sz="1959"/>
            </a:lvl3pPr>
            <a:lvl4pPr marL="783943" indent="0">
              <a:buNone/>
              <a:defRPr sz="1959"/>
            </a:lvl4pPr>
            <a:lvl5pPr marL="1007927" indent="0">
              <a:buNone/>
              <a:defRPr sz="1959"/>
            </a:lvl5pPr>
          </a:lstStyle>
          <a:p>
            <a:pPr lvl="0"/>
            <a:r>
              <a:rPr lang="en-US" dirty="0"/>
              <a:t>Session Code</a:t>
            </a:r>
          </a:p>
        </p:txBody>
      </p:sp>
      <p:sp>
        <p:nvSpPr>
          <p:cNvPr id="10" name="Text Placeholder 16"/>
          <p:cNvSpPr>
            <a:spLocks noGrp="1"/>
          </p:cNvSpPr>
          <p:nvPr>
            <p:ph type="body" sz="quarter" idx="14" hasCustomPrompt="1"/>
          </p:nvPr>
        </p:nvSpPr>
        <p:spPr>
          <a:xfrm>
            <a:off x="8334894" y="291069"/>
            <a:ext cx="3584765" cy="452654"/>
          </a:xfrm>
        </p:spPr>
        <p:txBody>
          <a:bodyPr/>
          <a:lstStyle>
            <a:lvl1pPr marL="0" indent="0" algn="r">
              <a:buNone/>
              <a:defRPr sz="1959">
                <a:latin typeface="+mn-lt"/>
              </a:defRPr>
            </a:lvl1pPr>
            <a:lvl2pPr marL="335975" indent="0">
              <a:buNone/>
              <a:defRPr sz="1959"/>
            </a:lvl2pPr>
            <a:lvl3pPr marL="559959" indent="0">
              <a:buNone/>
              <a:defRPr sz="1959"/>
            </a:lvl3pPr>
            <a:lvl4pPr marL="783943" indent="0">
              <a:buNone/>
              <a:defRPr sz="1959"/>
            </a:lvl4pPr>
            <a:lvl5pPr marL="1007927" indent="0">
              <a:buNone/>
              <a:defRPr sz="1959"/>
            </a:lvl5pPr>
          </a:lstStyle>
          <a:p>
            <a:pPr lvl="0"/>
            <a:r>
              <a:rPr lang="en-US" dirty="0"/>
              <a:t>Yammer hashtag</a:t>
            </a:r>
          </a:p>
        </p:txBody>
      </p:sp>
    </p:spTree>
    <p:extLst>
      <p:ext uri="{BB962C8B-B14F-4D97-AF65-F5344CB8AC3E}">
        <p14:creationId xmlns:p14="http://schemas.microsoft.com/office/powerpoint/2010/main" val="4064641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87901649"/>
      </p:ext>
    </p:extLst>
  </p:cSld>
  <p:clrMapOvr>
    <a:masterClrMapping/>
  </p:clrMapOvr>
  <p:transition>
    <p:fade/>
  </p:transition>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2245789709"/>
      </p:ext>
    </p:extLst>
  </p:cSld>
  <p:clrMapOvr>
    <a:masterClrMapping/>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a:xfrm>
            <a:off x="7602972" y="298255"/>
            <a:ext cx="4321634" cy="6275864"/>
          </a:xfrm>
          <a:prstGeom prst="rect">
            <a:avLst/>
          </a:prstGeom>
        </p:spPr>
      </p:pic>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1" tIns="143354" rIns="179191" bIns="143354" numCol="1" spcCol="0" rtlCol="0" fromWordArt="0" anchor="t" anchorCtr="0" forceAA="0" compatLnSpc="1">
            <a:prstTxWarp prst="textNoShape">
              <a:avLst/>
            </a:prstTxWarp>
            <a:noAutofit/>
          </a:bodyPr>
          <a:lstStyle/>
          <a:p>
            <a:pPr marL="0" marR="0" lvl="0" indent="0" algn="ctr" defTabSz="913642" rtl="0" eaLnBrk="1" fontAlgn="base" latinLnBrk="0" hangingPunct="1">
              <a:lnSpc>
                <a:spcPct val="90000"/>
              </a:lnSpc>
              <a:spcBef>
                <a:spcPct val="0"/>
              </a:spcBef>
              <a:spcAft>
                <a:spcPct val="0"/>
              </a:spcAft>
              <a:buClrTx/>
              <a:buSzTx/>
              <a:buFontTx/>
              <a:buNone/>
              <a:tabLst/>
              <a:defRPr/>
            </a:pPr>
            <a:endParaRPr kumimoji="0" lang="en-US" sz="2351"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170" y="1186356"/>
            <a:ext cx="7168398" cy="3407696"/>
          </a:xfrm>
          <a:noFill/>
        </p:spPr>
        <p:txBody>
          <a:bodyPr tIns="91440" bIns="91440" anchor="t" anchorCtr="0"/>
          <a:lstStyle>
            <a:lvl1pPr>
              <a:defRPr sz="7055" spc="-98"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171" y="4594054"/>
            <a:ext cx="7169531" cy="1793881"/>
          </a:xfrm>
          <a:noFill/>
        </p:spPr>
        <p:txBody>
          <a:bodyPr lIns="182880" tIns="146304" rIns="182880" bIns="146304">
            <a:noAutofit/>
          </a:bodyPr>
          <a:lstStyle>
            <a:lvl1pPr marL="0" indent="0">
              <a:spcBef>
                <a:spcPts val="0"/>
              </a:spcBef>
              <a:buNone/>
              <a:defRPr sz="3527"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sp>
        <p:nvSpPr>
          <p:cNvPr id="7" name="TextBox 7"/>
          <p:cNvSpPr txBox="1"/>
          <p:nvPr userDrawn="1"/>
        </p:nvSpPr>
        <p:spPr bwMode="white">
          <a:xfrm>
            <a:off x="4366222" y="6566900"/>
            <a:ext cx="34563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5898"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4164180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1" tIns="143354" rIns="179191" bIns="143354" numCol="1" spcCol="0" rtlCol="0" fromWordArt="0" anchor="t" anchorCtr="0" forceAA="0" compatLnSpc="1">
            <a:prstTxWarp prst="textNoShape">
              <a:avLst/>
            </a:prstTxWarp>
            <a:noAutofit/>
          </a:bodyPr>
          <a:lstStyle/>
          <a:p>
            <a:pPr marL="0" marR="0" lvl="0" indent="0" algn="ctr" defTabSz="913642" rtl="0" eaLnBrk="1" fontAlgn="base" latinLnBrk="0" hangingPunct="1">
              <a:lnSpc>
                <a:spcPct val="90000"/>
              </a:lnSpc>
              <a:spcBef>
                <a:spcPct val="0"/>
              </a:spcBef>
              <a:spcAft>
                <a:spcPct val="0"/>
              </a:spcAft>
              <a:buClrTx/>
              <a:buSzTx/>
              <a:buFontTx/>
              <a:buNone/>
              <a:tabLst/>
              <a:defRPr/>
            </a:pPr>
            <a:endParaRPr kumimoji="0" lang="en-US" sz="2351"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171" y="1186356"/>
            <a:ext cx="8961913" cy="2697988"/>
          </a:xfrm>
          <a:noFill/>
        </p:spPr>
        <p:txBody>
          <a:bodyPr tIns="91440" bIns="91440" anchor="t" anchorCtr="0"/>
          <a:lstStyle>
            <a:lvl1pPr>
              <a:defRPr sz="7055" spc="-98" baseline="0">
                <a:gradFill>
                  <a:gsLst>
                    <a:gs pos="75912">
                      <a:schemeClr val="tx1"/>
                    </a:gs>
                    <a:gs pos="34307">
                      <a:schemeClr val="tx1"/>
                    </a:gs>
                    <a:gs pos="43000">
                      <a:schemeClr val="tx1"/>
                    </a:gs>
                  </a:gsLst>
                  <a:lin ang="5400000" scaled="0"/>
                </a:gradFill>
              </a:defRPr>
            </a:lvl1pPr>
          </a:lstStyle>
          <a:p>
            <a:r>
              <a:rPr lang="en-US" dirty="0"/>
              <a:t>Video title</a:t>
            </a:r>
          </a:p>
        </p:txBody>
      </p:sp>
      <p:sp>
        <p:nvSpPr>
          <p:cNvPr id="5" name="TextBox 7"/>
          <p:cNvSpPr txBox="1"/>
          <p:nvPr userDrawn="1"/>
        </p:nvSpPr>
        <p:spPr bwMode="white">
          <a:xfrm>
            <a:off x="4366222" y="6566900"/>
            <a:ext cx="34563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5898"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pic>
        <p:nvPicPr>
          <p:cNvPr id="11" name="Picture 10"/>
          <p:cNvPicPr>
            <a:picLocks noChangeAspect="1"/>
          </p:cNvPicPr>
          <p:nvPr userDrawn="1"/>
        </p:nvPicPr>
        <p:blipFill>
          <a:blip r:embed="rId2"/>
          <a:stretch>
            <a:fillRect/>
          </a:stretch>
        </p:blipFill>
        <p:spPr>
          <a:xfrm>
            <a:off x="-216" y="3015598"/>
            <a:ext cx="12189259" cy="3227867"/>
          </a:xfrm>
          <a:prstGeom prst="rect">
            <a:avLst/>
          </a:prstGeom>
        </p:spPr>
      </p:pic>
    </p:spTree>
    <p:extLst>
      <p:ext uri="{BB962C8B-B14F-4D97-AF65-F5344CB8AC3E}">
        <p14:creationId xmlns:p14="http://schemas.microsoft.com/office/powerpoint/2010/main" val="253500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4"/>
            <a:ext cx="11650488" cy="1796217"/>
          </a:xfrm>
          <a:noFill/>
        </p:spPr>
        <p:txBody>
          <a:bodyPr tIns="91440" bIns="91440" anchor="t" anchorCtr="0"/>
          <a:lstStyle>
            <a:lvl1pPr>
              <a:defRPr sz="8622" spc="-98" baseline="0">
                <a:gradFill>
                  <a:gsLst>
                    <a:gs pos="75912">
                      <a:schemeClr val="tx1"/>
                    </a:gs>
                    <a:gs pos="34307">
                      <a:schemeClr val="tx1"/>
                    </a:gs>
                    <a:gs pos="43000">
                      <a:schemeClr val="tx1"/>
                    </a:gs>
                  </a:gsLst>
                  <a:lin ang="5400000" scaled="0"/>
                </a:gradFill>
              </a:defRPr>
            </a:lvl1pPr>
          </a:lstStyle>
          <a:p>
            <a:r>
              <a:rPr lang="en-US" dirty="0"/>
              <a:t>Section title</a:t>
            </a:r>
          </a:p>
        </p:txBody>
      </p:sp>
      <p:sp>
        <p:nvSpPr>
          <p:cNvPr id="3" name="TextBox 7"/>
          <p:cNvSpPr txBox="1"/>
          <p:nvPr userDrawn="1"/>
        </p:nvSpPr>
        <p:spPr bwMode="white">
          <a:xfrm>
            <a:off x="4366222" y="6566900"/>
            <a:ext cx="34563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5898"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3867300815"/>
      </p:ext>
    </p:extLst>
  </p:cSld>
  <p:clrMapOvr>
    <a:masterClrMapping/>
  </p:clrMapOvr>
  <p:transition>
    <p:fade/>
  </p:transition>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4"/>
            <a:ext cx="11650488" cy="1796217"/>
          </a:xfrm>
          <a:noFill/>
        </p:spPr>
        <p:txBody>
          <a:bodyPr tIns="91440" bIns="91440" anchor="t" anchorCtr="0"/>
          <a:lstStyle>
            <a:lvl1pPr algn="l" defTabSz="913906" rtl="0" eaLnBrk="1" latinLnBrk="0" hangingPunct="1">
              <a:lnSpc>
                <a:spcPct val="90000"/>
              </a:lnSpc>
              <a:spcBef>
                <a:spcPct val="0"/>
              </a:spcBef>
              <a:buNone/>
              <a:defRPr lang="en-US" sz="8622"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366222" y="6566900"/>
            <a:ext cx="34563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5898"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520851810"/>
      </p:ext>
    </p:extLst>
  </p:cSld>
  <p:clrMapOvr>
    <a:masterClrMapping/>
  </p:clrMapOvr>
  <p:transition>
    <p:fade/>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4"/>
            <a:ext cx="11650488" cy="1796217"/>
          </a:xfrm>
          <a:noFill/>
        </p:spPr>
        <p:txBody>
          <a:bodyPr tIns="91440" bIns="91440" anchor="t" anchorCtr="0"/>
          <a:lstStyle>
            <a:lvl1pPr algn="l" defTabSz="913906" rtl="0" eaLnBrk="1" latinLnBrk="0" hangingPunct="1">
              <a:lnSpc>
                <a:spcPct val="90000"/>
              </a:lnSpc>
              <a:spcBef>
                <a:spcPct val="0"/>
              </a:spcBef>
              <a:buNone/>
              <a:defRPr lang="en-US" sz="8622"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366222" y="6566900"/>
            <a:ext cx="34563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5898"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505050">
                        <a:alpha val="50000"/>
                      </a:srgbClr>
                    </a:gs>
                    <a:gs pos="86000">
                      <a:srgbClr val="505050">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9022299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171" y="1189178"/>
            <a:ext cx="11652805" cy="2018835"/>
          </a:xfrm>
        </p:spPr>
        <p:txBody>
          <a:bodyPr/>
          <a:lstStyle>
            <a:lvl1pPr marL="0" indent="0">
              <a:buNone/>
              <a:defRPr/>
            </a:lvl1pPr>
            <a:lvl2pPr marL="27998" indent="0">
              <a:buNone/>
              <a:defRPr sz="1959"/>
            </a:lvl2pPr>
            <a:lvl3pPr marL="219318" indent="0">
              <a:buNone/>
              <a:defRPr sz="1959"/>
            </a:lvl3pPr>
            <a:lvl4pPr marL="466633" indent="0">
              <a:buNone/>
              <a:defRPr sz="1763"/>
            </a:lvl4pPr>
            <a:lvl5pPr marL="724835" indent="0">
              <a:buNone/>
              <a:defRPr sz="1763"/>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366222" y="6566900"/>
            <a:ext cx="34563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5898"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2316879398"/>
      </p:ext>
    </p:extLst>
  </p:cSld>
  <p:clrMapOvr>
    <a:masterClrMapping/>
  </p:clrMapOvr>
  <p:transition>
    <p:fade/>
  </p:transition>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1"/>
            </a:lvl3pPr>
            <a:lvl4pPr>
              <a:defRPr sz="1959"/>
            </a:lvl4pPr>
            <a:lvl5pPr>
              <a:defRPr sz="1959"/>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66222" y="6566900"/>
            <a:ext cx="34563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5898"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2738219189"/>
      </p:ext>
    </p:extLst>
  </p:cSld>
  <p:clrMapOvr>
    <a:masterClrMapping/>
  </p:clrMapOvr>
  <p:transition>
    <p:fade/>
  </p:transition>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6"/>
            <a:ext cx="5377147" cy="2000548"/>
          </a:xfrm>
        </p:spPr>
        <p:txBody>
          <a:bodyPr wrap="square">
            <a:spAutoFit/>
          </a:bodyPr>
          <a:lstStyle>
            <a:lvl1pPr marL="0" indent="0">
              <a:spcBef>
                <a:spcPts val="1200"/>
              </a:spcBef>
              <a:buClr>
                <a:schemeClr val="tx1"/>
              </a:buClr>
              <a:buFont typeface="Wingdings" pitchFamily="2" charset="2"/>
              <a:buNone/>
              <a:defRPr sz="3527"/>
            </a:lvl1pPr>
            <a:lvl2pPr marL="0" indent="0">
              <a:buNone/>
              <a:defRPr sz="1959"/>
            </a:lvl2pPr>
            <a:lvl3pPr marL="227095" indent="0">
              <a:buNone/>
              <a:tabLst/>
              <a:defRPr sz="1959"/>
            </a:lvl3pPr>
            <a:lvl4pPr marL="451079" indent="0">
              <a:buNone/>
              <a:defRPr/>
            </a:lvl4pPr>
            <a:lvl5pPr marL="67195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1" y="1189176"/>
            <a:ext cx="5377147" cy="2000548"/>
          </a:xfrm>
        </p:spPr>
        <p:txBody>
          <a:bodyPr wrap="square">
            <a:spAutoFit/>
          </a:bodyPr>
          <a:lstStyle>
            <a:lvl1pPr marL="0" indent="0">
              <a:spcBef>
                <a:spcPts val="1200"/>
              </a:spcBef>
              <a:buClr>
                <a:schemeClr val="tx1"/>
              </a:buClr>
              <a:buFont typeface="Wingdings" pitchFamily="2" charset="2"/>
              <a:buNone/>
              <a:defRPr sz="3527"/>
            </a:lvl1pPr>
            <a:lvl2pPr marL="0" indent="0">
              <a:buNone/>
              <a:defRPr sz="1959"/>
            </a:lvl2pPr>
            <a:lvl3pPr marL="227095" indent="0">
              <a:buNone/>
              <a:tabLst/>
              <a:defRPr sz="1959"/>
            </a:lvl3pPr>
            <a:lvl4pPr marL="451079" indent="0">
              <a:buNone/>
              <a:defRPr/>
            </a:lvl4pPr>
            <a:lvl5pPr marL="67195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6222" y="6566900"/>
            <a:ext cx="34563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5898"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2567229951"/>
      </p:ext>
    </p:extLst>
  </p:cSld>
  <p:clrMapOvr>
    <a:masterClrMapping/>
  </p:clrMapOvr>
  <p:transition>
    <p:fade/>
  </p:transition>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6"/>
            <a:ext cx="5377147" cy="2066912"/>
          </a:xfrm>
        </p:spPr>
        <p:txBody>
          <a:bodyPr wrap="square">
            <a:spAutoFit/>
          </a:bodyPr>
          <a:lstStyle>
            <a:lvl1pPr marL="281536" indent="-281536">
              <a:spcBef>
                <a:spcPts val="1200"/>
              </a:spcBef>
              <a:buClr>
                <a:schemeClr val="tx1"/>
              </a:buClr>
              <a:buFont typeface="Wingdings" panose="05000000000000000000" pitchFamily="2" charset="2"/>
              <a:buChar char="§"/>
              <a:defRPr sz="3527"/>
            </a:lvl1pPr>
            <a:lvl2pPr marL="520440" indent="-228485">
              <a:defRPr sz="2351"/>
            </a:lvl2pPr>
            <a:lvl3pPr marL="685457" indent="-165017">
              <a:tabLst/>
              <a:defRPr sz="1959"/>
            </a:lvl3pPr>
            <a:lvl4pPr marL="863168" indent="-177712">
              <a:defRPr/>
            </a:lvl4pPr>
            <a:lvl5pPr marL="1028185" indent="-16501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1" y="1189176"/>
            <a:ext cx="5377147" cy="2066912"/>
          </a:xfrm>
        </p:spPr>
        <p:txBody>
          <a:bodyPr wrap="square">
            <a:spAutoFit/>
          </a:bodyPr>
          <a:lstStyle>
            <a:lvl1pPr marL="281536" indent="-281536">
              <a:spcBef>
                <a:spcPts val="1200"/>
              </a:spcBef>
              <a:buClr>
                <a:schemeClr val="tx1"/>
              </a:buClr>
              <a:buFont typeface="Wingdings" panose="05000000000000000000" pitchFamily="2" charset="2"/>
              <a:buChar char="§"/>
              <a:defRPr sz="3527"/>
            </a:lvl1pPr>
            <a:lvl2pPr marL="520440" indent="-228485">
              <a:defRPr sz="2351"/>
            </a:lvl2pPr>
            <a:lvl3pPr marL="685457" indent="-165017">
              <a:tabLst/>
              <a:defRPr sz="1959"/>
            </a:lvl3pPr>
            <a:lvl4pPr marL="863168" indent="-177712">
              <a:defRPr/>
            </a:lvl4pPr>
            <a:lvl5pPr marL="1028185" indent="-16501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6222" y="6566900"/>
            <a:ext cx="34563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5898"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410425454"/>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22499486"/>
      </p:ext>
    </p:extLst>
  </p:cSld>
  <p:clrMapOvr>
    <a:masterClrMapping/>
  </p:clrMapOvr>
  <p:transition>
    <p:fade/>
  </p:transition>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366222" y="6566900"/>
            <a:ext cx="34563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5898"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2926897005"/>
      </p:ext>
    </p:extLst>
  </p:cSld>
  <p:clrMapOvr>
    <a:masterClrMapping/>
  </p:clrMapOvr>
  <p:transition>
    <p:fade/>
  </p:transition>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6950" y="1187623"/>
            <a:ext cx="11652805" cy="899665"/>
          </a:xfrm>
        </p:spPr>
        <p:txBody>
          <a:bodyPr/>
          <a:lstStyle>
            <a:lvl1pPr>
              <a:defRPr sz="7055" baseline="0"/>
            </a:lvl1pPr>
          </a:lstStyle>
          <a:p>
            <a:r>
              <a:rPr lang="en-US"/>
              <a:t>Click to edit Master title style</a:t>
            </a:r>
            <a:endParaRPr lang="en-US" dirty="0"/>
          </a:p>
        </p:txBody>
      </p:sp>
      <p:sp>
        <p:nvSpPr>
          <p:cNvPr id="3" name="TextBox 7"/>
          <p:cNvSpPr txBox="1"/>
          <p:nvPr userDrawn="1"/>
        </p:nvSpPr>
        <p:spPr bwMode="white">
          <a:xfrm>
            <a:off x="4366222" y="6566900"/>
            <a:ext cx="34563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5898"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514702164"/>
      </p:ext>
    </p:extLst>
  </p:cSld>
  <p:clrMapOvr>
    <a:masterClrMapping/>
  </p:clrMapOvr>
  <p:transition>
    <p:fade/>
  </p:transition>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79" baseline="0"/>
            </a:lvl1pPr>
          </a:lstStyle>
          <a:p>
            <a:r>
              <a:rPr lang="en-US"/>
              <a:t>Click to edit Master title style</a:t>
            </a:r>
            <a:endParaRPr lang="en-US" dirty="0"/>
          </a:p>
        </p:txBody>
      </p:sp>
      <p:sp>
        <p:nvSpPr>
          <p:cNvPr id="3" name="TextBox 7"/>
          <p:cNvSpPr txBox="1"/>
          <p:nvPr userDrawn="1"/>
        </p:nvSpPr>
        <p:spPr bwMode="white">
          <a:xfrm>
            <a:off x="4366222" y="6566900"/>
            <a:ext cx="34563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5898"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689452820"/>
      </p:ext>
    </p:extLst>
  </p:cSld>
  <p:clrMapOvr>
    <a:masterClrMapping/>
  </p:clrMapOvr>
  <p:transition>
    <p:fade/>
  </p:transition>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79" baseline="0"/>
            </a:lvl1pPr>
          </a:lstStyle>
          <a:p>
            <a:r>
              <a:rPr lang="en-US"/>
              <a:t>Click to edit Master title style</a:t>
            </a:r>
            <a:endParaRPr lang="en-US" dirty="0"/>
          </a:p>
        </p:txBody>
      </p:sp>
      <p:sp>
        <p:nvSpPr>
          <p:cNvPr id="3" name="TextBox 7"/>
          <p:cNvSpPr txBox="1"/>
          <p:nvPr userDrawn="1"/>
        </p:nvSpPr>
        <p:spPr bwMode="white">
          <a:xfrm>
            <a:off x="4366222" y="6566900"/>
            <a:ext cx="34563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5898"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2082712451"/>
      </p:ext>
    </p:extLst>
  </p:cSld>
  <p:clrMapOvr>
    <a:masterClrMapping/>
  </p:clrMapOvr>
  <p:transition>
    <p:fade/>
  </p:transition>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1178351"/>
            <a:ext cx="9858104" cy="899665"/>
          </a:xfrm>
        </p:spPr>
        <p:txBody>
          <a:bodyPr/>
          <a:lstStyle>
            <a:lvl1pPr marL="228650" indent="-228650">
              <a:defRPr sz="5879"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6318" y="5025984"/>
            <a:ext cx="5377148" cy="1050156"/>
          </a:xfrm>
        </p:spPr>
        <p:txBody>
          <a:bodyPr/>
          <a:lstStyle>
            <a:lvl1pPr marL="0" indent="0">
              <a:spcBef>
                <a:spcPts val="0"/>
              </a:spcBef>
              <a:buNone/>
              <a:defRPr sz="3135" baseline="0">
                <a:latin typeface="+mj-lt"/>
              </a:defRPr>
            </a:lvl1pPr>
          </a:lstStyle>
          <a:p>
            <a:pPr lvl="0"/>
            <a:r>
              <a:rPr lang="en-US" dirty="0"/>
              <a:t>Author Name</a:t>
            </a:r>
          </a:p>
          <a:p>
            <a:pPr lvl="0"/>
            <a:r>
              <a:rPr lang="en-US" dirty="0"/>
              <a:t>Title</a:t>
            </a:r>
          </a:p>
        </p:txBody>
      </p:sp>
      <p:sp>
        <p:nvSpPr>
          <p:cNvPr id="5" name="TextBox 7"/>
          <p:cNvSpPr txBox="1"/>
          <p:nvPr userDrawn="1"/>
        </p:nvSpPr>
        <p:spPr bwMode="white">
          <a:xfrm>
            <a:off x="4330873" y="6566900"/>
            <a:ext cx="35270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5898"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659016855"/>
      </p:ext>
    </p:extLst>
  </p:cSld>
  <p:clrMapOvr>
    <a:masterClrMapping/>
  </p:clrMapOvr>
  <p:transition>
    <p:fade/>
  </p:transition>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2084175"/>
            <a:ext cx="9858104" cy="899665"/>
          </a:xfrm>
        </p:spPr>
        <p:txBody>
          <a:bodyPr/>
          <a:lstStyle>
            <a:lvl1pPr marL="276869" indent="-276869">
              <a:tabLst>
                <a:tab pos="276869" algn="l"/>
              </a:tabLst>
              <a:defRPr sz="5879"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6318" y="4773813"/>
            <a:ext cx="5377148" cy="1050156"/>
          </a:xfrm>
        </p:spPr>
        <p:txBody>
          <a:bodyPr/>
          <a:lstStyle>
            <a:lvl1pPr marL="0" indent="0">
              <a:spcBef>
                <a:spcPts val="0"/>
              </a:spcBef>
              <a:buNone/>
              <a:defRPr sz="3135"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330873" y="6566900"/>
            <a:ext cx="35270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5898"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490445508"/>
      </p:ext>
    </p:extLst>
  </p:cSld>
  <p:clrMapOvr>
    <a:masterClrMapping/>
  </p:clrMapOvr>
  <p:transition>
    <p:fade/>
  </p:transition>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49" y="2383023"/>
            <a:ext cx="11650488" cy="914360"/>
          </a:xfrm>
        </p:spPr>
        <p:txBody>
          <a:bodyPr/>
          <a:lstStyle>
            <a:lvl1pPr marL="0" indent="0">
              <a:buNone/>
              <a:defRPr sz="5291">
                <a:gradFill>
                  <a:gsLst>
                    <a:gs pos="3333">
                      <a:schemeClr val="tx1"/>
                    </a:gs>
                    <a:gs pos="39000">
                      <a:schemeClr val="tx1"/>
                    </a:gs>
                  </a:gsLst>
                  <a:lin ang="5400000" scaled="0"/>
                </a:gradFill>
              </a:defRPr>
            </a:lvl1pPr>
            <a:lvl2pPr marL="0" indent="0">
              <a:buFontTx/>
              <a:buNone/>
              <a:defRPr sz="1959"/>
            </a:lvl2pPr>
            <a:lvl3pPr marL="223984" indent="0">
              <a:buNone/>
              <a:defRPr/>
            </a:lvl3pPr>
            <a:lvl4pPr marL="447968" indent="0">
              <a:buNone/>
              <a:defRPr/>
            </a:lvl4pPr>
            <a:lvl5pPr marL="671951" indent="0">
              <a:buNone/>
              <a:defRPr/>
            </a:lvl5pPr>
          </a:lstStyle>
          <a:p>
            <a:pPr lvl="0"/>
            <a:r>
              <a:rPr lang="en-US"/>
              <a:t>Edit Master text styles</a:t>
            </a:r>
          </a:p>
        </p:txBody>
      </p:sp>
      <p:sp>
        <p:nvSpPr>
          <p:cNvPr id="4" name="Title 1"/>
          <p:cNvSpPr>
            <a:spLocks noGrp="1"/>
          </p:cNvSpPr>
          <p:nvPr>
            <p:ph type="title"/>
          </p:nvPr>
        </p:nvSpPr>
        <p:spPr>
          <a:xfrm>
            <a:off x="276950" y="1187623"/>
            <a:ext cx="11652805" cy="899665"/>
          </a:xfrm>
        </p:spPr>
        <p:txBody>
          <a:bodyPr/>
          <a:lstStyle>
            <a:lvl1pPr>
              <a:defRPr sz="7055"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TextBox 7"/>
          <p:cNvSpPr txBox="1"/>
          <p:nvPr userDrawn="1"/>
        </p:nvSpPr>
        <p:spPr bwMode="white">
          <a:xfrm>
            <a:off x="4330873" y="6566900"/>
            <a:ext cx="35270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5898"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3534029685"/>
      </p:ext>
    </p:extLst>
  </p:cSld>
  <p:clrMapOvr>
    <a:masterClrMapping/>
  </p:clrMapOvr>
  <p:transition>
    <p:fade/>
  </p:transition>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1" y="1217195"/>
            <a:ext cx="5377147" cy="1763530"/>
          </a:xfrm>
        </p:spPr>
        <p:txBody>
          <a:bodyPr/>
          <a:lstStyle>
            <a:lvl1pPr>
              <a:defRPr sz="6467"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5968" y="0"/>
            <a:ext cx="6092857"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225392517"/>
      </p:ext>
    </p:extLst>
  </p:cSld>
  <p:clrMapOvr>
    <a:masterClrMapping/>
  </p:clrMapOvr>
  <p:transition>
    <p:fade/>
  </p:transition>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2511" y="1217197"/>
            <a:ext cx="5377147" cy="899665"/>
          </a:xfrm>
        </p:spPr>
        <p:txBody>
          <a:bodyPr/>
          <a:lstStyle>
            <a:lvl1pPr>
              <a:defRPr sz="6467"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1" y="2"/>
            <a:ext cx="6092857" cy="6852151"/>
          </a:xfrm>
          <a:blipFill>
            <a:blip r:embed="rId2"/>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141158451"/>
      </p:ext>
    </p:extLst>
  </p:cSld>
  <p:clrMapOvr>
    <a:masterClrMapping/>
  </p:clrMapOvr>
  <p:transition>
    <p:fade/>
  </p:transition>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0873" y="6566900"/>
            <a:ext cx="35270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5898"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3537433924"/>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169" y="2262478"/>
            <a:ext cx="1532066"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525"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8" name="Picture Placeholder 12"/>
          <p:cNvSpPr>
            <a:spLocks noGrp="1"/>
          </p:cNvSpPr>
          <p:nvPr>
            <p:ph type="pic" sz="quarter" idx="18"/>
          </p:nvPr>
        </p:nvSpPr>
        <p:spPr>
          <a:xfrm>
            <a:off x="4650526" y="2256322"/>
            <a:ext cx="3168528"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9" name="Picture Placeholder 12"/>
          <p:cNvSpPr>
            <a:spLocks noGrp="1"/>
          </p:cNvSpPr>
          <p:nvPr>
            <p:ph type="pic" sz="quarter" idx="19"/>
          </p:nvPr>
        </p:nvSpPr>
        <p:spPr>
          <a:xfrm>
            <a:off x="8093676" y="2257102"/>
            <a:ext cx="3825981"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10" name="Picture Placeholder 12"/>
          <p:cNvSpPr>
            <a:spLocks noGrp="1"/>
          </p:cNvSpPr>
          <p:nvPr>
            <p:ph type="pic" sz="quarter" idx="20"/>
          </p:nvPr>
        </p:nvSpPr>
        <p:spPr>
          <a:xfrm>
            <a:off x="2075863" y="2256137"/>
            <a:ext cx="2300037"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525"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293464066"/>
      </p:ext>
    </p:extLst>
  </p:cSld>
  <p:clrMapOvr>
    <a:masterClrMapping/>
  </p:clrMapOvr>
  <p:transition>
    <p:fade/>
  </p:transition>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330873" y="6566900"/>
            <a:ext cx="35270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5898"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788330761"/>
      </p:ext>
    </p:extLst>
  </p:cSld>
  <p:clrMapOvr>
    <a:masterClrMapping/>
  </p:clrMapOvr>
  <p:transition>
    <p:fade/>
  </p:transition>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0873" y="6566900"/>
            <a:ext cx="35270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5898"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505050">
                        <a:alpha val="50000"/>
                      </a:srgbClr>
                    </a:gs>
                    <a:gs pos="86000">
                      <a:srgbClr val="505050">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41372494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9"/>
            <a:ext cx="11650488" cy="2396047"/>
          </a:xfrm>
          <a:prstGeom prst="rect">
            <a:avLst/>
          </a:prstGeom>
        </p:spPr>
        <p:txBody>
          <a:bodyPr/>
          <a:lstStyle>
            <a:lvl1pPr marL="284647" indent="-284647">
              <a:buClr>
                <a:schemeClr val="tx1"/>
              </a:buClr>
              <a:buSzPct val="90000"/>
              <a:buFont typeface="Wingdings" panose="05000000000000000000" pitchFamily="2" charset="2"/>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959" indent="-275313">
              <a:buClr>
                <a:schemeClr val="tx1"/>
              </a:buClr>
              <a:buSzPct val="90000"/>
              <a:buFont typeface="Wingdings" panose="05000000000000000000" pitchFamily="2" charset="2"/>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606" indent="-284647">
              <a:buClr>
                <a:schemeClr val="tx1"/>
              </a:buClr>
              <a:buSzPct val="90000"/>
              <a:buFont typeface="Wingdings" panose="05000000000000000000" pitchFamily="2" charset="2"/>
              <a:buChar char="§"/>
              <a:defRPr sz="2743">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589" indent="-223984">
              <a:buClr>
                <a:schemeClr val="tx1"/>
              </a:buClr>
              <a:buSzPct val="90000"/>
              <a:buFont typeface="Wingdings" panose="05000000000000000000" pitchFamily="2" charset="2"/>
              <a:buChar char="§"/>
              <a:defRPr sz="2351">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573" indent="-223984">
              <a:buClr>
                <a:schemeClr val="tx1"/>
              </a:buClr>
              <a:buSzPct val="90000"/>
              <a:buFont typeface="Wingdings" panose="05000000000000000000" pitchFamily="2" charset="2"/>
              <a:buChar char="§"/>
              <a:defRPr sz="1959">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8"/>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488064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169" y="1189177"/>
            <a:ext cx="11650488" cy="2121222"/>
          </a:xfrm>
        </p:spPr>
        <p:txBody>
          <a:bodyPr/>
          <a:lstStyle>
            <a:lvl1pPr marL="0" indent="0">
              <a:buNone/>
              <a:defRPr>
                <a:gradFill>
                  <a:gsLst>
                    <a:gs pos="20354">
                      <a:schemeClr val="tx2"/>
                    </a:gs>
                    <a:gs pos="40000">
                      <a:schemeClr val="tx2"/>
                    </a:gs>
                  </a:gsLst>
                  <a:lin ang="5400000" scaled="0"/>
                </a:gradFill>
              </a:defRPr>
            </a:lvl1pPr>
            <a:lvl2pPr marL="0" indent="0">
              <a:buFontTx/>
              <a:buNone/>
              <a:defRPr sz="1959"/>
            </a:lvl2pPr>
            <a:lvl3pPr marL="223966" indent="0">
              <a:buNone/>
              <a:defRPr/>
            </a:lvl3pPr>
            <a:lvl4pPr marL="447931" indent="0">
              <a:buNone/>
              <a:defRPr/>
            </a:lvl4pPr>
            <a:lvl5pPr marL="67189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10541625"/>
      </p:ext>
    </p:extLst>
  </p:cSld>
  <p:clrMapOvr>
    <a:masterClrMapping/>
  </p:clrMapOvr>
  <p:transition>
    <p:fade/>
  </p:transition>
</p:sldLayout>
</file>

<file path=ppt/slideLayouts/slideLayout454.xml><?xml version="1.0" encoding="utf-8"?>
<p:sldLayout xmlns:a="http://schemas.openxmlformats.org/drawingml/2006/main" xmlns:r="http://schemas.openxmlformats.org/officeDocument/2006/relationships" xmlns:p="http://schemas.openxmlformats.org/presentationml/2006/main" userDrawn="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2674" cy="6855512"/>
          </a:xfrm>
          <a:prstGeom prst="rect">
            <a:avLst/>
          </a:prstGeom>
        </p:spPr>
      </p:pic>
      <p:sp>
        <p:nvSpPr>
          <p:cNvPr id="2" name="Title 1"/>
          <p:cNvSpPr>
            <a:spLocks noGrp="1"/>
          </p:cNvSpPr>
          <p:nvPr>
            <p:ph type="title" hasCustomPrompt="1"/>
          </p:nvPr>
        </p:nvSpPr>
        <p:spPr>
          <a:xfrm>
            <a:off x="269169" y="2084174"/>
            <a:ext cx="11650488"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9366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val="0"/>
              </a:ext>
            </a:extLst>
          </a:blip>
          <a:stretch>
            <a:fillRect/>
          </a:stretch>
        </p:blipFill>
        <p:spPr bwMode="gray">
          <a:xfrm>
            <a:off x="10218724" y="6061768"/>
            <a:ext cx="1522007" cy="326167"/>
          </a:xfrm>
          <a:prstGeom prst="rect">
            <a:avLst/>
          </a:prstGeom>
        </p:spPr>
      </p:pic>
      <p:pic>
        <p:nvPicPr>
          <p:cNvPr id="5" name="Picture 4"/>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469737" y="484298"/>
            <a:ext cx="7000222" cy="1344828"/>
          </a:xfrm>
          <a:prstGeom prst="rect">
            <a:avLst/>
          </a:prstGeom>
        </p:spPr>
      </p:pic>
    </p:spTree>
    <p:extLst>
      <p:ext uri="{BB962C8B-B14F-4D97-AF65-F5344CB8AC3E}">
        <p14:creationId xmlns:p14="http://schemas.microsoft.com/office/powerpoint/2010/main" val="3783784623"/>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90"/>
            <a:ext cx="12185713" cy="2551127"/>
          </a:xfrm>
          <a:prstGeom prst="rect">
            <a:avLst/>
          </a:prstGeom>
          <a:solidFill>
            <a:srgbClr val="4DA0E2"/>
          </a:solidFill>
          <a:ln>
            <a:noFill/>
          </a:ln>
        </p:spPr>
        <p:txBody>
          <a:bodyPr vert="horz" wrap="square" lIns="89596" tIns="44798" rIns="89596" bIns="44798" numCol="1" anchor="t" anchorCtr="0" compatLnSpc="1">
            <a:prstTxWarp prst="textNoShape">
              <a:avLst/>
            </a:prstTxWarp>
          </a:bodyPr>
          <a:lstStyle/>
          <a:p>
            <a:pPr marL="0" marR="0" lvl="0" indent="0" algn="l" defTabSz="913906" rtl="0" eaLnBrk="1" fontAlgn="auto" latinLnBrk="0" hangingPunct="1">
              <a:lnSpc>
                <a:spcPct val="100000"/>
              </a:lnSpc>
              <a:spcBef>
                <a:spcPts val="0"/>
              </a:spcBef>
              <a:spcAft>
                <a:spcPts val="0"/>
              </a:spcAft>
              <a:buClrTx/>
              <a:buSzTx/>
              <a:buFontTx/>
              <a:buNone/>
              <a:tabLst/>
              <a:defRPr/>
            </a:pPr>
            <a:endParaRPr kumimoji="0" lang="en-US" sz="1763"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1" y="5729528"/>
            <a:ext cx="12185714" cy="1131586"/>
          </a:xfrm>
          <a:prstGeom prst="rect">
            <a:avLst/>
          </a:prstGeom>
          <a:solidFill>
            <a:srgbClr val="00188F"/>
          </a:solidFill>
          <a:ln>
            <a:noFill/>
          </a:ln>
          <a:extLst/>
        </p:spPr>
        <p:txBody>
          <a:bodyPr vert="horz" wrap="square" lIns="89596" tIns="44798" rIns="89596" bIns="44798" numCol="1" anchor="t" anchorCtr="0" compatLnSpc="1">
            <a:prstTxWarp prst="textNoShape">
              <a:avLst/>
            </a:prstTxWarp>
          </a:bodyPr>
          <a:lstStyle/>
          <a:p>
            <a:pPr marL="0" marR="0" lvl="0" indent="0" algn="l" defTabSz="913906" rtl="0" eaLnBrk="1" fontAlgn="auto" latinLnBrk="0" hangingPunct="1">
              <a:lnSpc>
                <a:spcPct val="100000"/>
              </a:lnSpc>
              <a:spcBef>
                <a:spcPts val="0"/>
              </a:spcBef>
              <a:spcAft>
                <a:spcPts val="0"/>
              </a:spcAft>
              <a:buClrTx/>
              <a:buSzTx/>
              <a:buFontTx/>
              <a:buNone/>
              <a:tabLst/>
              <a:defRPr/>
            </a:pPr>
            <a:endParaRPr kumimoji="0" lang="en-US" sz="1763"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13" y="3343394"/>
            <a:ext cx="12182603"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96" tIns="44798" rIns="89596" bIns="44798" numCol="1" anchor="t" anchorCtr="0" compatLnSpc="1">
            <a:prstTxWarp prst="textNoShape">
              <a:avLst/>
            </a:prstTxWarp>
          </a:bodyPr>
          <a:lstStyle/>
          <a:p>
            <a:pPr marL="0" marR="0" lvl="0" indent="0" algn="l" defTabSz="913906" rtl="0" eaLnBrk="1" fontAlgn="auto" latinLnBrk="0" hangingPunct="1">
              <a:lnSpc>
                <a:spcPct val="100000"/>
              </a:lnSpc>
              <a:spcBef>
                <a:spcPts val="0"/>
              </a:spcBef>
              <a:spcAft>
                <a:spcPts val="0"/>
              </a:spcAft>
              <a:buClrTx/>
              <a:buSzTx/>
              <a:buFontTx/>
              <a:buNone/>
              <a:tabLst/>
              <a:defRPr/>
            </a:pPr>
            <a:endParaRPr kumimoji="0" lang="en-US" sz="1763"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2"/>
            <a:ext cx="12188203"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1" tIns="143354" rIns="179191" bIns="143354" numCol="1" spcCol="0" rtlCol="0" fromWordArt="0" anchor="t" anchorCtr="0" forceAA="0" compatLnSpc="1">
            <a:prstTxWarp prst="textNoShape">
              <a:avLst/>
            </a:prstTxWarp>
            <a:noAutofit/>
          </a:bodyPr>
          <a:lstStyle/>
          <a:p>
            <a:pPr marL="0" marR="0" lvl="0" indent="0" algn="ctr" defTabSz="913642" rtl="0" eaLnBrk="1" fontAlgn="base" latinLnBrk="0" hangingPunct="1">
              <a:lnSpc>
                <a:spcPct val="90000"/>
              </a:lnSpc>
              <a:spcBef>
                <a:spcPct val="0"/>
              </a:spcBef>
              <a:spcAft>
                <a:spcPct val="0"/>
              </a:spcAft>
              <a:buClrTx/>
              <a:buSzTx/>
              <a:buFontTx/>
              <a:buNone/>
              <a:tabLst/>
              <a:defRPr/>
            </a:pPr>
            <a:endParaRPr kumimoji="0" lang="en-US" sz="2351"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034" y="3877273"/>
            <a:ext cx="6271784" cy="1794661"/>
          </a:xfrm>
          <a:noFill/>
        </p:spPr>
        <p:txBody>
          <a:bodyPr lIns="146304" tIns="109728" rIns="146304" bIns="109728">
            <a:no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233" y="2075840"/>
            <a:ext cx="9858042" cy="1801436"/>
          </a:xfrm>
          <a:noFill/>
        </p:spPr>
        <p:txBody>
          <a:bodyPr lIns="146304" tIns="91440" rIns="146304" bIns="91440" anchor="t" anchorCtr="0"/>
          <a:lstStyle>
            <a:lvl1pPr>
              <a:defRPr sz="5879"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207" y="6061768"/>
            <a:ext cx="1522007" cy="326167"/>
          </a:xfrm>
          <a:prstGeom prst="rect">
            <a:avLst/>
          </a:prstGeom>
        </p:spPr>
      </p:pic>
      <p:sp>
        <p:nvSpPr>
          <p:cNvPr id="8" name="Rectangle 6"/>
          <p:cNvSpPr>
            <a:spLocks noChangeArrowheads="1"/>
          </p:cNvSpPr>
          <p:nvPr userDrawn="1"/>
        </p:nvSpPr>
        <p:spPr bwMode="auto">
          <a:xfrm>
            <a:off x="3113" y="4309990"/>
            <a:ext cx="12185713"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596" tIns="44798" rIns="89596" bIns="44798" numCol="1" anchor="t" anchorCtr="0" compatLnSpc="1">
            <a:prstTxWarp prst="textNoShape">
              <a:avLst/>
            </a:prstTxWarp>
          </a:bodyPr>
          <a:lstStyle/>
          <a:p>
            <a:pPr marL="0" marR="0" lvl="0" indent="0" algn="l" defTabSz="913906" rtl="0" eaLnBrk="1" fontAlgn="auto" latinLnBrk="0" hangingPunct="1">
              <a:lnSpc>
                <a:spcPct val="100000"/>
              </a:lnSpc>
              <a:spcBef>
                <a:spcPts val="0"/>
              </a:spcBef>
              <a:spcAft>
                <a:spcPts val="0"/>
              </a:spcAft>
              <a:buClrTx/>
              <a:buSzTx/>
              <a:buFontTx/>
              <a:buNone/>
              <a:tabLst/>
              <a:defRPr/>
            </a:pPr>
            <a:endParaRPr kumimoji="0" lang="en-US" sz="1763" b="0" i="0" u="none" strike="noStrike" kern="1200" cap="none" spc="0" normalizeH="0" baseline="0" noProof="0">
              <a:ln>
                <a:noFill/>
              </a:ln>
              <a:solidFill>
                <a:srgbClr val="FFFFFF"/>
              </a:solidFill>
              <a:effectLst/>
              <a:uLnTx/>
              <a:uFillTx/>
              <a:latin typeface="Segoe UI"/>
              <a:ea typeface="+mn-ea"/>
              <a:cs typeface="+mn-cs"/>
            </a:endParaRPr>
          </a:p>
        </p:txBody>
      </p:sp>
      <p:sp>
        <p:nvSpPr>
          <p:cNvPr id="14" name="TextBox 7"/>
          <p:cNvSpPr txBox="1"/>
          <p:nvPr userDrawn="1"/>
        </p:nvSpPr>
        <p:spPr bwMode="white">
          <a:xfrm>
            <a:off x="4330873" y="6566900"/>
            <a:ext cx="35270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5898"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
        <p:nvSpPr>
          <p:cNvPr id="17" name="Text Placeholder 16"/>
          <p:cNvSpPr>
            <a:spLocks noGrp="1"/>
          </p:cNvSpPr>
          <p:nvPr>
            <p:ph type="body" sz="quarter" idx="13" hasCustomPrompt="1"/>
          </p:nvPr>
        </p:nvSpPr>
        <p:spPr>
          <a:xfrm>
            <a:off x="269170" y="291069"/>
            <a:ext cx="3584765" cy="452654"/>
          </a:xfrm>
        </p:spPr>
        <p:txBody>
          <a:bodyPr/>
          <a:lstStyle>
            <a:lvl1pPr marL="0" indent="0">
              <a:buNone/>
              <a:defRPr sz="1959">
                <a:latin typeface="+mn-lt"/>
              </a:defRPr>
            </a:lvl1pPr>
            <a:lvl2pPr marL="335975" indent="0">
              <a:buNone/>
              <a:defRPr sz="1959"/>
            </a:lvl2pPr>
            <a:lvl3pPr marL="559959" indent="0">
              <a:buNone/>
              <a:defRPr sz="1959"/>
            </a:lvl3pPr>
            <a:lvl4pPr marL="783943" indent="0">
              <a:buNone/>
              <a:defRPr sz="1959"/>
            </a:lvl4pPr>
            <a:lvl5pPr marL="1007927" indent="0">
              <a:buNone/>
              <a:defRPr sz="1959"/>
            </a:lvl5pPr>
          </a:lstStyle>
          <a:p>
            <a:pPr lvl="0"/>
            <a:r>
              <a:rPr lang="en-US" dirty="0"/>
              <a:t>Session Code</a:t>
            </a:r>
          </a:p>
        </p:txBody>
      </p:sp>
      <p:sp>
        <p:nvSpPr>
          <p:cNvPr id="15" name="Text Placeholder 16"/>
          <p:cNvSpPr>
            <a:spLocks noGrp="1"/>
          </p:cNvSpPr>
          <p:nvPr>
            <p:ph type="body" sz="quarter" idx="14" hasCustomPrompt="1"/>
          </p:nvPr>
        </p:nvSpPr>
        <p:spPr>
          <a:xfrm>
            <a:off x="8334894" y="291069"/>
            <a:ext cx="3584765" cy="452654"/>
          </a:xfrm>
        </p:spPr>
        <p:txBody>
          <a:bodyPr/>
          <a:lstStyle>
            <a:lvl1pPr marL="0" indent="0" algn="r">
              <a:buNone/>
              <a:defRPr sz="1959">
                <a:latin typeface="+mn-lt"/>
              </a:defRPr>
            </a:lvl1pPr>
            <a:lvl2pPr marL="335975" indent="0">
              <a:buNone/>
              <a:defRPr sz="1959"/>
            </a:lvl2pPr>
            <a:lvl3pPr marL="559959" indent="0">
              <a:buNone/>
              <a:defRPr sz="1959"/>
            </a:lvl3pPr>
            <a:lvl4pPr marL="783943" indent="0">
              <a:buNone/>
              <a:defRPr sz="1959"/>
            </a:lvl4pPr>
            <a:lvl5pPr marL="1007927" indent="0">
              <a:buNone/>
              <a:defRPr sz="1959"/>
            </a:lvl5pPr>
          </a:lstStyle>
          <a:p>
            <a:pPr lvl="0"/>
            <a:r>
              <a:rPr lang="en-US" dirty="0"/>
              <a:t>Yammer hashtag</a:t>
            </a:r>
          </a:p>
        </p:txBody>
      </p:sp>
    </p:spTree>
    <p:extLst>
      <p:ext uri="{BB962C8B-B14F-4D97-AF65-F5344CB8AC3E}">
        <p14:creationId xmlns:p14="http://schemas.microsoft.com/office/powerpoint/2010/main" val="286001178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3"/>
            <a:ext cx="6271784" cy="1794661"/>
          </a:xfrm>
          <a:noFill/>
        </p:spPr>
        <p:txBody>
          <a:bodyPr lIns="146304" tIns="109728" rIns="146304" bIns="109728">
            <a:no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233" y="2075840"/>
            <a:ext cx="9858042" cy="1801436"/>
          </a:xfrm>
          <a:noFill/>
        </p:spPr>
        <p:txBody>
          <a:bodyPr lIns="146304" tIns="91440" rIns="146304" bIns="91440" anchor="t" anchorCtr="0"/>
          <a:lstStyle>
            <a:lvl1pPr>
              <a:defRPr sz="5879"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207" y="6061768"/>
            <a:ext cx="1522007" cy="326167"/>
          </a:xfrm>
          <a:prstGeom prst="rect">
            <a:avLst/>
          </a:prstGeom>
        </p:spPr>
      </p:pic>
      <p:sp>
        <p:nvSpPr>
          <p:cNvPr id="8" name="Rectangle 6"/>
          <p:cNvSpPr>
            <a:spLocks noChangeArrowheads="1"/>
          </p:cNvSpPr>
          <p:nvPr userDrawn="1"/>
        </p:nvSpPr>
        <p:spPr bwMode="auto">
          <a:xfrm>
            <a:off x="3113" y="4309990"/>
            <a:ext cx="12185713"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596" tIns="44798" rIns="89596" bIns="44798" numCol="1" anchor="t" anchorCtr="0" compatLnSpc="1">
            <a:prstTxWarp prst="textNoShape">
              <a:avLst/>
            </a:prstTxWarp>
          </a:bodyPr>
          <a:lstStyle/>
          <a:p>
            <a:pPr marL="0" marR="0" lvl="0" indent="0" algn="l" defTabSz="913906" rtl="0" eaLnBrk="1" fontAlgn="auto" latinLnBrk="0" hangingPunct="1">
              <a:lnSpc>
                <a:spcPct val="100000"/>
              </a:lnSpc>
              <a:spcBef>
                <a:spcPts val="0"/>
              </a:spcBef>
              <a:spcAft>
                <a:spcPts val="0"/>
              </a:spcAft>
              <a:buClrTx/>
              <a:buSzTx/>
              <a:buFontTx/>
              <a:buNone/>
              <a:tabLst/>
              <a:defRPr/>
            </a:pPr>
            <a:endParaRPr kumimoji="0" lang="en-US" sz="1763" b="0" i="0" u="none" strike="noStrike" kern="1200" cap="none" spc="0" normalizeH="0" baseline="0" noProof="0">
              <a:ln>
                <a:noFill/>
              </a:ln>
              <a:solidFill>
                <a:srgbClr val="FFFFFF"/>
              </a:solidFill>
              <a:effectLst/>
              <a:uLnTx/>
              <a:uFillTx/>
              <a:latin typeface="Segoe UI"/>
              <a:ea typeface="+mn-ea"/>
              <a:cs typeface="+mn-cs"/>
            </a:endParaRPr>
          </a:p>
        </p:txBody>
      </p:sp>
      <p:sp>
        <p:nvSpPr>
          <p:cNvPr id="14" name="TextBox 7"/>
          <p:cNvSpPr txBox="1"/>
          <p:nvPr userDrawn="1"/>
        </p:nvSpPr>
        <p:spPr bwMode="white">
          <a:xfrm>
            <a:off x="4366222" y="6566900"/>
            <a:ext cx="34563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5898"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
        <p:nvSpPr>
          <p:cNvPr id="15" name="Text Placeholder 16"/>
          <p:cNvSpPr>
            <a:spLocks noGrp="1"/>
          </p:cNvSpPr>
          <p:nvPr>
            <p:ph type="body" sz="quarter" idx="13" hasCustomPrompt="1"/>
          </p:nvPr>
        </p:nvSpPr>
        <p:spPr>
          <a:xfrm>
            <a:off x="269170" y="291069"/>
            <a:ext cx="3584765" cy="452654"/>
          </a:xfrm>
        </p:spPr>
        <p:txBody>
          <a:bodyPr/>
          <a:lstStyle>
            <a:lvl1pPr marL="0" indent="0">
              <a:buNone/>
              <a:defRPr sz="1959">
                <a:latin typeface="+mn-lt"/>
              </a:defRPr>
            </a:lvl1pPr>
            <a:lvl2pPr marL="335975" indent="0">
              <a:buNone/>
              <a:defRPr sz="1959"/>
            </a:lvl2pPr>
            <a:lvl3pPr marL="559959" indent="0">
              <a:buNone/>
              <a:defRPr sz="1959"/>
            </a:lvl3pPr>
            <a:lvl4pPr marL="783943" indent="0">
              <a:buNone/>
              <a:defRPr sz="1959"/>
            </a:lvl4pPr>
            <a:lvl5pPr marL="1007927" indent="0">
              <a:buNone/>
              <a:defRPr sz="1959"/>
            </a:lvl5pPr>
          </a:lstStyle>
          <a:p>
            <a:pPr lvl="0"/>
            <a:r>
              <a:rPr lang="en-US" dirty="0"/>
              <a:t>Session Code</a:t>
            </a:r>
          </a:p>
        </p:txBody>
      </p:sp>
      <p:sp>
        <p:nvSpPr>
          <p:cNvPr id="10" name="Text Placeholder 16"/>
          <p:cNvSpPr>
            <a:spLocks noGrp="1"/>
          </p:cNvSpPr>
          <p:nvPr>
            <p:ph type="body" sz="quarter" idx="14" hasCustomPrompt="1"/>
          </p:nvPr>
        </p:nvSpPr>
        <p:spPr>
          <a:xfrm>
            <a:off x="8334894" y="291069"/>
            <a:ext cx="3584765" cy="452654"/>
          </a:xfrm>
        </p:spPr>
        <p:txBody>
          <a:bodyPr/>
          <a:lstStyle>
            <a:lvl1pPr marL="0" indent="0" algn="r">
              <a:buNone/>
              <a:defRPr sz="1959">
                <a:latin typeface="+mn-lt"/>
              </a:defRPr>
            </a:lvl1pPr>
            <a:lvl2pPr marL="335975" indent="0">
              <a:buNone/>
              <a:defRPr sz="1959"/>
            </a:lvl2pPr>
            <a:lvl3pPr marL="559959" indent="0">
              <a:buNone/>
              <a:defRPr sz="1959"/>
            </a:lvl3pPr>
            <a:lvl4pPr marL="783943" indent="0">
              <a:buNone/>
              <a:defRPr sz="1959"/>
            </a:lvl4pPr>
            <a:lvl5pPr marL="1007927" indent="0">
              <a:buNone/>
              <a:defRPr sz="1959"/>
            </a:lvl5pPr>
          </a:lstStyle>
          <a:p>
            <a:pPr lvl="0"/>
            <a:r>
              <a:rPr lang="en-US" dirty="0"/>
              <a:t>Yammer hashtag</a:t>
            </a:r>
          </a:p>
        </p:txBody>
      </p:sp>
    </p:spTree>
    <p:extLst>
      <p:ext uri="{BB962C8B-B14F-4D97-AF65-F5344CB8AC3E}">
        <p14:creationId xmlns:p14="http://schemas.microsoft.com/office/powerpoint/2010/main" val="4266656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2655259253"/>
      </p:ext>
    </p:extLst>
  </p:cSld>
  <p:clrMapOvr>
    <a:masterClrMapping/>
  </p:clrMapOvr>
  <p:transition>
    <p:fade/>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a:xfrm>
            <a:off x="7602972" y="298255"/>
            <a:ext cx="4321634" cy="6275864"/>
          </a:xfrm>
          <a:prstGeom prst="rect">
            <a:avLst/>
          </a:prstGeom>
        </p:spPr>
      </p:pic>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1" tIns="143354" rIns="179191" bIns="143354" numCol="1" spcCol="0" rtlCol="0" fromWordArt="0" anchor="t" anchorCtr="0" forceAA="0" compatLnSpc="1">
            <a:prstTxWarp prst="textNoShape">
              <a:avLst/>
            </a:prstTxWarp>
            <a:noAutofit/>
          </a:bodyPr>
          <a:lstStyle/>
          <a:p>
            <a:pPr marL="0" marR="0" lvl="0" indent="0" algn="ctr" defTabSz="913642" rtl="0" eaLnBrk="1" fontAlgn="base" latinLnBrk="0" hangingPunct="1">
              <a:lnSpc>
                <a:spcPct val="90000"/>
              </a:lnSpc>
              <a:spcBef>
                <a:spcPct val="0"/>
              </a:spcBef>
              <a:spcAft>
                <a:spcPct val="0"/>
              </a:spcAft>
              <a:buClrTx/>
              <a:buSzTx/>
              <a:buFontTx/>
              <a:buNone/>
              <a:tabLst/>
              <a:defRPr/>
            </a:pPr>
            <a:endParaRPr kumimoji="0" lang="en-US" sz="2351"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170" y="1186356"/>
            <a:ext cx="7168398" cy="3407696"/>
          </a:xfrm>
          <a:noFill/>
        </p:spPr>
        <p:txBody>
          <a:bodyPr tIns="91440" bIns="91440" anchor="t" anchorCtr="0"/>
          <a:lstStyle>
            <a:lvl1pPr>
              <a:defRPr sz="7055" spc="-98"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171" y="4594054"/>
            <a:ext cx="7169531" cy="1793881"/>
          </a:xfrm>
          <a:noFill/>
        </p:spPr>
        <p:txBody>
          <a:bodyPr lIns="182880" tIns="146304" rIns="182880" bIns="146304">
            <a:noAutofit/>
          </a:bodyPr>
          <a:lstStyle>
            <a:lvl1pPr marL="0" indent="0">
              <a:spcBef>
                <a:spcPts val="0"/>
              </a:spcBef>
              <a:buNone/>
              <a:defRPr sz="3527"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sp>
        <p:nvSpPr>
          <p:cNvPr id="7" name="TextBox 7"/>
          <p:cNvSpPr txBox="1"/>
          <p:nvPr userDrawn="1"/>
        </p:nvSpPr>
        <p:spPr bwMode="white">
          <a:xfrm>
            <a:off x="4366222" y="6566900"/>
            <a:ext cx="34563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5898"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2487882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3" name="Text Placeholder 2"/>
          <p:cNvSpPr>
            <a:spLocks noGrp="1"/>
          </p:cNvSpPr>
          <p:nvPr>
            <p:ph type="body"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p:cNvSpPr>
            <a:spLocks noGrp="1"/>
          </p:cNvSpPr>
          <p:nvPr>
            <p:ph type="title"/>
          </p:nvPr>
        </p:nvSpPr>
        <p:spPr/>
        <p:txBody>
          <a:bodyPr/>
          <a:lstStyle/>
          <a:p>
            <a:r>
              <a:rPr lang="en-US"/>
              <a:t>Click to edit Master title style</a:t>
            </a:r>
          </a:p>
        </p:txBody>
      </p:sp>
      <p:sp>
        <p:nvSpPr>
          <p:cNvPr id="8" name="Date Placeholder 7"/>
          <p:cNvSpPr>
            <a:spLocks noGrp="1"/>
          </p:cNvSpPr>
          <p:nvPr>
            <p:ph type="dt" sz="half" idx="10"/>
          </p:nvPr>
        </p:nvSpPr>
        <p:spPr>
          <a:xfrm>
            <a:off x="8532178" y="6356351"/>
            <a:ext cx="3051269" cy="365760"/>
          </a:xfrm>
          <a:prstGeom prst="rect">
            <a:avLst/>
          </a:prstGeom>
        </p:spPr>
        <p:txBody>
          <a:bodyPr/>
          <a:lstStyle/>
          <a:p>
            <a:pPr algn="r" defTabSz="914180"/>
            <a:fld id="{85526287-B2AA-4534-9616-8C1371A5F2E4}" type="datetime1">
              <a:rPr lang="en-US" smtClean="0">
                <a:solidFill>
                  <a:srgbClr val="FFFFFF"/>
                </a:solidFill>
              </a:rPr>
              <a:pPr algn="r" defTabSz="914180"/>
              <a:t>5/26/2016</a:t>
            </a:fld>
            <a:endParaRPr lang="en-US" sz="1600">
              <a:solidFill>
                <a:srgbClr val="00188F">
                  <a:shade val="50000"/>
                </a:srgbClr>
              </a:solidFill>
            </a:endParaRPr>
          </a:p>
        </p:txBody>
      </p:sp>
      <p:sp>
        <p:nvSpPr>
          <p:cNvPr id="9" name="Slide Number Placeholder 8"/>
          <p:cNvSpPr>
            <a:spLocks noGrp="1"/>
          </p:cNvSpPr>
          <p:nvPr>
            <p:ph type="sldNum" sz="quarter" idx="11"/>
          </p:nvPr>
        </p:nvSpPr>
        <p:spPr>
          <a:xfrm>
            <a:off x="816652" y="6356351"/>
            <a:ext cx="2640912" cy="365760"/>
          </a:xfrm>
          <a:prstGeom prst="rect">
            <a:avLst/>
          </a:prstGeom>
        </p:spPr>
        <p:txBody>
          <a:bodyPr/>
          <a:lstStyle/>
          <a:p>
            <a:pPr defTabSz="914180"/>
            <a:fld id="{0C2EF4DC-10BE-438D-A0C2-4265DEFE2ED1}" type="slidenum">
              <a:rPr lang="en-US" smtClean="0">
                <a:solidFill>
                  <a:srgbClr val="00188F">
                    <a:shade val="50000"/>
                  </a:srgbClr>
                </a:solidFill>
              </a:rPr>
              <a:pPr defTabSz="914180"/>
              <a:t>‹#›</a:t>
            </a:fld>
            <a:endParaRPr lang="en-US" dirty="0">
              <a:solidFill>
                <a:srgbClr val="00188F">
                  <a:shade val="50000"/>
                </a:srgbClr>
              </a:solidFill>
            </a:endParaRPr>
          </a:p>
        </p:txBody>
      </p:sp>
      <p:sp>
        <p:nvSpPr>
          <p:cNvPr id="10" name="Footer Placeholder 9"/>
          <p:cNvSpPr>
            <a:spLocks noGrp="1"/>
          </p:cNvSpPr>
          <p:nvPr>
            <p:ph type="ftr" sz="quarter" idx="12"/>
          </p:nvPr>
        </p:nvSpPr>
        <p:spPr>
          <a:xfrm>
            <a:off x="3863858" y="6356351"/>
            <a:ext cx="4672383" cy="365760"/>
          </a:xfrm>
          <a:prstGeom prst="rect">
            <a:avLst/>
          </a:prstGeom>
        </p:spPr>
        <p:txBody>
          <a:bodyPr/>
          <a:lstStyle/>
          <a:p>
            <a:pPr defTabSz="914180"/>
            <a:endParaRPr lang="en-US" sz="1600" dirty="0">
              <a:solidFill>
                <a:srgbClr val="00188F">
                  <a:shade val="50000"/>
                </a:srgbClr>
              </a:solidFill>
            </a:endParaRPr>
          </a:p>
        </p:txBody>
      </p:sp>
    </p:spTree>
    <p:extLst>
      <p:ext uri="{BB962C8B-B14F-4D97-AF65-F5344CB8AC3E}">
        <p14:creationId xmlns:p14="http://schemas.microsoft.com/office/powerpoint/2010/main" val="4091958448"/>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1" tIns="143354" rIns="179191" bIns="143354" numCol="1" spcCol="0" rtlCol="0" fromWordArt="0" anchor="t" anchorCtr="0" forceAA="0" compatLnSpc="1">
            <a:prstTxWarp prst="textNoShape">
              <a:avLst/>
            </a:prstTxWarp>
            <a:noAutofit/>
          </a:bodyPr>
          <a:lstStyle/>
          <a:p>
            <a:pPr marL="0" marR="0" lvl="0" indent="0" algn="ctr" defTabSz="913642" rtl="0" eaLnBrk="1" fontAlgn="base" latinLnBrk="0" hangingPunct="1">
              <a:lnSpc>
                <a:spcPct val="90000"/>
              </a:lnSpc>
              <a:spcBef>
                <a:spcPct val="0"/>
              </a:spcBef>
              <a:spcAft>
                <a:spcPct val="0"/>
              </a:spcAft>
              <a:buClrTx/>
              <a:buSzTx/>
              <a:buFontTx/>
              <a:buNone/>
              <a:tabLst/>
              <a:defRPr/>
            </a:pPr>
            <a:endParaRPr kumimoji="0" lang="en-US" sz="2351"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171" y="1186356"/>
            <a:ext cx="8961913" cy="2697988"/>
          </a:xfrm>
          <a:noFill/>
        </p:spPr>
        <p:txBody>
          <a:bodyPr tIns="91440" bIns="91440" anchor="t" anchorCtr="0"/>
          <a:lstStyle>
            <a:lvl1pPr>
              <a:defRPr sz="7055" spc="-98" baseline="0">
                <a:gradFill>
                  <a:gsLst>
                    <a:gs pos="75912">
                      <a:schemeClr val="tx1"/>
                    </a:gs>
                    <a:gs pos="34307">
                      <a:schemeClr val="tx1"/>
                    </a:gs>
                    <a:gs pos="43000">
                      <a:schemeClr val="tx1"/>
                    </a:gs>
                  </a:gsLst>
                  <a:lin ang="5400000" scaled="0"/>
                </a:gradFill>
              </a:defRPr>
            </a:lvl1pPr>
          </a:lstStyle>
          <a:p>
            <a:r>
              <a:rPr lang="en-US" dirty="0"/>
              <a:t>Video title</a:t>
            </a:r>
          </a:p>
        </p:txBody>
      </p:sp>
      <p:sp>
        <p:nvSpPr>
          <p:cNvPr id="5" name="TextBox 7"/>
          <p:cNvSpPr txBox="1"/>
          <p:nvPr userDrawn="1"/>
        </p:nvSpPr>
        <p:spPr bwMode="white">
          <a:xfrm>
            <a:off x="4366222" y="6566900"/>
            <a:ext cx="34563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5898"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pic>
        <p:nvPicPr>
          <p:cNvPr id="11" name="Picture 10"/>
          <p:cNvPicPr>
            <a:picLocks noChangeAspect="1"/>
          </p:cNvPicPr>
          <p:nvPr userDrawn="1"/>
        </p:nvPicPr>
        <p:blipFill>
          <a:blip r:embed="rId2"/>
          <a:stretch>
            <a:fillRect/>
          </a:stretch>
        </p:blipFill>
        <p:spPr>
          <a:xfrm>
            <a:off x="-216" y="3015598"/>
            <a:ext cx="12189259" cy="3227867"/>
          </a:xfrm>
          <a:prstGeom prst="rect">
            <a:avLst/>
          </a:prstGeom>
        </p:spPr>
      </p:pic>
    </p:spTree>
    <p:extLst>
      <p:ext uri="{BB962C8B-B14F-4D97-AF65-F5344CB8AC3E}">
        <p14:creationId xmlns:p14="http://schemas.microsoft.com/office/powerpoint/2010/main" val="221605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4"/>
            <a:ext cx="11650488" cy="1796217"/>
          </a:xfrm>
          <a:noFill/>
        </p:spPr>
        <p:txBody>
          <a:bodyPr tIns="91440" bIns="91440" anchor="t" anchorCtr="0"/>
          <a:lstStyle>
            <a:lvl1pPr>
              <a:defRPr sz="8622" spc="-98" baseline="0">
                <a:gradFill>
                  <a:gsLst>
                    <a:gs pos="75912">
                      <a:schemeClr val="tx1"/>
                    </a:gs>
                    <a:gs pos="34307">
                      <a:schemeClr val="tx1"/>
                    </a:gs>
                    <a:gs pos="43000">
                      <a:schemeClr val="tx1"/>
                    </a:gs>
                  </a:gsLst>
                  <a:lin ang="5400000" scaled="0"/>
                </a:gradFill>
              </a:defRPr>
            </a:lvl1pPr>
          </a:lstStyle>
          <a:p>
            <a:r>
              <a:rPr lang="en-US" dirty="0"/>
              <a:t>Section title</a:t>
            </a:r>
          </a:p>
        </p:txBody>
      </p:sp>
      <p:sp>
        <p:nvSpPr>
          <p:cNvPr id="3" name="TextBox 7"/>
          <p:cNvSpPr txBox="1"/>
          <p:nvPr userDrawn="1"/>
        </p:nvSpPr>
        <p:spPr bwMode="white">
          <a:xfrm>
            <a:off x="4366222" y="6566900"/>
            <a:ext cx="34563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5898"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2458939927"/>
      </p:ext>
    </p:extLst>
  </p:cSld>
  <p:clrMapOvr>
    <a:masterClrMapping/>
  </p:clrMapOvr>
  <p:transition>
    <p:fade/>
  </p:transition>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4"/>
            <a:ext cx="11650488" cy="1796217"/>
          </a:xfrm>
          <a:noFill/>
        </p:spPr>
        <p:txBody>
          <a:bodyPr tIns="91440" bIns="91440" anchor="t" anchorCtr="0"/>
          <a:lstStyle>
            <a:lvl1pPr algn="l" defTabSz="913906" rtl="0" eaLnBrk="1" latinLnBrk="0" hangingPunct="1">
              <a:lnSpc>
                <a:spcPct val="90000"/>
              </a:lnSpc>
              <a:spcBef>
                <a:spcPct val="0"/>
              </a:spcBef>
              <a:buNone/>
              <a:defRPr lang="en-US" sz="8622"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366222" y="6566900"/>
            <a:ext cx="34563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5898"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753969133"/>
      </p:ext>
    </p:extLst>
  </p:cSld>
  <p:clrMapOvr>
    <a:masterClrMapping/>
  </p:clrMapOvr>
  <p:transition>
    <p:fade/>
  </p:transition>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4"/>
            <a:ext cx="11650488" cy="1796217"/>
          </a:xfrm>
          <a:noFill/>
        </p:spPr>
        <p:txBody>
          <a:bodyPr tIns="91440" bIns="91440" anchor="t" anchorCtr="0"/>
          <a:lstStyle>
            <a:lvl1pPr algn="l" defTabSz="913906" rtl="0" eaLnBrk="1" latinLnBrk="0" hangingPunct="1">
              <a:lnSpc>
                <a:spcPct val="90000"/>
              </a:lnSpc>
              <a:spcBef>
                <a:spcPct val="0"/>
              </a:spcBef>
              <a:buNone/>
              <a:defRPr lang="en-US" sz="8622"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366222" y="6566900"/>
            <a:ext cx="34563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5898"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505050">
                        <a:alpha val="50000"/>
                      </a:srgbClr>
                    </a:gs>
                    <a:gs pos="86000">
                      <a:srgbClr val="505050">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33029855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171" y="1189178"/>
            <a:ext cx="11652805" cy="2018835"/>
          </a:xfrm>
        </p:spPr>
        <p:txBody>
          <a:bodyPr/>
          <a:lstStyle>
            <a:lvl1pPr marL="0" indent="0">
              <a:buNone/>
              <a:defRPr/>
            </a:lvl1pPr>
            <a:lvl2pPr marL="27998" indent="0">
              <a:buNone/>
              <a:defRPr sz="1959"/>
            </a:lvl2pPr>
            <a:lvl3pPr marL="219318" indent="0">
              <a:buNone/>
              <a:defRPr sz="1959"/>
            </a:lvl3pPr>
            <a:lvl4pPr marL="466633" indent="0">
              <a:buNone/>
              <a:defRPr sz="1763"/>
            </a:lvl4pPr>
            <a:lvl5pPr marL="724835" indent="0">
              <a:buNone/>
              <a:defRPr sz="1763"/>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366222" y="6566900"/>
            <a:ext cx="34563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5898"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09290271"/>
      </p:ext>
    </p:extLst>
  </p:cSld>
  <p:clrMapOvr>
    <a:masterClrMapping/>
  </p:clrMapOvr>
  <p:transition>
    <p:fade/>
  </p:transition>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1"/>
            </a:lvl3pPr>
            <a:lvl4pPr>
              <a:defRPr sz="1959"/>
            </a:lvl4pPr>
            <a:lvl5pPr>
              <a:defRPr sz="1959"/>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66222" y="6566900"/>
            <a:ext cx="34563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5898"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593729276"/>
      </p:ext>
    </p:extLst>
  </p:cSld>
  <p:clrMapOvr>
    <a:masterClrMapping/>
  </p:clrMapOvr>
  <p:transition>
    <p:fade/>
  </p:transition>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6"/>
            <a:ext cx="5377147" cy="2000548"/>
          </a:xfrm>
        </p:spPr>
        <p:txBody>
          <a:bodyPr wrap="square">
            <a:spAutoFit/>
          </a:bodyPr>
          <a:lstStyle>
            <a:lvl1pPr marL="0" indent="0">
              <a:spcBef>
                <a:spcPts val="1200"/>
              </a:spcBef>
              <a:buClr>
                <a:schemeClr val="tx1"/>
              </a:buClr>
              <a:buFont typeface="Wingdings" pitchFamily="2" charset="2"/>
              <a:buNone/>
              <a:defRPr sz="3527"/>
            </a:lvl1pPr>
            <a:lvl2pPr marL="0" indent="0">
              <a:buNone/>
              <a:defRPr sz="1959"/>
            </a:lvl2pPr>
            <a:lvl3pPr marL="227095" indent="0">
              <a:buNone/>
              <a:tabLst/>
              <a:defRPr sz="1959"/>
            </a:lvl3pPr>
            <a:lvl4pPr marL="451079" indent="0">
              <a:buNone/>
              <a:defRPr/>
            </a:lvl4pPr>
            <a:lvl5pPr marL="67195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1" y="1189176"/>
            <a:ext cx="5377147" cy="2000548"/>
          </a:xfrm>
        </p:spPr>
        <p:txBody>
          <a:bodyPr wrap="square">
            <a:spAutoFit/>
          </a:bodyPr>
          <a:lstStyle>
            <a:lvl1pPr marL="0" indent="0">
              <a:spcBef>
                <a:spcPts val="1200"/>
              </a:spcBef>
              <a:buClr>
                <a:schemeClr val="tx1"/>
              </a:buClr>
              <a:buFont typeface="Wingdings" pitchFamily="2" charset="2"/>
              <a:buNone/>
              <a:defRPr sz="3527"/>
            </a:lvl1pPr>
            <a:lvl2pPr marL="0" indent="0">
              <a:buNone/>
              <a:defRPr sz="1959"/>
            </a:lvl2pPr>
            <a:lvl3pPr marL="227095" indent="0">
              <a:buNone/>
              <a:tabLst/>
              <a:defRPr sz="1959"/>
            </a:lvl3pPr>
            <a:lvl4pPr marL="451079" indent="0">
              <a:buNone/>
              <a:defRPr/>
            </a:lvl4pPr>
            <a:lvl5pPr marL="67195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6222" y="6566900"/>
            <a:ext cx="34563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5898"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2577546691"/>
      </p:ext>
    </p:extLst>
  </p:cSld>
  <p:clrMapOvr>
    <a:masterClrMapping/>
  </p:clrMapOvr>
  <p:transition>
    <p:fade/>
  </p:transition>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6"/>
            <a:ext cx="5377147" cy="2066912"/>
          </a:xfrm>
        </p:spPr>
        <p:txBody>
          <a:bodyPr wrap="square">
            <a:spAutoFit/>
          </a:bodyPr>
          <a:lstStyle>
            <a:lvl1pPr marL="281536" indent="-281536">
              <a:spcBef>
                <a:spcPts val="1200"/>
              </a:spcBef>
              <a:buClr>
                <a:schemeClr val="tx1"/>
              </a:buClr>
              <a:buFont typeface="Wingdings" panose="05000000000000000000" pitchFamily="2" charset="2"/>
              <a:buChar char="§"/>
              <a:defRPr sz="3527"/>
            </a:lvl1pPr>
            <a:lvl2pPr marL="520440" indent="-228485">
              <a:defRPr sz="2351"/>
            </a:lvl2pPr>
            <a:lvl3pPr marL="685457" indent="-165017">
              <a:tabLst/>
              <a:defRPr sz="1959"/>
            </a:lvl3pPr>
            <a:lvl4pPr marL="863168" indent="-177712">
              <a:defRPr/>
            </a:lvl4pPr>
            <a:lvl5pPr marL="1028185" indent="-16501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1" y="1189176"/>
            <a:ext cx="5377147" cy="2066912"/>
          </a:xfrm>
        </p:spPr>
        <p:txBody>
          <a:bodyPr wrap="square">
            <a:spAutoFit/>
          </a:bodyPr>
          <a:lstStyle>
            <a:lvl1pPr marL="281536" indent="-281536">
              <a:spcBef>
                <a:spcPts val="1200"/>
              </a:spcBef>
              <a:buClr>
                <a:schemeClr val="tx1"/>
              </a:buClr>
              <a:buFont typeface="Wingdings" panose="05000000000000000000" pitchFamily="2" charset="2"/>
              <a:buChar char="§"/>
              <a:defRPr sz="3527"/>
            </a:lvl1pPr>
            <a:lvl2pPr marL="520440" indent="-228485">
              <a:defRPr sz="2351"/>
            </a:lvl2pPr>
            <a:lvl3pPr marL="685457" indent="-165017">
              <a:tabLst/>
              <a:defRPr sz="1959"/>
            </a:lvl3pPr>
            <a:lvl4pPr marL="863168" indent="-177712">
              <a:defRPr/>
            </a:lvl4pPr>
            <a:lvl5pPr marL="1028185" indent="-16501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6222" y="6566900"/>
            <a:ext cx="34563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5898"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3492389795"/>
      </p:ext>
    </p:extLst>
  </p:cSld>
  <p:clrMapOvr>
    <a:masterClrMapping/>
  </p:clrMapOvr>
  <p:transition>
    <p:fade/>
  </p:transition>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366222" y="6566900"/>
            <a:ext cx="34563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5898"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4072281209"/>
      </p:ext>
    </p:extLst>
  </p:cSld>
  <p:clrMapOvr>
    <a:masterClrMapping/>
  </p:clrMapOvr>
  <p:transition>
    <p:fade/>
  </p:transition>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6950" y="1187623"/>
            <a:ext cx="11652805" cy="899665"/>
          </a:xfrm>
        </p:spPr>
        <p:txBody>
          <a:bodyPr/>
          <a:lstStyle>
            <a:lvl1pPr>
              <a:defRPr sz="7055" baseline="0"/>
            </a:lvl1pPr>
          </a:lstStyle>
          <a:p>
            <a:r>
              <a:rPr lang="en-US"/>
              <a:t>Click to edit Master title style</a:t>
            </a:r>
            <a:endParaRPr lang="en-US" dirty="0"/>
          </a:p>
        </p:txBody>
      </p:sp>
      <p:sp>
        <p:nvSpPr>
          <p:cNvPr id="3" name="TextBox 7"/>
          <p:cNvSpPr txBox="1"/>
          <p:nvPr userDrawn="1"/>
        </p:nvSpPr>
        <p:spPr bwMode="white">
          <a:xfrm>
            <a:off x="4366222" y="6566900"/>
            <a:ext cx="34563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5898"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3380614222"/>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AzureCon Title Slide">
    <p:spTree>
      <p:nvGrpSpPr>
        <p:cNvPr id="1" name=""/>
        <p:cNvGrpSpPr/>
        <p:nvPr/>
      </p:nvGrpSpPr>
      <p:grpSpPr>
        <a:xfrm>
          <a:off x="0" y="0"/>
          <a:ext cx="0" cy="0"/>
          <a:chOff x="0" y="0"/>
          <a:chExt cx="0" cy="0"/>
        </a:xfrm>
      </p:grpSpPr>
      <p:pic>
        <p:nvPicPr>
          <p:cNvPr id="7" name="Picture 5"/>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77" y="0"/>
            <a:ext cx="1218727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hasCustomPrompt="1"/>
          </p:nvPr>
        </p:nvSpPr>
        <p:spPr>
          <a:xfrm>
            <a:off x="269232" y="2084187"/>
            <a:ext cx="8961851" cy="1793090"/>
          </a:xfrm>
          <a:noFill/>
        </p:spPr>
        <p:txBody>
          <a:bodyPr lIns="146304" tIns="91440" rIns="146304" bIns="91440" anchor="t" anchorCtr="0"/>
          <a:lstStyle>
            <a:lvl1pPr>
              <a:defRPr sz="5293"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231" y="3878574"/>
            <a:ext cx="7169469"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a:p>
            <a:pPr lvl="0"/>
            <a:r>
              <a:rPr lang="en-US" dirty="0"/>
              <a:t>Speaker Title</a:t>
            </a:r>
          </a:p>
        </p:txBody>
      </p:sp>
    </p:spTree>
    <p:extLst>
      <p:ext uri="{BB962C8B-B14F-4D97-AF65-F5344CB8AC3E}">
        <p14:creationId xmlns:p14="http://schemas.microsoft.com/office/powerpoint/2010/main" val="35041899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79" baseline="0"/>
            </a:lvl1pPr>
          </a:lstStyle>
          <a:p>
            <a:r>
              <a:rPr lang="en-US"/>
              <a:t>Click to edit Master title style</a:t>
            </a:r>
            <a:endParaRPr lang="en-US" dirty="0"/>
          </a:p>
        </p:txBody>
      </p:sp>
      <p:sp>
        <p:nvSpPr>
          <p:cNvPr id="3" name="TextBox 7"/>
          <p:cNvSpPr txBox="1"/>
          <p:nvPr userDrawn="1"/>
        </p:nvSpPr>
        <p:spPr bwMode="white">
          <a:xfrm>
            <a:off x="4366222" y="6566900"/>
            <a:ext cx="34563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5898"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2050555310"/>
      </p:ext>
    </p:extLst>
  </p:cSld>
  <p:clrMapOvr>
    <a:masterClrMapping/>
  </p:clrMapOvr>
  <p:transition>
    <p:fade/>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79" baseline="0"/>
            </a:lvl1pPr>
          </a:lstStyle>
          <a:p>
            <a:r>
              <a:rPr lang="en-US"/>
              <a:t>Click to edit Master title style</a:t>
            </a:r>
            <a:endParaRPr lang="en-US" dirty="0"/>
          </a:p>
        </p:txBody>
      </p:sp>
      <p:sp>
        <p:nvSpPr>
          <p:cNvPr id="3" name="TextBox 7"/>
          <p:cNvSpPr txBox="1"/>
          <p:nvPr userDrawn="1"/>
        </p:nvSpPr>
        <p:spPr bwMode="white">
          <a:xfrm>
            <a:off x="4366222" y="6566900"/>
            <a:ext cx="34563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5898"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496239976"/>
      </p:ext>
    </p:extLst>
  </p:cSld>
  <p:clrMapOvr>
    <a:masterClrMapping/>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1178351"/>
            <a:ext cx="9858104" cy="899665"/>
          </a:xfrm>
        </p:spPr>
        <p:txBody>
          <a:bodyPr/>
          <a:lstStyle>
            <a:lvl1pPr marL="228650" indent="-228650">
              <a:defRPr sz="5879"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6318" y="5025984"/>
            <a:ext cx="5377148" cy="1050156"/>
          </a:xfrm>
        </p:spPr>
        <p:txBody>
          <a:bodyPr/>
          <a:lstStyle>
            <a:lvl1pPr marL="0" indent="0">
              <a:spcBef>
                <a:spcPts val="0"/>
              </a:spcBef>
              <a:buNone/>
              <a:defRPr sz="3135" baseline="0">
                <a:latin typeface="+mj-lt"/>
              </a:defRPr>
            </a:lvl1pPr>
          </a:lstStyle>
          <a:p>
            <a:pPr lvl="0"/>
            <a:r>
              <a:rPr lang="en-US" dirty="0"/>
              <a:t>Author Name</a:t>
            </a:r>
          </a:p>
          <a:p>
            <a:pPr lvl="0"/>
            <a:r>
              <a:rPr lang="en-US" dirty="0"/>
              <a:t>Title</a:t>
            </a:r>
          </a:p>
        </p:txBody>
      </p:sp>
      <p:sp>
        <p:nvSpPr>
          <p:cNvPr id="5" name="TextBox 7"/>
          <p:cNvSpPr txBox="1"/>
          <p:nvPr userDrawn="1"/>
        </p:nvSpPr>
        <p:spPr bwMode="white">
          <a:xfrm>
            <a:off x="4330873" y="6566900"/>
            <a:ext cx="35270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5898"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3688577956"/>
      </p:ext>
    </p:extLst>
  </p:cSld>
  <p:clrMapOvr>
    <a:masterClrMapping/>
  </p:clrMapOvr>
  <p:transition>
    <p:fade/>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2084175"/>
            <a:ext cx="9858104" cy="899665"/>
          </a:xfrm>
        </p:spPr>
        <p:txBody>
          <a:bodyPr/>
          <a:lstStyle>
            <a:lvl1pPr marL="276869" indent="-276869">
              <a:tabLst>
                <a:tab pos="276869" algn="l"/>
              </a:tabLst>
              <a:defRPr sz="5879"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6318" y="4773813"/>
            <a:ext cx="5377148" cy="1050156"/>
          </a:xfrm>
        </p:spPr>
        <p:txBody>
          <a:bodyPr/>
          <a:lstStyle>
            <a:lvl1pPr marL="0" indent="0">
              <a:spcBef>
                <a:spcPts val="0"/>
              </a:spcBef>
              <a:buNone/>
              <a:defRPr sz="3135"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330873" y="6566900"/>
            <a:ext cx="35270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5898"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3729329263"/>
      </p:ext>
    </p:extLst>
  </p:cSld>
  <p:clrMapOvr>
    <a:masterClrMapping/>
  </p:clrMapOvr>
  <p:transition>
    <p:fade/>
  </p:transition>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49" y="2383023"/>
            <a:ext cx="11650488" cy="914360"/>
          </a:xfrm>
        </p:spPr>
        <p:txBody>
          <a:bodyPr/>
          <a:lstStyle>
            <a:lvl1pPr marL="0" indent="0">
              <a:buNone/>
              <a:defRPr sz="5291">
                <a:gradFill>
                  <a:gsLst>
                    <a:gs pos="3333">
                      <a:schemeClr val="tx1"/>
                    </a:gs>
                    <a:gs pos="39000">
                      <a:schemeClr val="tx1"/>
                    </a:gs>
                  </a:gsLst>
                  <a:lin ang="5400000" scaled="0"/>
                </a:gradFill>
              </a:defRPr>
            </a:lvl1pPr>
            <a:lvl2pPr marL="0" indent="0">
              <a:buFontTx/>
              <a:buNone/>
              <a:defRPr sz="1959"/>
            </a:lvl2pPr>
            <a:lvl3pPr marL="223984" indent="0">
              <a:buNone/>
              <a:defRPr/>
            </a:lvl3pPr>
            <a:lvl4pPr marL="447968" indent="0">
              <a:buNone/>
              <a:defRPr/>
            </a:lvl4pPr>
            <a:lvl5pPr marL="671951" indent="0">
              <a:buNone/>
              <a:defRPr/>
            </a:lvl5pPr>
          </a:lstStyle>
          <a:p>
            <a:pPr lvl="0"/>
            <a:r>
              <a:rPr lang="en-US"/>
              <a:t>Edit Master text styles</a:t>
            </a:r>
          </a:p>
        </p:txBody>
      </p:sp>
      <p:sp>
        <p:nvSpPr>
          <p:cNvPr id="4" name="Title 1"/>
          <p:cNvSpPr>
            <a:spLocks noGrp="1"/>
          </p:cNvSpPr>
          <p:nvPr>
            <p:ph type="title"/>
          </p:nvPr>
        </p:nvSpPr>
        <p:spPr>
          <a:xfrm>
            <a:off x="276950" y="1187623"/>
            <a:ext cx="11652805" cy="899665"/>
          </a:xfrm>
        </p:spPr>
        <p:txBody>
          <a:bodyPr/>
          <a:lstStyle>
            <a:lvl1pPr>
              <a:defRPr sz="7055"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TextBox 7"/>
          <p:cNvSpPr txBox="1"/>
          <p:nvPr userDrawn="1"/>
        </p:nvSpPr>
        <p:spPr bwMode="white">
          <a:xfrm>
            <a:off x="4330873" y="6566900"/>
            <a:ext cx="35270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5898"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290436577"/>
      </p:ext>
    </p:extLst>
  </p:cSld>
  <p:clrMapOvr>
    <a:masterClrMapping/>
  </p:clrMapOvr>
  <p:transition>
    <p:fade/>
  </p:transition>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1" y="1217195"/>
            <a:ext cx="5377147" cy="1763530"/>
          </a:xfrm>
        </p:spPr>
        <p:txBody>
          <a:bodyPr/>
          <a:lstStyle>
            <a:lvl1pPr>
              <a:defRPr sz="6467"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5968" y="0"/>
            <a:ext cx="6092857"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194685447"/>
      </p:ext>
    </p:extLst>
  </p:cSld>
  <p:clrMapOvr>
    <a:masterClrMapping/>
  </p:clrMapOvr>
  <p:transition>
    <p:fade/>
  </p:transition>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2511" y="1217197"/>
            <a:ext cx="5377147" cy="899665"/>
          </a:xfrm>
        </p:spPr>
        <p:txBody>
          <a:bodyPr/>
          <a:lstStyle>
            <a:lvl1pPr>
              <a:defRPr sz="6467"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1" y="2"/>
            <a:ext cx="6092857" cy="6852151"/>
          </a:xfrm>
          <a:blipFill>
            <a:blip r:embed="rId2"/>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37691368"/>
      </p:ext>
    </p:extLst>
  </p:cSld>
  <p:clrMapOvr>
    <a:masterClrMapping/>
  </p:clrMapOvr>
  <p:transition>
    <p:fade/>
  </p:transition>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0873" y="6566900"/>
            <a:ext cx="35270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5898"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2158585559"/>
      </p:ext>
    </p:extLst>
  </p:cSld>
  <p:clrMapOvr>
    <a:masterClrMapping/>
  </p:clrMapOvr>
  <p:transition>
    <p:fade/>
  </p:transition>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330873" y="6566900"/>
            <a:ext cx="35270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5898"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3822890853"/>
      </p:ext>
    </p:extLst>
  </p:cSld>
  <p:clrMapOvr>
    <a:masterClrMapping/>
  </p:clrMapOvr>
  <p:transition>
    <p:fade/>
  </p:transition>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0873" y="6566900"/>
            <a:ext cx="35270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5898"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505050">
                        <a:alpha val="50000"/>
                      </a:srgbClr>
                    </a:gs>
                    <a:gs pos="86000">
                      <a:srgbClr val="505050">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32524669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accent1"/>
        </a:solidFill>
        <a:effectLst/>
      </p:bgPr>
    </p:bg>
    <p:spTree>
      <p:nvGrpSpPr>
        <p:cNvPr id="1" name=""/>
        <p:cNvGrpSpPr/>
        <p:nvPr/>
      </p:nvGrpSpPr>
      <p:grpSpPr>
        <a:xfrm>
          <a:off x="0" y="0"/>
          <a:ext cx="0" cy="0"/>
          <a:chOff x="0" y="0"/>
          <a:chExt cx="0" cy="0"/>
        </a:xfrm>
      </p:grpSpPr>
      <p:grpSp>
        <p:nvGrpSpPr>
          <p:cNvPr id="16" name="Group 15"/>
          <p:cNvGrpSpPr/>
          <p:nvPr userDrawn="1"/>
        </p:nvGrpSpPr>
        <p:grpSpPr>
          <a:xfrm>
            <a:off x="-233099" y="0"/>
            <a:ext cx="12655023" cy="6842189"/>
            <a:chOff x="-237835" y="0"/>
            <a:chExt cx="12912145" cy="6978399"/>
          </a:xfrm>
        </p:grpSpPr>
        <p:sp>
          <p:nvSpPr>
            <p:cNvPr id="261" name="Rectangle 260"/>
            <p:cNvSpPr/>
            <p:nvPr/>
          </p:nvSpPr>
          <p:spPr bwMode="auto">
            <a:xfrm>
              <a:off x="0" y="0"/>
              <a:ext cx="12436475" cy="5949950"/>
            </a:xfrm>
            <a:prstGeom prst="rect">
              <a:avLst/>
            </a:prstGeom>
            <a:solidFill>
              <a:srgbClr val="002846"/>
            </a:solidFill>
            <a:ln w="10795" cap="flat" cmpd="sng" algn="ctr">
              <a:noFill/>
              <a:prstDash val="solid"/>
              <a:headEnd type="none" w="med" len="med"/>
              <a:tailEnd type="none" w="med" len="med"/>
            </a:ln>
            <a:effectLst/>
          </p:spPr>
          <p:txBody>
            <a:bodyPr lIns="0" tIns="46637" rIns="0" bIns="46637" anchor="ctr"/>
            <a:lstStyle/>
            <a:p>
              <a:pPr algn="ctr" defTabSz="913843" eaLnBrk="1" hangingPunct="1">
                <a:defRPr/>
              </a:pPr>
              <a:endParaRPr lang="en-US" sz="1960" kern="0" dirty="0">
                <a:gradFill>
                  <a:gsLst>
                    <a:gs pos="16814">
                      <a:srgbClr val="FFFFFF"/>
                    </a:gs>
                    <a:gs pos="46000">
                      <a:srgbClr val="FFFFFF"/>
                    </a:gs>
                  </a:gsLst>
                  <a:lin ang="5400000" scaled="0"/>
                </a:gradFill>
                <a:latin typeface="Segoe UI"/>
                <a:ea typeface="+mn-ea"/>
              </a:endParaRPr>
            </a:p>
          </p:txBody>
        </p:sp>
        <p:sp>
          <p:nvSpPr>
            <p:cNvPr id="262" name="Freeform 261"/>
            <p:cNvSpPr/>
            <p:nvPr/>
          </p:nvSpPr>
          <p:spPr bwMode="auto">
            <a:xfrm>
              <a:off x="11399838" y="2357438"/>
              <a:ext cx="68262" cy="38100"/>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w="9525" cap="flat" cmpd="sng" algn="ctr">
              <a:noFill/>
              <a:prstDash val="solid"/>
              <a:headEnd type="none" w="med" len="med"/>
              <a:tailEnd type="none" w="med" len="med"/>
            </a:ln>
            <a:effectLst/>
          </p:spPr>
          <p:txBody>
            <a:bodyPr anchor="ctr"/>
            <a:lstStyle/>
            <a:p>
              <a:pPr algn="ctr" defTabSz="913870" eaLnBrk="1" fontAlgn="auto" hangingPunct="1">
                <a:spcBef>
                  <a:spcPts val="0"/>
                </a:spcBef>
                <a:spcAft>
                  <a:spcPts val="0"/>
                </a:spcAft>
                <a:defRPr/>
              </a:pPr>
              <a:endParaRPr lang="en-US" sz="1799" kern="0">
                <a:solidFill>
                  <a:srgbClr val="FFFFFF"/>
                </a:solidFill>
                <a:latin typeface="Segoe UI"/>
                <a:ea typeface="+mn-ea"/>
              </a:endParaRPr>
            </a:p>
          </p:txBody>
        </p:sp>
        <p:sp>
          <p:nvSpPr>
            <p:cNvPr id="458" name="Rectangle 457"/>
            <p:cNvSpPr/>
            <p:nvPr/>
          </p:nvSpPr>
          <p:spPr bwMode="auto">
            <a:xfrm>
              <a:off x="112714" y="4411652"/>
              <a:ext cx="12203111" cy="1391390"/>
            </a:xfrm>
            <a:prstGeom prst="rect">
              <a:avLst/>
            </a:prstGeom>
            <a:solidFill>
              <a:srgbClr val="0072C6">
                <a:lumMod val="75000"/>
              </a:srgbClr>
            </a:solidFill>
            <a:ln w="6350" cap="flat" cmpd="sng" algn="ctr">
              <a:noFill/>
              <a:prstDash val="solid"/>
              <a:miter lim="800000"/>
              <a:headEnd type="none" w="med" len="med"/>
              <a:tailEnd type="none" w="med" len="med"/>
            </a:ln>
            <a:effectLst/>
          </p:spPr>
          <p:txBody>
            <a:bodyPr lIns="179285" tIns="91440" rIns="179285" bIns="143428"/>
            <a:lstStyle/>
            <a:p>
              <a:pPr algn="ctr" defTabSz="895740" eaLnBrk="1" hangingPunct="1">
                <a:lnSpc>
                  <a:spcPct val="90000"/>
                </a:lnSpc>
                <a:spcBef>
                  <a:spcPts val="0"/>
                </a:spcBef>
                <a:spcAft>
                  <a:spcPts val="0"/>
                </a:spcAft>
                <a:defRPr/>
              </a:pPr>
              <a:r>
                <a:rPr lang="en-US" sz="1568"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Infrastructure Services</a:t>
              </a:r>
            </a:p>
          </p:txBody>
        </p:sp>
        <p:grpSp>
          <p:nvGrpSpPr>
            <p:cNvPr id="459" name="Group 458"/>
            <p:cNvGrpSpPr/>
            <p:nvPr/>
          </p:nvGrpSpPr>
          <p:grpSpPr>
            <a:xfrm>
              <a:off x="2945483" y="4783867"/>
              <a:ext cx="2834641" cy="790575"/>
              <a:chOff x="3078280" y="4930775"/>
              <a:chExt cx="2834641" cy="790575"/>
            </a:xfrm>
          </p:grpSpPr>
          <p:sp>
            <p:nvSpPr>
              <p:cNvPr id="507" name="Rectangle 506"/>
              <p:cNvSpPr/>
              <p:nvPr/>
            </p:nvSpPr>
            <p:spPr bwMode="auto">
              <a:xfrm>
                <a:off x="3078280" y="4930775"/>
                <a:ext cx="283464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torage</a:t>
                </a:r>
              </a:p>
            </p:txBody>
          </p:sp>
          <p:grpSp>
            <p:nvGrpSpPr>
              <p:cNvPr id="508" name="Group 507"/>
              <p:cNvGrpSpPr/>
              <p:nvPr/>
            </p:nvGrpSpPr>
            <p:grpSpPr>
              <a:xfrm>
                <a:off x="3141325" y="5190883"/>
                <a:ext cx="920051" cy="363782"/>
                <a:chOff x="3141325" y="5190883"/>
                <a:chExt cx="920051" cy="363782"/>
              </a:xfrm>
            </p:grpSpPr>
            <p:sp>
              <p:nvSpPr>
                <p:cNvPr id="515" name="Rectangle 514"/>
                <p:cNvSpPr/>
                <p:nvPr/>
              </p:nvSpPr>
              <p:spPr bwMode="auto">
                <a:xfrm>
                  <a:off x="3399149" y="5190883"/>
                  <a:ext cx="662227"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BLOB </a:t>
                  </a:r>
                  <a:b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Storage</a:t>
                  </a:r>
                </a:p>
              </p:txBody>
            </p:sp>
            <p:pic>
              <p:nvPicPr>
                <p:cNvPr id="516" name="Picture 231" descr="Storage blob.png"/>
                <p:cNvPicPr>
                  <a:picLocks noChangeAspect="1"/>
                </p:cNvPicPr>
                <p:nvPr/>
              </p:nvPicPr>
              <p:blipFill>
                <a:blip r:embed="rId2">
                  <a:biLevel thresh="25000"/>
                  <a:extLst>
                    <a:ext uri="{28A0092B-C50C-407E-A947-70E740481C1C}">
                      <a14:useLocalDpi xmlns:a14="http://schemas.microsoft.com/office/drawing/2010/main" val="0"/>
                    </a:ext>
                  </a:extLst>
                </a:blip>
                <a:srcRect/>
                <a:stretch>
                  <a:fillRect/>
                </a:stretch>
              </p:blipFill>
              <p:spPr bwMode="auto">
                <a:xfrm>
                  <a:off x="314132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9" name="Group 508"/>
              <p:cNvGrpSpPr/>
              <p:nvPr/>
            </p:nvGrpSpPr>
            <p:grpSpPr>
              <a:xfrm>
                <a:off x="4130780" y="5194673"/>
                <a:ext cx="817562" cy="363782"/>
                <a:chOff x="4079535" y="5194673"/>
                <a:chExt cx="817562" cy="363782"/>
              </a:xfrm>
            </p:grpSpPr>
            <p:sp>
              <p:nvSpPr>
                <p:cNvPr id="513" name="Rectangle 512"/>
                <p:cNvSpPr/>
                <p:nvPr/>
              </p:nvSpPr>
              <p:spPr bwMode="auto">
                <a:xfrm>
                  <a:off x="4351381" y="5194673"/>
                  <a:ext cx="545716"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Azure </a:t>
                  </a:r>
                  <a:b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Files</a:t>
                  </a:r>
                </a:p>
              </p:txBody>
            </p:sp>
            <p:pic>
              <p:nvPicPr>
                <p:cNvPr id="514" name="Picture 232" descr="Storage blob.png"/>
                <p:cNvPicPr>
                  <a:picLocks noChangeAspect="1"/>
                </p:cNvPicPr>
                <p:nvPr/>
              </p:nvPicPr>
              <p:blipFill>
                <a:blip r:embed="rId2">
                  <a:biLevel thresh="25000"/>
                  <a:extLst>
                    <a:ext uri="{28A0092B-C50C-407E-A947-70E740481C1C}">
                      <a14:useLocalDpi xmlns:a14="http://schemas.microsoft.com/office/drawing/2010/main" val="0"/>
                    </a:ext>
                  </a:extLst>
                </a:blip>
                <a:srcRect/>
                <a:stretch>
                  <a:fillRect/>
                </a:stretch>
              </p:blipFill>
              <p:spPr bwMode="auto">
                <a:xfrm>
                  <a:off x="407953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10" name="Group 509"/>
              <p:cNvGrpSpPr/>
              <p:nvPr/>
            </p:nvGrpSpPr>
            <p:grpSpPr>
              <a:xfrm>
                <a:off x="5017746" y="5193643"/>
                <a:ext cx="895175" cy="363782"/>
                <a:chOff x="5017746" y="5193643"/>
                <a:chExt cx="895175" cy="363782"/>
              </a:xfrm>
            </p:grpSpPr>
            <p:sp>
              <p:nvSpPr>
                <p:cNvPr id="511" name="Rectangle 510"/>
                <p:cNvSpPr/>
                <p:nvPr/>
              </p:nvSpPr>
              <p:spPr bwMode="auto">
                <a:xfrm>
                  <a:off x="5292049" y="5193643"/>
                  <a:ext cx="620872"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Premium Storage</a:t>
                  </a:r>
                </a:p>
              </p:txBody>
            </p:sp>
            <p:pic>
              <p:nvPicPr>
                <p:cNvPr id="512" name="Picture 233" descr="Storage blob.png"/>
                <p:cNvPicPr>
                  <a:picLocks noChangeAspect="1"/>
                </p:cNvPicPr>
                <p:nvPr/>
              </p:nvPicPr>
              <p:blipFill>
                <a:blip r:embed="rId2">
                  <a:biLevel thresh="25000"/>
                  <a:extLst>
                    <a:ext uri="{28A0092B-C50C-407E-A947-70E740481C1C}">
                      <a14:useLocalDpi xmlns:a14="http://schemas.microsoft.com/office/drawing/2010/main" val="0"/>
                    </a:ext>
                  </a:extLst>
                </a:blip>
                <a:srcRect/>
                <a:stretch>
                  <a:fillRect/>
                </a:stretch>
              </p:blipFill>
              <p:spPr bwMode="auto">
                <a:xfrm>
                  <a:off x="5017746"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460" name="Group 459"/>
            <p:cNvGrpSpPr/>
            <p:nvPr/>
          </p:nvGrpSpPr>
          <p:grpSpPr>
            <a:xfrm>
              <a:off x="249566" y="4783867"/>
              <a:ext cx="2573556" cy="788988"/>
              <a:chOff x="249566" y="4930775"/>
              <a:chExt cx="2573556" cy="788988"/>
            </a:xfrm>
          </p:grpSpPr>
          <p:sp>
            <p:nvSpPr>
              <p:cNvPr id="484" name="Rectangle 483"/>
              <p:cNvSpPr/>
              <p:nvPr/>
            </p:nvSpPr>
            <p:spPr bwMode="auto">
              <a:xfrm>
                <a:off x="249566" y="4930775"/>
                <a:ext cx="2573556" cy="788988"/>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ute</a:t>
                </a:r>
              </a:p>
            </p:txBody>
          </p:sp>
          <p:grpSp>
            <p:nvGrpSpPr>
              <p:cNvPr id="486" name="Group 485"/>
              <p:cNvGrpSpPr/>
              <p:nvPr/>
            </p:nvGrpSpPr>
            <p:grpSpPr>
              <a:xfrm>
                <a:off x="485673" y="5263570"/>
                <a:ext cx="952409" cy="261937"/>
                <a:chOff x="607413" y="5263570"/>
                <a:chExt cx="952409" cy="261937"/>
              </a:xfrm>
            </p:grpSpPr>
            <p:sp>
              <p:nvSpPr>
                <p:cNvPr id="503" name="Rectangle 502"/>
                <p:cNvSpPr/>
                <p:nvPr/>
              </p:nvSpPr>
              <p:spPr bwMode="auto">
                <a:xfrm>
                  <a:off x="892212" y="5263570"/>
                  <a:ext cx="667610" cy="21810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Virtual</a:t>
                  </a:r>
                  <a:b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Machine</a:t>
                  </a:r>
                </a:p>
              </p:txBody>
            </p:sp>
            <p:pic>
              <p:nvPicPr>
                <p:cNvPr id="504" name="Picture 395"/>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607413" y="5263570"/>
                  <a:ext cx="261938"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87" name="Group 486"/>
              <p:cNvGrpSpPr/>
              <p:nvPr/>
            </p:nvGrpSpPr>
            <p:grpSpPr>
              <a:xfrm>
                <a:off x="1737729" y="5259936"/>
                <a:ext cx="934978" cy="239587"/>
                <a:chOff x="1737729" y="5267270"/>
                <a:chExt cx="934978" cy="239587"/>
              </a:xfrm>
            </p:grpSpPr>
            <p:sp>
              <p:nvSpPr>
                <p:cNvPr id="488" name="Rectangle 487"/>
                <p:cNvSpPr/>
                <p:nvPr/>
              </p:nvSpPr>
              <p:spPr bwMode="auto">
                <a:xfrm>
                  <a:off x="1970460" y="5267270"/>
                  <a:ext cx="702247" cy="239587"/>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Containers</a:t>
                  </a:r>
                </a:p>
              </p:txBody>
            </p:sp>
            <p:grpSp>
              <p:nvGrpSpPr>
                <p:cNvPr id="489" name="Group 411"/>
                <p:cNvGrpSpPr>
                  <a:grpSpLocks/>
                </p:cNvGrpSpPr>
                <p:nvPr/>
              </p:nvGrpSpPr>
              <p:grpSpPr bwMode="auto">
                <a:xfrm>
                  <a:off x="1737729" y="5302132"/>
                  <a:ext cx="220664" cy="169862"/>
                  <a:chOff x="1116824" y="5288934"/>
                  <a:chExt cx="294653" cy="226942"/>
                </a:xfrm>
              </p:grpSpPr>
              <p:grpSp>
                <p:nvGrpSpPr>
                  <p:cNvPr id="490" name="Group 489"/>
                  <p:cNvGrpSpPr/>
                  <p:nvPr/>
                </p:nvGrpSpPr>
                <p:grpSpPr>
                  <a:xfrm>
                    <a:off x="1143956" y="5308454"/>
                    <a:ext cx="97033" cy="104041"/>
                    <a:chOff x="429567" y="3925067"/>
                    <a:chExt cx="291844" cy="312924"/>
                  </a:xfrm>
                  <a:solidFill>
                    <a:srgbClr val="FFFFFF"/>
                  </a:solidFill>
                </p:grpSpPr>
                <p:sp>
                  <p:nvSpPr>
                    <p:cNvPr id="500" name="Diamond 499"/>
                    <p:cNvSpPr/>
                    <p:nvPr/>
                  </p:nvSpPr>
                  <p:spPr bwMode="auto">
                    <a:xfrm rot="19690132">
                      <a:off x="429567" y="3991206"/>
                      <a:ext cx="148049" cy="245584"/>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501" name="Diamond 500"/>
                    <p:cNvSpPr/>
                    <p:nvPr/>
                  </p:nvSpPr>
                  <p:spPr bwMode="auto">
                    <a:xfrm rot="1935408">
                      <a:off x="567471" y="3991342"/>
                      <a:ext cx="153940" cy="246649"/>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502" name="Diamond 501"/>
                    <p:cNvSpPr/>
                    <p:nvPr/>
                  </p:nvSpPr>
                  <p:spPr bwMode="auto">
                    <a:xfrm rot="5400000">
                      <a:off x="498047" y="3879246"/>
                      <a:ext cx="153941" cy="245584"/>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sp>
                <p:nvSpPr>
                  <p:cNvPr id="491" name="Rounded Rectangle 490"/>
                  <p:cNvSpPr/>
                  <p:nvPr/>
                </p:nvSpPr>
                <p:spPr bwMode="auto">
                  <a:xfrm>
                    <a:off x="1116824" y="5288934"/>
                    <a:ext cx="294653" cy="226942"/>
                  </a:xfrm>
                  <a:prstGeom prst="roundRect">
                    <a:avLst>
                      <a:gd name="adj" fmla="val 9184"/>
                    </a:avLst>
                  </a:prstGeom>
                  <a:noFill/>
                  <a:ln w="19050" cap="flat" cmpd="sng" algn="ctr">
                    <a:solidFill>
                      <a:srgbClr val="FFFFFF"/>
                    </a:solid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nvGrpSpPr>
                  <p:cNvPr id="492" name="Group 491"/>
                  <p:cNvGrpSpPr/>
                  <p:nvPr/>
                </p:nvGrpSpPr>
                <p:grpSpPr>
                  <a:xfrm>
                    <a:off x="1288799" y="5308986"/>
                    <a:ext cx="97033" cy="104040"/>
                    <a:chOff x="429561" y="3925070"/>
                    <a:chExt cx="291847" cy="312921"/>
                  </a:xfrm>
                  <a:solidFill>
                    <a:srgbClr val="FFFFFF"/>
                  </a:solidFill>
                </p:grpSpPr>
                <p:sp>
                  <p:nvSpPr>
                    <p:cNvPr id="497" name="Diamond 496"/>
                    <p:cNvSpPr/>
                    <p:nvPr/>
                  </p:nvSpPr>
                  <p:spPr bwMode="auto">
                    <a:xfrm rot="19690132">
                      <a:off x="429561" y="3991205"/>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8" name="Diamond 497"/>
                    <p:cNvSpPr/>
                    <p:nvPr/>
                  </p:nvSpPr>
                  <p:spPr bwMode="auto">
                    <a:xfrm rot="1935408">
                      <a:off x="567466" y="3991341"/>
                      <a:ext cx="153942" cy="246650"/>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9" name="Diamond 498"/>
                    <p:cNvSpPr/>
                    <p:nvPr/>
                  </p:nvSpPr>
                  <p:spPr bwMode="auto">
                    <a:xfrm rot="5400000">
                      <a:off x="498041" y="3879250"/>
                      <a:ext cx="153941" cy="245582"/>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nvGrpSpPr>
                  <p:cNvPr id="493" name="Group 492"/>
                  <p:cNvGrpSpPr/>
                  <p:nvPr/>
                </p:nvGrpSpPr>
                <p:grpSpPr>
                  <a:xfrm>
                    <a:off x="1220330" y="5390443"/>
                    <a:ext cx="97032" cy="104039"/>
                    <a:chOff x="429564" y="3925074"/>
                    <a:chExt cx="291843" cy="312917"/>
                  </a:xfrm>
                  <a:solidFill>
                    <a:srgbClr val="FFFFFF"/>
                  </a:solidFill>
                </p:grpSpPr>
                <p:sp>
                  <p:nvSpPr>
                    <p:cNvPr id="494" name="Diamond 493"/>
                    <p:cNvSpPr/>
                    <p:nvPr/>
                  </p:nvSpPr>
                  <p:spPr bwMode="auto">
                    <a:xfrm rot="19690132">
                      <a:off x="429564" y="3991204"/>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5" name="Diamond 494"/>
                    <p:cNvSpPr/>
                    <p:nvPr/>
                  </p:nvSpPr>
                  <p:spPr bwMode="auto">
                    <a:xfrm rot="1935408">
                      <a:off x="567465" y="3991345"/>
                      <a:ext cx="153942" cy="246646"/>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6" name="Diamond 495"/>
                    <p:cNvSpPr/>
                    <p:nvPr/>
                  </p:nvSpPr>
                  <p:spPr bwMode="auto">
                    <a:xfrm rot="5400000">
                      <a:off x="502612" y="3879253"/>
                      <a:ext cx="153940" cy="245581"/>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grpSp>
        </p:grpSp>
        <p:grpSp>
          <p:nvGrpSpPr>
            <p:cNvPr id="461" name="Group 460"/>
            <p:cNvGrpSpPr/>
            <p:nvPr/>
          </p:nvGrpSpPr>
          <p:grpSpPr>
            <a:xfrm>
              <a:off x="5900614" y="4783867"/>
              <a:ext cx="6292850" cy="790575"/>
              <a:chOff x="6022975" y="4930775"/>
              <a:chExt cx="6292850" cy="790575"/>
            </a:xfrm>
          </p:grpSpPr>
          <p:sp>
            <p:nvSpPr>
              <p:cNvPr id="462" name="Rectangle 461"/>
              <p:cNvSpPr/>
              <p:nvPr/>
            </p:nvSpPr>
            <p:spPr bwMode="auto">
              <a:xfrm>
                <a:off x="6022975" y="4930775"/>
                <a:ext cx="629285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Networking</a:t>
                </a:r>
              </a:p>
            </p:txBody>
          </p:sp>
          <p:grpSp>
            <p:nvGrpSpPr>
              <p:cNvPr id="463" name="Group 462"/>
              <p:cNvGrpSpPr/>
              <p:nvPr/>
            </p:nvGrpSpPr>
            <p:grpSpPr>
              <a:xfrm>
                <a:off x="6120092" y="5210907"/>
                <a:ext cx="947766" cy="346518"/>
                <a:chOff x="6120092" y="5210907"/>
                <a:chExt cx="947766" cy="346518"/>
              </a:xfrm>
            </p:grpSpPr>
            <p:sp>
              <p:nvSpPr>
                <p:cNvPr id="482" name="Rectangle 481"/>
                <p:cNvSpPr/>
                <p:nvPr/>
              </p:nvSpPr>
              <p:spPr bwMode="auto">
                <a:xfrm>
                  <a:off x="6388100" y="5210907"/>
                  <a:ext cx="679758"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Virtual Network</a:t>
                  </a:r>
                </a:p>
              </p:txBody>
            </p:sp>
            <p:pic>
              <p:nvPicPr>
                <p:cNvPr id="483" name="Picture 226"/>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6120092" y="5242269"/>
                  <a:ext cx="268287" cy="268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4" name="Group 463"/>
              <p:cNvGrpSpPr/>
              <p:nvPr/>
            </p:nvGrpSpPr>
            <p:grpSpPr>
              <a:xfrm>
                <a:off x="8599909" y="5210661"/>
                <a:ext cx="854686" cy="346764"/>
                <a:chOff x="8608651" y="5210661"/>
                <a:chExt cx="854686" cy="346764"/>
              </a:xfrm>
            </p:grpSpPr>
            <p:sp>
              <p:nvSpPr>
                <p:cNvPr id="480" name="Rectangle 479"/>
                <p:cNvSpPr/>
                <p:nvPr/>
              </p:nvSpPr>
              <p:spPr bwMode="auto">
                <a:xfrm>
                  <a:off x="8913208" y="5210661"/>
                  <a:ext cx="550129"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Express</a:t>
                  </a:r>
                </a:p>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Route</a:t>
                  </a:r>
                </a:p>
              </p:txBody>
            </p:sp>
            <p:pic>
              <p:nvPicPr>
                <p:cNvPr id="481" name="Picture 227"/>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a:off x="8608651" y="5234771"/>
                  <a:ext cx="285077" cy="283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5" name="Group 464"/>
              <p:cNvGrpSpPr/>
              <p:nvPr/>
            </p:nvGrpSpPr>
            <p:grpSpPr>
              <a:xfrm>
                <a:off x="9499896" y="5210661"/>
                <a:ext cx="856833" cy="346764"/>
                <a:chOff x="9542661" y="5210661"/>
                <a:chExt cx="856833" cy="346764"/>
              </a:xfrm>
            </p:grpSpPr>
            <p:sp>
              <p:nvSpPr>
                <p:cNvPr id="478" name="Rectangle 477"/>
                <p:cNvSpPr/>
                <p:nvPr/>
              </p:nvSpPr>
              <p:spPr bwMode="auto">
                <a:xfrm>
                  <a:off x="9773921" y="5210661"/>
                  <a:ext cx="625573"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Traffic Manager</a:t>
                  </a:r>
                </a:p>
              </p:txBody>
            </p:sp>
            <p:pic>
              <p:nvPicPr>
                <p:cNvPr id="479" name="Picture 88"/>
                <p:cNvPicPr>
                  <a:picLocks noChangeAspect="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9542661" y="5271638"/>
                  <a:ext cx="211137"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6" name="Group 465"/>
              <p:cNvGrpSpPr/>
              <p:nvPr/>
            </p:nvGrpSpPr>
            <p:grpSpPr>
              <a:xfrm>
                <a:off x="11270141" y="5210661"/>
                <a:ext cx="985359" cy="346764"/>
                <a:chOff x="11270141" y="5210661"/>
                <a:chExt cx="985359" cy="346764"/>
              </a:xfrm>
            </p:grpSpPr>
            <p:sp>
              <p:nvSpPr>
                <p:cNvPr id="476" name="Rectangle 475"/>
                <p:cNvSpPr/>
                <p:nvPr/>
              </p:nvSpPr>
              <p:spPr bwMode="auto">
                <a:xfrm>
                  <a:off x="11524599" y="5210661"/>
                  <a:ext cx="730901"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Application Gateway</a:t>
                  </a:r>
                </a:p>
              </p:txBody>
            </p:sp>
            <p:sp>
              <p:nvSpPr>
                <p:cNvPr id="477" name="Freeform 476"/>
                <p:cNvSpPr/>
                <p:nvPr/>
              </p:nvSpPr>
              <p:spPr bwMode="auto">
                <a:xfrm rot="2700000">
                  <a:off x="11270140" y="5281957"/>
                  <a:ext cx="188913" cy="188912"/>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nvGrpSpPr>
              <p:cNvPr id="467" name="Group 466"/>
              <p:cNvGrpSpPr/>
              <p:nvPr/>
            </p:nvGrpSpPr>
            <p:grpSpPr>
              <a:xfrm>
                <a:off x="7897520" y="5210661"/>
                <a:ext cx="657088" cy="346764"/>
                <a:chOff x="7872239" y="5210661"/>
                <a:chExt cx="657088" cy="346764"/>
              </a:xfrm>
            </p:grpSpPr>
            <p:sp>
              <p:nvSpPr>
                <p:cNvPr id="474" name="Rectangle 473"/>
                <p:cNvSpPr/>
                <p:nvPr/>
              </p:nvSpPr>
              <p:spPr bwMode="auto">
                <a:xfrm>
                  <a:off x="8127646" y="5210661"/>
                  <a:ext cx="401681" cy="346764"/>
                </a:xfrm>
                <a:prstGeom prst="rect">
                  <a:avLst/>
                </a:prstGeom>
                <a:noFill/>
                <a:ln w="6350" cap="flat" cmpd="sng" algn="ctr">
                  <a:noFill/>
                  <a:prstDash val="solid"/>
                  <a:miter lim="800000"/>
                  <a:headEnd type="none" w="med" len="med"/>
                  <a:tailEnd type="none" w="med" len="med"/>
                </a:ln>
                <a:effectLst/>
              </p:spPr>
              <p:txBody>
                <a:bodyPr lIns="45720" tIns="45720" rIns="45720" bIns="45720" anchor="ctr" anchorCtr="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DNS</a:t>
                  </a:r>
                </a:p>
              </p:txBody>
            </p:sp>
            <p:pic>
              <p:nvPicPr>
                <p:cNvPr id="475" name="Picture 3"/>
                <p:cNvPicPr>
                  <a:picLocks noChangeAspect="1"/>
                </p:cNvPicPr>
                <p:nvPr/>
              </p:nvPicPr>
              <p:blipFill>
                <a:blip r:embed="rId7">
                  <a:biLevel thresh="25000"/>
                  <a:extLst>
                    <a:ext uri="{28A0092B-C50C-407E-A947-70E740481C1C}">
                      <a14:useLocalDpi xmlns:a14="http://schemas.microsoft.com/office/drawing/2010/main" val="0"/>
                    </a:ext>
                  </a:extLst>
                </a:blip>
                <a:srcRect/>
                <a:stretch>
                  <a:fillRect/>
                </a:stretch>
              </p:blipFill>
              <p:spPr bwMode="auto">
                <a:xfrm>
                  <a:off x="7872239" y="5259380"/>
                  <a:ext cx="234066" cy="23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8" name="Group 467"/>
              <p:cNvGrpSpPr/>
              <p:nvPr/>
            </p:nvGrpSpPr>
            <p:grpSpPr>
              <a:xfrm>
                <a:off x="10402030" y="5210661"/>
                <a:ext cx="822809" cy="346764"/>
                <a:chOff x="10440820" y="5210661"/>
                <a:chExt cx="822809" cy="346764"/>
              </a:xfrm>
            </p:grpSpPr>
            <p:sp>
              <p:nvSpPr>
                <p:cNvPr id="472" name="Rectangle 471"/>
                <p:cNvSpPr/>
                <p:nvPr/>
              </p:nvSpPr>
              <p:spPr bwMode="auto">
                <a:xfrm>
                  <a:off x="10673647" y="5210661"/>
                  <a:ext cx="589982"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VPN </a:t>
                  </a:r>
                  <a:b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Gateway</a:t>
                  </a:r>
                </a:p>
              </p:txBody>
            </p:sp>
            <p:pic>
              <p:nvPicPr>
                <p:cNvPr id="473" name="Picture 9"/>
                <p:cNvPicPr>
                  <a:picLocks noChangeAspect="1"/>
                </p:cNvPicPr>
                <p:nvPr/>
              </p:nvPicPr>
              <p:blipFill>
                <a:blip r:embed="rId8">
                  <a:biLevel thresh="25000"/>
                  <a:extLst>
                    <a:ext uri="{28A0092B-C50C-407E-A947-70E740481C1C}">
                      <a14:useLocalDpi xmlns:a14="http://schemas.microsoft.com/office/drawing/2010/main" val="0"/>
                    </a:ext>
                  </a:extLst>
                </a:blip>
                <a:srcRect/>
                <a:stretch>
                  <a:fillRect/>
                </a:stretch>
              </p:blipFill>
              <p:spPr bwMode="auto">
                <a:xfrm>
                  <a:off x="10440820" y="5255763"/>
                  <a:ext cx="241300" cy="24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9" name="Group 468"/>
              <p:cNvGrpSpPr/>
              <p:nvPr/>
            </p:nvGrpSpPr>
            <p:grpSpPr>
              <a:xfrm>
                <a:off x="7004047" y="5210907"/>
                <a:ext cx="848172" cy="346518"/>
                <a:chOff x="7002727" y="5210907"/>
                <a:chExt cx="848172" cy="346518"/>
              </a:xfrm>
            </p:grpSpPr>
            <p:sp>
              <p:nvSpPr>
                <p:cNvPr id="470" name="Rectangle 469"/>
                <p:cNvSpPr/>
                <p:nvPr/>
              </p:nvSpPr>
              <p:spPr bwMode="auto">
                <a:xfrm>
                  <a:off x="7265455" y="5210907"/>
                  <a:ext cx="585444"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Load Balancer</a:t>
                  </a:r>
                </a:p>
              </p:txBody>
            </p:sp>
            <p:pic>
              <p:nvPicPr>
                <p:cNvPr id="471" name="Picture 11"/>
                <p:cNvPicPr>
                  <a:picLocks noChangeAspect="1"/>
                </p:cNvPicPr>
                <p:nvPr/>
              </p:nvPicPr>
              <p:blipFill>
                <a:blip r:embed="rId9">
                  <a:biLevel thresh="25000"/>
                  <a:extLst>
                    <a:ext uri="{28A0092B-C50C-407E-A947-70E740481C1C}">
                      <a14:useLocalDpi xmlns:a14="http://schemas.microsoft.com/office/drawing/2010/main" val="0"/>
                    </a:ext>
                  </a:extLst>
                </a:blip>
                <a:srcRect/>
                <a:stretch>
                  <a:fillRect/>
                </a:stretch>
              </p:blipFill>
              <p:spPr bwMode="auto">
                <a:xfrm>
                  <a:off x="7002727" y="5257351"/>
                  <a:ext cx="23971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342" name="Rectangle 341"/>
            <p:cNvSpPr/>
            <p:nvPr/>
          </p:nvSpPr>
          <p:spPr bwMode="auto">
            <a:xfrm>
              <a:off x="112714" y="104775"/>
              <a:ext cx="12203111" cy="4349182"/>
            </a:xfrm>
            <a:prstGeom prst="rect">
              <a:avLst/>
            </a:prstGeom>
            <a:solidFill>
              <a:srgbClr val="005695"/>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568"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Platform Services</a:t>
              </a:r>
            </a:p>
          </p:txBody>
        </p:sp>
        <p:grpSp>
          <p:nvGrpSpPr>
            <p:cNvPr id="14" name="Group 13"/>
            <p:cNvGrpSpPr/>
            <p:nvPr/>
          </p:nvGrpSpPr>
          <p:grpSpPr>
            <a:xfrm>
              <a:off x="249566" y="543029"/>
              <a:ext cx="11942434" cy="3795291"/>
              <a:chOff x="249566" y="543029"/>
              <a:chExt cx="11942434" cy="3795291"/>
            </a:xfrm>
          </p:grpSpPr>
          <p:grpSp>
            <p:nvGrpSpPr>
              <p:cNvPr id="343" name="Group 342"/>
              <p:cNvGrpSpPr/>
              <p:nvPr/>
            </p:nvGrpSpPr>
            <p:grpSpPr>
              <a:xfrm>
                <a:off x="2087227" y="543029"/>
                <a:ext cx="8372241" cy="3790160"/>
                <a:chOff x="2082009" y="543029"/>
                <a:chExt cx="8372241" cy="3790160"/>
              </a:xfrm>
            </p:grpSpPr>
            <p:grpSp>
              <p:nvGrpSpPr>
                <p:cNvPr id="344" name="Group 343"/>
                <p:cNvGrpSpPr/>
                <p:nvPr/>
              </p:nvGrpSpPr>
              <p:grpSpPr>
                <a:xfrm>
                  <a:off x="4343326" y="543029"/>
                  <a:ext cx="3736693" cy="1371600"/>
                  <a:chOff x="4336920" y="650979"/>
                  <a:chExt cx="3736693" cy="1371600"/>
                </a:xfrm>
              </p:grpSpPr>
              <p:sp>
                <p:nvSpPr>
                  <p:cNvPr id="439" name="Rectangle 438"/>
                  <p:cNvSpPr/>
                  <p:nvPr/>
                </p:nvSpPr>
                <p:spPr bwMode="auto">
                  <a:xfrm>
                    <a:off x="4336920" y="650979"/>
                    <a:ext cx="3736693"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Web and mobile</a:t>
                    </a:r>
                  </a:p>
                </p:txBody>
              </p:sp>
              <p:grpSp>
                <p:nvGrpSpPr>
                  <p:cNvPr id="440" name="Group 439"/>
                  <p:cNvGrpSpPr/>
                  <p:nvPr/>
                </p:nvGrpSpPr>
                <p:grpSpPr>
                  <a:xfrm>
                    <a:off x="4516491" y="1046498"/>
                    <a:ext cx="1003842" cy="300037"/>
                    <a:chOff x="4516491" y="987018"/>
                    <a:chExt cx="1003842" cy="300037"/>
                  </a:xfrm>
                </p:grpSpPr>
                <p:sp>
                  <p:nvSpPr>
                    <p:cNvPr id="456" name="TextBox 455"/>
                    <p:cNvSpPr txBox="1"/>
                    <p:nvPr/>
                  </p:nvSpPr>
                  <p:spPr bwMode="auto">
                    <a:xfrm>
                      <a:off x="4861521" y="987018"/>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Web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pps</a:t>
                      </a:r>
                    </a:p>
                  </p:txBody>
                </p:sp>
                <p:pic>
                  <p:nvPicPr>
                    <p:cNvPr id="457" name="Picture 151"/>
                    <p:cNvPicPr>
                      <a:picLocks noChangeAspect="1"/>
                    </p:cNvPicPr>
                    <p:nvPr/>
                  </p:nvPicPr>
                  <p:blipFill>
                    <a:blip r:embed="rId10">
                      <a:biLevel thresh="25000"/>
                      <a:extLst>
                        <a:ext uri="{28A0092B-C50C-407E-A947-70E740481C1C}">
                          <a14:useLocalDpi xmlns:a14="http://schemas.microsoft.com/office/drawing/2010/main" val="0"/>
                        </a:ext>
                      </a:extLst>
                    </a:blip>
                    <a:srcRect/>
                    <a:stretch>
                      <a:fillRect/>
                    </a:stretch>
                  </p:blipFill>
                  <p:spPr bwMode="auto">
                    <a:xfrm>
                      <a:off x="4516491" y="993596"/>
                      <a:ext cx="286768" cy="286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1" name="Group 440"/>
                  <p:cNvGrpSpPr/>
                  <p:nvPr/>
                </p:nvGrpSpPr>
                <p:grpSpPr>
                  <a:xfrm>
                    <a:off x="4516491" y="1617114"/>
                    <a:ext cx="1003842" cy="291190"/>
                    <a:chOff x="4516491" y="1514601"/>
                    <a:chExt cx="1003842" cy="291190"/>
                  </a:xfrm>
                </p:grpSpPr>
                <p:sp>
                  <p:nvSpPr>
                    <p:cNvPr id="454" name="TextBox 453"/>
                    <p:cNvSpPr txBox="1"/>
                    <p:nvPr/>
                  </p:nvSpPr>
                  <p:spPr bwMode="auto">
                    <a:xfrm>
                      <a:off x="4861521" y="1530021"/>
                      <a:ext cx="658812" cy="26035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Mobil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pps</a:t>
                      </a:r>
                    </a:p>
                  </p:txBody>
                </p:sp>
                <p:pic>
                  <p:nvPicPr>
                    <p:cNvPr id="455" name="Picture 153"/>
                    <p:cNvPicPr>
                      <a:picLocks noChangeAspect="1"/>
                    </p:cNvPicPr>
                    <p:nvPr/>
                  </p:nvPicPr>
                  <p:blipFill>
                    <a:blip r:embed="rId11">
                      <a:biLevel thresh="25000"/>
                      <a:extLst>
                        <a:ext uri="{28A0092B-C50C-407E-A947-70E740481C1C}">
                          <a14:useLocalDpi xmlns:a14="http://schemas.microsoft.com/office/drawing/2010/main" val="0"/>
                        </a:ext>
                      </a:extLst>
                    </a:blip>
                    <a:srcRect/>
                    <a:stretch>
                      <a:fillRect/>
                    </a:stretch>
                  </p:blipFill>
                  <p:spPr bwMode="auto">
                    <a:xfrm>
                      <a:off x="4516491" y="1514601"/>
                      <a:ext cx="291075" cy="29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2" name="Group 441"/>
                  <p:cNvGrpSpPr/>
                  <p:nvPr/>
                </p:nvGrpSpPr>
                <p:grpSpPr>
                  <a:xfrm>
                    <a:off x="6846369" y="1044910"/>
                    <a:ext cx="1017770" cy="301625"/>
                    <a:chOff x="6784198" y="987352"/>
                    <a:chExt cx="1017770" cy="301625"/>
                  </a:xfrm>
                </p:grpSpPr>
                <p:sp>
                  <p:nvSpPr>
                    <p:cNvPr id="452" name="TextBox 451"/>
                    <p:cNvSpPr txBox="1"/>
                    <p:nvPr/>
                  </p:nvSpPr>
                  <p:spPr bwMode="auto">
                    <a:xfrm>
                      <a:off x="7143156" y="98735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PI</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Management</a:t>
                      </a:r>
                    </a:p>
                  </p:txBody>
                </p:sp>
                <p:pic>
                  <p:nvPicPr>
                    <p:cNvPr id="453" name="Picture 155"/>
                    <p:cNvPicPr>
                      <a:picLocks noChangeAspect="1"/>
                    </p:cNvPicPr>
                    <p:nvPr/>
                  </p:nvPicPr>
                  <p:blipFill>
                    <a:blip r:embed="rId12">
                      <a:biLevel thresh="25000"/>
                      <a:extLst>
                        <a:ext uri="{28A0092B-C50C-407E-A947-70E740481C1C}">
                          <a14:useLocalDpi xmlns:a14="http://schemas.microsoft.com/office/drawing/2010/main" val="0"/>
                        </a:ext>
                      </a:extLst>
                    </a:blip>
                    <a:srcRect/>
                    <a:stretch>
                      <a:fillRect/>
                    </a:stretch>
                  </p:blipFill>
                  <p:spPr bwMode="auto">
                    <a:xfrm>
                      <a:off x="6784198" y="987819"/>
                      <a:ext cx="291528" cy="291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3" name="Group 442"/>
                  <p:cNvGrpSpPr/>
                  <p:nvPr/>
                </p:nvGrpSpPr>
                <p:grpSpPr>
                  <a:xfrm>
                    <a:off x="5673359" y="1051631"/>
                    <a:ext cx="1019983" cy="294904"/>
                    <a:chOff x="5648693" y="1000311"/>
                    <a:chExt cx="1019983" cy="294904"/>
                  </a:xfrm>
                </p:grpSpPr>
                <p:sp>
                  <p:nvSpPr>
                    <p:cNvPr id="450" name="TextBox 449"/>
                    <p:cNvSpPr txBox="1"/>
                    <p:nvPr/>
                  </p:nvSpPr>
                  <p:spPr bwMode="auto">
                    <a:xfrm>
                      <a:off x="6008276" y="1024727"/>
                      <a:ext cx="660400" cy="25717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PI</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pps</a:t>
                      </a:r>
                    </a:p>
                  </p:txBody>
                </p:sp>
                <p:pic>
                  <p:nvPicPr>
                    <p:cNvPr id="451" name="Picture 157"/>
                    <p:cNvPicPr>
                      <a:picLocks noChangeAspect="1"/>
                    </p:cNvPicPr>
                    <p:nvPr/>
                  </p:nvPicPr>
                  <p:blipFill>
                    <a:blip r:embed="rId13">
                      <a:biLevel thresh="25000"/>
                      <a:extLst>
                        <a:ext uri="{28A0092B-C50C-407E-A947-70E740481C1C}">
                          <a14:useLocalDpi xmlns:a14="http://schemas.microsoft.com/office/drawing/2010/main" val="0"/>
                        </a:ext>
                      </a:extLst>
                    </a:blip>
                    <a:srcRect/>
                    <a:stretch>
                      <a:fillRect/>
                    </a:stretch>
                  </p:blipFill>
                  <p:spPr bwMode="auto">
                    <a:xfrm>
                      <a:off x="5648693" y="1000311"/>
                      <a:ext cx="294787" cy="294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4" name="Group 443"/>
                  <p:cNvGrpSpPr/>
                  <p:nvPr/>
                </p:nvGrpSpPr>
                <p:grpSpPr>
                  <a:xfrm>
                    <a:off x="5673359" y="1617114"/>
                    <a:ext cx="1022642" cy="301625"/>
                    <a:chOff x="5646034" y="1516851"/>
                    <a:chExt cx="1022642" cy="301625"/>
                  </a:xfrm>
                </p:grpSpPr>
                <p:sp>
                  <p:nvSpPr>
                    <p:cNvPr id="448" name="TextBox 447"/>
                    <p:cNvSpPr txBox="1"/>
                    <p:nvPr/>
                  </p:nvSpPr>
                  <p:spPr bwMode="auto">
                    <a:xfrm>
                      <a:off x="6008276" y="151685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Logic</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pps</a:t>
                      </a:r>
                    </a:p>
                  </p:txBody>
                </p:sp>
                <p:pic>
                  <p:nvPicPr>
                    <p:cNvPr id="449" name="Picture 159"/>
                    <p:cNvPicPr>
                      <a:picLocks noChangeAspect="1"/>
                    </p:cNvPicPr>
                    <p:nvPr/>
                  </p:nvPicPr>
                  <p:blipFill>
                    <a:blip r:embed="rId14">
                      <a:biLevel thresh="25000"/>
                      <a:extLst>
                        <a:ext uri="{28A0092B-C50C-407E-A947-70E740481C1C}">
                          <a14:useLocalDpi xmlns:a14="http://schemas.microsoft.com/office/drawing/2010/main" val="0"/>
                        </a:ext>
                      </a:extLst>
                    </a:blip>
                    <a:srcRect/>
                    <a:stretch>
                      <a:fillRect/>
                    </a:stretch>
                  </p:blipFill>
                  <p:spPr bwMode="auto">
                    <a:xfrm>
                      <a:off x="5646034" y="1517893"/>
                      <a:ext cx="292406" cy="2925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5" name="Group 444"/>
                  <p:cNvGrpSpPr/>
                  <p:nvPr/>
                </p:nvGrpSpPr>
                <p:grpSpPr>
                  <a:xfrm>
                    <a:off x="6846368" y="1617114"/>
                    <a:ext cx="1017771" cy="301625"/>
                    <a:chOff x="6784198" y="1512087"/>
                    <a:chExt cx="1017771" cy="301625"/>
                  </a:xfrm>
                </p:grpSpPr>
                <p:sp>
                  <p:nvSpPr>
                    <p:cNvPr id="446" name="TextBox 445"/>
                    <p:cNvSpPr txBox="1"/>
                    <p:nvPr/>
                  </p:nvSpPr>
                  <p:spPr bwMode="auto">
                    <a:xfrm>
                      <a:off x="7143156" y="1512087"/>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Notification</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Hubs</a:t>
                      </a:r>
                    </a:p>
                  </p:txBody>
                </p:sp>
                <p:pic>
                  <p:nvPicPr>
                    <p:cNvPr id="447" name="Picture 161"/>
                    <p:cNvPicPr>
                      <a:picLocks noChangeAspect="1"/>
                    </p:cNvPicPr>
                    <p:nvPr/>
                  </p:nvPicPr>
                  <p:blipFill>
                    <a:blip r:embed="rId15">
                      <a:biLevel thresh="25000"/>
                      <a:extLst>
                        <a:ext uri="{28A0092B-C50C-407E-A947-70E740481C1C}">
                          <a14:useLocalDpi xmlns:a14="http://schemas.microsoft.com/office/drawing/2010/main" val="0"/>
                        </a:ext>
                      </a:extLst>
                    </a:blip>
                    <a:srcRect/>
                    <a:stretch>
                      <a:fillRect/>
                    </a:stretch>
                  </p:blipFill>
                  <p:spPr bwMode="auto">
                    <a:xfrm>
                      <a:off x="6784198" y="1519474"/>
                      <a:ext cx="289246" cy="289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345" name="Group 344"/>
                <p:cNvGrpSpPr/>
                <p:nvPr/>
              </p:nvGrpSpPr>
              <p:grpSpPr>
                <a:xfrm>
                  <a:off x="2082009" y="3493402"/>
                  <a:ext cx="2491556" cy="839787"/>
                  <a:chOff x="2082009" y="3607702"/>
                  <a:chExt cx="2491556" cy="839787"/>
                </a:xfrm>
              </p:grpSpPr>
              <p:sp>
                <p:nvSpPr>
                  <p:cNvPr id="431" name="Rectangle 430"/>
                  <p:cNvSpPr/>
                  <p:nvPr/>
                </p:nvSpPr>
                <p:spPr bwMode="auto">
                  <a:xfrm>
                    <a:off x="2082009" y="3607702"/>
                    <a:ext cx="2491556" cy="83978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Media and CDN</a:t>
                    </a:r>
                  </a:p>
                </p:txBody>
              </p:sp>
              <p:grpSp>
                <p:nvGrpSpPr>
                  <p:cNvPr id="432" name="Group 431"/>
                  <p:cNvGrpSpPr/>
                  <p:nvPr/>
                </p:nvGrpSpPr>
                <p:grpSpPr>
                  <a:xfrm>
                    <a:off x="2198592" y="4014101"/>
                    <a:ext cx="2079086" cy="300855"/>
                    <a:chOff x="2198592" y="4014101"/>
                    <a:chExt cx="2079086" cy="300855"/>
                  </a:xfrm>
                </p:grpSpPr>
                <p:grpSp>
                  <p:nvGrpSpPr>
                    <p:cNvPr id="433" name="Group 342"/>
                    <p:cNvGrpSpPr>
                      <a:grpSpLocks/>
                    </p:cNvGrpSpPr>
                    <p:nvPr/>
                  </p:nvGrpSpPr>
                  <p:grpSpPr bwMode="auto">
                    <a:xfrm>
                      <a:off x="3256056" y="4014101"/>
                      <a:ext cx="1021622" cy="300855"/>
                      <a:chOff x="3495416" y="3743131"/>
                      <a:chExt cx="1021282" cy="301105"/>
                    </a:xfrm>
                  </p:grpSpPr>
                  <p:sp>
                    <p:nvSpPr>
                      <p:cNvPr id="437" name="TextBox 162"/>
                      <p:cNvSpPr txBox="1">
                        <a:spLocks noChangeArrowheads="1"/>
                      </p:cNvSpPr>
                      <p:nvPr/>
                    </p:nvSpPr>
                    <p:spPr bwMode="auto">
                      <a:xfrm>
                        <a:off x="3857542" y="3743131"/>
                        <a:ext cx="659156" cy="301105"/>
                      </a:xfrm>
                      <a:prstGeom prst="rect">
                        <a:avLst/>
                      </a:prstGeom>
                      <a:noFill/>
                      <a:ln>
                        <a:noFill/>
                      </a:ln>
                      <a:extLst/>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altLang="en-US" sz="882" kern="0" dirty="0">
                            <a:gradFill>
                              <a:gsLst>
                                <a:gs pos="76250">
                                  <a:srgbClr val="FFFFFF"/>
                                </a:gs>
                                <a:gs pos="31000">
                                  <a:srgbClr val="FFFFFF"/>
                                </a:gs>
                              </a:gsLst>
                              <a:lin ang="5400000" scaled="0"/>
                            </a:gradFill>
                          </a:rPr>
                          <a:t>Content Delivery</a:t>
                        </a:r>
                        <a:br>
                          <a:rPr lang="en-US" altLang="en-US" sz="882" kern="0" dirty="0">
                            <a:gradFill>
                              <a:gsLst>
                                <a:gs pos="76250">
                                  <a:srgbClr val="FFFFFF"/>
                                </a:gs>
                                <a:gs pos="31000">
                                  <a:srgbClr val="FFFFFF"/>
                                </a:gs>
                              </a:gsLst>
                              <a:lin ang="5400000" scaled="0"/>
                            </a:gradFill>
                          </a:rPr>
                        </a:br>
                        <a:r>
                          <a:rPr lang="en-US" altLang="en-US" sz="882" kern="0" dirty="0">
                            <a:gradFill>
                              <a:gsLst>
                                <a:gs pos="76250">
                                  <a:srgbClr val="FFFFFF"/>
                                </a:gs>
                                <a:gs pos="31000">
                                  <a:srgbClr val="FFFFFF"/>
                                </a:gs>
                              </a:gsLst>
                              <a:lin ang="5400000" scaled="0"/>
                            </a:gradFill>
                          </a:rPr>
                          <a:t>Network (CDN)</a:t>
                        </a:r>
                      </a:p>
                    </p:txBody>
                  </p:sp>
                  <p:pic>
                    <p:nvPicPr>
                      <p:cNvPr id="438" name="Picture 163" descr="Content Delivery Network (CDN).png"/>
                      <p:cNvPicPr>
                        <a:picLocks noChangeAspect="1"/>
                      </p:cNvPicPr>
                      <p:nvPr/>
                    </p:nvPicPr>
                    <p:blipFill>
                      <a:blip r:embed="rId16">
                        <a:biLevel thresh="25000"/>
                        <a:extLst>
                          <a:ext uri="{28A0092B-C50C-407E-A947-70E740481C1C}">
                            <a14:useLocalDpi xmlns:a14="http://schemas.microsoft.com/office/drawing/2010/main" val="0"/>
                          </a:ext>
                        </a:extLst>
                      </a:blip>
                      <a:srcRect/>
                      <a:stretch>
                        <a:fillRect/>
                      </a:stretch>
                    </p:blipFill>
                    <p:spPr bwMode="auto">
                      <a:xfrm>
                        <a:off x="3495416" y="3745605"/>
                        <a:ext cx="296167" cy="296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34" name="Group 341"/>
                    <p:cNvGrpSpPr>
                      <a:grpSpLocks/>
                    </p:cNvGrpSpPr>
                    <p:nvPr/>
                  </p:nvGrpSpPr>
                  <p:grpSpPr bwMode="auto">
                    <a:xfrm>
                      <a:off x="2198592" y="4014101"/>
                      <a:ext cx="1014521" cy="300036"/>
                      <a:chOff x="2682792" y="3748793"/>
                      <a:chExt cx="1014184" cy="300286"/>
                    </a:xfrm>
                  </p:grpSpPr>
                  <p:sp>
                    <p:nvSpPr>
                      <p:cNvPr id="435" name="TextBox 434"/>
                      <p:cNvSpPr txBox="1"/>
                      <p:nvPr/>
                    </p:nvSpPr>
                    <p:spPr>
                      <a:xfrm>
                        <a:off x="3038382" y="3748793"/>
                        <a:ext cx="658594" cy="300286"/>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Media</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Services</a:t>
                        </a:r>
                      </a:p>
                    </p:txBody>
                  </p:sp>
                  <p:pic>
                    <p:nvPicPr>
                      <p:cNvPr id="436" name="Picture 165" descr="Media Services.png"/>
                      <p:cNvPicPr>
                        <a:picLocks noChangeAspect="1"/>
                      </p:cNvPicPr>
                      <p:nvPr/>
                    </p:nvPicPr>
                    <p:blipFill>
                      <a:blip r:embed="rId17">
                        <a:biLevel thresh="25000"/>
                        <a:extLst>
                          <a:ext uri="{28A0092B-C50C-407E-A947-70E740481C1C}">
                            <a14:useLocalDpi xmlns:a14="http://schemas.microsoft.com/office/drawing/2010/main" val="0"/>
                          </a:ext>
                        </a:extLst>
                      </a:blip>
                      <a:srcRect/>
                      <a:stretch>
                        <a:fillRect/>
                      </a:stretch>
                    </p:blipFill>
                    <p:spPr bwMode="auto">
                      <a:xfrm>
                        <a:off x="2682792" y="3757863"/>
                        <a:ext cx="282134" cy="282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6" name="Group 345"/>
                <p:cNvGrpSpPr/>
                <p:nvPr/>
              </p:nvGrpSpPr>
              <p:grpSpPr>
                <a:xfrm>
                  <a:off x="4695531" y="2024565"/>
                  <a:ext cx="2872932" cy="2304638"/>
                  <a:chOff x="4691833" y="2138865"/>
                  <a:chExt cx="2872932" cy="2304638"/>
                </a:xfrm>
              </p:grpSpPr>
              <p:sp>
                <p:nvSpPr>
                  <p:cNvPr id="411" name="Rectangle 410"/>
                  <p:cNvSpPr/>
                  <p:nvPr/>
                </p:nvSpPr>
                <p:spPr bwMode="auto">
                  <a:xfrm>
                    <a:off x="4691833" y="2138865"/>
                    <a:ext cx="2872932" cy="2304638"/>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nalytics and </a:t>
                    </a:r>
                    <a:r>
                      <a:rPr lang="en-US" sz="1176" kern="0" dirty="0" err="1">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oT</a:t>
                    </a:r>
                    <a:endPar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412" name="Group 411"/>
                  <p:cNvGrpSpPr/>
                  <p:nvPr/>
                </p:nvGrpSpPr>
                <p:grpSpPr>
                  <a:xfrm>
                    <a:off x="4948498" y="2556851"/>
                    <a:ext cx="2361121" cy="1587740"/>
                    <a:chOff x="4805017" y="2556851"/>
                    <a:chExt cx="2361121" cy="1587740"/>
                  </a:xfrm>
                </p:grpSpPr>
                <p:grpSp>
                  <p:nvGrpSpPr>
                    <p:cNvPr id="413" name="Group 412"/>
                    <p:cNvGrpSpPr/>
                    <p:nvPr/>
                  </p:nvGrpSpPr>
                  <p:grpSpPr>
                    <a:xfrm>
                      <a:off x="4811883" y="2556851"/>
                      <a:ext cx="1046240" cy="337079"/>
                      <a:chOff x="4811883" y="2556851"/>
                      <a:chExt cx="1046240" cy="337079"/>
                    </a:xfrm>
                  </p:grpSpPr>
                  <p:sp>
                    <p:nvSpPr>
                      <p:cNvPr id="429" name="TextBox 428"/>
                      <p:cNvSpPr txBox="1"/>
                      <p:nvPr/>
                    </p:nvSpPr>
                    <p:spPr bwMode="auto">
                      <a:xfrm>
                        <a:off x="5199310" y="2574578"/>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a:gradFill>
                              <a:gsLst>
                                <a:gs pos="76250">
                                  <a:srgbClr val="FFFFFF"/>
                                </a:gs>
                                <a:gs pos="31000">
                                  <a:srgbClr val="FFFFFF"/>
                                </a:gs>
                              </a:gsLst>
                              <a:lin ang="5400000" scaled="0"/>
                            </a:gradFill>
                          </a:rPr>
                          <a:t>HDInsight</a:t>
                        </a:r>
                        <a:endParaRPr lang="en-US" sz="980" kern="0" dirty="0">
                          <a:gradFill>
                            <a:gsLst>
                              <a:gs pos="76250">
                                <a:srgbClr val="FFFFFF"/>
                              </a:gs>
                              <a:gs pos="31000">
                                <a:srgbClr val="FFFFFF"/>
                              </a:gs>
                            </a:gsLst>
                            <a:lin ang="5400000" scaled="0"/>
                          </a:gradFill>
                        </a:endParaRPr>
                      </a:p>
                    </p:txBody>
                  </p:sp>
                  <p:pic>
                    <p:nvPicPr>
                      <p:cNvPr id="430" name="Picture 181"/>
                      <p:cNvPicPr>
                        <a:picLocks noChangeAspect="1"/>
                      </p:cNvPicPr>
                      <p:nvPr/>
                    </p:nvPicPr>
                    <p:blipFill>
                      <a:blip r:embed="rId18">
                        <a:biLevel thresh="25000"/>
                        <a:extLst>
                          <a:ext uri="{28A0092B-C50C-407E-A947-70E740481C1C}">
                            <a14:useLocalDpi xmlns:a14="http://schemas.microsoft.com/office/drawing/2010/main" val="0"/>
                          </a:ext>
                        </a:extLst>
                      </a:blip>
                      <a:srcRect/>
                      <a:stretch>
                        <a:fillRect/>
                      </a:stretch>
                    </p:blipFill>
                    <p:spPr bwMode="auto">
                      <a:xfrm>
                        <a:off x="4811883" y="2556851"/>
                        <a:ext cx="337162" cy="337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4" name="Group 413"/>
                    <p:cNvGrpSpPr/>
                    <p:nvPr/>
                  </p:nvGrpSpPr>
                  <p:grpSpPr>
                    <a:xfrm>
                      <a:off x="6162402" y="2574420"/>
                      <a:ext cx="1003736" cy="301625"/>
                      <a:chOff x="6162402" y="2574420"/>
                      <a:chExt cx="1003736" cy="301625"/>
                    </a:xfrm>
                  </p:grpSpPr>
                  <p:sp>
                    <p:nvSpPr>
                      <p:cNvPr id="427" name="TextBox 426"/>
                      <p:cNvSpPr txBox="1"/>
                      <p:nvPr/>
                    </p:nvSpPr>
                    <p:spPr bwMode="auto">
                      <a:xfrm>
                        <a:off x="6507325" y="25744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Machin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Learning</a:t>
                        </a:r>
                      </a:p>
                    </p:txBody>
                  </p:sp>
                  <p:pic>
                    <p:nvPicPr>
                      <p:cNvPr id="428" name="Picture 183"/>
                      <p:cNvPicPr>
                        <a:picLocks noChangeAspect="1"/>
                      </p:cNvPicPr>
                      <p:nvPr/>
                    </p:nvPicPr>
                    <p:blipFill>
                      <a:blip r:embed="rId19">
                        <a:biLevel thresh="25000"/>
                        <a:extLst>
                          <a:ext uri="{28A0092B-C50C-407E-A947-70E740481C1C}">
                            <a14:useLocalDpi xmlns:a14="http://schemas.microsoft.com/office/drawing/2010/main" val="0"/>
                          </a:ext>
                        </a:extLst>
                      </a:blip>
                      <a:srcRect/>
                      <a:stretch>
                        <a:fillRect/>
                      </a:stretch>
                    </p:blipFill>
                    <p:spPr bwMode="auto">
                      <a:xfrm>
                        <a:off x="6162402" y="2593257"/>
                        <a:ext cx="263720" cy="263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5" name="Group 414"/>
                    <p:cNvGrpSpPr/>
                    <p:nvPr/>
                  </p:nvGrpSpPr>
                  <p:grpSpPr>
                    <a:xfrm>
                      <a:off x="4805017" y="3834139"/>
                      <a:ext cx="1053105" cy="310452"/>
                      <a:chOff x="4805017" y="3834139"/>
                      <a:chExt cx="1053105" cy="310452"/>
                    </a:xfrm>
                  </p:grpSpPr>
                  <p:sp>
                    <p:nvSpPr>
                      <p:cNvPr id="425" name="TextBox 424"/>
                      <p:cNvSpPr txBox="1"/>
                      <p:nvPr/>
                    </p:nvSpPr>
                    <p:spPr bwMode="auto">
                      <a:xfrm>
                        <a:off x="5199310" y="3838553"/>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tream</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nalytics</a:t>
                        </a:r>
                      </a:p>
                    </p:txBody>
                  </p:sp>
                  <p:pic>
                    <p:nvPicPr>
                      <p:cNvPr id="426" name="Picture 185"/>
                      <p:cNvPicPr>
                        <a:picLocks noChangeAspect="1"/>
                      </p:cNvPicPr>
                      <p:nvPr/>
                    </p:nvPicPr>
                    <p:blipFill>
                      <a:blip r:embed="rId20">
                        <a:biLevel thresh="25000"/>
                        <a:extLst>
                          <a:ext uri="{28A0092B-C50C-407E-A947-70E740481C1C}">
                            <a14:useLocalDpi xmlns:a14="http://schemas.microsoft.com/office/drawing/2010/main" val="0"/>
                          </a:ext>
                        </a:extLst>
                      </a:blip>
                      <a:srcRect/>
                      <a:stretch>
                        <a:fillRect/>
                      </a:stretch>
                    </p:blipFill>
                    <p:spPr bwMode="auto">
                      <a:xfrm>
                        <a:off x="4805017" y="3834139"/>
                        <a:ext cx="310529" cy="3104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6" name="Group 415"/>
                    <p:cNvGrpSpPr/>
                    <p:nvPr/>
                  </p:nvGrpSpPr>
                  <p:grpSpPr>
                    <a:xfrm>
                      <a:off x="4809230" y="3192842"/>
                      <a:ext cx="1048893" cy="305501"/>
                      <a:chOff x="4809230" y="3192842"/>
                      <a:chExt cx="1048893" cy="305501"/>
                    </a:xfrm>
                  </p:grpSpPr>
                  <p:sp>
                    <p:nvSpPr>
                      <p:cNvPr id="423" name="TextBox 422"/>
                      <p:cNvSpPr txBox="1"/>
                      <p:nvPr/>
                    </p:nvSpPr>
                    <p:spPr bwMode="auto">
                      <a:xfrm>
                        <a:off x="5199310" y="3198305"/>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Data</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Factory</a:t>
                        </a:r>
                      </a:p>
                    </p:txBody>
                  </p:sp>
                  <p:pic>
                    <p:nvPicPr>
                      <p:cNvPr id="424" name="Picture 187"/>
                      <p:cNvPicPr>
                        <a:picLocks noChangeAspect="1"/>
                      </p:cNvPicPr>
                      <p:nvPr/>
                    </p:nvPicPr>
                    <p:blipFill>
                      <a:blip r:embed="rId21">
                        <a:biLevel thresh="25000"/>
                        <a:extLst>
                          <a:ext uri="{28A0092B-C50C-407E-A947-70E740481C1C}">
                            <a14:useLocalDpi xmlns:a14="http://schemas.microsoft.com/office/drawing/2010/main" val="0"/>
                          </a:ext>
                        </a:extLst>
                      </a:blip>
                      <a:srcRect/>
                      <a:stretch>
                        <a:fillRect/>
                      </a:stretch>
                    </p:blipFill>
                    <p:spPr bwMode="auto">
                      <a:xfrm>
                        <a:off x="4809230" y="3192842"/>
                        <a:ext cx="302103" cy="3020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7" name="Group 416"/>
                    <p:cNvGrpSpPr/>
                    <p:nvPr/>
                  </p:nvGrpSpPr>
                  <p:grpSpPr>
                    <a:xfrm>
                      <a:off x="6159534" y="3198305"/>
                      <a:ext cx="1006604" cy="300037"/>
                      <a:chOff x="6159534" y="3198305"/>
                      <a:chExt cx="1006604" cy="300037"/>
                    </a:xfrm>
                  </p:grpSpPr>
                  <p:sp>
                    <p:nvSpPr>
                      <p:cNvPr id="421" name="TextBox 420"/>
                      <p:cNvSpPr txBox="1"/>
                      <p:nvPr/>
                    </p:nvSpPr>
                    <p:spPr bwMode="auto">
                      <a:xfrm>
                        <a:off x="6507325" y="3198305"/>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Event</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Hubs</a:t>
                        </a:r>
                      </a:p>
                    </p:txBody>
                  </p:sp>
                  <p:pic>
                    <p:nvPicPr>
                      <p:cNvPr id="422" name="Picture 189"/>
                      <p:cNvPicPr>
                        <a:picLocks noChangeAspect="1"/>
                      </p:cNvPicPr>
                      <p:nvPr/>
                    </p:nvPicPr>
                    <p:blipFill>
                      <a:blip r:embed="rId22">
                        <a:biLevel thresh="25000"/>
                        <a:extLst>
                          <a:ext uri="{28A0092B-C50C-407E-A947-70E740481C1C}">
                            <a14:useLocalDpi xmlns:a14="http://schemas.microsoft.com/office/drawing/2010/main" val="0"/>
                          </a:ext>
                        </a:extLst>
                      </a:blip>
                      <a:srcRect/>
                      <a:stretch>
                        <a:fillRect/>
                      </a:stretch>
                    </p:blipFill>
                    <p:spPr bwMode="auto">
                      <a:xfrm>
                        <a:off x="6159534" y="3200784"/>
                        <a:ext cx="283827" cy="2963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8" name="Group 417"/>
                    <p:cNvGrpSpPr/>
                    <p:nvPr/>
                  </p:nvGrpSpPr>
                  <p:grpSpPr>
                    <a:xfrm>
                      <a:off x="6165936" y="3834755"/>
                      <a:ext cx="1000202" cy="296566"/>
                      <a:chOff x="6165936" y="3834755"/>
                      <a:chExt cx="1000202" cy="296566"/>
                    </a:xfrm>
                  </p:grpSpPr>
                  <p:sp>
                    <p:nvSpPr>
                      <p:cNvPr id="419" name="TextBox 418"/>
                      <p:cNvSpPr txBox="1"/>
                      <p:nvPr/>
                    </p:nvSpPr>
                    <p:spPr bwMode="auto">
                      <a:xfrm>
                        <a:off x="6507325" y="3853657"/>
                        <a:ext cx="658813" cy="25876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Mobil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Engagement</a:t>
                        </a:r>
                      </a:p>
                    </p:txBody>
                  </p:sp>
                  <p:pic>
                    <p:nvPicPr>
                      <p:cNvPr id="420" name="Picture 191"/>
                      <p:cNvPicPr>
                        <a:picLocks noChangeAspect="1"/>
                      </p:cNvPicPr>
                      <p:nvPr/>
                    </p:nvPicPr>
                    <p:blipFill>
                      <a:blip r:embed="rId23">
                        <a:biLevel thresh="25000"/>
                        <a:extLst>
                          <a:ext uri="{28A0092B-C50C-407E-A947-70E740481C1C}">
                            <a14:useLocalDpi xmlns:a14="http://schemas.microsoft.com/office/drawing/2010/main" val="0"/>
                          </a:ext>
                        </a:extLst>
                      </a:blip>
                      <a:srcRect/>
                      <a:stretch>
                        <a:fillRect/>
                      </a:stretch>
                    </p:blipFill>
                    <p:spPr bwMode="auto">
                      <a:xfrm>
                        <a:off x="6165936" y="3834755"/>
                        <a:ext cx="296639" cy="296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7" name="Group 346"/>
                <p:cNvGrpSpPr/>
                <p:nvPr/>
              </p:nvGrpSpPr>
              <p:grpSpPr>
                <a:xfrm>
                  <a:off x="2082009" y="2024566"/>
                  <a:ext cx="2498759" cy="1352550"/>
                  <a:chOff x="2082009" y="2138866"/>
                  <a:chExt cx="2498759" cy="1352550"/>
                </a:xfrm>
              </p:grpSpPr>
              <p:sp>
                <p:nvSpPr>
                  <p:cNvPr id="397" name="Rectangle 396"/>
                  <p:cNvSpPr/>
                  <p:nvPr/>
                </p:nvSpPr>
                <p:spPr bwMode="auto">
                  <a:xfrm>
                    <a:off x="2082009" y="2138866"/>
                    <a:ext cx="2498759" cy="135255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ntegration</a:t>
                    </a:r>
                  </a:p>
                </p:txBody>
              </p:sp>
              <p:grpSp>
                <p:nvGrpSpPr>
                  <p:cNvPr id="398" name="Group 397"/>
                  <p:cNvGrpSpPr/>
                  <p:nvPr/>
                </p:nvGrpSpPr>
                <p:grpSpPr>
                  <a:xfrm>
                    <a:off x="2198592" y="2559624"/>
                    <a:ext cx="2237004" cy="836418"/>
                    <a:chOff x="2198592" y="2559624"/>
                    <a:chExt cx="2237004" cy="836418"/>
                  </a:xfrm>
                </p:grpSpPr>
                <p:grpSp>
                  <p:nvGrpSpPr>
                    <p:cNvPr id="399" name="Group 398"/>
                    <p:cNvGrpSpPr/>
                    <p:nvPr/>
                  </p:nvGrpSpPr>
                  <p:grpSpPr>
                    <a:xfrm>
                      <a:off x="3513173" y="2559624"/>
                      <a:ext cx="922423" cy="301625"/>
                      <a:chOff x="3425188" y="2480831"/>
                      <a:chExt cx="922423" cy="301625"/>
                    </a:xfrm>
                  </p:grpSpPr>
                  <p:sp>
                    <p:nvSpPr>
                      <p:cNvPr id="409" name="TextBox 408"/>
                      <p:cNvSpPr txBox="1"/>
                      <p:nvPr/>
                    </p:nvSpPr>
                    <p:spPr bwMode="auto">
                      <a:xfrm>
                        <a:off x="3803029" y="2480831"/>
                        <a:ext cx="54458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BizTalk</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Services</a:t>
                        </a:r>
                      </a:p>
                    </p:txBody>
                  </p:sp>
                  <p:pic>
                    <p:nvPicPr>
                      <p:cNvPr id="410" name="Picture 214" descr="BizTalk Services.png"/>
                      <p:cNvPicPr>
                        <a:picLocks noChangeAspect="1"/>
                      </p:cNvPicPr>
                      <p:nvPr/>
                    </p:nvPicPr>
                    <p:blipFill>
                      <a:blip r:embed="rId24">
                        <a:biLevel thresh="25000"/>
                        <a:extLst>
                          <a:ext uri="{28A0092B-C50C-407E-A947-70E740481C1C}">
                            <a14:useLocalDpi xmlns:a14="http://schemas.microsoft.com/office/drawing/2010/main" val="0"/>
                          </a:ext>
                        </a:extLst>
                      </a:blip>
                      <a:srcRect/>
                      <a:stretch>
                        <a:fillRect/>
                      </a:stretch>
                    </p:blipFill>
                    <p:spPr bwMode="auto">
                      <a:xfrm>
                        <a:off x="3425188" y="2484570"/>
                        <a:ext cx="293830" cy="294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0" name="Group 399"/>
                    <p:cNvGrpSpPr/>
                    <p:nvPr/>
                  </p:nvGrpSpPr>
                  <p:grpSpPr>
                    <a:xfrm>
                      <a:off x="2198592" y="3094417"/>
                      <a:ext cx="1020311" cy="301625"/>
                      <a:chOff x="2319949" y="3019151"/>
                      <a:chExt cx="1020311" cy="301625"/>
                    </a:xfrm>
                  </p:grpSpPr>
                  <p:sp>
                    <p:nvSpPr>
                      <p:cNvPr id="407" name="TextBox 406"/>
                      <p:cNvSpPr txBox="1"/>
                      <p:nvPr/>
                    </p:nvSpPr>
                    <p:spPr bwMode="auto">
                      <a:xfrm>
                        <a:off x="2681448" y="30191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Hybrid</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Connections</a:t>
                        </a:r>
                      </a:p>
                    </p:txBody>
                  </p:sp>
                  <p:pic>
                    <p:nvPicPr>
                      <p:cNvPr id="408" name="Picture 216" descr="Hybrid Connections (BizTalk).png"/>
                      <p:cNvPicPr>
                        <a:picLocks noChangeAspect="1"/>
                      </p:cNvPicPr>
                      <p:nvPr/>
                    </p:nvPicPr>
                    <p:blipFill>
                      <a:blip r:embed="rId25">
                        <a:biLevel thresh="25000"/>
                        <a:extLst>
                          <a:ext uri="{28A0092B-C50C-407E-A947-70E740481C1C}">
                            <a14:useLocalDpi xmlns:a14="http://schemas.microsoft.com/office/drawing/2010/main" val="0"/>
                          </a:ext>
                        </a:extLst>
                      </a:blip>
                      <a:srcRect/>
                      <a:stretch>
                        <a:fillRect/>
                      </a:stretch>
                    </p:blipFill>
                    <p:spPr bwMode="auto">
                      <a:xfrm>
                        <a:off x="2319949" y="3023735"/>
                        <a:ext cx="292141" cy="292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1" name="Group 400"/>
                    <p:cNvGrpSpPr/>
                    <p:nvPr/>
                  </p:nvGrpSpPr>
                  <p:grpSpPr>
                    <a:xfrm>
                      <a:off x="3521521" y="3094417"/>
                      <a:ext cx="869624" cy="301625"/>
                      <a:chOff x="3433536" y="3015624"/>
                      <a:chExt cx="869624" cy="301625"/>
                    </a:xfrm>
                  </p:grpSpPr>
                  <p:sp>
                    <p:nvSpPr>
                      <p:cNvPr id="405" name="TextBox 404"/>
                      <p:cNvSpPr txBox="1"/>
                      <p:nvPr/>
                    </p:nvSpPr>
                    <p:spPr bwMode="auto">
                      <a:xfrm>
                        <a:off x="3788740" y="3015624"/>
                        <a:ext cx="51442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ervic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Bus</a:t>
                        </a:r>
                      </a:p>
                    </p:txBody>
                  </p:sp>
                  <p:pic>
                    <p:nvPicPr>
                      <p:cNvPr id="406" name="Picture 218" descr="Service Bus.png"/>
                      <p:cNvPicPr>
                        <a:picLocks noChangeAspect="1"/>
                      </p:cNvPicPr>
                      <p:nvPr/>
                    </p:nvPicPr>
                    <p:blipFill>
                      <a:blip r:embed="rId26">
                        <a:biLevel thresh="25000"/>
                        <a:extLst>
                          <a:ext uri="{28A0092B-C50C-407E-A947-70E740481C1C}">
                            <a14:useLocalDpi xmlns:a14="http://schemas.microsoft.com/office/drawing/2010/main" val="0"/>
                          </a:ext>
                        </a:extLst>
                      </a:blip>
                      <a:srcRect/>
                      <a:stretch>
                        <a:fillRect/>
                      </a:stretch>
                    </p:blipFill>
                    <p:spPr bwMode="auto">
                      <a:xfrm>
                        <a:off x="3433536" y="3020078"/>
                        <a:ext cx="292402" cy="292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2" name="Group 401"/>
                    <p:cNvGrpSpPr/>
                    <p:nvPr/>
                  </p:nvGrpSpPr>
                  <p:grpSpPr>
                    <a:xfrm>
                      <a:off x="2198592" y="2560418"/>
                      <a:ext cx="1020559" cy="300037"/>
                      <a:chOff x="2319701" y="2482223"/>
                      <a:chExt cx="1020559" cy="300037"/>
                    </a:xfrm>
                  </p:grpSpPr>
                  <p:sp>
                    <p:nvSpPr>
                      <p:cNvPr id="403" name="TextBox 402"/>
                      <p:cNvSpPr txBox="1"/>
                      <p:nvPr/>
                    </p:nvSpPr>
                    <p:spPr bwMode="auto">
                      <a:xfrm>
                        <a:off x="2681448" y="2482223"/>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torag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Queues</a:t>
                        </a:r>
                      </a:p>
                    </p:txBody>
                  </p:sp>
                  <p:pic>
                    <p:nvPicPr>
                      <p:cNvPr id="404" name="Picture 220" descr="Storage queue.png"/>
                      <p:cNvPicPr>
                        <a:picLocks noChangeAspect="1"/>
                      </p:cNvPicPr>
                      <p:nvPr/>
                    </p:nvPicPr>
                    <p:blipFill>
                      <a:blip r:embed="rId27">
                        <a:biLevel thresh="25000"/>
                        <a:extLst>
                          <a:ext uri="{28A0092B-C50C-407E-A947-70E740481C1C}">
                            <a14:useLocalDpi xmlns:a14="http://schemas.microsoft.com/office/drawing/2010/main" val="0"/>
                          </a:ext>
                        </a:extLst>
                      </a:blip>
                      <a:srcRect/>
                      <a:stretch>
                        <a:fillRect/>
                      </a:stretch>
                    </p:blipFill>
                    <p:spPr bwMode="auto">
                      <a:xfrm>
                        <a:off x="2319701" y="2485765"/>
                        <a:ext cx="292636" cy="2929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8" name="Group 347"/>
                <p:cNvGrpSpPr/>
                <p:nvPr/>
              </p:nvGrpSpPr>
              <p:grpSpPr>
                <a:xfrm>
                  <a:off x="7683226" y="2024565"/>
                  <a:ext cx="2771024" cy="2304637"/>
                  <a:chOff x="7683226" y="2138865"/>
                  <a:chExt cx="2771024" cy="2304637"/>
                </a:xfrm>
              </p:grpSpPr>
              <p:sp>
                <p:nvSpPr>
                  <p:cNvPr id="377" name="Rectangle 376"/>
                  <p:cNvSpPr/>
                  <p:nvPr/>
                </p:nvSpPr>
                <p:spPr bwMode="auto">
                  <a:xfrm>
                    <a:off x="7683226" y="2138865"/>
                    <a:ext cx="2771024" cy="230463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a:t>
                    </a:r>
                  </a:p>
                </p:txBody>
              </p:sp>
              <p:grpSp>
                <p:nvGrpSpPr>
                  <p:cNvPr id="378" name="Group 377"/>
                  <p:cNvGrpSpPr/>
                  <p:nvPr/>
                </p:nvGrpSpPr>
                <p:grpSpPr>
                  <a:xfrm>
                    <a:off x="7845950" y="2595968"/>
                    <a:ext cx="2445576" cy="1553509"/>
                    <a:chOff x="7799957" y="2595968"/>
                    <a:chExt cx="2445576" cy="1553509"/>
                  </a:xfrm>
                </p:grpSpPr>
                <p:grpSp>
                  <p:nvGrpSpPr>
                    <p:cNvPr id="379" name="Group 387"/>
                    <p:cNvGrpSpPr>
                      <a:grpSpLocks/>
                    </p:cNvGrpSpPr>
                    <p:nvPr/>
                  </p:nvGrpSpPr>
                  <p:grpSpPr bwMode="auto">
                    <a:xfrm>
                      <a:off x="7799957" y="2595969"/>
                      <a:ext cx="1016185" cy="301066"/>
                      <a:chOff x="8369631" y="3448242"/>
                      <a:chExt cx="1016411" cy="301033"/>
                    </a:xfrm>
                  </p:grpSpPr>
                  <p:sp>
                    <p:nvSpPr>
                      <p:cNvPr id="395" name="TextBox 394"/>
                      <p:cNvSpPr txBox="1"/>
                      <p:nvPr/>
                    </p:nvSpPr>
                    <p:spPr>
                      <a:xfrm>
                        <a:off x="8727084" y="3448242"/>
                        <a:ext cx="658958"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QL</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Database</a:t>
                        </a:r>
                      </a:p>
                    </p:txBody>
                  </p:sp>
                  <p:pic>
                    <p:nvPicPr>
                      <p:cNvPr id="396" name="Picture 171"/>
                      <p:cNvPicPr>
                        <a:picLocks noChangeAspect="1"/>
                      </p:cNvPicPr>
                      <p:nvPr/>
                    </p:nvPicPr>
                    <p:blipFill>
                      <a:blip r:embed="rId28">
                        <a:biLevel thresh="25000"/>
                        <a:extLst>
                          <a:ext uri="{28A0092B-C50C-407E-A947-70E740481C1C}">
                            <a14:useLocalDpi xmlns:a14="http://schemas.microsoft.com/office/drawing/2010/main" val="0"/>
                          </a:ext>
                        </a:extLst>
                      </a:blip>
                      <a:srcRect/>
                      <a:stretch>
                        <a:fillRect/>
                      </a:stretch>
                    </p:blipFill>
                    <p:spPr bwMode="auto">
                      <a:xfrm>
                        <a:off x="8369631" y="3452466"/>
                        <a:ext cx="296809" cy="296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0" name="Group 389"/>
                    <p:cNvGrpSpPr>
                      <a:grpSpLocks/>
                    </p:cNvGrpSpPr>
                    <p:nvPr/>
                  </p:nvGrpSpPr>
                  <p:grpSpPr bwMode="auto">
                    <a:xfrm>
                      <a:off x="7803051" y="3832282"/>
                      <a:ext cx="1013093" cy="300038"/>
                      <a:chOff x="8372726" y="4684418"/>
                      <a:chExt cx="1013318" cy="300005"/>
                    </a:xfrm>
                  </p:grpSpPr>
                  <p:sp>
                    <p:nvSpPr>
                      <p:cNvPr id="393" name="TextBox 392"/>
                      <p:cNvSpPr txBox="1"/>
                      <p:nvPr/>
                    </p:nvSpPr>
                    <p:spPr>
                      <a:xfrm>
                        <a:off x="8727084" y="4684418"/>
                        <a:ext cx="658960"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a:gradFill>
                              <a:gsLst>
                                <a:gs pos="76250">
                                  <a:srgbClr val="FFFFFF"/>
                                </a:gs>
                                <a:gs pos="31000">
                                  <a:srgbClr val="FFFFFF"/>
                                </a:gs>
                              </a:gsLst>
                              <a:lin ang="5400000" scaled="0"/>
                            </a:gradFill>
                          </a:rPr>
                          <a:t>DocumentDB</a:t>
                        </a:r>
                        <a:endParaRPr lang="en-US" sz="980" kern="0" dirty="0">
                          <a:gradFill>
                            <a:gsLst>
                              <a:gs pos="76250">
                                <a:srgbClr val="FFFFFF"/>
                              </a:gs>
                              <a:gs pos="31000">
                                <a:srgbClr val="FFFFFF"/>
                              </a:gs>
                            </a:gsLst>
                            <a:lin ang="5400000" scaled="0"/>
                          </a:gradFill>
                        </a:endParaRPr>
                      </a:p>
                    </p:txBody>
                  </p:sp>
                  <p:pic>
                    <p:nvPicPr>
                      <p:cNvPr id="394" name="Picture 173"/>
                      <p:cNvPicPr>
                        <a:picLocks noChangeAspect="1"/>
                      </p:cNvPicPr>
                      <p:nvPr/>
                    </p:nvPicPr>
                    <p:blipFill>
                      <a:blip r:embed="rId29">
                        <a:biLevel thresh="25000"/>
                        <a:extLst>
                          <a:ext uri="{28A0092B-C50C-407E-A947-70E740481C1C}">
                            <a14:useLocalDpi xmlns:a14="http://schemas.microsoft.com/office/drawing/2010/main" val="0"/>
                          </a:ext>
                        </a:extLst>
                      </a:blip>
                      <a:srcRect/>
                      <a:stretch>
                        <a:fillRect/>
                      </a:stretch>
                    </p:blipFill>
                    <p:spPr bwMode="auto">
                      <a:xfrm>
                        <a:off x="8372726" y="4693804"/>
                        <a:ext cx="290620" cy="290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1" name="Group 390"/>
                    <p:cNvGrpSpPr>
                      <a:grpSpLocks/>
                    </p:cNvGrpSpPr>
                    <p:nvPr/>
                  </p:nvGrpSpPr>
                  <p:grpSpPr bwMode="auto">
                    <a:xfrm>
                      <a:off x="7803720" y="3204660"/>
                      <a:ext cx="1012423" cy="309349"/>
                      <a:chOff x="8373395" y="4056866"/>
                      <a:chExt cx="1012648" cy="309315"/>
                    </a:xfrm>
                  </p:grpSpPr>
                  <p:sp>
                    <p:nvSpPr>
                      <p:cNvPr id="391" name="TextBox 390"/>
                      <p:cNvSpPr txBox="1"/>
                      <p:nvPr/>
                    </p:nvSpPr>
                    <p:spPr>
                      <a:xfrm>
                        <a:off x="8727084" y="4056866"/>
                        <a:ext cx="658959"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a:gradFill>
                              <a:gsLst>
                                <a:gs pos="76250">
                                  <a:srgbClr val="FFFFFF"/>
                                </a:gs>
                                <a:gs pos="31000">
                                  <a:srgbClr val="FFFFFF"/>
                                </a:gs>
                              </a:gsLst>
                              <a:lin ang="5400000" scaled="0"/>
                            </a:gradFill>
                          </a:rPr>
                          <a:t>Redis</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Cache</a:t>
                        </a:r>
                      </a:p>
                    </p:txBody>
                  </p:sp>
                  <p:pic>
                    <p:nvPicPr>
                      <p:cNvPr id="392" name="Picture 175"/>
                      <p:cNvPicPr>
                        <a:picLocks noChangeAspect="1"/>
                      </p:cNvPicPr>
                      <p:nvPr/>
                    </p:nvPicPr>
                    <p:blipFill>
                      <a:blip r:embed="rId30">
                        <a:biLevel thresh="25000"/>
                        <a:extLst>
                          <a:ext uri="{28A0092B-C50C-407E-A947-70E740481C1C}">
                            <a14:useLocalDpi xmlns:a14="http://schemas.microsoft.com/office/drawing/2010/main" val="0"/>
                          </a:ext>
                        </a:extLst>
                      </a:blip>
                      <a:srcRect/>
                      <a:stretch>
                        <a:fillRect/>
                      </a:stretch>
                    </p:blipFill>
                    <p:spPr bwMode="auto">
                      <a:xfrm>
                        <a:off x="8373395" y="4076899"/>
                        <a:ext cx="289282" cy="289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2" name="Group 391"/>
                    <p:cNvGrpSpPr>
                      <a:grpSpLocks/>
                    </p:cNvGrpSpPr>
                    <p:nvPr/>
                  </p:nvGrpSpPr>
                  <p:grpSpPr bwMode="auto">
                    <a:xfrm>
                      <a:off x="9163663" y="3193851"/>
                      <a:ext cx="1081869" cy="331906"/>
                      <a:chOff x="9733640" y="4046058"/>
                      <a:chExt cx="1082109" cy="331869"/>
                    </a:xfrm>
                  </p:grpSpPr>
                  <p:sp>
                    <p:nvSpPr>
                      <p:cNvPr id="389" name="TextBox 388"/>
                      <p:cNvSpPr txBox="1"/>
                      <p:nvPr/>
                    </p:nvSpPr>
                    <p:spPr>
                      <a:xfrm>
                        <a:off x="10156790" y="4061991"/>
                        <a:ext cx="658959" cy="30000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earch</a:t>
                        </a:r>
                      </a:p>
                    </p:txBody>
                  </p:sp>
                  <p:pic>
                    <p:nvPicPr>
                      <p:cNvPr id="390" name="Picture 177"/>
                      <p:cNvPicPr>
                        <a:picLocks noChangeAspect="1"/>
                      </p:cNvPicPr>
                      <p:nvPr/>
                    </p:nvPicPr>
                    <p:blipFill>
                      <a:blip r:embed="rId31">
                        <a:biLevel thresh="25000"/>
                        <a:extLst>
                          <a:ext uri="{28A0092B-C50C-407E-A947-70E740481C1C}">
                            <a14:useLocalDpi xmlns:a14="http://schemas.microsoft.com/office/drawing/2010/main" val="0"/>
                          </a:ext>
                        </a:extLst>
                      </a:blip>
                      <a:srcRect/>
                      <a:stretch>
                        <a:fillRect/>
                      </a:stretch>
                    </p:blipFill>
                    <p:spPr bwMode="auto">
                      <a:xfrm>
                        <a:off x="9733640" y="4046058"/>
                        <a:ext cx="331871" cy="3318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3" name="Group 392"/>
                    <p:cNvGrpSpPr>
                      <a:grpSpLocks/>
                    </p:cNvGrpSpPr>
                    <p:nvPr/>
                  </p:nvGrpSpPr>
                  <p:grpSpPr bwMode="auto">
                    <a:xfrm>
                      <a:off x="9193207" y="3828827"/>
                      <a:ext cx="1052326" cy="320650"/>
                      <a:chOff x="9763191" y="4680964"/>
                      <a:chExt cx="1052560" cy="320615"/>
                    </a:xfrm>
                  </p:grpSpPr>
                  <p:sp>
                    <p:nvSpPr>
                      <p:cNvPr id="387" name="TextBox 386"/>
                      <p:cNvSpPr txBox="1"/>
                      <p:nvPr/>
                    </p:nvSpPr>
                    <p:spPr>
                      <a:xfrm>
                        <a:off x="10156791" y="4693638"/>
                        <a:ext cx="658960"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Tables</a:t>
                        </a:r>
                      </a:p>
                    </p:txBody>
                  </p:sp>
                  <p:pic>
                    <p:nvPicPr>
                      <p:cNvPr id="388" name="Picture 179" descr="Storage table.png"/>
                      <p:cNvPicPr>
                        <a:picLocks noChangeAspect="1"/>
                      </p:cNvPicPr>
                      <p:nvPr/>
                    </p:nvPicPr>
                    <p:blipFill>
                      <a:blip r:embed="rId32">
                        <a:biLevel thresh="25000"/>
                        <a:extLst>
                          <a:ext uri="{28A0092B-C50C-407E-A947-70E740481C1C}">
                            <a14:useLocalDpi xmlns:a14="http://schemas.microsoft.com/office/drawing/2010/main" val="0"/>
                          </a:ext>
                        </a:extLst>
                      </a:blip>
                      <a:srcRect/>
                      <a:stretch>
                        <a:fillRect/>
                      </a:stretch>
                    </p:blipFill>
                    <p:spPr bwMode="auto">
                      <a:xfrm>
                        <a:off x="9763191" y="4680964"/>
                        <a:ext cx="320616" cy="320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4" name="Group 388"/>
                    <p:cNvGrpSpPr>
                      <a:grpSpLocks/>
                    </p:cNvGrpSpPr>
                    <p:nvPr/>
                  </p:nvGrpSpPr>
                  <p:grpSpPr bwMode="auto">
                    <a:xfrm>
                      <a:off x="9193207" y="2595968"/>
                      <a:ext cx="790386" cy="325437"/>
                      <a:chOff x="9763191" y="3448241"/>
                      <a:chExt cx="790562" cy="325401"/>
                    </a:xfrm>
                  </p:grpSpPr>
                  <p:pic>
                    <p:nvPicPr>
                      <p:cNvPr id="385" name="Picture 16"/>
                      <p:cNvPicPr>
                        <a:picLocks noChangeAspect="1"/>
                      </p:cNvPicPr>
                      <p:nvPr/>
                    </p:nvPicPr>
                    <p:blipFill>
                      <a:blip r:embed="rId33">
                        <a:extLst>
                          <a:ext uri="{28A0092B-C50C-407E-A947-70E740481C1C}">
                            <a14:useLocalDpi xmlns:a14="http://schemas.microsoft.com/office/drawing/2010/main" val="0"/>
                          </a:ext>
                        </a:extLst>
                      </a:blip>
                      <a:srcRect/>
                      <a:stretch>
                        <a:fillRect/>
                      </a:stretch>
                    </p:blipFill>
                    <p:spPr bwMode="auto">
                      <a:xfrm>
                        <a:off x="9763191" y="3452465"/>
                        <a:ext cx="320616" cy="290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6" name="TextBox 385"/>
                      <p:cNvSpPr txBox="1"/>
                      <p:nvPr/>
                    </p:nvSpPr>
                    <p:spPr>
                      <a:xfrm>
                        <a:off x="10156790" y="3448241"/>
                        <a:ext cx="396963" cy="325401"/>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QL Data</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Warehouse</a:t>
                        </a:r>
                      </a:p>
                    </p:txBody>
                  </p:sp>
                </p:grpSp>
              </p:grpSp>
            </p:grpSp>
            <p:grpSp>
              <p:nvGrpSpPr>
                <p:cNvPr id="349" name="Group 348"/>
                <p:cNvGrpSpPr/>
                <p:nvPr/>
              </p:nvGrpSpPr>
              <p:grpSpPr>
                <a:xfrm>
                  <a:off x="2082009" y="543029"/>
                  <a:ext cx="2144942" cy="1371600"/>
                  <a:chOff x="2082009" y="650979"/>
                  <a:chExt cx="2144942" cy="1371600"/>
                </a:xfrm>
              </p:grpSpPr>
              <p:sp>
                <p:nvSpPr>
                  <p:cNvPr id="364" name="Rectangle 363"/>
                  <p:cNvSpPr/>
                  <p:nvPr/>
                </p:nvSpPr>
                <p:spPr bwMode="auto">
                  <a:xfrm>
                    <a:off x="2082009" y="650979"/>
                    <a:ext cx="2144942"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ute</a:t>
                    </a:r>
                  </a:p>
                </p:txBody>
              </p:sp>
              <p:grpSp>
                <p:nvGrpSpPr>
                  <p:cNvPr id="365" name="Group 364"/>
                  <p:cNvGrpSpPr/>
                  <p:nvPr/>
                </p:nvGrpSpPr>
                <p:grpSpPr>
                  <a:xfrm>
                    <a:off x="2209151" y="1044910"/>
                    <a:ext cx="889842" cy="301625"/>
                    <a:chOff x="2315921" y="978921"/>
                    <a:chExt cx="889842" cy="301625"/>
                  </a:xfrm>
                </p:grpSpPr>
                <p:sp>
                  <p:nvSpPr>
                    <p:cNvPr id="375" name="TextBox 374"/>
                    <p:cNvSpPr txBox="1"/>
                    <p:nvPr/>
                  </p:nvSpPr>
                  <p:spPr bwMode="auto">
                    <a:xfrm>
                      <a:off x="2678517" y="978921"/>
                      <a:ext cx="527246"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Cloud</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Services</a:t>
                      </a:r>
                    </a:p>
                  </p:txBody>
                </p:sp>
                <p:pic>
                  <p:nvPicPr>
                    <p:cNvPr id="376" name="Picture 145"/>
                    <p:cNvPicPr>
                      <a:picLocks noChangeAspect="1"/>
                    </p:cNvPicPr>
                    <p:nvPr/>
                  </p:nvPicPr>
                  <p:blipFill>
                    <a:blip r:embed="rId34">
                      <a:biLevel thresh="25000"/>
                      <a:extLst>
                        <a:ext uri="{28A0092B-C50C-407E-A947-70E740481C1C}">
                          <a14:useLocalDpi xmlns:a14="http://schemas.microsoft.com/office/drawing/2010/main" val="0"/>
                        </a:ext>
                      </a:extLst>
                    </a:blip>
                    <a:srcRect/>
                    <a:stretch>
                      <a:fillRect/>
                    </a:stretch>
                  </p:blipFill>
                  <p:spPr bwMode="auto">
                    <a:xfrm>
                      <a:off x="2315921" y="984779"/>
                      <a:ext cx="289808" cy="289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6" name="Group 365"/>
                  <p:cNvGrpSpPr/>
                  <p:nvPr/>
                </p:nvGrpSpPr>
                <p:grpSpPr>
                  <a:xfrm>
                    <a:off x="2209151" y="1617332"/>
                    <a:ext cx="751241" cy="303647"/>
                    <a:chOff x="2355344" y="1558000"/>
                    <a:chExt cx="751241" cy="303647"/>
                  </a:xfrm>
                </p:grpSpPr>
                <p:sp>
                  <p:nvSpPr>
                    <p:cNvPr id="373" name="TextBox 372"/>
                    <p:cNvSpPr txBox="1"/>
                    <p:nvPr/>
                  </p:nvSpPr>
                  <p:spPr bwMode="auto">
                    <a:xfrm>
                      <a:off x="2722967" y="1559012"/>
                      <a:ext cx="383618" cy="3016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Batch</a:t>
                      </a:r>
                    </a:p>
                  </p:txBody>
                </p:sp>
                <p:pic>
                  <p:nvPicPr>
                    <p:cNvPr id="374" name="Picture 147"/>
                    <p:cNvPicPr>
                      <a:picLocks noChangeAspect="1"/>
                    </p:cNvPicPr>
                    <p:nvPr/>
                  </p:nvPicPr>
                  <p:blipFill>
                    <a:blip r:embed="rId35">
                      <a:biLevel thresh="25000"/>
                      <a:extLst>
                        <a:ext uri="{28A0092B-C50C-407E-A947-70E740481C1C}">
                          <a14:useLocalDpi xmlns:a14="http://schemas.microsoft.com/office/drawing/2010/main" val="0"/>
                        </a:ext>
                      </a:extLst>
                    </a:blip>
                    <a:srcRect/>
                    <a:stretch>
                      <a:fillRect/>
                    </a:stretch>
                  </p:blipFill>
                  <p:spPr bwMode="auto">
                    <a:xfrm>
                      <a:off x="2355344" y="1558000"/>
                      <a:ext cx="303542" cy="3036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7" name="Group 366"/>
                  <p:cNvGrpSpPr/>
                  <p:nvPr/>
                </p:nvGrpSpPr>
                <p:grpSpPr>
                  <a:xfrm>
                    <a:off x="3226725" y="1617332"/>
                    <a:ext cx="865731" cy="301625"/>
                    <a:chOff x="3193533" y="1551343"/>
                    <a:chExt cx="865731" cy="301625"/>
                  </a:xfrm>
                </p:grpSpPr>
                <p:sp>
                  <p:nvSpPr>
                    <p:cNvPr id="371" name="TextBox 370"/>
                    <p:cNvSpPr txBox="1"/>
                    <p:nvPr/>
                  </p:nvSpPr>
                  <p:spPr bwMode="auto">
                    <a:xfrm>
                      <a:off x="3554337" y="1551343"/>
                      <a:ext cx="504927"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Remote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pp</a:t>
                      </a:r>
                    </a:p>
                  </p:txBody>
                </p:sp>
                <p:pic>
                  <p:nvPicPr>
                    <p:cNvPr id="372" name="Picture 149"/>
                    <p:cNvPicPr>
                      <a:picLocks noChangeAspect="1"/>
                    </p:cNvPicPr>
                    <p:nvPr/>
                  </p:nvPicPr>
                  <p:blipFill>
                    <a:blip r:embed="rId36">
                      <a:biLevel thresh="25000"/>
                      <a:extLst>
                        <a:ext uri="{28A0092B-C50C-407E-A947-70E740481C1C}">
                          <a14:useLocalDpi xmlns:a14="http://schemas.microsoft.com/office/drawing/2010/main" val="0"/>
                        </a:ext>
                      </a:extLst>
                    </a:blip>
                    <a:srcRect/>
                    <a:stretch>
                      <a:fillRect/>
                    </a:stretch>
                  </p:blipFill>
                  <p:spPr bwMode="auto">
                    <a:xfrm>
                      <a:off x="3193533" y="1556274"/>
                      <a:ext cx="291661" cy="291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8" name="Group 367"/>
                  <p:cNvGrpSpPr/>
                  <p:nvPr/>
                </p:nvGrpSpPr>
                <p:grpSpPr>
                  <a:xfrm>
                    <a:off x="3226725" y="1046498"/>
                    <a:ext cx="873084" cy="300037"/>
                    <a:chOff x="3380111" y="980440"/>
                    <a:chExt cx="873084" cy="300037"/>
                  </a:xfrm>
                </p:grpSpPr>
                <p:sp>
                  <p:nvSpPr>
                    <p:cNvPr id="369" name="TextBox 368"/>
                    <p:cNvSpPr txBox="1"/>
                    <p:nvPr/>
                  </p:nvSpPr>
                  <p:spPr bwMode="auto">
                    <a:xfrm>
                      <a:off x="3723011" y="980440"/>
                      <a:ext cx="530184"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ervic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Fabric</a:t>
                      </a:r>
                    </a:p>
                  </p:txBody>
                </p:sp>
                <p:sp>
                  <p:nvSpPr>
                    <p:cNvPr id="370" name="Freeform 369"/>
                    <p:cNvSpPr/>
                    <p:nvPr/>
                  </p:nvSpPr>
                  <p:spPr bwMode="auto">
                    <a:xfrm>
                      <a:off x="3380111" y="993933"/>
                      <a:ext cx="282575" cy="273050"/>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rgbClr val="FFFFFF"/>
                    </a:solidFill>
                    <a:ln w="9525" cap="flat" cmpd="sng" algn="ctr">
                      <a:solidFill>
                        <a:srgbClr val="FFFFFF"/>
                      </a:solid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grpSp>
              <p:nvGrpSpPr>
                <p:cNvPr id="350" name="Group 349"/>
                <p:cNvGrpSpPr/>
                <p:nvPr/>
              </p:nvGrpSpPr>
              <p:grpSpPr>
                <a:xfrm>
                  <a:off x="8203323" y="543029"/>
                  <a:ext cx="2250927" cy="1371600"/>
                  <a:chOff x="8203323" y="650979"/>
                  <a:chExt cx="2250927" cy="1371600"/>
                </a:xfrm>
              </p:grpSpPr>
              <p:sp>
                <p:nvSpPr>
                  <p:cNvPr id="351" name="Rectangle 350"/>
                  <p:cNvSpPr/>
                  <p:nvPr/>
                </p:nvSpPr>
                <p:spPr bwMode="auto">
                  <a:xfrm>
                    <a:off x="8203323" y="650979"/>
                    <a:ext cx="2250927"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eveloper services</a:t>
                    </a:r>
                  </a:p>
                </p:txBody>
              </p:sp>
              <p:grpSp>
                <p:nvGrpSpPr>
                  <p:cNvPr id="352" name="Group 351"/>
                  <p:cNvGrpSpPr/>
                  <p:nvPr/>
                </p:nvGrpSpPr>
                <p:grpSpPr>
                  <a:xfrm>
                    <a:off x="8316462" y="1050815"/>
                    <a:ext cx="1048050" cy="290595"/>
                    <a:chOff x="8316462" y="1050815"/>
                    <a:chExt cx="1048050" cy="290595"/>
                  </a:xfrm>
                </p:grpSpPr>
                <p:sp>
                  <p:nvSpPr>
                    <p:cNvPr id="362" name="TextBox 361"/>
                    <p:cNvSpPr txBox="1"/>
                    <p:nvPr/>
                  </p:nvSpPr>
                  <p:spPr bwMode="auto">
                    <a:xfrm>
                      <a:off x="8694587" y="1065786"/>
                      <a:ext cx="669925" cy="2508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Visual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Studio</a:t>
                      </a:r>
                    </a:p>
                  </p:txBody>
                </p:sp>
                <p:pic>
                  <p:nvPicPr>
                    <p:cNvPr id="363" name="Picture 167" descr="Visual Studio Online.png"/>
                    <p:cNvPicPr>
                      <a:picLocks noChangeAspect="1"/>
                    </p:cNvPicPr>
                    <p:nvPr/>
                  </p:nvPicPr>
                  <p:blipFill>
                    <a:blip r:embed="rId37">
                      <a:biLevel thresh="25000"/>
                      <a:extLst>
                        <a:ext uri="{28A0092B-C50C-407E-A947-70E740481C1C}">
                          <a14:useLocalDpi xmlns:a14="http://schemas.microsoft.com/office/drawing/2010/main" val="0"/>
                        </a:ext>
                      </a:extLst>
                    </a:blip>
                    <a:srcRect/>
                    <a:stretch>
                      <a:fillRect/>
                    </a:stretch>
                  </p:blipFill>
                  <p:spPr bwMode="auto">
                    <a:xfrm>
                      <a:off x="8316462" y="1050815"/>
                      <a:ext cx="290580" cy="290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3" name="Group 352"/>
                  <p:cNvGrpSpPr/>
                  <p:nvPr/>
                </p:nvGrpSpPr>
                <p:grpSpPr>
                  <a:xfrm>
                    <a:off x="9413978" y="1606382"/>
                    <a:ext cx="957567" cy="312845"/>
                    <a:chOff x="9413978" y="1606382"/>
                    <a:chExt cx="957567" cy="312845"/>
                  </a:xfrm>
                </p:grpSpPr>
                <p:sp>
                  <p:nvSpPr>
                    <p:cNvPr id="360" name="TextBox 359"/>
                    <p:cNvSpPr txBox="1"/>
                    <p:nvPr/>
                  </p:nvSpPr>
                  <p:spPr bwMode="auto">
                    <a:xfrm>
                      <a:off x="9712733" y="161760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pplication</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Insights</a:t>
                      </a:r>
                    </a:p>
                  </p:txBody>
                </p:sp>
                <p:pic>
                  <p:nvPicPr>
                    <p:cNvPr id="361" name="Picture 169" descr="Application Insights.png"/>
                    <p:cNvPicPr>
                      <a:picLocks noChangeAspect="1"/>
                    </p:cNvPicPr>
                    <p:nvPr/>
                  </p:nvPicPr>
                  <p:blipFill>
                    <a:blip r:embed="rId38">
                      <a:biLevel thresh="25000"/>
                      <a:extLst>
                        <a:ext uri="{28A0092B-C50C-407E-A947-70E740481C1C}">
                          <a14:useLocalDpi xmlns:a14="http://schemas.microsoft.com/office/drawing/2010/main" val="0"/>
                        </a:ext>
                      </a:extLst>
                    </a:blip>
                    <a:srcRect/>
                    <a:stretch>
                      <a:fillRect/>
                    </a:stretch>
                  </p:blipFill>
                  <p:spPr bwMode="auto">
                    <a:xfrm>
                      <a:off x="9413978" y="1606382"/>
                      <a:ext cx="292365" cy="29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4" name="Group 353"/>
                  <p:cNvGrpSpPr/>
                  <p:nvPr/>
                </p:nvGrpSpPr>
                <p:grpSpPr>
                  <a:xfrm>
                    <a:off x="9408787" y="1025699"/>
                    <a:ext cx="875200" cy="302765"/>
                    <a:chOff x="9408787" y="1025699"/>
                    <a:chExt cx="875200" cy="302765"/>
                  </a:xfrm>
                </p:grpSpPr>
                <p:pic>
                  <p:nvPicPr>
                    <p:cNvPr id="358" name="Picture 272"/>
                    <p:cNvPicPr>
                      <a:picLocks noChangeAspect="1"/>
                    </p:cNvPicPr>
                    <p:nvPr/>
                  </p:nvPicPr>
                  <p:blipFill>
                    <a:blip r:embed="rId39">
                      <a:biLevel thresh="25000"/>
                      <a:extLst>
                        <a:ext uri="{28A0092B-C50C-407E-A947-70E740481C1C}">
                          <a14:useLocalDpi xmlns:a14="http://schemas.microsoft.com/office/drawing/2010/main" val="0"/>
                        </a:ext>
                      </a:extLst>
                    </a:blip>
                    <a:srcRect/>
                    <a:stretch>
                      <a:fillRect/>
                    </a:stretch>
                  </p:blipFill>
                  <p:spPr bwMode="auto">
                    <a:xfrm>
                      <a:off x="9408787" y="1025699"/>
                      <a:ext cx="302749" cy="302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9" name="TextBox 358"/>
                    <p:cNvSpPr txBox="1"/>
                    <p:nvPr/>
                  </p:nvSpPr>
                  <p:spPr bwMode="auto">
                    <a:xfrm>
                      <a:off x="9742651" y="1059753"/>
                      <a:ext cx="541336" cy="2492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zure SDK</a:t>
                      </a:r>
                    </a:p>
                  </p:txBody>
                </p:sp>
              </p:grpSp>
              <p:grpSp>
                <p:nvGrpSpPr>
                  <p:cNvPr id="355" name="Group 354"/>
                  <p:cNvGrpSpPr/>
                  <p:nvPr/>
                </p:nvGrpSpPr>
                <p:grpSpPr>
                  <a:xfrm>
                    <a:off x="8316496" y="1621631"/>
                    <a:ext cx="1048016" cy="280129"/>
                    <a:chOff x="8316496" y="1621631"/>
                    <a:chExt cx="1048016" cy="280129"/>
                  </a:xfrm>
                </p:grpSpPr>
                <p:sp>
                  <p:nvSpPr>
                    <p:cNvPr id="356" name="TextBox 355"/>
                    <p:cNvSpPr txBox="1"/>
                    <p:nvPr/>
                  </p:nvSpPr>
                  <p:spPr bwMode="auto">
                    <a:xfrm>
                      <a:off x="8704112" y="1650936"/>
                      <a:ext cx="660400" cy="2508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Team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Project</a:t>
                      </a:r>
                    </a:p>
                  </p:txBody>
                </p:sp>
                <p:sp>
                  <p:nvSpPr>
                    <p:cNvPr id="357" name="Freeform 356"/>
                    <p:cNvSpPr/>
                    <p:nvPr/>
                  </p:nvSpPr>
                  <p:spPr bwMode="auto">
                    <a:xfrm>
                      <a:off x="8316496" y="1621631"/>
                      <a:ext cx="290512" cy="249237"/>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grpSp>
          <p:grpSp>
            <p:nvGrpSpPr>
              <p:cNvPr id="4" name="Group 3"/>
              <p:cNvGrpSpPr/>
              <p:nvPr userDrawn="1"/>
            </p:nvGrpSpPr>
            <p:grpSpPr>
              <a:xfrm>
                <a:off x="249566" y="543029"/>
                <a:ext cx="1720893" cy="3795291"/>
                <a:chOff x="249566" y="543029"/>
                <a:chExt cx="1720893" cy="3795291"/>
              </a:xfrm>
            </p:grpSpPr>
            <p:sp>
              <p:nvSpPr>
                <p:cNvPr id="319" name="Rectangle 318"/>
                <p:cNvSpPr/>
                <p:nvPr/>
              </p:nvSpPr>
              <p:spPr bwMode="auto">
                <a:xfrm>
                  <a:off x="249566" y="543029"/>
                  <a:ext cx="1720893" cy="3795291"/>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algn="ctr" defTabSz="895740" eaLnBrk="1" hangingPunct="1">
                    <a:lnSpc>
                      <a:spcPct val="90000"/>
                    </a:lnSpc>
                    <a:spcBef>
                      <a:spcPts val="0"/>
                    </a:spcBef>
                    <a:spcAft>
                      <a:spcPts val="0"/>
                    </a:spcAft>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ecurity and Management</a:t>
                  </a:r>
                </a:p>
              </p:txBody>
            </p:sp>
            <p:grpSp>
              <p:nvGrpSpPr>
                <p:cNvPr id="3" name="Group 2"/>
                <p:cNvGrpSpPr/>
                <p:nvPr/>
              </p:nvGrpSpPr>
              <p:grpSpPr>
                <a:xfrm>
                  <a:off x="365563" y="1115018"/>
                  <a:ext cx="1458716" cy="3120525"/>
                  <a:chOff x="419554" y="1199688"/>
                  <a:chExt cx="1458716" cy="3120525"/>
                </a:xfrm>
              </p:grpSpPr>
              <p:grpSp>
                <p:nvGrpSpPr>
                  <p:cNvPr id="321" name="Group 320"/>
                  <p:cNvGrpSpPr/>
                  <p:nvPr/>
                </p:nvGrpSpPr>
                <p:grpSpPr>
                  <a:xfrm>
                    <a:off x="442574" y="1656149"/>
                    <a:ext cx="1027708" cy="303213"/>
                    <a:chOff x="368069" y="1313314"/>
                    <a:chExt cx="1027708" cy="303213"/>
                  </a:xfrm>
                </p:grpSpPr>
                <p:sp>
                  <p:nvSpPr>
                    <p:cNvPr id="340" name="TextBox 339"/>
                    <p:cNvSpPr txBox="1"/>
                    <p:nvPr/>
                  </p:nvSpPr>
                  <p:spPr bwMode="auto">
                    <a:xfrm>
                      <a:off x="736963" y="1314902"/>
                      <a:ext cx="658814"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ctiv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Directory</a:t>
                      </a:r>
                    </a:p>
                  </p:txBody>
                </p:sp>
                <p:pic>
                  <p:nvPicPr>
                    <p:cNvPr id="341" name="Picture 193" descr="Azure Active Directory.png"/>
                    <p:cNvPicPr>
                      <a:picLocks noChangeAspect="1"/>
                    </p:cNvPicPr>
                    <p:nvPr/>
                  </p:nvPicPr>
                  <p:blipFill>
                    <a:blip r:embed="rId40">
                      <a:biLevel thresh="25000"/>
                      <a:extLst>
                        <a:ext uri="{28A0092B-C50C-407E-A947-70E740481C1C}">
                          <a14:useLocalDpi xmlns:a14="http://schemas.microsoft.com/office/drawing/2010/main" val="0"/>
                        </a:ext>
                      </a:extLst>
                    </a:blip>
                    <a:srcRect/>
                    <a:stretch>
                      <a:fillRect/>
                    </a:stretch>
                  </p:blipFill>
                  <p:spPr bwMode="auto">
                    <a:xfrm>
                      <a:off x="368069" y="1313314"/>
                      <a:ext cx="298175" cy="298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2" name="Group 321"/>
                  <p:cNvGrpSpPr/>
                  <p:nvPr/>
                </p:nvGrpSpPr>
                <p:grpSpPr>
                  <a:xfrm>
                    <a:off x="466215" y="2129907"/>
                    <a:ext cx="1004066" cy="301625"/>
                    <a:chOff x="391710" y="1847920"/>
                    <a:chExt cx="1004066" cy="301625"/>
                  </a:xfrm>
                </p:grpSpPr>
                <p:sp>
                  <p:nvSpPr>
                    <p:cNvPr id="338" name="TextBox 337"/>
                    <p:cNvSpPr txBox="1"/>
                    <p:nvPr/>
                  </p:nvSpPr>
                  <p:spPr bwMode="auto">
                    <a:xfrm>
                      <a:off x="736963" y="18479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Multi-Factor</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uthentication</a:t>
                      </a:r>
                    </a:p>
                  </p:txBody>
                </p:sp>
                <p:pic>
                  <p:nvPicPr>
                    <p:cNvPr id="339" name="Picture 195" descr="Multi-Factor Authentication.png"/>
                    <p:cNvPicPr>
                      <a:picLocks noChangeAspect="1"/>
                    </p:cNvPicPr>
                    <p:nvPr/>
                  </p:nvPicPr>
                  <p:blipFill>
                    <a:blip r:embed="rId41">
                      <a:biLevel thresh="25000"/>
                      <a:extLst>
                        <a:ext uri="{28A0092B-C50C-407E-A947-70E740481C1C}">
                          <a14:useLocalDpi xmlns:a14="http://schemas.microsoft.com/office/drawing/2010/main" val="0"/>
                        </a:ext>
                      </a:extLst>
                    </a:blip>
                    <a:srcRect/>
                    <a:stretch>
                      <a:fillRect/>
                    </a:stretch>
                  </p:blipFill>
                  <p:spPr bwMode="auto">
                    <a:xfrm>
                      <a:off x="391710" y="1854270"/>
                      <a:ext cx="288064" cy="28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3" name="Group 322"/>
                  <p:cNvGrpSpPr/>
                  <p:nvPr/>
                </p:nvGrpSpPr>
                <p:grpSpPr>
                  <a:xfrm>
                    <a:off x="442574" y="2602077"/>
                    <a:ext cx="1027706" cy="301625"/>
                    <a:chOff x="368069" y="2341251"/>
                    <a:chExt cx="1027706" cy="301625"/>
                  </a:xfrm>
                </p:grpSpPr>
                <p:sp>
                  <p:nvSpPr>
                    <p:cNvPr id="336" name="TextBox 335"/>
                    <p:cNvSpPr txBox="1"/>
                    <p:nvPr/>
                  </p:nvSpPr>
                  <p:spPr bwMode="auto">
                    <a:xfrm>
                      <a:off x="736963" y="23412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utomation</a:t>
                      </a:r>
                    </a:p>
                  </p:txBody>
                </p:sp>
                <p:pic>
                  <p:nvPicPr>
                    <p:cNvPr id="337" name="Picture 198" descr="Azure automation.png"/>
                    <p:cNvPicPr>
                      <a:picLocks noChangeAspect="1"/>
                    </p:cNvPicPr>
                    <p:nvPr/>
                  </p:nvPicPr>
                  <p:blipFill>
                    <a:blip r:embed="rId42">
                      <a:biLevel thresh="25000"/>
                      <a:extLst>
                        <a:ext uri="{28A0092B-C50C-407E-A947-70E740481C1C}">
                          <a14:useLocalDpi xmlns:a14="http://schemas.microsoft.com/office/drawing/2010/main" val="0"/>
                        </a:ext>
                      </a:extLst>
                    </a:blip>
                    <a:srcRect/>
                    <a:stretch>
                      <a:fillRect/>
                    </a:stretch>
                  </p:blipFill>
                  <p:spPr bwMode="auto">
                    <a:xfrm>
                      <a:off x="368069" y="2347601"/>
                      <a:ext cx="289482" cy="290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4" name="Group 323"/>
                  <p:cNvGrpSpPr/>
                  <p:nvPr/>
                </p:nvGrpSpPr>
                <p:grpSpPr>
                  <a:xfrm>
                    <a:off x="442574" y="1199688"/>
                    <a:ext cx="1027707" cy="285916"/>
                    <a:chOff x="368069" y="762503"/>
                    <a:chExt cx="1027707" cy="285916"/>
                  </a:xfrm>
                </p:grpSpPr>
                <p:sp>
                  <p:nvSpPr>
                    <p:cNvPr id="334" name="TextBox 333"/>
                    <p:cNvSpPr txBox="1"/>
                    <p:nvPr/>
                  </p:nvSpPr>
                  <p:spPr bwMode="auto">
                    <a:xfrm>
                      <a:off x="736963" y="789031"/>
                      <a:ext cx="658813" cy="232860"/>
                    </a:xfrm>
                    <a:prstGeom prst="rect">
                      <a:avLst/>
                    </a:prstGeom>
                    <a:noFill/>
                    <a:ln>
                      <a:noFill/>
                    </a:ln>
                  </p:spPr>
                  <p:txBody>
                    <a:bodyPr wrap="none" lIns="0" tIns="27971" rIns="0" bIns="0" anchor="ctr" anchorCtr="0"/>
                    <a:lstStyle/>
                    <a:p>
                      <a:pPr defTabSz="913764">
                        <a:lnSpc>
                          <a:spcPct val="90000"/>
                        </a:lnSpc>
                        <a:spcBef>
                          <a:spcPts val="588"/>
                        </a:spcBef>
                        <a:defRPr/>
                      </a:pPr>
                      <a:r>
                        <a:rPr lang="en-US" sz="980" kern="0" dirty="0">
                          <a:gradFill>
                            <a:gsLst>
                              <a:gs pos="76250">
                                <a:srgbClr val="FFFFFF"/>
                              </a:gs>
                              <a:gs pos="31000">
                                <a:srgbClr val="FFFFFF"/>
                              </a:gs>
                            </a:gsLst>
                            <a:lin ang="5400000" scaled="0"/>
                          </a:gradFill>
                          <a:latin typeface="Segoe UI"/>
                          <a:ea typeface="Arial Unicode MS" panose="020B0604020202020204" pitchFamily="34" charset="-128"/>
                          <a:cs typeface="Segoe UI Light" panose="020B0502040204020203" pitchFamily="34" charset="0"/>
                        </a:rPr>
                        <a:t>Portal</a:t>
                      </a:r>
                    </a:p>
                  </p:txBody>
                </p:sp>
                <p:pic>
                  <p:nvPicPr>
                    <p:cNvPr id="335" name="Picture 200" descr="Azure subscription.png"/>
                    <p:cNvPicPr>
                      <a:picLocks noChangeAspect="1"/>
                    </p:cNvPicPr>
                    <p:nvPr/>
                  </p:nvPicPr>
                  <p:blipFill>
                    <a:blip r:embed="rId43">
                      <a:biLevel thresh="25000"/>
                      <a:extLst>
                        <a:ext uri="{28A0092B-C50C-407E-A947-70E740481C1C}">
                          <a14:useLocalDpi xmlns:a14="http://schemas.microsoft.com/office/drawing/2010/main" val="0"/>
                        </a:ext>
                      </a:extLst>
                    </a:blip>
                    <a:srcRect/>
                    <a:stretch>
                      <a:fillRect/>
                    </a:stretch>
                  </p:blipFill>
                  <p:spPr bwMode="auto">
                    <a:xfrm>
                      <a:off x="368069" y="762503"/>
                      <a:ext cx="286234" cy="285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5" name="Group 324"/>
                  <p:cNvGrpSpPr/>
                  <p:nvPr/>
                </p:nvGrpSpPr>
                <p:grpSpPr>
                  <a:xfrm>
                    <a:off x="442574" y="3074247"/>
                    <a:ext cx="1027707" cy="301625"/>
                    <a:chOff x="368069" y="2835216"/>
                    <a:chExt cx="1027707" cy="301625"/>
                  </a:xfrm>
                </p:grpSpPr>
                <p:sp>
                  <p:nvSpPr>
                    <p:cNvPr id="332" name="TextBox 331"/>
                    <p:cNvSpPr txBox="1"/>
                    <p:nvPr/>
                  </p:nvSpPr>
                  <p:spPr bwMode="auto">
                    <a:xfrm>
                      <a:off x="736963" y="2835216"/>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Key Vault</a:t>
                      </a:r>
                    </a:p>
                  </p:txBody>
                </p:sp>
                <p:pic>
                  <p:nvPicPr>
                    <p:cNvPr id="333" name="Picture 204" descr="AzureKeyVault_icon_white.png"/>
                    <p:cNvPicPr>
                      <a:picLocks noChangeAspect="1"/>
                    </p:cNvPicPr>
                    <p:nvPr/>
                  </p:nvPicPr>
                  <p:blipFill>
                    <a:blip r:embed="rId44">
                      <a:extLst>
                        <a:ext uri="{28A0092B-C50C-407E-A947-70E740481C1C}">
                          <a14:useLocalDpi xmlns:a14="http://schemas.microsoft.com/office/drawing/2010/main" val="0"/>
                        </a:ext>
                      </a:extLst>
                    </a:blip>
                    <a:srcRect/>
                    <a:stretch>
                      <a:fillRect/>
                    </a:stretch>
                  </p:blipFill>
                  <p:spPr bwMode="auto">
                    <a:xfrm>
                      <a:off x="368069" y="2835216"/>
                      <a:ext cx="266988" cy="296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6" name="Group 325"/>
                  <p:cNvGrpSpPr/>
                  <p:nvPr/>
                </p:nvGrpSpPr>
                <p:grpSpPr>
                  <a:xfrm>
                    <a:off x="419554" y="3546417"/>
                    <a:ext cx="1458716" cy="301625"/>
                    <a:chOff x="345049" y="3328988"/>
                    <a:chExt cx="1458716" cy="301625"/>
                  </a:xfrm>
                </p:grpSpPr>
                <p:sp>
                  <p:nvSpPr>
                    <p:cNvPr id="330" name="TextBox 329"/>
                    <p:cNvSpPr txBox="1"/>
                    <p:nvPr/>
                  </p:nvSpPr>
                  <p:spPr bwMode="auto">
                    <a:xfrm>
                      <a:off x="736963" y="3328988"/>
                      <a:ext cx="106680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tor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Marketplace</a:t>
                      </a:r>
                    </a:p>
                  </p:txBody>
                </p:sp>
                <p:pic>
                  <p:nvPicPr>
                    <p:cNvPr id="331" name="Picture 230" descr="Azure Marketplace.png"/>
                    <p:cNvPicPr>
                      <a:picLocks noChangeAspect="1"/>
                    </p:cNvPicPr>
                    <p:nvPr/>
                  </p:nvPicPr>
                  <p:blipFill>
                    <a:blip r:embed="rId45">
                      <a:biLevel thresh="25000"/>
                      <a:extLst>
                        <a:ext uri="{28A0092B-C50C-407E-A947-70E740481C1C}">
                          <a14:useLocalDpi xmlns:a14="http://schemas.microsoft.com/office/drawing/2010/main" val="0"/>
                        </a:ext>
                      </a:extLst>
                    </a:blip>
                    <a:srcRect/>
                    <a:stretch>
                      <a:fillRect/>
                    </a:stretch>
                  </p:blipFill>
                  <p:spPr bwMode="auto">
                    <a:xfrm>
                      <a:off x="345049" y="3338513"/>
                      <a:ext cx="291101" cy="291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7" name="Group 326"/>
                  <p:cNvGrpSpPr/>
                  <p:nvPr/>
                </p:nvGrpSpPr>
                <p:grpSpPr>
                  <a:xfrm>
                    <a:off x="442574" y="4018588"/>
                    <a:ext cx="1029294" cy="301625"/>
                    <a:chOff x="368069" y="3867931"/>
                    <a:chExt cx="1029294" cy="301625"/>
                  </a:xfrm>
                </p:grpSpPr>
                <p:pic>
                  <p:nvPicPr>
                    <p:cNvPr id="328" name="Picture 412"/>
                    <p:cNvPicPr>
                      <a:picLocks noChangeAspect="1"/>
                    </p:cNvPicPr>
                    <p:nvPr/>
                  </p:nvPicPr>
                  <p:blipFill>
                    <a:blip r:embed="rId46">
                      <a:biLevel thresh="25000"/>
                      <a:extLst>
                        <a:ext uri="{28A0092B-C50C-407E-A947-70E740481C1C}">
                          <a14:useLocalDpi xmlns:a14="http://schemas.microsoft.com/office/drawing/2010/main" val="0"/>
                        </a:ext>
                      </a:extLst>
                    </a:blip>
                    <a:srcRect/>
                    <a:stretch>
                      <a:fillRect/>
                    </a:stretch>
                  </p:blipFill>
                  <p:spPr bwMode="auto">
                    <a:xfrm>
                      <a:off x="368069" y="3891744"/>
                      <a:ext cx="252343" cy="25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9" name="TextBox 328"/>
                    <p:cNvSpPr txBox="1"/>
                    <p:nvPr/>
                  </p:nvSpPr>
                  <p:spPr bwMode="auto">
                    <a:xfrm>
                      <a:off x="736963" y="386793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VM Image Gallery</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nd VM Depot</a:t>
                      </a:r>
                    </a:p>
                  </p:txBody>
                </p:sp>
              </p:grpSp>
            </p:grpSp>
          </p:grpSp>
          <p:grpSp>
            <p:nvGrpSpPr>
              <p:cNvPr id="13" name="Group 12"/>
              <p:cNvGrpSpPr/>
              <p:nvPr userDrawn="1"/>
            </p:nvGrpSpPr>
            <p:grpSpPr>
              <a:xfrm>
                <a:off x="10572607" y="543029"/>
                <a:ext cx="1619393" cy="3786173"/>
                <a:chOff x="10572607" y="543029"/>
                <a:chExt cx="1619393" cy="3786173"/>
              </a:xfrm>
            </p:grpSpPr>
            <p:sp>
              <p:nvSpPr>
                <p:cNvPr id="288" name="Rectangle 287"/>
                <p:cNvSpPr/>
                <p:nvPr/>
              </p:nvSpPr>
              <p:spPr bwMode="auto">
                <a:xfrm>
                  <a:off x="10572607" y="543029"/>
                  <a:ext cx="1619393" cy="3786173"/>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algn="ctr" defTabSz="895740" eaLnBrk="1" hangingPunct="1">
                    <a:lnSpc>
                      <a:spcPct val="90000"/>
                    </a:lnSpc>
                    <a:spcBef>
                      <a:spcPts val="0"/>
                    </a:spcBef>
                    <a:spcAft>
                      <a:spcPts val="0"/>
                    </a:spcAft>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Hybrid</a:t>
                  </a:r>
                </a:p>
                <a:p>
                  <a:pPr algn="ctr" defTabSz="895740" eaLnBrk="1" hangingPunct="1">
                    <a:lnSpc>
                      <a:spcPct val="90000"/>
                    </a:lnSpc>
                    <a:spcBef>
                      <a:spcPts val="0"/>
                    </a:spcBef>
                    <a:spcAft>
                      <a:spcPts val="0"/>
                    </a:spcAft>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Operations</a:t>
                  </a:r>
                </a:p>
              </p:txBody>
            </p:sp>
            <p:grpSp>
              <p:nvGrpSpPr>
                <p:cNvPr id="12" name="Group 11"/>
                <p:cNvGrpSpPr/>
                <p:nvPr userDrawn="1"/>
              </p:nvGrpSpPr>
              <p:grpSpPr>
                <a:xfrm>
                  <a:off x="10757536" y="1170330"/>
                  <a:ext cx="1249535" cy="2996155"/>
                  <a:chOff x="10729741" y="1170330"/>
                  <a:chExt cx="1249535" cy="2996155"/>
                </a:xfrm>
              </p:grpSpPr>
              <p:grpSp>
                <p:nvGrpSpPr>
                  <p:cNvPr id="7" name="Group 6"/>
                  <p:cNvGrpSpPr/>
                  <p:nvPr userDrawn="1"/>
                </p:nvGrpSpPr>
                <p:grpSpPr>
                  <a:xfrm>
                    <a:off x="10729741" y="2078817"/>
                    <a:ext cx="1064688" cy="300038"/>
                    <a:chOff x="10729741" y="1826583"/>
                    <a:chExt cx="1064688" cy="300038"/>
                  </a:xfrm>
                </p:grpSpPr>
                <p:sp>
                  <p:nvSpPr>
                    <p:cNvPr id="317" name="TextBox 316"/>
                    <p:cNvSpPr txBox="1"/>
                    <p:nvPr/>
                  </p:nvSpPr>
                  <p:spPr bwMode="auto">
                    <a:xfrm>
                      <a:off x="11135616" y="1826583"/>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Backup</a:t>
                      </a:r>
                    </a:p>
                  </p:txBody>
                </p:sp>
                <p:pic>
                  <p:nvPicPr>
                    <p:cNvPr id="318" name="Picture 206" descr="Backup Service.png"/>
                    <p:cNvPicPr>
                      <a:picLocks noChangeAspect="1"/>
                    </p:cNvPicPr>
                    <p:nvPr/>
                  </p:nvPicPr>
                  <p:blipFill>
                    <a:blip r:embed="rId47">
                      <a:biLevel thresh="25000"/>
                      <a:extLst>
                        <a:ext uri="{28A0092B-C50C-407E-A947-70E740481C1C}">
                          <a14:useLocalDpi xmlns:a14="http://schemas.microsoft.com/office/drawing/2010/main" val="0"/>
                        </a:ext>
                      </a:extLst>
                    </a:blip>
                    <a:srcRect/>
                    <a:stretch>
                      <a:fillRect/>
                    </a:stretch>
                  </p:blipFill>
                  <p:spPr bwMode="auto">
                    <a:xfrm>
                      <a:off x="10729741" y="1828595"/>
                      <a:ext cx="296404" cy="29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0" name="Group 9"/>
                  <p:cNvGrpSpPr/>
                  <p:nvPr userDrawn="1"/>
                </p:nvGrpSpPr>
                <p:grpSpPr>
                  <a:xfrm>
                    <a:off x="10735019" y="3417554"/>
                    <a:ext cx="1059409" cy="301625"/>
                    <a:chOff x="10735019" y="3369011"/>
                    <a:chExt cx="1059409" cy="301625"/>
                  </a:xfrm>
                </p:grpSpPr>
                <p:sp>
                  <p:nvSpPr>
                    <p:cNvPr id="315" name="TextBox 314"/>
                    <p:cNvSpPr txBox="1"/>
                    <p:nvPr/>
                  </p:nvSpPr>
                  <p:spPr bwMode="auto">
                    <a:xfrm>
                      <a:off x="11135616" y="336901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it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Recovery</a:t>
                      </a:r>
                    </a:p>
                  </p:txBody>
                </p:sp>
                <p:pic>
                  <p:nvPicPr>
                    <p:cNvPr id="316" name="Picture 210" descr="Site Recovery.png"/>
                    <p:cNvPicPr>
                      <a:picLocks noChangeAspect="1"/>
                    </p:cNvPicPr>
                    <p:nvPr/>
                  </p:nvPicPr>
                  <p:blipFill>
                    <a:blip r:embed="rId48">
                      <a:biLevel thresh="25000"/>
                      <a:extLst>
                        <a:ext uri="{28A0092B-C50C-407E-A947-70E740481C1C}">
                          <a14:useLocalDpi xmlns:a14="http://schemas.microsoft.com/office/drawing/2010/main" val="0"/>
                        </a:ext>
                      </a:extLst>
                    </a:blip>
                    <a:srcRect/>
                    <a:stretch>
                      <a:fillRect/>
                    </a:stretch>
                  </p:blipFill>
                  <p:spPr bwMode="auto">
                    <a:xfrm>
                      <a:off x="10735019" y="3369011"/>
                      <a:ext cx="285848" cy="286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Group 8"/>
                  <p:cNvGrpSpPr/>
                  <p:nvPr userDrawn="1"/>
                </p:nvGrpSpPr>
                <p:grpSpPr>
                  <a:xfrm>
                    <a:off x="10734570" y="2971838"/>
                    <a:ext cx="1059859" cy="300037"/>
                    <a:chOff x="10734570" y="2856179"/>
                    <a:chExt cx="1059859" cy="300037"/>
                  </a:xfrm>
                </p:grpSpPr>
                <p:sp>
                  <p:nvSpPr>
                    <p:cNvPr id="313" name="TextBox 312"/>
                    <p:cNvSpPr txBox="1"/>
                    <p:nvPr/>
                  </p:nvSpPr>
                  <p:spPr bwMode="auto">
                    <a:xfrm>
                      <a:off x="11135616" y="2856179"/>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Import/Export</a:t>
                      </a:r>
                    </a:p>
                  </p:txBody>
                </p:sp>
                <p:pic>
                  <p:nvPicPr>
                    <p:cNvPr id="314" name="Picture 212" descr="Storage (Azure).png"/>
                    <p:cNvPicPr>
                      <a:picLocks noChangeAspect="1"/>
                    </p:cNvPicPr>
                    <p:nvPr/>
                  </p:nvPicPr>
                  <p:blipFill>
                    <a:blip r:embed="rId49">
                      <a:biLevel thresh="25000"/>
                      <a:extLst>
                        <a:ext uri="{28A0092B-C50C-407E-A947-70E740481C1C}">
                          <a14:useLocalDpi xmlns:a14="http://schemas.microsoft.com/office/drawing/2010/main" val="0"/>
                        </a:ext>
                      </a:extLst>
                    </a:blip>
                    <a:srcRect/>
                    <a:stretch>
                      <a:fillRect/>
                    </a:stretch>
                  </p:blipFill>
                  <p:spPr bwMode="auto">
                    <a:xfrm>
                      <a:off x="10734570" y="2856179"/>
                      <a:ext cx="286746" cy="286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 name="Group 4"/>
                  <p:cNvGrpSpPr/>
                  <p:nvPr userDrawn="1"/>
                </p:nvGrpSpPr>
                <p:grpSpPr>
                  <a:xfrm>
                    <a:off x="10755293" y="1616047"/>
                    <a:ext cx="1223983" cy="317091"/>
                    <a:chOff x="10755293" y="1282976"/>
                    <a:chExt cx="1223983" cy="317091"/>
                  </a:xfrm>
                </p:grpSpPr>
                <p:sp>
                  <p:nvSpPr>
                    <p:cNvPr id="311" name="TextBox 310"/>
                    <p:cNvSpPr txBox="1"/>
                    <p:nvPr/>
                  </p:nvSpPr>
                  <p:spPr bwMode="auto">
                    <a:xfrm>
                      <a:off x="11135616" y="1291503"/>
                      <a:ext cx="843660" cy="30023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D Privileged</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Identity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Management</a:t>
                      </a:r>
                    </a:p>
                  </p:txBody>
                </p:sp>
                <p:pic>
                  <p:nvPicPr>
                    <p:cNvPr id="312" name="Picture 271"/>
                    <p:cNvPicPr>
                      <a:picLocks noChangeAspect="1"/>
                    </p:cNvPicPr>
                    <p:nvPr/>
                  </p:nvPicPr>
                  <p:blipFill>
                    <a:blip r:embed="rId50">
                      <a:extLst>
                        <a:ext uri="{28A0092B-C50C-407E-A947-70E740481C1C}">
                          <a14:useLocalDpi xmlns:a14="http://schemas.microsoft.com/office/drawing/2010/main" val="0"/>
                        </a:ext>
                      </a:extLst>
                    </a:blip>
                    <a:srcRect/>
                    <a:stretch>
                      <a:fillRect/>
                    </a:stretch>
                  </p:blipFill>
                  <p:spPr bwMode="auto">
                    <a:xfrm>
                      <a:off x="10755293" y="1282976"/>
                      <a:ext cx="245301" cy="317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 name="Group 7"/>
                  <p:cNvGrpSpPr/>
                  <p:nvPr userDrawn="1"/>
                </p:nvGrpSpPr>
                <p:grpSpPr>
                  <a:xfrm>
                    <a:off x="10737716" y="2524534"/>
                    <a:ext cx="1058300" cy="301625"/>
                    <a:chOff x="10737716" y="2349114"/>
                    <a:chExt cx="1058300" cy="301625"/>
                  </a:xfrm>
                </p:grpSpPr>
                <p:sp>
                  <p:nvSpPr>
                    <p:cNvPr id="309" name="TextBox 308"/>
                    <p:cNvSpPr txBox="1"/>
                    <p:nvPr/>
                  </p:nvSpPr>
                  <p:spPr bwMode="auto">
                    <a:xfrm>
                      <a:off x="11135616" y="2349114"/>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Operational</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Insights</a:t>
                      </a:r>
                    </a:p>
                  </p:txBody>
                </p:sp>
                <p:pic>
                  <p:nvPicPr>
                    <p:cNvPr id="310" name="Picture 329" descr="Operational Insights.png"/>
                    <p:cNvPicPr>
                      <a:picLocks noChangeAspect="1"/>
                    </p:cNvPicPr>
                    <p:nvPr/>
                  </p:nvPicPr>
                  <p:blipFill>
                    <a:blip r:embed="rId51">
                      <a:biLevel thresh="25000"/>
                      <a:extLst>
                        <a:ext uri="{28A0092B-C50C-407E-A947-70E740481C1C}">
                          <a14:useLocalDpi xmlns:a14="http://schemas.microsoft.com/office/drawing/2010/main" val="0"/>
                        </a:ext>
                      </a:extLst>
                    </a:blip>
                    <a:srcRect/>
                    <a:stretch>
                      <a:fillRect/>
                    </a:stretch>
                  </p:blipFill>
                  <p:spPr bwMode="auto">
                    <a:xfrm>
                      <a:off x="10737716" y="2349114"/>
                      <a:ext cx="280454" cy="280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 name="Group 5"/>
                  <p:cNvGrpSpPr/>
                  <p:nvPr userDrawn="1"/>
                </p:nvGrpSpPr>
                <p:grpSpPr>
                  <a:xfrm>
                    <a:off x="10731079" y="1170330"/>
                    <a:ext cx="1063349" cy="300038"/>
                    <a:chOff x="10731079" y="777857"/>
                    <a:chExt cx="1063349" cy="300038"/>
                  </a:xfrm>
                </p:grpSpPr>
                <p:sp>
                  <p:nvSpPr>
                    <p:cNvPr id="299" name="TextBox 298"/>
                    <p:cNvSpPr txBox="1"/>
                    <p:nvPr/>
                  </p:nvSpPr>
                  <p:spPr bwMode="auto">
                    <a:xfrm>
                      <a:off x="11135616" y="777857"/>
                      <a:ext cx="658812"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zure AD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Connect Health</a:t>
                      </a:r>
                    </a:p>
                  </p:txBody>
                </p:sp>
                <p:grpSp>
                  <p:nvGrpSpPr>
                    <p:cNvPr id="300" name="Group 228"/>
                    <p:cNvGrpSpPr>
                      <a:grpSpLocks/>
                    </p:cNvGrpSpPr>
                    <p:nvPr/>
                  </p:nvGrpSpPr>
                  <p:grpSpPr bwMode="auto">
                    <a:xfrm>
                      <a:off x="10731079" y="777857"/>
                      <a:ext cx="293729" cy="278603"/>
                      <a:chOff x="10757647" y="1125048"/>
                      <a:chExt cx="293741" cy="279390"/>
                    </a:xfrm>
                  </p:grpSpPr>
                  <p:pic>
                    <p:nvPicPr>
                      <p:cNvPr id="301" name="Picture 221" descr="Azure Active Directory.png"/>
                      <p:cNvPicPr>
                        <a:picLocks noChangeAspect="1"/>
                      </p:cNvPicPr>
                      <p:nvPr/>
                    </p:nvPicPr>
                    <p:blipFill>
                      <a:blip r:embed="rId40">
                        <a:biLevel thresh="25000"/>
                        <a:extLst>
                          <a:ext uri="{28A0092B-C50C-407E-A947-70E740481C1C}">
                            <a14:useLocalDpi xmlns:a14="http://schemas.microsoft.com/office/drawing/2010/main" val="0"/>
                          </a:ext>
                        </a:extLst>
                      </a:blip>
                      <a:srcRect/>
                      <a:stretch>
                        <a:fillRect/>
                      </a:stretch>
                    </p:blipFill>
                    <p:spPr bwMode="auto">
                      <a:xfrm>
                        <a:off x="10757647" y="1125048"/>
                        <a:ext cx="262077" cy="26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2" name="Heart 301"/>
                      <p:cNvSpPr/>
                      <p:nvPr/>
                    </p:nvSpPr>
                    <p:spPr bwMode="auto">
                      <a:xfrm>
                        <a:off x="10905290" y="1274695"/>
                        <a:ext cx="146056" cy="128950"/>
                      </a:xfrm>
                      <a:prstGeom prst="heart">
                        <a:avLst/>
                      </a:prstGeom>
                      <a:solidFill>
                        <a:srgbClr val="FFFFFF"/>
                      </a:solidFill>
                      <a:ln w="12700" cap="flat" cmpd="sng" algn="ctr">
                        <a:solidFill>
                          <a:srgbClr val="005695"/>
                        </a:solid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nvGrpSpPr>
                      <p:cNvPr id="303" name="Group 21"/>
                      <p:cNvGrpSpPr>
                        <a:grpSpLocks/>
                      </p:cNvGrpSpPr>
                      <p:nvPr/>
                    </p:nvGrpSpPr>
                    <p:grpSpPr bwMode="auto">
                      <a:xfrm>
                        <a:off x="10911015" y="1312918"/>
                        <a:ext cx="107890" cy="50915"/>
                        <a:chOff x="11033154" y="1382736"/>
                        <a:chExt cx="155481" cy="72283"/>
                      </a:xfrm>
                    </p:grpSpPr>
                    <p:cxnSp>
                      <p:nvCxnSpPr>
                        <p:cNvPr id="304" name="Straight Connector 303"/>
                        <p:cNvCxnSpPr/>
                        <p:nvPr/>
                      </p:nvCxnSpPr>
                      <p:spPr>
                        <a:xfrm flipV="1">
                          <a:off x="11034055" y="1414354"/>
                          <a:ext cx="50333" cy="0"/>
                        </a:xfrm>
                        <a:prstGeom prst="line">
                          <a:avLst/>
                        </a:prstGeom>
                        <a:noFill/>
                        <a:ln w="9525" cap="flat" cmpd="sng" algn="ctr">
                          <a:solidFill>
                            <a:srgbClr val="005695"/>
                          </a:solidFill>
                          <a:prstDash val="solid"/>
                          <a:headEnd type="none"/>
                          <a:tailEnd type="none"/>
                        </a:ln>
                        <a:effectLst/>
                      </p:spPr>
                    </p:cxnSp>
                    <p:cxnSp>
                      <p:nvCxnSpPr>
                        <p:cNvPr id="305" name="Straight Connector 304"/>
                        <p:cNvCxnSpPr/>
                        <p:nvPr/>
                      </p:nvCxnSpPr>
                      <p:spPr>
                        <a:xfrm flipV="1">
                          <a:off x="11139295" y="1418875"/>
                          <a:ext cx="50333" cy="0"/>
                        </a:xfrm>
                        <a:prstGeom prst="line">
                          <a:avLst/>
                        </a:prstGeom>
                        <a:noFill/>
                        <a:ln w="9525" cap="flat" cmpd="sng" algn="ctr">
                          <a:solidFill>
                            <a:srgbClr val="005695"/>
                          </a:solidFill>
                          <a:prstDash val="solid"/>
                          <a:headEnd type="none"/>
                          <a:tailEnd type="none"/>
                        </a:ln>
                        <a:effectLst/>
                      </p:spPr>
                    </p:cxnSp>
                    <p:cxnSp>
                      <p:nvCxnSpPr>
                        <p:cNvPr id="306" name="Straight Connector 305"/>
                        <p:cNvCxnSpPr/>
                        <p:nvPr/>
                      </p:nvCxnSpPr>
                      <p:spPr>
                        <a:xfrm>
                          <a:off x="11114130" y="1382713"/>
                          <a:ext cx="0" cy="70062"/>
                        </a:xfrm>
                        <a:prstGeom prst="line">
                          <a:avLst/>
                        </a:prstGeom>
                        <a:noFill/>
                        <a:ln w="9525" cap="flat" cmpd="sng" algn="ctr">
                          <a:solidFill>
                            <a:srgbClr val="005695"/>
                          </a:solidFill>
                          <a:prstDash val="solid"/>
                          <a:headEnd type="none"/>
                          <a:tailEnd type="none"/>
                        </a:ln>
                        <a:effectLst/>
                      </p:spPr>
                    </p:cxnSp>
                    <p:cxnSp>
                      <p:nvCxnSpPr>
                        <p:cNvPr id="307" name="Straight Connector 306"/>
                        <p:cNvCxnSpPr/>
                        <p:nvPr/>
                      </p:nvCxnSpPr>
                      <p:spPr>
                        <a:xfrm flipV="1">
                          <a:off x="11082100" y="1387233"/>
                          <a:ext cx="25166" cy="27121"/>
                        </a:xfrm>
                        <a:prstGeom prst="line">
                          <a:avLst/>
                        </a:prstGeom>
                        <a:noFill/>
                        <a:ln w="9525" cap="flat" cmpd="sng" algn="ctr">
                          <a:solidFill>
                            <a:srgbClr val="005695"/>
                          </a:solidFill>
                          <a:prstDash val="solid"/>
                          <a:headEnd type="none"/>
                          <a:tailEnd type="none"/>
                        </a:ln>
                        <a:effectLst/>
                      </p:spPr>
                    </p:cxnSp>
                    <p:cxnSp>
                      <p:nvCxnSpPr>
                        <p:cNvPr id="308" name="Straight Connector 307"/>
                        <p:cNvCxnSpPr/>
                        <p:nvPr/>
                      </p:nvCxnSpPr>
                      <p:spPr>
                        <a:xfrm flipV="1">
                          <a:off x="11107266" y="1418875"/>
                          <a:ext cx="34318" cy="36161"/>
                        </a:xfrm>
                        <a:prstGeom prst="line">
                          <a:avLst/>
                        </a:prstGeom>
                        <a:noFill/>
                        <a:ln w="9525" cap="flat" cmpd="sng" algn="ctr">
                          <a:solidFill>
                            <a:srgbClr val="005695"/>
                          </a:solidFill>
                          <a:prstDash val="solid"/>
                          <a:headEnd type="none"/>
                          <a:tailEnd type="none"/>
                        </a:ln>
                        <a:effectLst/>
                      </p:spPr>
                    </p:cxnSp>
                  </p:grpSp>
                </p:grpSp>
              </p:grpSp>
              <p:grpSp>
                <p:nvGrpSpPr>
                  <p:cNvPr id="11" name="Group 10"/>
                  <p:cNvGrpSpPr/>
                  <p:nvPr userDrawn="1"/>
                </p:nvGrpSpPr>
                <p:grpSpPr>
                  <a:xfrm>
                    <a:off x="10734275" y="3864860"/>
                    <a:ext cx="1060154" cy="301625"/>
                    <a:chOff x="10734275" y="3881794"/>
                    <a:chExt cx="1060154" cy="301625"/>
                  </a:xfrm>
                </p:grpSpPr>
                <p:sp>
                  <p:nvSpPr>
                    <p:cNvPr id="297" name="TextBox 296"/>
                    <p:cNvSpPr txBox="1"/>
                    <p:nvPr/>
                  </p:nvSpPr>
                  <p:spPr>
                    <a:xfrm>
                      <a:off x="11135616" y="3881794"/>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a:gradFill>
                            <a:gsLst>
                              <a:gs pos="76250">
                                <a:srgbClr val="FFFFFF"/>
                              </a:gs>
                              <a:gs pos="31000">
                                <a:srgbClr val="FFFFFF"/>
                              </a:gs>
                            </a:gsLst>
                            <a:lin ang="5400000" scaled="0"/>
                          </a:gradFill>
                        </a:rPr>
                        <a:t>StorSimple</a:t>
                      </a:r>
                      <a:endParaRPr lang="en-US" sz="980" kern="0" dirty="0">
                        <a:gradFill>
                          <a:gsLst>
                            <a:gs pos="76250">
                              <a:srgbClr val="FFFFFF"/>
                            </a:gs>
                            <a:gs pos="31000">
                              <a:srgbClr val="FFFFFF"/>
                            </a:gs>
                          </a:gsLst>
                          <a:lin ang="5400000" scaled="0"/>
                        </a:gradFill>
                      </a:endParaRPr>
                    </a:p>
                  </p:txBody>
                </p:sp>
                <p:pic>
                  <p:nvPicPr>
                    <p:cNvPr id="298" name="Picture 208" descr="StorSimple.png"/>
                    <p:cNvPicPr>
                      <a:picLocks noChangeAspect="1"/>
                    </p:cNvPicPr>
                    <p:nvPr/>
                  </p:nvPicPr>
                  <p:blipFill>
                    <a:blip r:embed="rId52">
                      <a:biLevel thresh="25000"/>
                      <a:extLst>
                        <a:ext uri="{28A0092B-C50C-407E-A947-70E740481C1C}">
                          <a14:useLocalDpi xmlns:a14="http://schemas.microsoft.com/office/drawing/2010/main" val="0"/>
                        </a:ext>
                      </a:extLst>
                    </a:blip>
                    <a:srcRect/>
                    <a:stretch>
                      <a:fillRect/>
                    </a:stretch>
                  </p:blipFill>
                  <p:spPr bwMode="auto">
                    <a:xfrm>
                      <a:off x="10734275" y="3881794"/>
                      <a:ext cx="287337"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sp>
          <p:nvSpPr>
            <p:cNvPr id="265" name="Rectangle 264"/>
            <p:cNvSpPr/>
            <p:nvPr/>
          </p:nvSpPr>
          <p:spPr bwMode="auto">
            <a:xfrm>
              <a:off x="-102722" y="5682116"/>
              <a:ext cx="12641920" cy="1282663"/>
            </a:xfrm>
            <a:prstGeom prst="rect">
              <a:avLst/>
            </a:prstGeom>
            <a:solidFill>
              <a:srgbClr val="002846"/>
            </a:solidFill>
            <a:ln w="6350" cap="flat" cmpd="sng" algn="ctr">
              <a:noFill/>
              <a:prstDash val="solid"/>
              <a:miter lim="800000"/>
              <a:headEnd type="none" w="med" len="med"/>
              <a:tailEnd type="none" w="med" len="med"/>
            </a:ln>
            <a:effectLst/>
          </p:spPr>
          <p:txBody>
            <a:bodyPr lIns="179285" tIns="91440" rIns="179285" bIns="143428"/>
            <a:lstStyle/>
            <a:p>
              <a:pPr algn="ctr" defTabSz="895740" eaLnBrk="1" hangingPunct="1">
                <a:lnSpc>
                  <a:spcPct val="90000"/>
                </a:lnSpc>
                <a:spcBef>
                  <a:spcPts val="0"/>
                </a:spcBef>
                <a:spcAft>
                  <a:spcPts val="0"/>
                </a:spcAft>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center Infrastructure (24 regions, 19 online)</a:t>
              </a:r>
            </a:p>
          </p:txBody>
        </p:sp>
        <p:grpSp>
          <p:nvGrpSpPr>
            <p:cNvPr id="266" name="Group 265"/>
            <p:cNvGrpSpPr/>
            <p:nvPr/>
          </p:nvGrpSpPr>
          <p:grpSpPr>
            <a:xfrm>
              <a:off x="-237835" y="6137034"/>
              <a:ext cx="12912145" cy="841365"/>
              <a:chOff x="-19051" y="6476517"/>
              <a:chExt cx="12493626" cy="693589"/>
            </a:xfrm>
          </p:grpSpPr>
          <p:pic>
            <p:nvPicPr>
              <p:cNvPr id="267" name="Picture 2"/>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54625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8" name="Picture 44"/>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232891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9" name="Picture 45"/>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11156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0" name="Picture 46"/>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88969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1" name="Picture 47"/>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4672345"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2" name="Picture 48"/>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5455000"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3" name="Picture 49"/>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623765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4" name="Picture 50"/>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020309"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5" name="Picture 51"/>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80296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6" name="Picture 52"/>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858561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7" name="Picture 53"/>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9368272"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8" name="Picture 54"/>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15092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9" name="Picture 56"/>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93358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0" name="Picture 57"/>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1716236"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1" name="Picture 58"/>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905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2" name="Picture 59"/>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6360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Tree>
    <p:extLst>
      <p:ext uri="{BB962C8B-B14F-4D97-AF65-F5344CB8AC3E}">
        <p14:creationId xmlns:p14="http://schemas.microsoft.com/office/powerpoint/2010/main" val="3526654341"/>
      </p:ext>
    </p:extLst>
  </p:cSld>
  <p:clrMapOvr>
    <a:masterClrMapping/>
  </p:clrMapOvr>
  <p:transition>
    <p:fade/>
  </p:transition>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9"/>
            <a:ext cx="11650488" cy="2396047"/>
          </a:xfrm>
          <a:prstGeom prst="rect">
            <a:avLst/>
          </a:prstGeom>
        </p:spPr>
        <p:txBody>
          <a:bodyPr/>
          <a:lstStyle>
            <a:lvl1pPr marL="284647" indent="-284647">
              <a:buClr>
                <a:schemeClr val="tx1"/>
              </a:buClr>
              <a:buSzPct val="90000"/>
              <a:buFont typeface="Wingdings" panose="05000000000000000000" pitchFamily="2" charset="2"/>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959" indent="-275313">
              <a:buClr>
                <a:schemeClr val="tx1"/>
              </a:buClr>
              <a:buSzPct val="90000"/>
              <a:buFont typeface="Wingdings" panose="05000000000000000000" pitchFamily="2" charset="2"/>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606" indent="-284647">
              <a:buClr>
                <a:schemeClr val="tx1"/>
              </a:buClr>
              <a:buSzPct val="90000"/>
              <a:buFont typeface="Wingdings" panose="05000000000000000000" pitchFamily="2" charset="2"/>
              <a:buChar char="§"/>
              <a:defRPr sz="2743">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589" indent="-223984">
              <a:buClr>
                <a:schemeClr val="tx1"/>
              </a:buClr>
              <a:buSzPct val="90000"/>
              <a:buFont typeface="Wingdings" panose="05000000000000000000" pitchFamily="2" charset="2"/>
              <a:buChar char="§"/>
              <a:defRPr sz="2351">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573" indent="-223984">
              <a:buClr>
                <a:schemeClr val="tx1"/>
              </a:buClr>
              <a:buSzPct val="90000"/>
              <a:buFont typeface="Wingdings" panose="05000000000000000000" pitchFamily="2" charset="2"/>
              <a:buChar char="§"/>
              <a:defRPr sz="1959">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8"/>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8047635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1.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169" y="1189177"/>
            <a:ext cx="11650488" cy="2121222"/>
          </a:xfrm>
        </p:spPr>
        <p:txBody>
          <a:bodyPr/>
          <a:lstStyle>
            <a:lvl1pPr marL="0" indent="0">
              <a:buNone/>
              <a:defRPr>
                <a:gradFill>
                  <a:gsLst>
                    <a:gs pos="20354">
                      <a:schemeClr val="tx2"/>
                    </a:gs>
                    <a:gs pos="40000">
                      <a:schemeClr val="tx2"/>
                    </a:gs>
                  </a:gsLst>
                  <a:lin ang="5400000" scaled="0"/>
                </a:gradFill>
              </a:defRPr>
            </a:lvl1pPr>
            <a:lvl2pPr marL="0" indent="0">
              <a:buFontTx/>
              <a:buNone/>
              <a:defRPr sz="1959"/>
            </a:lvl2pPr>
            <a:lvl3pPr marL="223966" indent="0">
              <a:buNone/>
              <a:defRPr/>
            </a:lvl3pPr>
            <a:lvl4pPr marL="447931" indent="0">
              <a:buNone/>
              <a:defRPr/>
            </a:lvl4pPr>
            <a:lvl5pPr marL="67189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7401819"/>
      </p:ext>
    </p:extLst>
  </p:cSld>
  <p:clrMapOvr>
    <a:masterClrMapping/>
  </p:clrMapOvr>
  <p:transition>
    <p:fade/>
  </p:transition>
</p:sldLayout>
</file>

<file path=ppt/slideLayouts/slideLayout482.xml><?xml version="1.0" encoding="utf-8"?>
<p:sldLayout xmlns:a="http://schemas.openxmlformats.org/drawingml/2006/main" xmlns:r="http://schemas.openxmlformats.org/officeDocument/2006/relationships" xmlns:p="http://schemas.openxmlformats.org/presentationml/2006/main" userDrawn="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2674" cy="6855512"/>
          </a:xfrm>
          <a:prstGeom prst="rect">
            <a:avLst/>
          </a:prstGeom>
        </p:spPr>
      </p:pic>
      <p:sp>
        <p:nvSpPr>
          <p:cNvPr id="2" name="Title 1"/>
          <p:cNvSpPr>
            <a:spLocks noGrp="1"/>
          </p:cNvSpPr>
          <p:nvPr>
            <p:ph type="title" hasCustomPrompt="1"/>
          </p:nvPr>
        </p:nvSpPr>
        <p:spPr>
          <a:xfrm>
            <a:off x="269169" y="2084174"/>
            <a:ext cx="11650488"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386617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83.xml><?xml version="1.0" encoding="utf-8"?>
<p:sldLayout xmlns:a="http://schemas.openxmlformats.org/drawingml/2006/main" xmlns:r="http://schemas.openxmlformats.org/officeDocument/2006/relationships" xmlns:p="http://schemas.openxmlformats.org/presentationml/2006/main"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471588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69169" y="2077801"/>
            <a:ext cx="6273340"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0086" y="6119147"/>
            <a:ext cx="1253051" cy="268786"/>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54774" y="481159"/>
            <a:ext cx="1407711" cy="300619"/>
          </a:xfrm>
          <a:prstGeom prst="rect">
            <a:avLst/>
          </a:prstGeom>
        </p:spPr>
      </p:pic>
      <p:sp>
        <p:nvSpPr>
          <p:cNvPr id="12" name="Freeform 11"/>
          <p:cNvSpPr>
            <a:spLocks noEditPoints="1"/>
          </p:cNvSpPr>
          <p:nvPr userDrawn="1"/>
        </p:nvSpPr>
        <p:spPr bwMode="black">
          <a:xfrm>
            <a:off x="2095003" y="2425050"/>
            <a:ext cx="7998819"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00BCF2"/>
          </a:solidFill>
          <a:ln>
            <a:noFill/>
          </a:ln>
        </p:spPr>
        <p:txBody>
          <a:bodyPr vert="horz" wrap="square" lIns="89619" tIns="44809" rIns="89619" bIns="44809" numCol="1" anchor="t" anchorCtr="0" compatLnSpc="1">
            <a:prstTxWarp prst="textNoShape">
              <a:avLst/>
            </a:prstTxWarp>
          </a:bodyPr>
          <a:lstStyle/>
          <a:p>
            <a:endParaRPr lang="en-US" sz="2156"/>
          </a:p>
        </p:txBody>
      </p:sp>
    </p:spTree>
    <p:extLst>
      <p:ext uri="{BB962C8B-B14F-4D97-AF65-F5344CB8AC3E}">
        <p14:creationId xmlns:p14="http://schemas.microsoft.com/office/powerpoint/2010/main" val="28423206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Title Slide - Microsoft">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086" y="6119147"/>
            <a:ext cx="1253051" cy="268786"/>
          </a:xfrm>
          <a:prstGeom prst="rect">
            <a:avLst/>
          </a:prstGeom>
        </p:spPr>
      </p:pic>
      <p:sp>
        <p:nvSpPr>
          <p:cNvPr id="18" name="Title 1"/>
          <p:cNvSpPr>
            <a:spLocks noGrp="1"/>
          </p:cNvSpPr>
          <p:nvPr>
            <p:ph type="title" hasCustomPrompt="1"/>
          </p:nvPr>
        </p:nvSpPr>
        <p:spPr>
          <a:xfrm>
            <a:off x="269232" y="2084187"/>
            <a:ext cx="9858042" cy="1793090"/>
          </a:xfrm>
          <a:noFill/>
        </p:spPr>
        <p:txBody>
          <a:bodyPr lIns="146304" tIns="91440" rIns="146304" bIns="91440" anchor="t" anchorCtr="0"/>
          <a:lstStyle>
            <a:lvl1pPr>
              <a:defRPr sz="5292"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232" y="3878574"/>
            <a:ext cx="9858043"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096" y="481159"/>
            <a:ext cx="1421066" cy="300619"/>
          </a:xfrm>
          <a:prstGeom prst="rect">
            <a:avLst/>
          </a:prstGeom>
        </p:spPr>
      </p:pic>
      <p:sp>
        <p:nvSpPr>
          <p:cNvPr id="7" name="Text Placeholder 2"/>
          <p:cNvSpPr>
            <a:spLocks noGrp="1"/>
          </p:cNvSpPr>
          <p:nvPr>
            <p:ph type="body" sz="quarter" idx="13" hasCustomPrompt="1"/>
          </p:nvPr>
        </p:nvSpPr>
        <p:spPr>
          <a:xfrm>
            <a:off x="8334892" y="301618"/>
            <a:ext cx="3583210" cy="567015"/>
          </a:xfrm>
        </p:spPr>
        <p:txBody>
          <a:bodyPr lIns="182880" tIns="146304" rIns="182880" bIns="146304"/>
          <a:lstStyle>
            <a:lvl1pPr marL="0" indent="0" algn="r">
              <a:buNone/>
              <a:defRPr sz="1960">
                <a:latin typeface="+mn-lt"/>
              </a:defRPr>
            </a:lvl1pPr>
            <a:lvl2pPr marL="336044" indent="0">
              <a:buNone/>
              <a:defRPr sz="1960"/>
            </a:lvl2pPr>
            <a:lvl3pPr marL="560073" indent="0">
              <a:buNone/>
              <a:defRPr sz="1960"/>
            </a:lvl3pPr>
            <a:lvl4pPr marL="784103" indent="0">
              <a:buNone/>
              <a:defRPr sz="1960"/>
            </a:lvl4pPr>
            <a:lvl5pPr marL="1008132" indent="0">
              <a:buNone/>
              <a:defRPr sz="1960"/>
            </a:lvl5pPr>
          </a:lstStyle>
          <a:p>
            <a:pPr lvl="0"/>
            <a:r>
              <a:rPr lang="en-US" dirty="0"/>
              <a:t>Session Code Here</a:t>
            </a:r>
          </a:p>
        </p:txBody>
      </p:sp>
      <p:sp>
        <p:nvSpPr>
          <p:cNvPr id="2" name="TextBox 1"/>
          <p:cNvSpPr txBox="1"/>
          <p:nvPr userDrawn="1"/>
        </p:nvSpPr>
        <p:spPr>
          <a:xfrm>
            <a:off x="283234" y="5954048"/>
            <a:ext cx="1862361" cy="615609"/>
          </a:xfrm>
          <a:prstGeom prst="rect">
            <a:avLst/>
          </a:prstGeom>
          <a:noFill/>
        </p:spPr>
        <p:txBody>
          <a:bodyPr wrap="none" lIns="179238" tIns="143391" rIns="179238" bIns="143391" rtlCol="0">
            <a:spAutoFit/>
          </a:bodyPr>
          <a:lstStyle/>
          <a:p>
            <a:pPr>
              <a:lnSpc>
                <a:spcPct val="90000"/>
              </a:lnSpc>
              <a:spcAft>
                <a:spcPts val="588"/>
              </a:spcAft>
            </a:pPr>
            <a:r>
              <a:rPr lang="en-US" sz="2352" dirty="0">
                <a:gradFill>
                  <a:gsLst>
                    <a:gs pos="2917">
                      <a:schemeClr val="tx1"/>
                    </a:gs>
                    <a:gs pos="30000">
                      <a:schemeClr val="tx1"/>
                    </a:gs>
                  </a:gsLst>
                  <a:lin ang="5400000" scaled="0"/>
                </a:gradFill>
              </a:rPr>
              <a:t>#Build2016</a:t>
            </a:r>
          </a:p>
        </p:txBody>
      </p:sp>
    </p:spTree>
    <p:extLst>
      <p:ext uri="{BB962C8B-B14F-4D97-AF65-F5344CB8AC3E}">
        <p14:creationId xmlns:p14="http://schemas.microsoft.com/office/powerpoint/2010/main" val="15743830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Title Slide - Build">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086" y="6119147"/>
            <a:ext cx="1253051" cy="268786"/>
          </a:xfrm>
          <a:prstGeom prst="rect">
            <a:avLst/>
          </a:prstGeom>
        </p:spPr>
      </p:pic>
      <p:sp>
        <p:nvSpPr>
          <p:cNvPr id="18" name="Title 1"/>
          <p:cNvSpPr>
            <a:spLocks noGrp="1"/>
          </p:cNvSpPr>
          <p:nvPr>
            <p:ph type="title" hasCustomPrompt="1"/>
          </p:nvPr>
        </p:nvSpPr>
        <p:spPr>
          <a:xfrm>
            <a:off x="269232" y="2084187"/>
            <a:ext cx="9858042" cy="1793090"/>
          </a:xfrm>
          <a:noFill/>
        </p:spPr>
        <p:txBody>
          <a:bodyPr lIns="146304" tIns="91440" rIns="146304" bIns="91440" anchor="t" anchorCtr="0"/>
          <a:lstStyle>
            <a:lvl1pPr>
              <a:defRPr sz="5292"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232" y="3878574"/>
            <a:ext cx="9858043"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7" name="Text Placeholder 2"/>
          <p:cNvSpPr>
            <a:spLocks noGrp="1"/>
          </p:cNvSpPr>
          <p:nvPr>
            <p:ph type="body" sz="quarter" idx="13" hasCustomPrompt="1"/>
          </p:nvPr>
        </p:nvSpPr>
        <p:spPr>
          <a:xfrm>
            <a:off x="8334892" y="301618"/>
            <a:ext cx="3583210" cy="567015"/>
          </a:xfrm>
        </p:spPr>
        <p:txBody>
          <a:bodyPr lIns="182880" tIns="146304" rIns="182880" bIns="146304"/>
          <a:lstStyle>
            <a:lvl1pPr marL="0" indent="0" algn="r">
              <a:buNone/>
              <a:defRPr sz="1960">
                <a:latin typeface="+mn-lt"/>
              </a:defRPr>
            </a:lvl1pPr>
            <a:lvl2pPr marL="336044" indent="0">
              <a:buNone/>
              <a:defRPr sz="1960"/>
            </a:lvl2pPr>
            <a:lvl3pPr marL="560073" indent="0">
              <a:buNone/>
              <a:defRPr sz="1960"/>
            </a:lvl3pPr>
            <a:lvl4pPr marL="784103" indent="0">
              <a:buNone/>
              <a:defRPr sz="1960"/>
            </a:lvl4pPr>
            <a:lvl5pPr marL="1008132" indent="0">
              <a:buNone/>
              <a:defRPr sz="1960"/>
            </a:lvl5pPr>
          </a:lstStyle>
          <a:p>
            <a:pPr lvl="0"/>
            <a:r>
              <a:rPr lang="en-US" dirty="0"/>
              <a:t>Session Code Here</a:t>
            </a:r>
          </a:p>
        </p:txBody>
      </p:sp>
      <p:sp>
        <p:nvSpPr>
          <p:cNvPr id="8" name="Freeform 7"/>
          <p:cNvSpPr>
            <a:spLocks noChangeAspect="1" noEditPoints="1"/>
          </p:cNvSpPr>
          <p:nvPr userDrawn="1"/>
        </p:nvSpPr>
        <p:spPr bwMode="black">
          <a:xfrm>
            <a:off x="448095" y="481157"/>
            <a:ext cx="1214334" cy="30482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19" tIns="44809" rIns="89619" bIns="44809" numCol="1" anchor="t" anchorCtr="0" compatLnSpc="1">
            <a:prstTxWarp prst="textNoShape">
              <a:avLst/>
            </a:prstTxWarp>
          </a:bodyPr>
          <a:lstStyle/>
          <a:p>
            <a:endParaRPr lang="en-US" sz="2156">
              <a:solidFill>
                <a:srgbClr val="404040"/>
              </a:solidFill>
            </a:endParaRPr>
          </a:p>
        </p:txBody>
      </p:sp>
      <p:sp>
        <p:nvSpPr>
          <p:cNvPr id="9" name="TextBox 8"/>
          <p:cNvSpPr txBox="1"/>
          <p:nvPr userDrawn="1"/>
        </p:nvSpPr>
        <p:spPr>
          <a:xfrm>
            <a:off x="283234" y="5954048"/>
            <a:ext cx="1862361" cy="615609"/>
          </a:xfrm>
          <a:prstGeom prst="rect">
            <a:avLst/>
          </a:prstGeom>
          <a:noFill/>
        </p:spPr>
        <p:txBody>
          <a:bodyPr wrap="none" lIns="179238" tIns="143391" rIns="179238" bIns="143391" rtlCol="0">
            <a:spAutoFit/>
          </a:bodyPr>
          <a:lstStyle/>
          <a:p>
            <a:pPr>
              <a:lnSpc>
                <a:spcPct val="90000"/>
              </a:lnSpc>
              <a:spcAft>
                <a:spcPts val="588"/>
              </a:spcAft>
            </a:pPr>
            <a:r>
              <a:rPr lang="en-US" sz="2352" dirty="0">
                <a:gradFill>
                  <a:gsLst>
                    <a:gs pos="2917">
                      <a:schemeClr val="tx1"/>
                    </a:gs>
                    <a:gs pos="30000">
                      <a:schemeClr val="tx1"/>
                    </a:gs>
                  </a:gsLst>
                  <a:lin ang="5400000" scaled="0"/>
                </a:gradFill>
              </a:rPr>
              <a:t>#Build2016</a:t>
            </a:r>
          </a:p>
        </p:txBody>
      </p:sp>
    </p:spTree>
    <p:extLst>
      <p:ext uri="{BB962C8B-B14F-4D97-AF65-F5344CB8AC3E}">
        <p14:creationId xmlns:p14="http://schemas.microsoft.com/office/powerpoint/2010/main" val="9050079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169" y="1189178"/>
            <a:ext cx="11650488"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0"/>
            </a:lvl2pPr>
            <a:lvl3pPr marL="224030" indent="0">
              <a:buNone/>
              <a:defRPr/>
            </a:lvl3pPr>
            <a:lvl4pPr marL="448059" indent="0">
              <a:buNone/>
              <a:defRPr/>
            </a:lvl4pPr>
            <a:lvl5pPr marL="672088"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6538169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169" y="1189178"/>
            <a:ext cx="11650488"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30" indent="0">
              <a:buNone/>
              <a:defRPr/>
            </a:lvl3pPr>
            <a:lvl4pPr marL="448059" indent="0">
              <a:buNone/>
              <a:defRPr/>
            </a:lvl4pPr>
            <a:lvl5pPr marL="672088"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4809683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616964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ingle column white with bullets">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6"/>
            <a:ext cx="6273339" cy="1943393"/>
          </a:xfrm>
        </p:spPr>
        <p:txBody>
          <a:bodyPr wrap="square">
            <a:spAutoFit/>
          </a:bodyPr>
          <a:lstStyle>
            <a:lvl1pPr marL="392089" indent="-392089">
              <a:spcBef>
                <a:spcPts val="1200"/>
              </a:spcBef>
              <a:buClr>
                <a:srgbClr val="92D050"/>
              </a:buClr>
              <a:buSzPct val="100000"/>
              <a:buFont typeface="Wingdings" panose="05000000000000000000" pitchFamily="2" charset="2"/>
              <a:buChar char="ü"/>
              <a:defRPr sz="3136">
                <a:gradFill>
                  <a:gsLst>
                    <a:gs pos="7500">
                      <a:schemeClr val="bg1"/>
                    </a:gs>
                    <a:gs pos="43000">
                      <a:schemeClr val="bg1"/>
                    </a:gs>
                  </a:gsLst>
                  <a:lin ang="5400000" scaled="0"/>
                </a:gradFill>
              </a:defRPr>
            </a:lvl1pPr>
            <a:lvl2pPr marL="672153" indent="-280064">
              <a:buClr>
                <a:srgbClr val="92D050"/>
              </a:buClr>
              <a:buSzPct val="100000"/>
              <a:buFont typeface="Wingdings" panose="05000000000000000000" pitchFamily="2" charset="2"/>
              <a:buChar char="ü"/>
              <a:defRPr sz="2352">
                <a:gradFill>
                  <a:gsLst>
                    <a:gs pos="7500">
                      <a:schemeClr val="bg1"/>
                    </a:gs>
                    <a:gs pos="43000">
                      <a:schemeClr val="bg1"/>
                    </a:gs>
                  </a:gsLst>
                  <a:lin ang="5400000" scaled="0"/>
                </a:gradFill>
              </a:defRPr>
            </a:lvl2pPr>
            <a:lvl3pPr marL="684600" indent="267616">
              <a:buClr>
                <a:srgbClr val="92D050"/>
              </a:buClr>
              <a:buSzPct val="100000"/>
              <a:buFont typeface="Wingdings" panose="05000000000000000000" pitchFamily="2" charset="2"/>
              <a:buChar char="ü"/>
              <a:tabLst/>
              <a:defRPr sz="1960">
                <a:gradFill>
                  <a:gsLst>
                    <a:gs pos="7500">
                      <a:schemeClr val="bg1"/>
                    </a:gs>
                    <a:gs pos="43000">
                      <a:schemeClr val="bg1"/>
                    </a:gs>
                  </a:gsLst>
                  <a:lin ang="5400000" scaled="0"/>
                </a:gradFill>
              </a:defRPr>
            </a:lvl3pPr>
            <a:lvl4pPr marL="952216" indent="224051">
              <a:buClr>
                <a:srgbClr val="92D050"/>
              </a:buClr>
              <a:buSzPct val="100000"/>
              <a:buFont typeface="Wingdings" panose="05000000000000000000" pitchFamily="2" charset="2"/>
              <a:buChar char="ü"/>
              <a:defRPr>
                <a:gradFill>
                  <a:gsLst>
                    <a:gs pos="7500">
                      <a:schemeClr val="bg1"/>
                    </a:gs>
                    <a:gs pos="43000">
                      <a:schemeClr val="bg1"/>
                    </a:gs>
                  </a:gsLst>
                  <a:lin ang="5400000" scaled="0"/>
                </a:gradFill>
              </a:defRPr>
            </a:lvl4pPr>
            <a:lvl5pPr marL="1176267" indent="-224051">
              <a:buClr>
                <a:srgbClr val="92D050"/>
              </a:buClr>
              <a:buSzPct val="100000"/>
              <a:buFont typeface="Wingdings" panose="05000000000000000000" pitchFamily="2" charset="2"/>
              <a:buChar char="ü"/>
              <a:tabLst/>
              <a:defRPr>
                <a:gradFill>
                  <a:gsLst>
                    <a:gs pos="7500">
                      <a:schemeClr val="bg1"/>
                    </a:gs>
                    <a:gs pos="43000">
                      <a:schemeClr val="bg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a:xfrm>
            <a:off x="1557" y="5222104"/>
            <a:ext cx="12187269"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80" eaLnBrk="1" fontAlgn="auto" hangingPunct="1">
              <a:spcBef>
                <a:spcPts val="0"/>
              </a:spcBef>
              <a:spcAft>
                <a:spcPts val="0"/>
              </a:spcAft>
              <a:defRPr/>
            </a:pPr>
            <a:endParaRPr lang="en-US" sz="1764">
              <a:solidFill>
                <a:srgbClr val="FFFFFF"/>
              </a:solidFill>
            </a:endParaRPr>
          </a:p>
        </p:txBody>
      </p:sp>
      <p:sp>
        <p:nvSpPr>
          <p:cNvPr id="8" name="Freeform 99"/>
          <p:cNvSpPr>
            <a:spLocks noChangeAspect="1"/>
          </p:cNvSpPr>
          <p:nvPr userDrawn="1"/>
        </p:nvSpPr>
        <p:spPr bwMode="black">
          <a:xfrm>
            <a:off x="474546" y="5491047"/>
            <a:ext cx="564787"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60" tIns="34280" rIns="68560" bIns="34280"/>
          <a:lstStyle/>
          <a:p>
            <a:pPr defTabSz="914180" eaLnBrk="1" fontAlgn="auto" hangingPunct="1">
              <a:spcBef>
                <a:spcPts val="0"/>
              </a:spcBef>
              <a:spcAft>
                <a:spcPts val="0"/>
              </a:spcAft>
              <a:defRPr/>
            </a:pPr>
            <a:endParaRPr lang="en-US" sz="1323" dirty="0">
              <a:solidFill>
                <a:srgbClr val="000000"/>
              </a:solidFill>
              <a:latin typeface="Segoe UI"/>
              <a:ea typeface="+mn-ea"/>
            </a:endParaRPr>
          </a:p>
        </p:txBody>
      </p:sp>
      <p:grpSp>
        <p:nvGrpSpPr>
          <p:cNvPr id="9" name="Group 8"/>
          <p:cNvGrpSpPr>
            <a:grpSpLocks/>
          </p:cNvGrpSpPr>
          <p:nvPr userDrawn="1"/>
        </p:nvGrpSpPr>
        <p:grpSpPr bwMode="auto">
          <a:xfrm flipH="1">
            <a:off x="7080846" y="1905173"/>
            <a:ext cx="4227347"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7500">
                      <a:schemeClr val="bg1"/>
                    </a:gs>
                    <a:gs pos="55000">
                      <a:schemeClr val="bg1"/>
                    </a:gs>
                  </a:gsLst>
                  <a:lin ang="5400000" scaled="0"/>
                </a:gradFill>
              </a:defRPr>
            </a:lvl1pPr>
          </a:lstStyle>
          <a:p>
            <a:r>
              <a:rPr lang="en-US"/>
              <a:t>Click to edit Master title style</a:t>
            </a:r>
          </a:p>
        </p:txBody>
      </p:sp>
      <p:sp>
        <p:nvSpPr>
          <p:cNvPr id="15" name="Text Placeholder 14"/>
          <p:cNvSpPr>
            <a:spLocks noGrp="1"/>
          </p:cNvSpPr>
          <p:nvPr>
            <p:ph type="body" sz="quarter" idx="11" hasCustomPrompt="1"/>
          </p:nvPr>
        </p:nvSpPr>
        <p:spPr>
          <a:xfrm>
            <a:off x="1039333" y="5403224"/>
            <a:ext cx="10880324" cy="615609"/>
          </a:xfrm>
        </p:spPr>
        <p:txBody>
          <a:bodyPr/>
          <a:lstStyle>
            <a:lvl1pPr marL="0" indent="0">
              <a:buFontTx/>
              <a:buNone/>
              <a:defRPr lang="en-US" sz="3136"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14180" rtl="0" eaLnBrk="1" fontAlgn="auto" latinLnBrk="0" hangingPunct="1">
              <a:lnSpc>
                <a:spcPct val="90000"/>
              </a:lnSpc>
              <a:spcBef>
                <a:spcPct val="20000"/>
              </a:spcBef>
              <a:spcAft>
                <a:spcPts val="0"/>
              </a:spcAft>
              <a:buClrTx/>
              <a:buSzPct val="90000"/>
              <a:buFontTx/>
              <a:buNone/>
              <a:tabLst/>
            </a:pPr>
            <a:r>
              <a:rPr lang="en-US" dirty="0"/>
              <a:t>Potential highlight or call to action goes here</a:t>
            </a:r>
          </a:p>
        </p:txBody>
      </p:sp>
    </p:spTree>
    <p:extLst>
      <p:ext uri="{BB962C8B-B14F-4D97-AF65-F5344CB8AC3E}">
        <p14:creationId xmlns:p14="http://schemas.microsoft.com/office/powerpoint/2010/main" val="1307698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595645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5"/>
            <a:ext cx="5377147"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0" y="1189175"/>
            <a:ext cx="5377147"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545369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5"/>
            <a:ext cx="5377147"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0" y="1189175"/>
            <a:ext cx="5377147"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157837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7"/>
            <a:ext cx="5377147" cy="1946751"/>
          </a:xfrm>
        </p:spPr>
        <p:txBody>
          <a:bodyPr wrap="square">
            <a:spAutoFit/>
          </a:bodyPr>
          <a:lstStyle>
            <a:lvl1pPr marL="281592" indent="-281592">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0" y="1189177"/>
            <a:ext cx="5377147" cy="1946751"/>
          </a:xfrm>
        </p:spPr>
        <p:txBody>
          <a:bodyPr wrap="square">
            <a:spAutoFit/>
          </a:bodyPr>
          <a:lstStyle>
            <a:lvl1pPr marL="281592" indent="-281592">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472794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7"/>
            <a:ext cx="5377147" cy="1946751"/>
          </a:xfrm>
        </p:spPr>
        <p:txBody>
          <a:bodyPr wrap="square">
            <a:spAutoFit/>
          </a:bodyPr>
          <a:lstStyle>
            <a:lvl1pPr marL="281592" indent="-281592">
              <a:spcBef>
                <a:spcPts val="1200"/>
              </a:spcBef>
              <a:buClr>
                <a:schemeClr val="tx1"/>
              </a:buClr>
              <a:buFont typeface="Arial" pitchFamily="34" charset="0"/>
              <a:buChar char="•"/>
              <a:defRPr sz="3136"/>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0" y="1189177"/>
            <a:ext cx="5377147" cy="1946751"/>
          </a:xfrm>
        </p:spPr>
        <p:txBody>
          <a:bodyPr wrap="square">
            <a:spAutoFit/>
          </a:bodyPr>
          <a:lstStyle>
            <a:lvl1pPr marL="281592" indent="-281592">
              <a:spcBef>
                <a:spcPts val="1200"/>
              </a:spcBef>
              <a:buClr>
                <a:schemeClr val="tx1"/>
              </a:buClr>
              <a:buFont typeface="Arial" pitchFamily="34" charset="0"/>
              <a:buChar char="•"/>
              <a:defRPr sz="3136"/>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379068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1342998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079503" y="2906012"/>
            <a:ext cx="10032135" cy="899665"/>
          </a:xfrm>
        </p:spPr>
        <p:txBody>
          <a:bodyPr anchor="ctr" anchorCtr="0"/>
          <a:lstStyle>
            <a:lvl1pPr algn="l">
              <a:defRPr>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739791750"/>
      </p:ext>
    </p:extLst>
  </p:cSld>
  <p:clrMapOvr>
    <a:masterClrMapping/>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1186357"/>
            <a:ext cx="8961914" cy="1158793"/>
          </a:xfrm>
          <a:noFill/>
        </p:spPr>
        <p:txBody>
          <a:bodyPr wrap="square" tIns="91440" bIns="91440" anchor="t" anchorCtr="0">
            <a:spAutoFit/>
          </a:bodyPr>
          <a:lstStyle>
            <a:lvl1pPr>
              <a:defRPr sz="7056" spc="-98" baseline="0">
                <a:gradFill>
                  <a:gsLst>
                    <a:gs pos="24779">
                      <a:srgbClr val="000000"/>
                    </a:gs>
                    <a:gs pos="70000">
                      <a:srgbClr val="000000"/>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170" y="3877277"/>
            <a:ext cx="8961913" cy="724246"/>
          </a:xfrm>
          <a:noFill/>
        </p:spPr>
        <p:txBody>
          <a:bodyPr wrap="square" lIns="182880" tIns="146304" rIns="182880" bIns="146304">
            <a:spAutoFit/>
          </a:bodyPr>
          <a:lstStyle>
            <a:lvl1pPr marL="0" indent="0">
              <a:spcBef>
                <a:spcPts val="0"/>
              </a:spcBef>
              <a:buNone/>
              <a:defRPr sz="3136" spc="0" baseline="0">
                <a:gradFill>
                  <a:gsLst>
                    <a:gs pos="24779">
                      <a:srgbClr val="000000"/>
                    </a:gs>
                    <a:gs pos="70000">
                      <a:srgbClr val="000000"/>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9184314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7"/>
            <a:ext cx="8961913"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8170789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789934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411853659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ingle column Blue with bullets">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6"/>
            <a:ext cx="6273339" cy="1943393"/>
          </a:xfrm>
        </p:spPr>
        <p:txBody>
          <a:bodyPr wrap="square">
            <a:spAutoFit/>
          </a:bodyPr>
          <a:lstStyle>
            <a:lvl1pPr marL="392089" indent="-392089">
              <a:spcBef>
                <a:spcPts val="1200"/>
              </a:spcBef>
              <a:buClr>
                <a:srgbClr val="92D050"/>
              </a:buClr>
              <a:buSzPct val="100000"/>
              <a:buFont typeface="Wingdings" panose="05000000000000000000" pitchFamily="2" charset="2"/>
              <a:buChar char="ü"/>
              <a:defRPr sz="3136">
                <a:gradFill>
                  <a:gsLst>
                    <a:gs pos="82500">
                      <a:schemeClr val="tx1"/>
                    </a:gs>
                    <a:gs pos="43000">
                      <a:schemeClr val="tx1"/>
                    </a:gs>
                  </a:gsLst>
                  <a:lin ang="5400000" scaled="0"/>
                </a:gradFill>
              </a:defRPr>
            </a:lvl1pPr>
            <a:lvl2pPr marL="672153" indent="-280064">
              <a:buClr>
                <a:srgbClr val="92D050"/>
              </a:buClr>
              <a:buSzPct val="100000"/>
              <a:buFont typeface="Wingdings" panose="05000000000000000000" pitchFamily="2" charset="2"/>
              <a:buChar char="ü"/>
              <a:defRPr sz="2352">
                <a:gradFill>
                  <a:gsLst>
                    <a:gs pos="82500">
                      <a:schemeClr val="tx1"/>
                    </a:gs>
                    <a:gs pos="43000">
                      <a:schemeClr val="tx1"/>
                    </a:gs>
                  </a:gsLst>
                  <a:lin ang="5400000" scaled="0"/>
                </a:gradFill>
              </a:defRPr>
            </a:lvl2pPr>
            <a:lvl3pPr marL="684600" indent="267616">
              <a:buClr>
                <a:srgbClr val="92D050"/>
              </a:buClr>
              <a:buSzPct val="100000"/>
              <a:buFont typeface="Wingdings" panose="05000000000000000000" pitchFamily="2" charset="2"/>
              <a:buChar char="ü"/>
              <a:tabLst/>
              <a:defRPr sz="1960">
                <a:gradFill>
                  <a:gsLst>
                    <a:gs pos="82500">
                      <a:schemeClr val="tx1"/>
                    </a:gs>
                    <a:gs pos="43000">
                      <a:schemeClr val="tx1"/>
                    </a:gs>
                  </a:gsLst>
                  <a:lin ang="5400000" scaled="0"/>
                </a:gradFill>
              </a:defRPr>
            </a:lvl3pPr>
            <a:lvl4pPr marL="952216" indent="224051">
              <a:buClr>
                <a:srgbClr val="92D050"/>
              </a:buClr>
              <a:buSzPct val="100000"/>
              <a:buFont typeface="Wingdings" panose="05000000000000000000" pitchFamily="2" charset="2"/>
              <a:buChar char="ü"/>
              <a:defRPr>
                <a:gradFill>
                  <a:gsLst>
                    <a:gs pos="82500">
                      <a:schemeClr val="tx1"/>
                    </a:gs>
                    <a:gs pos="43000">
                      <a:schemeClr val="tx1"/>
                    </a:gs>
                  </a:gsLst>
                  <a:lin ang="5400000" scaled="0"/>
                </a:gradFill>
              </a:defRPr>
            </a:lvl4pPr>
            <a:lvl5pPr marL="1176267" indent="-224051">
              <a:buClr>
                <a:srgbClr val="92D050"/>
              </a:buClr>
              <a:buSzPct val="100000"/>
              <a:buFont typeface="Wingdings" panose="05000000000000000000" pitchFamily="2" charset="2"/>
              <a:buChar char="ü"/>
              <a:tabLst/>
              <a:defRPr>
                <a:gradFill>
                  <a:gsLst>
                    <a:gs pos="82500">
                      <a:schemeClr val="tx1"/>
                    </a:gs>
                    <a:gs pos="4300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a:xfrm>
            <a:off x="1557" y="5222104"/>
            <a:ext cx="12187269"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80" eaLnBrk="1" fontAlgn="auto" hangingPunct="1">
              <a:spcBef>
                <a:spcPts val="0"/>
              </a:spcBef>
              <a:spcAft>
                <a:spcPts val="0"/>
              </a:spcAft>
              <a:defRPr/>
            </a:pPr>
            <a:endParaRPr lang="en-US" sz="1764">
              <a:solidFill>
                <a:srgbClr val="FFFFFF"/>
              </a:solidFill>
            </a:endParaRPr>
          </a:p>
        </p:txBody>
      </p:sp>
      <p:sp>
        <p:nvSpPr>
          <p:cNvPr id="8" name="Freeform 99"/>
          <p:cNvSpPr>
            <a:spLocks noChangeAspect="1"/>
          </p:cNvSpPr>
          <p:nvPr userDrawn="1"/>
        </p:nvSpPr>
        <p:spPr bwMode="black">
          <a:xfrm>
            <a:off x="474546" y="5491047"/>
            <a:ext cx="564787"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60" tIns="34280" rIns="68560" bIns="34280"/>
          <a:lstStyle/>
          <a:p>
            <a:pPr defTabSz="914180" eaLnBrk="1" fontAlgn="auto" hangingPunct="1">
              <a:spcBef>
                <a:spcPts val="0"/>
              </a:spcBef>
              <a:spcAft>
                <a:spcPts val="0"/>
              </a:spcAft>
              <a:defRPr/>
            </a:pPr>
            <a:endParaRPr lang="en-US" sz="1323" dirty="0">
              <a:solidFill>
                <a:srgbClr val="000000"/>
              </a:solidFill>
              <a:latin typeface="Segoe UI"/>
              <a:ea typeface="+mn-ea"/>
            </a:endParaRPr>
          </a:p>
        </p:txBody>
      </p:sp>
      <p:grpSp>
        <p:nvGrpSpPr>
          <p:cNvPr id="9" name="Group 8"/>
          <p:cNvGrpSpPr>
            <a:grpSpLocks/>
          </p:cNvGrpSpPr>
          <p:nvPr userDrawn="1"/>
        </p:nvGrpSpPr>
        <p:grpSpPr bwMode="auto">
          <a:xfrm flipH="1">
            <a:off x="7080846" y="1905173"/>
            <a:ext cx="4227347"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3750">
                      <a:schemeClr val="tx1"/>
                    </a:gs>
                    <a:gs pos="32000">
                      <a:schemeClr val="tx1"/>
                    </a:gs>
                  </a:gsLst>
                  <a:lin ang="5400000" scaled="0"/>
                </a:gradFill>
              </a:defRPr>
            </a:lvl1pPr>
          </a:lstStyle>
          <a:p>
            <a:r>
              <a:rPr lang="en-US"/>
              <a:t>Click to edit Master title style</a:t>
            </a:r>
          </a:p>
        </p:txBody>
      </p:sp>
      <p:sp>
        <p:nvSpPr>
          <p:cNvPr id="15" name="Text Placeholder 14"/>
          <p:cNvSpPr>
            <a:spLocks noGrp="1"/>
          </p:cNvSpPr>
          <p:nvPr>
            <p:ph type="body" sz="quarter" idx="11" hasCustomPrompt="1"/>
          </p:nvPr>
        </p:nvSpPr>
        <p:spPr>
          <a:xfrm>
            <a:off x="1039333" y="5403224"/>
            <a:ext cx="10880324" cy="615609"/>
          </a:xfrm>
        </p:spPr>
        <p:txBody>
          <a:bodyPr/>
          <a:lstStyle>
            <a:lvl1pPr marL="0" indent="0">
              <a:buFontTx/>
              <a:buNone/>
              <a:defRPr lang="en-US" sz="3136"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14180" rtl="0" eaLnBrk="1" fontAlgn="auto" latinLnBrk="0" hangingPunct="1">
              <a:lnSpc>
                <a:spcPct val="90000"/>
              </a:lnSpc>
              <a:spcBef>
                <a:spcPct val="20000"/>
              </a:spcBef>
              <a:spcAft>
                <a:spcPts val="0"/>
              </a:spcAft>
              <a:buClrTx/>
              <a:buSzPct val="90000"/>
              <a:buFontTx/>
              <a:buNone/>
              <a:tabLst/>
            </a:pPr>
            <a:r>
              <a:rPr lang="en-US" dirty="0"/>
              <a:t>Potential highlight or call to action goes here</a:t>
            </a:r>
          </a:p>
        </p:txBody>
      </p:sp>
    </p:spTree>
    <p:extLst>
      <p:ext uri="{BB962C8B-B14F-4D97-AF65-F5344CB8AC3E}">
        <p14:creationId xmlns:p14="http://schemas.microsoft.com/office/powerpoint/2010/main" val="6881644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158793"/>
          </a:xfrm>
          <a:noFill/>
        </p:spPr>
        <p:txBody>
          <a:bodyPr tIns="91440" bIns="91440" anchor="t" anchorCtr="0">
            <a:spAutoFit/>
          </a:bodyPr>
          <a:lstStyle>
            <a:lvl1pPr>
              <a:defRPr sz="7056" spc="-98" baseline="0">
                <a:gradFill>
                  <a:gsLst>
                    <a:gs pos="92035">
                      <a:srgbClr val="000000"/>
                    </a:gs>
                    <a:gs pos="75000">
                      <a:srgbClr val="000000"/>
                    </a:gs>
                  </a:gsLst>
                  <a:lin ang="5400000" scaled="0"/>
                </a:gradFill>
              </a:defRPr>
            </a:lvl1pPr>
          </a:lstStyle>
          <a:p>
            <a:r>
              <a:rPr lang="en-US" dirty="0"/>
              <a:t>Section title</a:t>
            </a:r>
          </a:p>
        </p:txBody>
      </p:sp>
    </p:spTree>
    <p:extLst>
      <p:ext uri="{BB962C8B-B14F-4D97-AF65-F5344CB8AC3E}">
        <p14:creationId xmlns:p14="http://schemas.microsoft.com/office/powerpoint/2010/main" val="6205635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1" y="1217195"/>
            <a:ext cx="5377147" cy="1973570"/>
          </a:xfrm>
        </p:spPr>
        <p:txBody>
          <a:bodyPr>
            <a:spAutoFit/>
          </a:bodyPr>
          <a:lstStyle>
            <a:lvl1pPr>
              <a:defRPr sz="6468"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5968" y="0"/>
            <a:ext cx="6092857" cy="6856100"/>
          </a:xfrm>
          <a:blipFill dpi="0" rotWithShape="1">
            <a:blip r:embed="rId2"/>
            <a:srcRect/>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58307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048633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64094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0" tIns="45710" rIns="45710" bIns="45710" numCol="1" spcCol="0" rtlCol="0" fromWordArt="0" anchor="ctr" anchorCtr="0" forceAA="0" compatLnSpc="1">
            <a:prstTxWarp prst="textNoShape">
              <a:avLst/>
            </a:prstTxWarp>
            <a:noAutofit/>
          </a:bodyPr>
          <a:lstStyle/>
          <a:p>
            <a:pPr algn="ctr" defTabSz="913828" fontAlgn="base">
              <a:spcBef>
                <a:spcPct val="0"/>
              </a:spcBef>
              <a:spcAft>
                <a:spcPct val="0"/>
              </a:spcAft>
            </a:pPr>
            <a:endParaRPr lang="en-US" sz="2156"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69" y="1197323"/>
            <a:ext cx="11650487"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2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1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7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98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0031083"/>
      </p:ext>
    </p:extLst>
  </p:cSld>
  <p:clrMapOvr>
    <a:masterClrMapping/>
  </p:clrMapOvr>
  <p:transition>
    <p:fade/>
  </p:transition>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169" y="6171617"/>
            <a:ext cx="11650487" cy="395317"/>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650"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4774" y="470068"/>
            <a:ext cx="1407711" cy="300619"/>
          </a:xfrm>
          <a:prstGeom prst="rect">
            <a:avLst/>
          </a:prstGeom>
        </p:spPr>
      </p:pic>
    </p:spTree>
    <p:extLst>
      <p:ext uri="{BB962C8B-B14F-4D97-AF65-F5344CB8AC3E}">
        <p14:creationId xmlns:p14="http://schemas.microsoft.com/office/powerpoint/2010/main" val="8439766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396047"/>
          </a:xfrm>
          <a:prstGeom prst="rect">
            <a:avLst/>
          </a:prstGeom>
        </p:spPr>
        <p:txBody>
          <a:bodyPr/>
          <a:lstStyle>
            <a:lvl1pPr marL="284705" indent="-28470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73" indent="-275370">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77" indent="-284705">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807" indent="-224030">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837" indent="-224030">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12188826"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473277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7.xml><?xml version="1.0" encoding="utf-8"?>
<p:sldLayout xmlns:a="http://schemas.openxmlformats.org/drawingml/2006/main" xmlns:r="http://schemas.openxmlformats.org/officeDocument/2006/relationships" xmlns:p="http://schemas.openxmlformats.org/presentationml/2006/main"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177655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8.xml><?xml version="1.0" encoding="utf-8"?>
<p:sldLayout xmlns:a="http://schemas.openxmlformats.org/drawingml/2006/main" xmlns:r="http://schemas.openxmlformats.org/officeDocument/2006/relationships" xmlns:p="http://schemas.openxmlformats.org/presentationml/2006/main"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8740171"/>
      </p:ext>
    </p:extLst>
  </p:cSld>
  <p:clrMapOvr>
    <a:masterClrMapping/>
  </p:clrMapOvr>
  <p:transition>
    <p:fade/>
  </p:transition>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0214979"/>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ingle column Grey with bullets">
    <p:bg>
      <p:bgPr>
        <a:solidFill>
          <a:srgbClr val="1E1E1E"/>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6"/>
            <a:ext cx="6273339" cy="1943393"/>
          </a:xfrm>
        </p:spPr>
        <p:txBody>
          <a:bodyPr wrap="square">
            <a:spAutoFit/>
          </a:bodyPr>
          <a:lstStyle>
            <a:lvl1pPr marL="392089" indent="-392089">
              <a:spcBef>
                <a:spcPts val="1200"/>
              </a:spcBef>
              <a:buClr>
                <a:srgbClr val="92D050"/>
              </a:buClr>
              <a:buSzPct val="100000"/>
              <a:buFont typeface="Wingdings" panose="05000000000000000000" pitchFamily="2" charset="2"/>
              <a:buChar char="ü"/>
              <a:defRPr sz="3136">
                <a:gradFill>
                  <a:gsLst>
                    <a:gs pos="82500">
                      <a:schemeClr val="tx1"/>
                    </a:gs>
                    <a:gs pos="43000">
                      <a:schemeClr val="tx1"/>
                    </a:gs>
                  </a:gsLst>
                  <a:lin ang="5400000" scaled="0"/>
                </a:gradFill>
              </a:defRPr>
            </a:lvl1pPr>
            <a:lvl2pPr marL="672153" indent="-280064">
              <a:buClr>
                <a:srgbClr val="92D050"/>
              </a:buClr>
              <a:buSzPct val="100000"/>
              <a:buFont typeface="Wingdings" panose="05000000000000000000" pitchFamily="2" charset="2"/>
              <a:buChar char="ü"/>
              <a:defRPr sz="2352">
                <a:gradFill>
                  <a:gsLst>
                    <a:gs pos="82500">
                      <a:schemeClr val="tx1"/>
                    </a:gs>
                    <a:gs pos="43000">
                      <a:schemeClr val="tx1"/>
                    </a:gs>
                  </a:gsLst>
                  <a:lin ang="5400000" scaled="0"/>
                </a:gradFill>
              </a:defRPr>
            </a:lvl2pPr>
            <a:lvl3pPr marL="684600" indent="267616">
              <a:buClr>
                <a:srgbClr val="92D050"/>
              </a:buClr>
              <a:buSzPct val="100000"/>
              <a:buFont typeface="Wingdings" panose="05000000000000000000" pitchFamily="2" charset="2"/>
              <a:buChar char="ü"/>
              <a:tabLst/>
              <a:defRPr sz="1960">
                <a:gradFill>
                  <a:gsLst>
                    <a:gs pos="82500">
                      <a:schemeClr val="tx1"/>
                    </a:gs>
                    <a:gs pos="43000">
                      <a:schemeClr val="tx1"/>
                    </a:gs>
                  </a:gsLst>
                  <a:lin ang="5400000" scaled="0"/>
                </a:gradFill>
              </a:defRPr>
            </a:lvl3pPr>
            <a:lvl4pPr marL="952216" indent="224051">
              <a:buClr>
                <a:srgbClr val="92D050"/>
              </a:buClr>
              <a:buSzPct val="100000"/>
              <a:buFont typeface="Wingdings" panose="05000000000000000000" pitchFamily="2" charset="2"/>
              <a:buChar char="ü"/>
              <a:defRPr>
                <a:gradFill>
                  <a:gsLst>
                    <a:gs pos="82500">
                      <a:schemeClr val="tx1"/>
                    </a:gs>
                    <a:gs pos="43000">
                      <a:schemeClr val="tx1"/>
                    </a:gs>
                  </a:gsLst>
                  <a:lin ang="5400000" scaled="0"/>
                </a:gradFill>
              </a:defRPr>
            </a:lvl4pPr>
            <a:lvl5pPr marL="1176267" indent="-224051">
              <a:buClr>
                <a:srgbClr val="92D050"/>
              </a:buClr>
              <a:buSzPct val="100000"/>
              <a:buFont typeface="Wingdings" panose="05000000000000000000" pitchFamily="2" charset="2"/>
              <a:buChar char="ü"/>
              <a:tabLst/>
              <a:defRPr>
                <a:gradFill>
                  <a:gsLst>
                    <a:gs pos="82500">
                      <a:schemeClr val="tx1"/>
                    </a:gs>
                    <a:gs pos="4300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a:xfrm>
            <a:off x="1557" y="5222104"/>
            <a:ext cx="12187269"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80" eaLnBrk="1" fontAlgn="auto" hangingPunct="1">
              <a:spcBef>
                <a:spcPts val="0"/>
              </a:spcBef>
              <a:spcAft>
                <a:spcPts val="0"/>
              </a:spcAft>
              <a:defRPr/>
            </a:pPr>
            <a:endParaRPr lang="en-US" sz="1764">
              <a:solidFill>
                <a:srgbClr val="FFFFFF"/>
              </a:solidFill>
            </a:endParaRPr>
          </a:p>
        </p:txBody>
      </p:sp>
      <p:sp>
        <p:nvSpPr>
          <p:cNvPr id="8" name="Freeform 99"/>
          <p:cNvSpPr>
            <a:spLocks noChangeAspect="1"/>
          </p:cNvSpPr>
          <p:nvPr userDrawn="1"/>
        </p:nvSpPr>
        <p:spPr bwMode="black">
          <a:xfrm>
            <a:off x="474546" y="5491047"/>
            <a:ext cx="564787"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60" tIns="34280" rIns="68560" bIns="34280"/>
          <a:lstStyle/>
          <a:p>
            <a:pPr defTabSz="914180" eaLnBrk="1" fontAlgn="auto" hangingPunct="1">
              <a:spcBef>
                <a:spcPts val="0"/>
              </a:spcBef>
              <a:spcAft>
                <a:spcPts val="0"/>
              </a:spcAft>
              <a:defRPr/>
            </a:pPr>
            <a:endParaRPr lang="en-US" sz="1323" dirty="0">
              <a:solidFill>
                <a:srgbClr val="000000"/>
              </a:solidFill>
              <a:latin typeface="Segoe UI"/>
              <a:ea typeface="+mn-ea"/>
            </a:endParaRPr>
          </a:p>
        </p:txBody>
      </p:sp>
      <p:grpSp>
        <p:nvGrpSpPr>
          <p:cNvPr id="9" name="Group 8"/>
          <p:cNvGrpSpPr>
            <a:grpSpLocks/>
          </p:cNvGrpSpPr>
          <p:nvPr userDrawn="1"/>
        </p:nvGrpSpPr>
        <p:grpSpPr bwMode="auto">
          <a:xfrm flipH="1">
            <a:off x="7080846" y="1905173"/>
            <a:ext cx="4227347"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3750">
                      <a:schemeClr val="tx1"/>
                    </a:gs>
                    <a:gs pos="32000">
                      <a:schemeClr val="tx1"/>
                    </a:gs>
                  </a:gsLst>
                  <a:lin ang="5400000" scaled="0"/>
                </a:gradFill>
              </a:defRPr>
            </a:lvl1pPr>
          </a:lstStyle>
          <a:p>
            <a:r>
              <a:rPr lang="en-US"/>
              <a:t>Click to edit Master title style</a:t>
            </a:r>
          </a:p>
        </p:txBody>
      </p:sp>
      <p:sp>
        <p:nvSpPr>
          <p:cNvPr id="15" name="Text Placeholder 14"/>
          <p:cNvSpPr>
            <a:spLocks noGrp="1"/>
          </p:cNvSpPr>
          <p:nvPr>
            <p:ph type="body" sz="quarter" idx="11" hasCustomPrompt="1"/>
          </p:nvPr>
        </p:nvSpPr>
        <p:spPr>
          <a:xfrm>
            <a:off x="1039333" y="5403224"/>
            <a:ext cx="10880324" cy="615609"/>
          </a:xfrm>
        </p:spPr>
        <p:txBody>
          <a:bodyPr/>
          <a:lstStyle>
            <a:lvl1pPr marL="0" indent="0">
              <a:buFontTx/>
              <a:buNone/>
              <a:defRPr sz="3136" baseline="0">
                <a:gradFill>
                  <a:gsLst>
                    <a:gs pos="15000">
                      <a:srgbClr val="1E1E1E"/>
                    </a:gs>
                    <a:gs pos="49000">
                      <a:srgbClr val="1E1E1E"/>
                    </a:gs>
                  </a:gsLst>
                  <a:lin ang="5400000" scaled="0"/>
                </a:gradFill>
              </a:defRPr>
            </a:lvl1pPr>
          </a:lstStyle>
          <a:p>
            <a:pPr lvl="0"/>
            <a:r>
              <a:rPr lang="en-US" dirty="0"/>
              <a:t>Potential highlight or call to action goes here</a:t>
            </a:r>
          </a:p>
        </p:txBody>
      </p:sp>
    </p:spTree>
    <p:extLst>
      <p:ext uri="{BB962C8B-B14F-4D97-AF65-F5344CB8AC3E}">
        <p14:creationId xmlns:p14="http://schemas.microsoft.com/office/powerpoint/2010/main" val="9065520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19129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1063736"/>
          </a:xfrm>
          <a:noFill/>
        </p:spPr>
        <p:txBody>
          <a:bodyPr tIns="91440" bIns="91440" anchor="t" anchorCtr="0">
            <a:spAutoFit/>
          </a:bodyPr>
          <a:lstStyle>
            <a:lvl1pPr>
              <a:defRPr sz="6369"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172" y="3877277"/>
            <a:ext cx="9858106" cy="724246"/>
          </a:xfrm>
          <a:noFill/>
        </p:spPr>
        <p:txBody>
          <a:bodyPr lIns="182880" tIns="146304" rIns="182880" bIns="146304">
            <a:spAutoFit/>
          </a:bodyPr>
          <a:lstStyle>
            <a:lvl1pPr marL="0" indent="0">
              <a:spcBef>
                <a:spcPts val="0"/>
              </a:spcBef>
              <a:buNone/>
              <a:defRPr sz="3134"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16878078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2.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8791974"/>
      </p:ext>
    </p:extLst>
  </p:cSld>
  <p:clrMapOvr>
    <a:masterClrMapping/>
  </p:clrMapOvr>
  <p:transition>
    <p:fade/>
  </p:transition>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448096" y="6001918"/>
            <a:ext cx="1792383" cy="38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269232" y="2084187"/>
            <a:ext cx="8961851" cy="1793090"/>
          </a:xfrm>
          <a:noFill/>
        </p:spPr>
        <p:txBody>
          <a:bodyPr anchorCtr="0"/>
          <a:lstStyle>
            <a:lvl1pPr>
              <a:defRPr sz="5293" spc="-98" baseline="0">
                <a:gradFill>
                  <a:gsLst>
                    <a:gs pos="91000">
                      <a:schemeClr val="tx1"/>
                    </a:gs>
                    <a:gs pos="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69231" y="3878574"/>
            <a:ext cx="7169469" cy="1792326"/>
          </a:xfrm>
          <a:noFill/>
        </p:spPr>
        <p:txBody>
          <a:bodyPr tIns="109728"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3737333212"/>
      </p:ext>
    </p:extLst>
  </p:cSld>
  <p:clrMapOvr>
    <a:masterClrMapping/>
  </p:clrMapOvr>
  <p:transition spd="slow"/>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012667"/>
          </a:xfrm>
        </p:spPr>
        <p:txBody>
          <a:bodyPr/>
          <a:lstStyle>
            <a:lvl1pPr>
              <a:defRPr sz="3528"/>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17460013"/>
      </p:ext>
    </p:extLst>
  </p:cSld>
  <p:clrMapOvr>
    <a:masterClrMapping/>
  </p:clrMapOvr>
  <p:transition>
    <p:fade/>
  </p:transition>
</p:sldLayout>
</file>

<file path=ppt/slideLayouts/slideLayout515.xml><?xml version="1.0" encoding="utf-8"?>
<p:sldLayout xmlns:a="http://schemas.openxmlformats.org/drawingml/2006/main" xmlns:r="http://schemas.openxmlformats.org/officeDocument/2006/relationships" xmlns:p="http://schemas.openxmlformats.org/presentationml/2006/main"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2410089"/>
      </p:ext>
    </p:extLst>
  </p:cSld>
  <p:clrMapOvr>
    <a:masterClrMapping/>
  </p:clrMapOvr>
  <p:transition>
    <p:fade/>
  </p:transition>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9837017"/>
      </p:ext>
    </p:extLst>
  </p:cSld>
  <p:clrMapOvr>
    <a:masterClrMapping/>
  </p:clrMapOvr>
  <p:transition>
    <p:fade/>
  </p:transition>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75256835"/>
      </p:ext>
    </p:extLst>
  </p:cSld>
  <p:clrMapOvr>
    <a:masterClrMapping/>
  </p:clrMapOvr>
  <p:transition>
    <p:fade/>
  </p:transition>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232" y="2084187"/>
            <a:ext cx="8961851" cy="1793090"/>
          </a:xfrm>
          <a:noFill/>
        </p:spPr>
        <p:txBody>
          <a:bodyPr lIns="146304" tIns="91440" rIns="146304" bIns="91440" anchor="t" anchorCtr="0"/>
          <a:lstStyle>
            <a:lvl1pPr>
              <a:defRPr sz="5291"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233" y="3878574"/>
            <a:ext cx="7169469"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8" name="Rectangle 7"/>
          <p:cNvSpPr/>
          <p:nvPr userDrawn="1"/>
        </p:nvSpPr>
        <p:spPr bwMode="auto">
          <a:xfrm>
            <a:off x="448095" y="470070"/>
            <a:ext cx="2060121"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653" rtl="0" eaLnBrk="1" fontAlgn="base" latinLnBrk="0" hangingPunct="1">
              <a:lnSpc>
                <a:spcPct val="90000"/>
              </a:lnSpc>
              <a:spcBef>
                <a:spcPct val="0"/>
              </a:spcBef>
              <a:spcAft>
                <a:spcPct val="0"/>
              </a:spcAft>
              <a:buClrTx/>
              <a:buSzTx/>
              <a:buFontTx/>
              <a:buNone/>
              <a:tabLst/>
              <a:defRPr/>
            </a:pPr>
            <a:r>
              <a:rPr kumimoji="0" lang="en-US" sz="2744"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48095" y="863774"/>
            <a:ext cx="2060121"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653" rtl="0" eaLnBrk="1" fontAlgn="base" latinLnBrk="0" hangingPunct="1">
              <a:lnSpc>
                <a:spcPct val="90000"/>
              </a:lnSpc>
              <a:spcBef>
                <a:spcPct val="0"/>
              </a:spcBef>
              <a:spcAft>
                <a:spcPct val="0"/>
              </a:spcAft>
              <a:buClrTx/>
              <a:buSzTx/>
              <a:buFontTx/>
              <a:buNone/>
              <a:tabLst/>
              <a:defRPr/>
            </a:pPr>
            <a:r>
              <a:rPr kumimoji="0" lang="en-US" sz="1371"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spTree>
    <p:extLst>
      <p:ext uri="{BB962C8B-B14F-4D97-AF65-F5344CB8AC3E}">
        <p14:creationId xmlns:p14="http://schemas.microsoft.com/office/powerpoint/2010/main" val="33749196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170" y="1189177"/>
            <a:ext cx="11650488" cy="1858018"/>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3987" indent="0">
              <a:buNone/>
              <a:defRPr/>
            </a:lvl3pPr>
            <a:lvl4pPr marL="447973" indent="0">
              <a:buNone/>
              <a:defRPr/>
            </a:lvl4pPr>
            <a:lvl5pPr marL="67195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06679920"/>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mp; Non-bulleted text Blue">
    <p:spTree>
      <p:nvGrpSpPr>
        <p:cNvPr id="1" name=""/>
        <p:cNvGrpSpPr/>
        <p:nvPr/>
      </p:nvGrpSpPr>
      <p:grpSpPr>
        <a:xfrm>
          <a:off x="0" y="0"/>
          <a:ext cx="0" cy="0"/>
          <a:chOff x="0" y="0"/>
          <a:chExt cx="0" cy="0"/>
        </a:xfrm>
      </p:grpSpPr>
      <p:sp>
        <p:nvSpPr>
          <p:cNvPr id="2" name="Title 1"/>
          <p:cNvSpPr>
            <a:spLocks noGrp="1"/>
          </p:cNvSpPr>
          <p:nvPr>
            <p:ph type="title"/>
          </p:nvPr>
        </p:nvSpPr>
        <p:spPr>
          <a:xfrm>
            <a:off x="269170" y="289510"/>
            <a:ext cx="5825242" cy="1267431"/>
          </a:xfrm>
        </p:spPr>
        <p:txBody>
          <a:bodyPr vert="horz" wrap="square" lIns="146304" tIns="91440" rIns="146304" bIns="91440" rtlCol="0">
            <a:spAutoFit/>
          </a:bodyPr>
          <a:lstStyle>
            <a:lvl1pPr>
              <a:defRPr lang="en-US" sz="3920"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a:t>Click to edit Master title style</a:t>
            </a:r>
            <a:endParaRPr lang="en-US" dirty="0"/>
          </a:p>
        </p:txBody>
      </p:sp>
      <p:pic>
        <p:nvPicPr>
          <p:cNvPr id="4" name="Picture 2" descr="cropped16x9_code.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097525" y="0"/>
            <a:ext cx="60913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0"/>
          </p:nvPr>
        </p:nvSpPr>
        <p:spPr>
          <a:xfrm>
            <a:off x="269170" y="1635897"/>
            <a:ext cx="5825242" cy="561290"/>
          </a:xfrm>
        </p:spPr>
        <p:txBody>
          <a:bodyPr/>
          <a:lstStyle>
            <a:lvl1pPr marL="0" indent="0">
              <a:buNone/>
              <a:defRPr sz="2744"/>
            </a:lvl1pPr>
          </a:lstStyle>
          <a:p>
            <a:pPr lvl="0"/>
            <a:r>
              <a:rPr lang="en-US"/>
              <a:t>Click to edit Master text styles</a:t>
            </a:r>
          </a:p>
        </p:txBody>
      </p:sp>
    </p:spTree>
    <p:extLst>
      <p:ext uri="{BB962C8B-B14F-4D97-AF65-F5344CB8AC3E}">
        <p14:creationId xmlns:p14="http://schemas.microsoft.com/office/powerpoint/2010/main" val="1188374548"/>
      </p:ext>
    </p:extLst>
  </p:cSld>
  <p:clrMapOvr>
    <a:masterClrMapping/>
  </p:clrMapOvr>
  <p:transition>
    <p:fade/>
  </p:transition>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1_Title &amp; Non-bulleted text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399">
                <a:solidFill>
                  <a:schemeClr val="bg1"/>
                </a:solidFill>
              </a:defRPr>
            </a:lvl1pPr>
          </a:lstStyle>
          <a:p>
            <a:r>
              <a:rPr lang="en-US" dirty="0"/>
              <a:t>Click to edit Master title style</a:t>
            </a:r>
          </a:p>
        </p:txBody>
      </p:sp>
      <p:sp>
        <p:nvSpPr>
          <p:cNvPr id="6" name="Text Placeholder 5"/>
          <p:cNvSpPr>
            <a:spLocks noGrp="1"/>
          </p:cNvSpPr>
          <p:nvPr>
            <p:ph type="body" sz="quarter" idx="10"/>
          </p:nvPr>
        </p:nvSpPr>
        <p:spPr>
          <a:xfrm>
            <a:off x="269170" y="1189179"/>
            <a:ext cx="11650488" cy="1890133"/>
          </a:xfrm>
        </p:spPr>
        <p:txBody>
          <a:bodyPr/>
          <a:lstStyle>
            <a:lvl1pPr marL="0" indent="0">
              <a:buNone/>
              <a:defRPr sz="3599">
                <a:solidFill>
                  <a:schemeClr val="bg1"/>
                </a:solidFill>
              </a:defRPr>
            </a:lvl1pPr>
            <a:lvl2pPr marL="0" indent="0">
              <a:buFontTx/>
              <a:buNone/>
              <a:defRPr sz="1799">
                <a:solidFill>
                  <a:schemeClr val="bg1"/>
                </a:solidFill>
              </a:defRPr>
            </a:lvl2pPr>
            <a:lvl3pPr marL="223987" indent="0">
              <a:buNone/>
              <a:defRPr sz="1799">
                <a:solidFill>
                  <a:schemeClr val="bg1"/>
                </a:solidFill>
              </a:defRPr>
            </a:lvl3pPr>
            <a:lvl4pPr marL="447973" indent="0">
              <a:buNone/>
              <a:defRPr sz="1600">
                <a:solidFill>
                  <a:schemeClr val="bg1"/>
                </a:solidFill>
              </a:defRPr>
            </a:lvl4pPr>
            <a:lvl5pPr marL="671959" indent="0">
              <a:buNone/>
              <a:defRPr sz="1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00959447"/>
      </p:ext>
    </p:extLst>
  </p:cSld>
  <p:clrMapOvr>
    <a:masterClrMapping/>
  </p:clrMapOvr>
  <p:transition>
    <p:fade/>
  </p:transition>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3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097787136"/>
      </p:ext>
    </p:extLst>
  </p:cSld>
  <p:clrMapOvr>
    <a:masterClrMapping/>
  </p:clrMapOvr>
  <p:transition>
    <p:fade/>
  </p:transition>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70" y="1189178"/>
            <a:ext cx="11650488" cy="1854686"/>
          </a:xfrm>
        </p:spPr>
        <p:txBody>
          <a:bodyPr>
            <a:spAutoFit/>
          </a:bodyPr>
          <a:lstStyle>
            <a:lvl1pPr>
              <a:defRPr sz="3527"/>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869552289"/>
      </p:ext>
    </p:extLst>
  </p:cSld>
  <p:clrMapOvr>
    <a:masterClrMapping/>
  </p:clrMapOvr>
  <p:transition>
    <p:fade/>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2" y="1189175"/>
            <a:ext cx="5377147"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0"/>
            </a:lvl2pPr>
            <a:lvl3pPr marL="227097" indent="0">
              <a:buNone/>
              <a:tabLst/>
              <a:defRPr sz="1960"/>
            </a:lvl3pPr>
            <a:lvl4pPr marL="451084" indent="0">
              <a:buNone/>
              <a:defRPr/>
            </a:lvl4pPr>
            <a:lvl5pPr marL="67195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0" y="1189175"/>
            <a:ext cx="5377147"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0"/>
            </a:lvl2pPr>
            <a:lvl3pPr marL="227097" indent="0">
              <a:buNone/>
              <a:tabLst/>
              <a:defRPr sz="1960"/>
            </a:lvl3pPr>
            <a:lvl4pPr marL="451084" indent="0">
              <a:buNone/>
              <a:defRPr/>
            </a:lvl4pPr>
            <a:lvl5pPr marL="67195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65442856"/>
      </p:ext>
    </p:extLst>
  </p:cSld>
  <p:clrMapOvr>
    <a:masterClrMapping/>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2" y="1189176"/>
            <a:ext cx="5377147" cy="2377940"/>
          </a:xfrm>
        </p:spPr>
        <p:txBody>
          <a:bodyPr wrap="square">
            <a:spAutoFit/>
          </a:bodyPr>
          <a:lstStyle>
            <a:lvl1pPr marL="281539" indent="-281539">
              <a:spcBef>
                <a:spcPts val="1200"/>
              </a:spcBef>
              <a:buClr>
                <a:schemeClr val="tx1"/>
              </a:buClr>
              <a:buFont typeface="Arial" pitchFamily="34" charset="0"/>
              <a:buChar char="•"/>
              <a:defRPr sz="3135"/>
            </a:lvl1pPr>
            <a:lvl2pPr marL="520446" indent="-228488">
              <a:defRPr sz="2352"/>
            </a:lvl2pPr>
            <a:lvl3pPr marL="685465" indent="-165020">
              <a:tabLst/>
              <a:defRPr sz="1960"/>
            </a:lvl3pPr>
            <a:lvl4pPr marL="863178" indent="-177714">
              <a:defRPr/>
            </a:lvl4pPr>
            <a:lvl5pPr marL="1028197" indent="-16502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0" y="1189176"/>
            <a:ext cx="5377147" cy="2377940"/>
          </a:xfrm>
        </p:spPr>
        <p:txBody>
          <a:bodyPr wrap="square">
            <a:spAutoFit/>
          </a:bodyPr>
          <a:lstStyle>
            <a:lvl1pPr marL="281539" indent="-281539">
              <a:spcBef>
                <a:spcPts val="1200"/>
              </a:spcBef>
              <a:buClr>
                <a:schemeClr val="tx1"/>
              </a:buClr>
              <a:buFont typeface="Arial" pitchFamily="34" charset="0"/>
              <a:buChar char="•"/>
              <a:defRPr sz="3135"/>
            </a:lvl1pPr>
            <a:lvl2pPr marL="520446" indent="-228488">
              <a:defRPr sz="2352"/>
            </a:lvl2pPr>
            <a:lvl3pPr marL="685465" indent="-165020">
              <a:tabLst/>
              <a:defRPr sz="1960"/>
            </a:lvl3pPr>
            <a:lvl4pPr marL="863178" indent="-177714">
              <a:defRPr/>
            </a:lvl4pPr>
            <a:lvl5pPr marL="1028197" indent="-16502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44542847"/>
      </p:ext>
    </p:extLst>
  </p:cSld>
  <p:clrMapOvr>
    <a:masterClrMapping/>
  </p:clrMapOvr>
  <p:transition>
    <p:fade/>
  </p:transition>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822714023"/>
      </p:ext>
    </p:extLst>
  </p:cSld>
  <p:clrMapOvr>
    <a:masterClrMapping/>
  </p:clrMapOvr>
  <p:transition>
    <p:fade/>
  </p:transition>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Content Placeholder 4"/>
          <p:cNvSpPr>
            <a:spLocks noGrp="1"/>
          </p:cNvSpPr>
          <p:nvPr>
            <p:ph sz="quarter" idx="10"/>
          </p:nvPr>
        </p:nvSpPr>
        <p:spPr>
          <a:xfrm>
            <a:off x="269171" y="964751"/>
            <a:ext cx="11652805" cy="683264"/>
          </a:xfrm>
        </p:spPr>
        <p:txBody>
          <a:bodyPr/>
          <a:lstStyle>
            <a:lvl1pPr marL="0" indent="0" algn="l" defTabSz="913918" rtl="0" eaLnBrk="1" latinLnBrk="0" hangingPunct="1">
              <a:lnSpc>
                <a:spcPct val="90000"/>
              </a:lnSpc>
              <a:spcBef>
                <a:spcPct val="0"/>
              </a:spcBef>
              <a:buNone/>
              <a:defRPr kumimoji="0" lang="en-US" sz="3599" b="0" i="1" u="none" strike="noStrike" kern="1200" cap="none" spc="-100"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424094485"/>
      </p:ext>
    </p:extLst>
  </p:cSld>
  <p:clrMapOvr>
    <a:masterClrMapping/>
  </p:clrMapOvr>
  <p:transition>
    <p:fade/>
  </p:transition>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dirty="0"/>
          </a:p>
        </p:txBody>
      </p:sp>
      <p:sp>
        <p:nvSpPr>
          <p:cNvPr id="5" name="Content Placeholder 4"/>
          <p:cNvSpPr>
            <a:spLocks noGrp="1"/>
          </p:cNvSpPr>
          <p:nvPr>
            <p:ph sz="quarter" idx="10"/>
          </p:nvPr>
        </p:nvSpPr>
        <p:spPr>
          <a:xfrm>
            <a:off x="269171" y="1625151"/>
            <a:ext cx="11652805" cy="683264"/>
          </a:xfrm>
        </p:spPr>
        <p:txBody>
          <a:bodyPr/>
          <a:lstStyle>
            <a:lvl1pPr marL="0" indent="0" algn="l" defTabSz="913918" rtl="0" eaLnBrk="1" latinLnBrk="0" hangingPunct="1">
              <a:lnSpc>
                <a:spcPct val="90000"/>
              </a:lnSpc>
              <a:spcBef>
                <a:spcPct val="0"/>
              </a:spcBef>
              <a:buNone/>
              <a:defRPr kumimoji="0" lang="en-US" sz="3599" b="0" i="1" u="none" strike="noStrike" kern="1200" cap="none" spc="-100"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1979901151"/>
      </p:ext>
    </p:extLst>
  </p:cSld>
  <p:clrMapOvr>
    <a:masterClrMapping/>
  </p:clrMapOvr>
  <p:transition>
    <p:fade/>
  </p:transition>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8"/>
            <a:ext cx="9856549" cy="1158793"/>
          </a:xfrm>
          <a:noFill/>
        </p:spPr>
        <p:txBody>
          <a:bodyPr tIns="91440" bIns="91440" anchor="t" anchorCtr="0">
            <a:spAutoFit/>
          </a:bodyPr>
          <a:lstStyle>
            <a:lvl1pPr>
              <a:defRPr sz="7054"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171" y="3877277"/>
            <a:ext cx="9858106" cy="778565"/>
          </a:xfrm>
          <a:noFill/>
        </p:spPr>
        <p:txBody>
          <a:bodyPr lIns="182880" tIns="146304" rIns="182880" bIns="146304">
            <a:sp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2327888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8"/>
            <a:ext cx="9856549" cy="1158793"/>
          </a:xfrm>
          <a:noFill/>
        </p:spPr>
        <p:txBody>
          <a:bodyPr tIns="91440" bIns="91440" anchor="t" anchorCtr="0">
            <a:spAutoFit/>
          </a:bodyPr>
          <a:lstStyle>
            <a:lvl1pPr>
              <a:defRPr lang="en-US" sz="7054"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4286936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mp; Non-bulleted text Green">
    <p:bg>
      <p:bgPr>
        <a:solidFill>
          <a:srgbClr val="89C40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69170" y="291102"/>
            <a:ext cx="5825243" cy="1267431"/>
          </a:xfrm>
        </p:spPr>
        <p:txBody>
          <a:bodyPr/>
          <a:lstStyle>
            <a:lvl1pPr marL="0" indent="0">
              <a:buNone/>
              <a:defRPr sz="3920">
                <a:gradFill>
                  <a:gsLst>
                    <a:gs pos="15000">
                      <a:srgbClr val="1E1E1E"/>
                    </a:gs>
                    <a:gs pos="49000">
                      <a:srgbClr val="1E1E1E"/>
                    </a:gs>
                  </a:gsLst>
                  <a:lin ang="5400000" scaled="0"/>
                </a:gradFill>
              </a:defRPr>
            </a:lvl1pPr>
            <a:lvl2pPr marL="0" indent="0">
              <a:buFontTx/>
              <a:buNone/>
              <a:defRPr sz="1960">
                <a:gradFill>
                  <a:gsLst>
                    <a:gs pos="73750">
                      <a:schemeClr val="bg1"/>
                    </a:gs>
                    <a:gs pos="36000">
                      <a:schemeClr val="bg1"/>
                    </a:gs>
                  </a:gsLst>
                  <a:lin ang="5400000" scaled="0"/>
                </a:gradFill>
              </a:defRPr>
            </a:lvl2pPr>
            <a:lvl3pPr marL="224051" indent="0">
              <a:buNone/>
              <a:defRPr/>
            </a:lvl3pPr>
            <a:lvl4pPr marL="448102" indent="0">
              <a:buNone/>
              <a:defRPr/>
            </a:lvl4pPr>
            <a:lvl5pPr marL="672153" indent="0">
              <a:buNone/>
              <a:defRPr/>
            </a:lvl5pPr>
          </a:lstStyle>
          <a:p>
            <a:pPr lvl="0"/>
            <a:r>
              <a:rPr lang="en-US"/>
              <a:t>Click to edit Master text styles</a:t>
            </a:r>
          </a:p>
        </p:txBody>
      </p:sp>
      <p:pic>
        <p:nvPicPr>
          <p:cNvPr id="4" name="Picture 2" descr="cropped16x9_code.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097525" y="0"/>
            <a:ext cx="60913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7"/>
          <p:cNvSpPr>
            <a:spLocks noGrp="1"/>
          </p:cNvSpPr>
          <p:nvPr>
            <p:ph type="body" sz="quarter" idx="11"/>
          </p:nvPr>
        </p:nvSpPr>
        <p:spPr>
          <a:xfrm>
            <a:off x="269169" y="1635897"/>
            <a:ext cx="5735625" cy="561290"/>
          </a:xfrm>
        </p:spPr>
        <p:txBody>
          <a:bodyPr/>
          <a:lstStyle>
            <a:lvl1pPr marL="0" indent="0">
              <a:buNone/>
              <a:defRPr sz="2744">
                <a:gradFill>
                  <a:gsLst>
                    <a:gs pos="15000">
                      <a:srgbClr val="1E1E1E"/>
                    </a:gs>
                    <a:gs pos="49000">
                      <a:srgbClr val="1E1E1E"/>
                    </a:gs>
                  </a:gsLst>
                  <a:lin ang="5400000" scaled="0"/>
                </a:gradFill>
              </a:defRPr>
            </a:lvl1pPr>
          </a:lstStyle>
          <a:p>
            <a:pPr lvl="0"/>
            <a:r>
              <a:rPr lang="en-US"/>
              <a:t>Click to edit Master text styles</a:t>
            </a:r>
          </a:p>
        </p:txBody>
      </p:sp>
    </p:spTree>
    <p:extLst>
      <p:ext uri="{BB962C8B-B14F-4D97-AF65-F5344CB8AC3E}">
        <p14:creationId xmlns:p14="http://schemas.microsoft.com/office/powerpoint/2010/main" val="2820951191"/>
      </p:ext>
    </p:extLst>
  </p:cSld>
  <p:clrMapOvr>
    <a:masterClrMapping/>
  </p:clrMapOvr>
  <p:transition>
    <p:fade/>
  </p:transition>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74"/>
            <a:ext cx="11650488"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491719876"/>
      </p:ext>
    </p:extLst>
  </p:cSld>
  <p:clrMapOvr>
    <a:masterClrMapping/>
  </p:clrMapOvr>
  <p:transition>
    <p:fade/>
  </p:transition>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74"/>
            <a:ext cx="11650488"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24545989"/>
      </p:ext>
    </p:extLst>
  </p:cSld>
  <p:clrMapOvr>
    <a:masterClrMapping/>
  </p:clrMapOvr>
  <p:transition>
    <p:fade/>
  </p:transition>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74"/>
            <a:ext cx="11650488"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59741648"/>
      </p:ext>
    </p:extLst>
  </p:cSld>
  <p:clrMapOvr>
    <a:masterClrMapping/>
  </p:clrMapOvr>
  <p:transition>
    <p:fade/>
  </p:transition>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74"/>
            <a:ext cx="11650488"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6151150"/>
      </p:ext>
    </p:extLst>
  </p:cSld>
  <p:clrMapOvr>
    <a:masterClrMapping/>
  </p:clrMapOvr>
  <p:transition>
    <p:fade/>
  </p:transition>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2915787"/>
      </p:ext>
    </p:extLst>
  </p:cSld>
  <p:clrMapOvr>
    <a:masterClrMapping/>
  </p:clrMapOvr>
  <p:transition>
    <p:fade/>
  </p:transition>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46644715"/>
      </p:ext>
    </p:extLst>
  </p:cSld>
  <p:clrMapOvr>
    <a:masterClrMapping/>
  </p:clrMapOvr>
  <p:transition>
    <p:fade/>
  </p:transition>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8495108"/>
      </p:ext>
    </p:extLst>
  </p:cSld>
  <p:clrMapOvr>
    <a:masterClrMapping/>
  </p:clrMapOvr>
  <p:transition>
    <p:fade/>
  </p:transition>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3" tIns="45703" rIns="45703" bIns="45703" numCol="1" spcCol="0" rtlCol="0" fromWordArt="0" anchor="ctr" anchorCtr="0" forceAA="0" compatLnSpc="1">
            <a:prstTxWarp prst="textNoShape">
              <a:avLst/>
            </a:prstTxWarp>
            <a:noAutofit/>
          </a:bodyPr>
          <a:lstStyle/>
          <a:p>
            <a:pPr algn="ctr" defTabSz="913653" fontAlgn="base">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69" y="1197323"/>
            <a:ext cx="11650487" cy="1813947"/>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5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12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78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3726841"/>
      </p:ext>
    </p:extLst>
  </p:cSld>
  <p:clrMapOvr>
    <a:masterClrMapping/>
  </p:clrMapOvr>
  <p:transition>
    <p:fade/>
  </p:transition>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171" y="6170061"/>
            <a:ext cx="11620304" cy="395317"/>
          </a:xfrm>
          <a:prstGeom prst="rect">
            <a:avLst/>
          </a:prstGeom>
          <a:noFill/>
          <a:ln w="12700">
            <a:noFill/>
            <a:miter lim="800000"/>
            <a:headEnd type="none" w="sm" len="sm"/>
            <a:tailEnd type="none" w="sm" len="sm"/>
          </a:ln>
          <a:effectLst/>
        </p:spPr>
        <p:txBody>
          <a:bodyPr vert="horz" wrap="square" lIns="179212" tIns="143370" rIns="179212" bIns="143370" numCol="1" anchor="t" anchorCtr="0" compatLnSpc="1">
            <a:prstTxWarp prst="textNoShape">
              <a:avLst/>
            </a:prstTxWarp>
            <a:spAutoFit/>
          </a:bodyPr>
          <a:lstStyle/>
          <a:p>
            <a:pPr defTabSz="913474"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0085" y="3083655"/>
            <a:ext cx="3223021" cy="690695"/>
          </a:xfrm>
          <a:prstGeom prst="rect">
            <a:avLst/>
          </a:prstGeom>
        </p:spPr>
      </p:pic>
    </p:spTree>
    <p:extLst>
      <p:ext uri="{BB962C8B-B14F-4D97-AF65-F5344CB8AC3E}">
        <p14:creationId xmlns:p14="http://schemas.microsoft.com/office/powerpoint/2010/main" val="3221392916"/>
      </p:ext>
    </p:extLst>
  </p:cSld>
  <p:clrMapOvr>
    <a:masterClrMapping/>
  </p:clrMapOvr>
  <p:transition>
    <p:fade/>
  </p:transition>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70" y="1189179"/>
            <a:ext cx="11650488" cy="2396047"/>
          </a:xfrm>
          <a:prstGeom prst="rect">
            <a:avLst/>
          </a:prstGeom>
        </p:spPr>
        <p:txBody>
          <a:bodyPr/>
          <a:lstStyle>
            <a:lvl1pPr marL="284650" indent="-28465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966" indent="-27531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616" indent="-284650">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602" indent="-223987">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588" indent="-223987">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7"/>
            <a:ext cx="12188826"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62970922"/>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mp; Non-bulleted text Alt. Blue">
    <p:spTree>
      <p:nvGrpSpPr>
        <p:cNvPr id="1" name=""/>
        <p:cNvGrpSpPr/>
        <p:nvPr/>
      </p:nvGrpSpPr>
      <p:grpSpPr>
        <a:xfrm>
          <a:off x="0" y="0"/>
          <a:ext cx="0" cy="0"/>
          <a:chOff x="0" y="0"/>
          <a:chExt cx="0" cy="0"/>
        </a:xfrm>
      </p:grpSpPr>
      <p:sp>
        <p:nvSpPr>
          <p:cNvPr id="2" name="Title 1"/>
          <p:cNvSpPr>
            <a:spLocks noGrp="1"/>
          </p:cNvSpPr>
          <p:nvPr>
            <p:ph type="title"/>
          </p:nvPr>
        </p:nvSpPr>
        <p:spPr>
          <a:xfrm>
            <a:off x="269170" y="289510"/>
            <a:ext cx="5825242" cy="1267431"/>
          </a:xfrm>
        </p:spPr>
        <p:txBody>
          <a:bodyPr vert="horz" wrap="square" lIns="146304" tIns="91440" rIns="146304" bIns="91440" rtlCol="0">
            <a:spAutoFit/>
          </a:bodyPr>
          <a:lstStyle>
            <a:lvl1pPr>
              <a:defRPr lang="en-US" sz="3920"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a:t>Click to edit Master title style</a:t>
            </a:r>
            <a:endParaRPr lang="en-US" dirty="0"/>
          </a:p>
        </p:txBody>
      </p:sp>
      <p:sp>
        <p:nvSpPr>
          <p:cNvPr id="5" name="Text Placeholder 4"/>
          <p:cNvSpPr>
            <a:spLocks noGrp="1"/>
          </p:cNvSpPr>
          <p:nvPr>
            <p:ph type="body" sz="quarter" idx="10"/>
          </p:nvPr>
        </p:nvSpPr>
        <p:spPr>
          <a:xfrm>
            <a:off x="269170" y="1635897"/>
            <a:ext cx="5825242" cy="561290"/>
          </a:xfrm>
        </p:spPr>
        <p:txBody>
          <a:bodyPr/>
          <a:lstStyle>
            <a:lvl1pPr marL="0" indent="0">
              <a:buNone/>
              <a:defRPr sz="2744"/>
            </a:lvl1pPr>
          </a:lstStyle>
          <a:p>
            <a:pPr lvl="0"/>
            <a:r>
              <a:rPr lang="en-US"/>
              <a:t>Click to edit Master text styles</a:t>
            </a:r>
          </a:p>
        </p:txBody>
      </p:sp>
    </p:spTree>
    <p:extLst>
      <p:ext uri="{BB962C8B-B14F-4D97-AF65-F5344CB8AC3E}">
        <p14:creationId xmlns:p14="http://schemas.microsoft.com/office/powerpoint/2010/main" val="1439980628"/>
      </p:ext>
    </p:extLst>
  </p:cSld>
  <p:clrMapOvr>
    <a:masterClrMapping/>
  </p:clrMapOvr>
  <p:transition>
    <p:fade/>
  </p:transition>
</p:sldLayout>
</file>

<file path=ppt/slideLayouts/slideLayout540.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6" name="Rectangle 35"/>
          <p:cNvSpPr/>
          <p:nvPr userDrawn="1"/>
        </p:nvSpPr>
        <p:spPr bwMode="auto">
          <a:xfrm>
            <a:off x="0" y="6325187"/>
            <a:ext cx="12188825" cy="532814"/>
          </a:xfrm>
          <a:prstGeom prst="rect">
            <a:avLst/>
          </a:prstGeom>
          <a:solidFill>
            <a:srgbClr val="409AE1"/>
          </a:solidFill>
          <a:ln w="28575">
            <a:noFill/>
          </a:ln>
        </p:spPr>
        <p:txBody>
          <a:bodyPr vert="horz" wrap="square" lIns="91390" tIns="45694" rIns="91390" bIns="45694" numCol="1" anchor="t" anchorCtr="0" compatLnSpc="1">
            <a:prstTxWarp prst="textNoShape">
              <a:avLst/>
            </a:prstTxWarp>
          </a:bodyPr>
          <a:lstStyle/>
          <a:p>
            <a:pPr marR="0" lvl="0" indent="0" defTabSz="932104" fontAlgn="auto">
              <a:lnSpc>
                <a:spcPct val="100000"/>
              </a:lnSpc>
              <a:spcBef>
                <a:spcPts val="0"/>
              </a:spcBef>
              <a:spcAft>
                <a:spcPts val="0"/>
              </a:spcAft>
              <a:buClrTx/>
              <a:buSzTx/>
              <a:buFontTx/>
              <a:buNone/>
              <a:tabLst/>
            </a:pPr>
            <a:endParaRPr kumimoji="0" lang="en-US" sz="1050" b="0" i="0" u="none" strike="noStrike" kern="0" cap="none" spc="0" normalizeH="0" baseline="0">
              <a:ln>
                <a:noFill/>
              </a:ln>
              <a:solidFill>
                <a:srgbClr val="333333"/>
              </a:solidFill>
              <a:effectLst/>
              <a:uLnTx/>
              <a:uFillTx/>
            </a:endParaRPr>
          </a:p>
        </p:txBody>
      </p:sp>
      <p:sp>
        <p:nvSpPr>
          <p:cNvPr id="6" name="Freeform 539"/>
          <p:cNvSpPr>
            <a:spLocks noChangeAspect="1"/>
          </p:cNvSpPr>
          <p:nvPr userDrawn="1"/>
        </p:nvSpPr>
        <p:spPr bwMode="auto">
          <a:xfrm>
            <a:off x="9301374" y="5959092"/>
            <a:ext cx="1967542" cy="108201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a:extLst/>
        </p:spPr>
        <p:txBody>
          <a:bodyPr vert="horz" wrap="square" lIns="91390" tIns="45694" rIns="91390" bIns="45694" numCol="1" anchor="t" anchorCtr="0" compatLnSpc="1">
            <a:prstTxWarp prst="textNoShape">
              <a:avLst/>
            </a:prstTxWarp>
          </a:bodyPr>
          <a:lstStyle/>
          <a:p>
            <a:pPr marL="0" marR="0" lvl="0" indent="0" defTabSz="932104"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333333"/>
              </a:solidFill>
              <a:effectLst/>
              <a:uLnTx/>
              <a:uFillTx/>
            </a:endParaRPr>
          </a:p>
        </p:txBody>
      </p:sp>
      <p:grpSp>
        <p:nvGrpSpPr>
          <p:cNvPr id="9" name="Group 8"/>
          <p:cNvGrpSpPr/>
          <p:nvPr userDrawn="1"/>
        </p:nvGrpSpPr>
        <p:grpSpPr>
          <a:xfrm>
            <a:off x="9336143" y="6216163"/>
            <a:ext cx="1824151" cy="773723"/>
            <a:chOff x="4494770" y="2621197"/>
            <a:chExt cx="3127126" cy="1326043"/>
          </a:xfrm>
        </p:grpSpPr>
        <p:sp>
          <p:nvSpPr>
            <p:cNvPr id="10"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3951"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endParaRPr>
            </a:p>
          </p:txBody>
        </p:sp>
        <p:sp>
          <p:nvSpPr>
            <p:cNvPr id="11"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3951"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endParaRPr>
            </a:p>
          </p:txBody>
        </p:sp>
        <p:sp>
          <p:nvSpPr>
            <p:cNvPr id="12"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3951"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endParaRPr>
            </a:p>
          </p:txBody>
        </p:sp>
        <p:sp>
          <p:nvSpPr>
            <p:cNvPr id="13"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3951"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endParaRPr>
            </a:p>
          </p:txBody>
        </p:sp>
        <p:sp>
          <p:nvSpPr>
            <p:cNvPr id="14"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3951"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endParaRPr>
            </a:p>
          </p:txBody>
        </p:sp>
        <p:sp>
          <p:nvSpPr>
            <p:cNvPr id="15"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3951"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endParaRPr>
            </a:p>
          </p:txBody>
        </p:sp>
        <p:sp>
          <p:nvSpPr>
            <p:cNvPr id="16"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3951"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endParaRPr>
            </a:p>
          </p:txBody>
        </p:sp>
        <p:grpSp>
          <p:nvGrpSpPr>
            <p:cNvPr id="17" name="Group 16"/>
            <p:cNvGrpSpPr/>
            <p:nvPr/>
          </p:nvGrpSpPr>
          <p:grpSpPr>
            <a:xfrm>
              <a:off x="5413104" y="2621197"/>
              <a:ext cx="1326042" cy="1326043"/>
              <a:chOff x="5413104" y="2598477"/>
              <a:chExt cx="1326042" cy="1326043"/>
            </a:xfrm>
          </p:grpSpPr>
          <p:sp>
            <p:nvSpPr>
              <p:cNvPr id="18"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3951"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endParaRPr>
              </a:p>
            </p:txBody>
          </p:sp>
          <p:sp>
            <p:nvSpPr>
              <p:cNvPr id="19"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3951"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endParaRPr>
              </a:p>
            </p:txBody>
          </p:sp>
          <p:sp>
            <p:nvSpPr>
              <p:cNvPr id="20"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3951"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endParaRPr>
              </a:p>
            </p:txBody>
          </p:sp>
          <p:sp>
            <p:nvSpPr>
              <p:cNvPr id="21"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3951"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endParaRPr>
              </a:p>
            </p:txBody>
          </p:sp>
          <p:sp>
            <p:nvSpPr>
              <p:cNvPr id="22"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3951"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endParaRPr>
              </a:p>
            </p:txBody>
          </p:sp>
          <p:sp>
            <p:nvSpPr>
              <p:cNvPr id="23"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3951"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endParaRPr>
              </a:p>
            </p:txBody>
          </p:sp>
          <p:sp>
            <p:nvSpPr>
              <p:cNvPr id="24"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3951"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endParaRPr>
              </a:p>
            </p:txBody>
          </p:sp>
          <p:sp>
            <p:nvSpPr>
              <p:cNvPr id="25" name="Oval 24"/>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013" eaLnBrk="1" fontAlgn="base" latinLnBrk="0" hangingPunct="1">
                  <a:lnSpc>
                    <a:spcPct val="90000"/>
                  </a:lnSpc>
                  <a:spcBef>
                    <a:spcPct val="0"/>
                  </a:spcBef>
                  <a:spcAft>
                    <a:spcPct val="0"/>
                  </a:spcAft>
                  <a:buClrTx/>
                  <a:buSzTx/>
                  <a:buFontTx/>
                  <a:buNone/>
                  <a:tabLst/>
                  <a:defRPr/>
                </a:pPr>
                <a:endParaRPr kumimoji="0" lang="en-US" sz="2399"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6" name="Group 25"/>
          <p:cNvGrpSpPr/>
          <p:nvPr userDrawn="1"/>
        </p:nvGrpSpPr>
        <p:grpSpPr>
          <a:xfrm rot="16200000">
            <a:off x="2685835" y="3785448"/>
            <a:ext cx="182438" cy="5554105"/>
            <a:chOff x="9312007" y="34787"/>
            <a:chExt cx="1212906" cy="3143923"/>
          </a:xfrm>
        </p:grpSpPr>
        <p:sp>
          <p:nvSpPr>
            <p:cNvPr id="27" name="Bent Arrow 26"/>
            <p:cNvSpPr/>
            <p:nvPr/>
          </p:nvSpPr>
          <p:spPr bwMode="auto">
            <a:xfrm flipH="1">
              <a:off x="9832459" y="1745357"/>
              <a:ext cx="692454" cy="1433353"/>
            </a:xfrm>
            <a:prstGeom prst="bentArrow">
              <a:avLst>
                <a:gd name="adj1" fmla="val 25000"/>
                <a:gd name="adj2" fmla="val 0"/>
                <a:gd name="adj3" fmla="val 25000"/>
                <a:gd name="adj4" fmla="val 75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28" name="Bent Arrow 27"/>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9" name="Bent Arrow 28"/>
          <p:cNvSpPr/>
          <p:nvPr userDrawn="1"/>
        </p:nvSpPr>
        <p:spPr bwMode="auto">
          <a:xfrm>
            <a:off x="5684802" y="6687742"/>
            <a:ext cx="3819139" cy="163512"/>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Bent Arrow 39"/>
          <p:cNvSpPr/>
          <p:nvPr userDrawn="1"/>
        </p:nvSpPr>
        <p:spPr bwMode="auto">
          <a:xfrm rot="10800000" flipH="1">
            <a:off x="2049147" y="5710545"/>
            <a:ext cx="7841821" cy="757825"/>
          </a:xfrm>
          <a:prstGeom prst="bentArrow">
            <a:avLst>
              <a:gd name="adj1" fmla="val 25000"/>
              <a:gd name="adj2" fmla="val 0"/>
              <a:gd name="adj3" fmla="val 25000"/>
              <a:gd name="adj4" fmla="val 20518"/>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Bent Arrow 43"/>
          <p:cNvSpPr/>
          <p:nvPr userDrawn="1"/>
        </p:nvSpPr>
        <p:spPr bwMode="auto">
          <a:xfrm rot="10800000">
            <a:off x="11221456" y="6302646"/>
            <a:ext cx="709132" cy="266055"/>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0" y="5375936"/>
            <a:ext cx="12188825" cy="95735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013" fontAlgn="base">
              <a:spcBef>
                <a:spcPct val="0"/>
              </a:spcBef>
              <a:spcAft>
                <a:spcPct val="0"/>
              </a:spcAft>
            </a:pPr>
            <a:endParaRPr lang="en-US" sz="2399">
              <a:solidFill>
                <a:schemeClr val="tx1"/>
              </a:solidFill>
              <a:ea typeface="Segoe UI" pitchFamily="34" charset="0"/>
              <a:cs typeface="Segoe UI" pitchFamily="34" charset="0"/>
            </a:endParaRPr>
          </a:p>
        </p:txBody>
      </p:sp>
      <p:sp>
        <p:nvSpPr>
          <p:cNvPr id="45" name="Bent Arrow 44"/>
          <p:cNvSpPr/>
          <p:nvPr userDrawn="1"/>
        </p:nvSpPr>
        <p:spPr bwMode="auto">
          <a:xfrm rot="16200000">
            <a:off x="11533738" y="6610206"/>
            <a:ext cx="325590" cy="265986"/>
          </a:xfrm>
          <a:prstGeom prst="bentArrow">
            <a:avLst>
              <a:gd name="adj1" fmla="val 25000"/>
              <a:gd name="adj2" fmla="val 0"/>
              <a:gd name="adj3" fmla="val 25000"/>
              <a:gd name="adj4" fmla="val 15819"/>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46" name="Freeform 15"/>
          <p:cNvSpPr>
            <a:spLocks noEditPoints="1"/>
          </p:cNvSpPr>
          <p:nvPr userDrawn="1"/>
        </p:nvSpPr>
        <p:spPr bwMode="auto">
          <a:xfrm>
            <a:off x="4388090" y="6600372"/>
            <a:ext cx="121529" cy="121561"/>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03" tIns="45701" rIns="91403" bIns="45701" numCol="1" anchor="t" anchorCtr="0" compatLnSpc="1">
            <a:prstTxWarp prst="textNoShape">
              <a:avLst/>
            </a:prstTxWarp>
          </a:bodyPr>
          <a:lstStyle/>
          <a:p>
            <a:pPr marL="0" marR="0" lvl="0" indent="0" defTabSz="913951"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endParaRPr>
          </a:p>
        </p:txBody>
      </p:sp>
      <p:sp>
        <p:nvSpPr>
          <p:cNvPr id="47" name="Freeform 18"/>
          <p:cNvSpPr>
            <a:spLocks/>
          </p:cNvSpPr>
          <p:nvPr userDrawn="1"/>
        </p:nvSpPr>
        <p:spPr bwMode="auto">
          <a:xfrm>
            <a:off x="4430483" y="6462555"/>
            <a:ext cx="37448" cy="124388"/>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03" tIns="45701" rIns="91403" bIns="45701" numCol="1" anchor="t" anchorCtr="0" compatLnSpc="1">
            <a:prstTxWarp prst="textNoShape">
              <a:avLst/>
            </a:prstTxWarp>
          </a:bodyPr>
          <a:lstStyle/>
          <a:p>
            <a:pPr marL="0" marR="0" lvl="0" indent="0" defTabSz="913951"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endParaRPr>
          </a:p>
        </p:txBody>
      </p:sp>
      <p:sp>
        <p:nvSpPr>
          <p:cNvPr id="49" name="Rectangle 48"/>
          <p:cNvSpPr/>
          <p:nvPr userDrawn="1"/>
        </p:nvSpPr>
        <p:spPr bwMode="auto">
          <a:xfrm>
            <a:off x="-217542" y="6858001"/>
            <a:ext cx="12529822" cy="78377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013" fontAlgn="base">
              <a:spcBef>
                <a:spcPct val="0"/>
              </a:spcBef>
              <a:spcAft>
                <a:spcPct val="0"/>
              </a:spcAft>
            </a:pPr>
            <a:endParaRPr lang="en-US" sz="2399">
              <a:solidFill>
                <a:schemeClr val="tx1"/>
              </a:solidFill>
              <a:ea typeface="Segoe UI" pitchFamily="34" charset="0"/>
              <a:cs typeface="Segoe UI" pitchFamily="34" charset="0"/>
            </a:endParaRPr>
          </a:p>
        </p:txBody>
      </p:sp>
      <p:sp>
        <p:nvSpPr>
          <p:cNvPr id="52" name="Rectangle 51"/>
          <p:cNvSpPr/>
          <p:nvPr userDrawn="1"/>
        </p:nvSpPr>
        <p:spPr bwMode="auto">
          <a:xfrm>
            <a:off x="-391784" y="6074231"/>
            <a:ext cx="391784" cy="78377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013" fontAlgn="base">
              <a:spcBef>
                <a:spcPct val="0"/>
              </a:spcBef>
              <a:spcAft>
                <a:spcPct val="0"/>
              </a:spcAft>
            </a:pPr>
            <a:endParaRPr lang="en-US" sz="2399">
              <a:solidFill>
                <a:schemeClr val="tx1"/>
              </a:solidFill>
              <a:ea typeface="Segoe UI" pitchFamily="34" charset="0"/>
              <a:cs typeface="Segoe UI" pitchFamily="34" charset="0"/>
            </a:endParaRPr>
          </a:p>
        </p:txBody>
      </p:sp>
      <p:sp>
        <p:nvSpPr>
          <p:cNvPr id="53" name="Rectangle 52"/>
          <p:cNvSpPr/>
          <p:nvPr userDrawn="1"/>
        </p:nvSpPr>
        <p:spPr bwMode="auto">
          <a:xfrm>
            <a:off x="0" y="6344999"/>
            <a:ext cx="12188825" cy="513003"/>
          </a:xfrm>
          <a:prstGeom prst="rect">
            <a:avLst/>
          </a:prstGeom>
          <a:solidFill>
            <a:schemeClr val="accent1">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013" fontAlgn="base">
              <a:spcBef>
                <a:spcPct val="0"/>
              </a:spcBef>
              <a:spcAft>
                <a:spcPct val="0"/>
              </a:spcAft>
            </a:pPr>
            <a:endParaRPr lang="en-US" sz="2399">
              <a:solidFill>
                <a:schemeClr val="tx1"/>
              </a:solidFill>
              <a:ea typeface="Segoe UI" pitchFamily="34" charset="0"/>
              <a:cs typeface="Segoe UI" pitchFamily="34" charset="0"/>
            </a:endParaRPr>
          </a:p>
        </p:txBody>
      </p:sp>
      <p:pic>
        <p:nvPicPr>
          <p:cNvPr id="41" name="Picture 40"/>
          <p:cNvPicPr>
            <a:picLocks noChangeAspect="1"/>
          </p:cNvPicPr>
          <p:nvPr userDrawn="1"/>
        </p:nvPicPr>
        <p:blipFill>
          <a:blip r:embed="rId2" cstate="email">
            <a:biLevel thresh="25000"/>
            <a:extLst>
              <a:ext uri="{28A0092B-C50C-407E-A947-70E740481C1C}">
                <a14:useLocalDpi xmlns:a14="http://schemas.microsoft.com/office/drawing/2010/main"/>
              </a:ext>
            </a:extLst>
          </a:blip>
          <a:stretch>
            <a:fillRect/>
          </a:stretch>
        </p:blipFill>
        <p:spPr>
          <a:xfrm>
            <a:off x="171467" y="6491045"/>
            <a:ext cx="936365" cy="206372"/>
          </a:xfrm>
          <a:prstGeom prst="rect">
            <a:avLst/>
          </a:prstGeom>
        </p:spPr>
      </p:pic>
    </p:spTree>
    <p:extLst>
      <p:ext uri="{BB962C8B-B14F-4D97-AF65-F5344CB8AC3E}">
        <p14:creationId xmlns:p14="http://schemas.microsoft.com/office/powerpoint/2010/main" val="2307238489"/>
      </p:ext>
    </p:extLst>
  </p:cSld>
  <p:clrMapOvr>
    <a:masterClrMapping/>
  </p:clrMapOvr>
  <p:transition>
    <p:fade/>
  </p:transition>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232" y="2084187"/>
            <a:ext cx="8961851" cy="1793090"/>
          </a:xfrm>
          <a:noFill/>
        </p:spPr>
        <p:txBody>
          <a:bodyPr lIns="146304" tIns="91440" rIns="146304" bIns="91440" anchor="t" anchorCtr="0"/>
          <a:lstStyle>
            <a:lvl1pPr>
              <a:defRPr sz="5292"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232" y="3878574"/>
            <a:ext cx="7169469"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48097" y="6029313"/>
            <a:ext cx="1673454" cy="358621"/>
          </a:xfrm>
          <a:prstGeom prst="rect">
            <a:avLst/>
          </a:prstGeom>
        </p:spPr>
      </p:pic>
      <p:sp>
        <p:nvSpPr>
          <p:cNvPr id="8" name="Rectangle 7"/>
          <p:cNvSpPr/>
          <p:nvPr userDrawn="1"/>
        </p:nvSpPr>
        <p:spPr bwMode="auto">
          <a:xfrm>
            <a:off x="448096" y="470069"/>
            <a:ext cx="2060121"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740" rtl="0" eaLnBrk="1" fontAlgn="base" latinLnBrk="0" hangingPunct="1">
              <a:lnSpc>
                <a:spcPct val="90000"/>
              </a:lnSpc>
              <a:spcBef>
                <a:spcPct val="0"/>
              </a:spcBef>
              <a:spcAft>
                <a:spcPct val="0"/>
              </a:spcAft>
              <a:buClrTx/>
              <a:buSzTx/>
              <a:buFontTx/>
              <a:buNone/>
              <a:tabLst/>
              <a:defRPr/>
            </a:pPr>
            <a:r>
              <a:rPr kumimoji="0" lang="en-US" sz="2744"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48096" y="863773"/>
            <a:ext cx="2060121"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740" rtl="0" eaLnBrk="1" fontAlgn="base" latinLnBrk="0" hangingPunct="1">
              <a:lnSpc>
                <a:spcPct val="90000"/>
              </a:lnSpc>
              <a:spcBef>
                <a:spcPct val="0"/>
              </a:spcBef>
              <a:spcAft>
                <a:spcPct val="0"/>
              </a:spcAft>
              <a:buClrTx/>
              <a:buSzTx/>
              <a:buFontTx/>
              <a:buNone/>
              <a:tabLst/>
              <a:defRPr/>
            </a:pPr>
            <a:r>
              <a:rPr kumimoji="0" lang="en-US" sz="1371"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spTree>
    <p:extLst>
      <p:ext uri="{BB962C8B-B14F-4D97-AF65-F5344CB8AC3E}">
        <p14:creationId xmlns:p14="http://schemas.microsoft.com/office/powerpoint/2010/main" val="350205518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170" y="1189178"/>
            <a:ext cx="11650488"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09" indent="0">
              <a:buNone/>
              <a:defRPr/>
            </a:lvl3pPr>
            <a:lvl4pPr marL="448015" indent="0">
              <a:buNone/>
              <a:defRPr/>
            </a:lvl4pPr>
            <a:lvl5pPr marL="67202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5704716"/>
      </p:ext>
    </p:extLst>
  </p:cSld>
  <p:clrMapOvr>
    <a:masterClrMapping/>
  </p:clrMapOvr>
  <p:transition>
    <p:fade/>
  </p:transition>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70" y="1189178"/>
            <a:ext cx="11650488" cy="1985641"/>
          </a:xfrm>
        </p:spPr>
        <p:txBody>
          <a:bodyPr>
            <a:spAutoFit/>
          </a:bodyPr>
          <a:lstStyle>
            <a:lvl1pPr>
              <a:defRPr sz="3527"/>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13742207"/>
      </p:ext>
    </p:extLst>
  </p:cSld>
  <p:clrMapOvr>
    <a:masterClrMapping/>
  </p:clrMapOvr>
  <p:transition>
    <p:fade/>
  </p:transition>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2" y="1189175"/>
            <a:ext cx="5377147"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0"/>
            </a:lvl2pPr>
            <a:lvl3pPr marL="227119" indent="0">
              <a:buNone/>
              <a:tabLst/>
              <a:defRPr sz="1960"/>
            </a:lvl3pPr>
            <a:lvl4pPr marL="451127" indent="0">
              <a:buNone/>
              <a:defRPr/>
            </a:lvl4pPr>
            <a:lvl5pPr marL="672024"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0" y="1189175"/>
            <a:ext cx="5377147"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0"/>
            </a:lvl2pPr>
            <a:lvl3pPr marL="227119" indent="0">
              <a:buNone/>
              <a:tabLst/>
              <a:defRPr sz="1960"/>
            </a:lvl3pPr>
            <a:lvl4pPr marL="451127" indent="0">
              <a:buNone/>
              <a:defRPr/>
            </a:lvl4pPr>
            <a:lvl5pPr marL="672024"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45822622"/>
      </p:ext>
    </p:extLst>
  </p:cSld>
  <p:clrMapOvr>
    <a:masterClrMapping/>
  </p:clrMapOvr>
  <p:transition>
    <p:fade/>
  </p:transition>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2" y="1189176"/>
            <a:ext cx="5377147" cy="2377940"/>
          </a:xfrm>
        </p:spPr>
        <p:txBody>
          <a:bodyPr wrap="square">
            <a:spAutoFit/>
          </a:bodyPr>
          <a:lstStyle>
            <a:lvl1pPr marL="281565" indent="-281565">
              <a:spcBef>
                <a:spcPts val="1200"/>
              </a:spcBef>
              <a:buClr>
                <a:schemeClr val="tx1"/>
              </a:buClr>
              <a:buFont typeface="Arial" pitchFamily="34" charset="0"/>
              <a:buChar char="•"/>
              <a:defRPr sz="3135"/>
            </a:lvl1pPr>
            <a:lvl2pPr marL="520496" indent="-228510">
              <a:defRPr sz="2352"/>
            </a:lvl2pPr>
            <a:lvl3pPr marL="685531" indent="-165036">
              <a:tabLst/>
              <a:defRPr sz="1960"/>
            </a:lvl3pPr>
            <a:lvl4pPr marL="863261" indent="-177730">
              <a:defRPr/>
            </a:lvl4pPr>
            <a:lvl5pPr marL="1028296" indent="-16503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0" y="1189176"/>
            <a:ext cx="5377147" cy="2377940"/>
          </a:xfrm>
        </p:spPr>
        <p:txBody>
          <a:bodyPr wrap="square">
            <a:spAutoFit/>
          </a:bodyPr>
          <a:lstStyle>
            <a:lvl1pPr marL="281565" indent="-281565">
              <a:spcBef>
                <a:spcPts val="1200"/>
              </a:spcBef>
              <a:buClr>
                <a:schemeClr val="tx1"/>
              </a:buClr>
              <a:buFont typeface="Arial" pitchFamily="34" charset="0"/>
              <a:buChar char="•"/>
              <a:defRPr sz="3135"/>
            </a:lvl1pPr>
            <a:lvl2pPr marL="520496" indent="-228510">
              <a:defRPr sz="2352"/>
            </a:lvl2pPr>
            <a:lvl3pPr marL="685531" indent="-165036">
              <a:tabLst/>
              <a:defRPr sz="1960"/>
            </a:lvl3pPr>
            <a:lvl4pPr marL="863261" indent="-177730">
              <a:defRPr/>
            </a:lvl4pPr>
            <a:lvl5pPr marL="1028296" indent="-16503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286240"/>
      </p:ext>
    </p:extLst>
  </p:cSld>
  <p:clrMapOvr>
    <a:masterClrMapping/>
  </p:clrMapOvr>
  <p:transition>
    <p:fade/>
  </p:transition>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129960145"/>
      </p:ext>
    </p:extLst>
  </p:cSld>
  <p:clrMapOvr>
    <a:masterClrMapping/>
  </p:clrMapOvr>
  <p:transition>
    <p:fade/>
  </p:transition>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Content Placeholder 4"/>
          <p:cNvSpPr>
            <a:spLocks noGrp="1"/>
          </p:cNvSpPr>
          <p:nvPr>
            <p:ph sz="quarter" idx="10"/>
          </p:nvPr>
        </p:nvSpPr>
        <p:spPr>
          <a:xfrm>
            <a:off x="269171" y="964751"/>
            <a:ext cx="11652805" cy="683264"/>
          </a:xfrm>
        </p:spPr>
        <p:txBody>
          <a:bodyPr/>
          <a:lstStyle>
            <a:lvl1pPr marL="0" indent="0" algn="l" defTabSz="914005" rtl="0" eaLnBrk="1" latinLnBrk="0" hangingPunct="1">
              <a:lnSpc>
                <a:spcPct val="90000"/>
              </a:lnSpc>
              <a:spcBef>
                <a:spcPct val="0"/>
              </a:spcBef>
              <a:buNone/>
              <a:defRPr kumimoji="0" lang="en-US" sz="3599" b="0" i="1" u="none" strike="noStrike" kern="1200" cap="none" spc="-100"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1075230363"/>
      </p:ext>
    </p:extLst>
  </p:cSld>
  <p:clrMapOvr>
    <a:masterClrMapping/>
  </p:clrMapOvr>
  <p:transition>
    <p:fade/>
  </p:transition>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dirty="0"/>
          </a:p>
        </p:txBody>
      </p:sp>
      <p:sp>
        <p:nvSpPr>
          <p:cNvPr id="5" name="Content Placeholder 4"/>
          <p:cNvSpPr>
            <a:spLocks noGrp="1"/>
          </p:cNvSpPr>
          <p:nvPr>
            <p:ph sz="quarter" idx="10"/>
          </p:nvPr>
        </p:nvSpPr>
        <p:spPr>
          <a:xfrm>
            <a:off x="269171" y="1625151"/>
            <a:ext cx="11652805" cy="683264"/>
          </a:xfrm>
        </p:spPr>
        <p:txBody>
          <a:bodyPr/>
          <a:lstStyle>
            <a:lvl1pPr marL="0" indent="0" algn="l" defTabSz="914005" rtl="0" eaLnBrk="1" latinLnBrk="0" hangingPunct="1">
              <a:lnSpc>
                <a:spcPct val="90000"/>
              </a:lnSpc>
              <a:spcBef>
                <a:spcPct val="0"/>
              </a:spcBef>
              <a:buNone/>
              <a:defRPr kumimoji="0" lang="en-US" sz="3599" b="0" i="1" u="none" strike="noStrike" kern="1200" cap="none" spc="-100"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1954236721"/>
      </p:ext>
    </p:extLst>
  </p:cSld>
  <p:clrMapOvr>
    <a:masterClrMapping/>
  </p:clrMapOvr>
  <p:transition>
    <p:fade/>
  </p:transition>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7"/>
            <a:ext cx="9856549" cy="1158793"/>
          </a:xfrm>
          <a:noFill/>
        </p:spPr>
        <p:txBody>
          <a:bodyPr tIns="91440" bIns="91440" anchor="t" anchorCtr="0">
            <a:spAutoFit/>
          </a:bodyPr>
          <a:lstStyle>
            <a:lvl1pPr>
              <a:defRPr sz="7055"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171" y="3877276"/>
            <a:ext cx="9858106" cy="778565"/>
          </a:xfrm>
          <a:noFill/>
        </p:spPr>
        <p:txBody>
          <a:bodyPr lIns="182880" tIns="146304" rIns="182880" bIns="146304">
            <a:sp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0752782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mp; Non-bulleted text Alt. Grey">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170" y="289510"/>
            <a:ext cx="5825242" cy="1267431"/>
          </a:xfrm>
        </p:spPr>
        <p:txBody>
          <a:bodyPr vert="horz" wrap="square" lIns="146304" tIns="91440" rIns="146304" bIns="91440" rtlCol="0">
            <a:spAutoFit/>
          </a:bodyPr>
          <a:lstStyle>
            <a:lvl1pPr>
              <a:defRPr lang="en-US" sz="3920"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a:t>Click to edit Master title style</a:t>
            </a:r>
            <a:endParaRPr lang="en-US" dirty="0"/>
          </a:p>
        </p:txBody>
      </p:sp>
      <p:sp>
        <p:nvSpPr>
          <p:cNvPr id="5" name="Text Placeholder 4"/>
          <p:cNvSpPr>
            <a:spLocks noGrp="1"/>
          </p:cNvSpPr>
          <p:nvPr>
            <p:ph type="body" sz="quarter" idx="10"/>
          </p:nvPr>
        </p:nvSpPr>
        <p:spPr>
          <a:xfrm>
            <a:off x="269170" y="1635897"/>
            <a:ext cx="5825242" cy="561290"/>
          </a:xfrm>
        </p:spPr>
        <p:txBody>
          <a:bodyPr/>
          <a:lstStyle>
            <a:lvl1pPr marL="0" indent="0">
              <a:buNone/>
              <a:defRPr sz="2744"/>
            </a:lvl1pPr>
          </a:lstStyle>
          <a:p>
            <a:pPr lvl="0"/>
            <a:r>
              <a:rPr lang="en-US"/>
              <a:t>Click to edit Master text styles</a:t>
            </a:r>
          </a:p>
        </p:txBody>
      </p:sp>
    </p:spTree>
    <p:extLst>
      <p:ext uri="{BB962C8B-B14F-4D97-AF65-F5344CB8AC3E}">
        <p14:creationId xmlns:p14="http://schemas.microsoft.com/office/powerpoint/2010/main" val="2371343946"/>
      </p:ext>
    </p:extLst>
  </p:cSld>
  <p:clrMapOvr>
    <a:masterClrMapping/>
  </p:clrMapOvr>
  <p:transition>
    <p:fade/>
  </p:transition>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7"/>
            <a:ext cx="9856549" cy="1158793"/>
          </a:xfrm>
          <a:noFill/>
        </p:spPr>
        <p:txBody>
          <a:bodyPr tIns="91440" bIns="91440" anchor="t" anchorCtr="0">
            <a:spAutoFit/>
          </a:bodyPr>
          <a:lstStyle>
            <a:lvl1pPr>
              <a:defRPr lang="en-US" sz="7055"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478267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73"/>
            <a:ext cx="11650488"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46534840"/>
      </p:ext>
    </p:extLst>
  </p:cSld>
  <p:clrMapOvr>
    <a:masterClrMapping/>
  </p:clrMapOvr>
  <p:transition>
    <p:fade/>
  </p:transition>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73"/>
            <a:ext cx="11650488"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68474108"/>
      </p:ext>
    </p:extLst>
  </p:cSld>
  <p:clrMapOvr>
    <a:masterClrMapping/>
  </p:clrMapOvr>
  <p:transition>
    <p:fade/>
  </p:transition>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73"/>
            <a:ext cx="11650488"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87561809"/>
      </p:ext>
    </p:extLst>
  </p:cSld>
  <p:clrMapOvr>
    <a:masterClrMapping/>
  </p:clrMapOvr>
  <p:transition>
    <p:fade/>
  </p:transition>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73"/>
            <a:ext cx="11650488"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95212701"/>
      </p:ext>
    </p:extLst>
  </p:cSld>
  <p:clrMapOvr>
    <a:masterClrMapping/>
  </p:clrMapOvr>
  <p:transition>
    <p:fade/>
  </p:transition>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3772290"/>
      </p:ext>
    </p:extLst>
  </p:cSld>
  <p:clrMapOvr>
    <a:masterClrMapping/>
  </p:clrMapOvr>
  <p:transition>
    <p:fade/>
  </p:transition>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61892639"/>
      </p:ext>
    </p:extLst>
  </p:cSld>
  <p:clrMapOvr>
    <a:masterClrMapping/>
  </p:clrMapOvr>
  <p:transition>
    <p:fade/>
  </p:transition>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23154016"/>
      </p:ext>
    </p:extLst>
  </p:cSld>
  <p:clrMapOvr>
    <a:masterClrMapping/>
  </p:clrMapOvr>
  <p:transition>
    <p:fade/>
  </p:transition>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0152686"/>
      </p:ext>
    </p:extLst>
  </p:cSld>
  <p:clrMapOvr>
    <a:masterClrMapping/>
  </p:clrMapOvr>
  <p:transition>
    <p:fade/>
  </p:transition>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3" tIns="45703" rIns="45703" bIns="45703" numCol="1" spcCol="0" rtlCol="0" fromWordArt="0" anchor="ctr" anchorCtr="0" forceAA="0" compatLnSpc="1">
            <a:prstTxWarp prst="textNoShape">
              <a:avLst/>
            </a:prstTxWarp>
            <a:noAutofit/>
          </a:bodyPr>
          <a:lstStyle/>
          <a:p>
            <a:pPr algn="ctr" defTabSz="913740" fontAlgn="base">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69" y="1197323"/>
            <a:ext cx="11650487"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1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8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97664656"/>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1985641"/>
          </a:xfrm>
        </p:spPr>
        <p:txBody>
          <a:bodyPr>
            <a:spAutoFit/>
          </a:bodyPr>
          <a:lstStyle>
            <a:lvl1pPr marL="0" indent="0">
              <a:buFontTx/>
              <a:buNone/>
              <a:defRPr sz="3528"/>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78656436"/>
      </p:ext>
    </p:extLst>
  </p:cSld>
  <p:clrMapOvr>
    <a:masterClrMapping/>
  </p:clrMapOvr>
  <p:transition>
    <p:fade/>
  </p:transition>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171" y="6170060"/>
            <a:ext cx="11620304" cy="395317"/>
          </a:xfrm>
          <a:prstGeom prst="rect">
            <a:avLst/>
          </a:prstGeom>
          <a:noFill/>
          <a:ln w="12700">
            <a:noFill/>
            <a:miter lim="800000"/>
            <a:headEnd type="none" w="sm" len="sm"/>
            <a:tailEnd type="none" w="sm" len="sm"/>
          </a:ln>
          <a:effectLst/>
        </p:spPr>
        <p:txBody>
          <a:bodyPr vert="horz" wrap="square" lIns="179213" tIns="143370" rIns="179213" bIns="143370" numCol="1" anchor="t" anchorCtr="0" compatLnSpc="1">
            <a:prstTxWarp prst="textNoShape">
              <a:avLst/>
            </a:prstTxWarp>
            <a:spAutoFit/>
          </a:bodyPr>
          <a:lstStyle/>
          <a:p>
            <a:pPr defTabSz="913562"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0085" y="3083654"/>
            <a:ext cx="3223021" cy="690695"/>
          </a:xfrm>
          <a:prstGeom prst="rect">
            <a:avLst/>
          </a:prstGeom>
        </p:spPr>
      </p:pic>
    </p:spTree>
    <p:extLst>
      <p:ext uri="{BB962C8B-B14F-4D97-AF65-F5344CB8AC3E}">
        <p14:creationId xmlns:p14="http://schemas.microsoft.com/office/powerpoint/2010/main" val="4117558787"/>
      </p:ext>
    </p:extLst>
  </p:cSld>
  <p:clrMapOvr>
    <a:masterClrMapping/>
  </p:clrMapOvr>
  <p:transition>
    <p:fade/>
  </p:transition>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70" y="1189178"/>
            <a:ext cx="11650488" cy="2396047"/>
          </a:xfrm>
          <a:prstGeom prst="rect">
            <a:avLst/>
          </a:prstGeom>
        </p:spPr>
        <p:txBody>
          <a:bodyPr/>
          <a:lstStyle>
            <a:lvl1pPr marL="284677" indent="-284677">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19" indent="-275344">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696" indent="-284677">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05" indent="-224009">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13" indent="-224009">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88826"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75088583"/>
      </p:ext>
    </p:extLst>
  </p:cSld>
  <p:clrMapOvr>
    <a:masterClrMapping/>
  </p:clrMapOvr>
  <p:transition>
    <p:fade/>
  </p:transition>
</p:sldLayout>
</file>

<file path=ppt/slideLayouts/slideLayout562.xml><?xml version="1.0" encoding="utf-8"?>
<p:sldLayout xmlns:a="http://schemas.openxmlformats.org/drawingml/2006/main" xmlns:r="http://schemas.openxmlformats.org/officeDocument/2006/relationships" xmlns:p="http://schemas.openxmlformats.org/presentationml/2006/main" userDrawn="1">
  <p:cSld name="3_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59435219"/>
      </p:ext>
    </p:extLst>
  </p:cSld>
  <p:clrMapOvr>
    <a:masterClrMapping/>
  </p:clrMapOvr>
  <p:transition>
    <p:fade/>
  </p:transition>
</p:sldLayout>
</file>

<file path=ppt/slideLayouts/slideLayout563.xml><?xml version="1.0" encoding="utf-8"?>
<p:sldLayout xmlns:a="http://schemas.openxmlformats.org/drawingml/2006/main" xmlns:r="http://schemas.openxmlformats.org/officeDocument/2006/relationships" xmlns:p="http://schemas.openxmlformats.org/presentationml/2006/main" userDrawn="1">
  <p:cSld name="9_Title Slide Photo_Option">
    <p:bg>
      <p:bgPr>
        <a:solidFill>
          <a:schemeClr val="tx1"/>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l="478" t="-1" b="1518"/>
          <a:stretch/>
        </p:blipFill>
        <p:spPr>
          <a:xfrm>
            <a:off x="-7197" y="1"/>
            <a:ext cx="12196023" cy="5162399"/>
          </a:xfrm>
          <a:prstGeom prst="rect">
            <a:avLst/>
          </a:prstGeom>
        </p:spPr>
      </p:pic>
      <p:pic>
        <p:nvPicPr>
          <p:cNvPr id="15" name="Picture 1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825756" y="6029312"/>
            <a:ext cx="1672831" cy="368686"/>
          </a:xfrm>
          <a:prstGeom prst="rect">
            <a:avLst/>
          </a:prstGeom>
        </p:spPr>
      </p:pic>
      <p:sp>
        <p:nvSpPr>
          <p:cNvPr id="8" name="Title 1"/>
          <p:cNvSpPr>
            <a:spLocks noGrp="1"/>
          </p:cNvSpPr>
          <p:nvPr>
            <p:ph type="title" hasCustomPrompt="1"/>
          </p:nvPr>
        </p:nvSpPr>
        <p:spPr bwMode="auto">
          <a:xfrm>
            <a:off x="269233" y="2084173"/>
            <a:ext cx="6273277" cy="1793104"/>
          </a:xfrm>
          <a:noFill/>
        </p:spPr>
        <p:txBody>
          <a:bodyPr lIns="146304" tIns="91440" rIns="146304" bIns="91440" anchor="t" anchorCtr="0"/>
          <a:lstStyle>
            <a:lvl1pPr>
              <a:defRPr sz="5292" spc="-98" baseline="0">
                <a:gradFill>
                  <a:gsLst>
                    <a:gs pos="64646">
                      <a:srgbClr val="FFFFFF"/>
                    </a:gs>
                    <a:gs pos="45000">
                      <a:srgbClr val="FFFFFF"/>
                    </a:gs>
                  </a:gsLst>
                  <a:lin ang="5400000" scaled="0"/>
                </a:gradFill>
              </a:defRPr>
            </a:lvl1pPr>
          </a:lstStyle>
          <a:p>
            <a:r>
              <a:rPr lang="en-US" dirty="0"/>
              <a:t>Presentation title</a:t>
            </a:r>
          </a:p>
        </p:txBody>
      </p:sp>
      <p:sp>
        <p:nvSpPr>
          <p:cNvPr id="10" name="Text Placeholder 2"/>
          <p:cNvSpPr>
            <a:spLocks noGrp="1"/>
          </p:cNvSpPr>
          <p:nvPr>
            <p:ph type="body" sz="quarter" idx="14" hasCustomPrompt="1"/>
          </p:nvPr>
        </p:nvSpPr>
        <p:spPr bwMode="auto">
          <a:xfrm>
            <a:off x="267613" y="3877258"/>
            <a:ext cx="6274896" cy="1698765"/>
          </a:xfrm>
        </p:spPr>
        <p:txBody>
          <a:bodyPr tIns="109728" bIns="109728">
            <a:noAutofit/>
          </a:bodyPr>
          <a:lstStyle>
            <a:lvl1pPr marL="0" indent="0">
              <a:spcBef>
                <a:spcPts val="0"/>
              </a:spcBef>
              <a:buNone/>
              <a:defRPr sz="3135">
                <a:gradFill>
                  <a:gsLst>
                    <a:gs pos="64646">
                      <a:srgbClr val="FFFFFF"/>
                    </a:gs>
                    <a:gs pos="4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2489590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232" y="2084187"/>
            <a:ext cx="8961851" cy="1793090"/>
          </a:xfrm>
          <a:noFill/>
        </p:spPr>
        <p:txBody>
          <a:bodyPr lIns="146304" tIns="91440" rIns="146304" bIns="91440" anchor="t" anchorCtr="0"/>
          <a:lstStyle>
            <a:lvl1pPr>
              <a:defRPr sz="5292"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232" y="3878574"/>
            <a:ext cx="7169469"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8" name="Rectangle 7"/>
          <p:cNvSpPr/>
          <p:nvPr userDrawn="1"/>
        </p:nvSpPr>
        <p:spPr bwMode="auto">
          <a:xfrm>
            <a:off x="448096" y="470069"/>
            <a:ext cx="2060121"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740" rtl="0" eaLnBrk="1" fontAlgn="base" latinLnBrk="0" hangingPunct="1">
              <a:lnSpc>
                <a:spcPct val="90000"/>
              </a:lnSpc>
              <a:spcBef>
                <a:spcPct val="0"/>
              </a:spcBef>
              <a:spcAft>
                <a:spcPct val="0"/>
              </a:spcAft>
              <a:buClrTx/>
              <a:buSzTx/>
              <a:buFontTx/>
              <a:buNone/>
              <a:tabLst/>
              <a:defRPr/>
            </a:pPr>
            <a:r>
              <a:rPr kumimoji="0" lang="en-US" sz="2744"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48096" y="863773"/>
            <a:ext cx="2060121"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740" rtl="0" eaLnBrk="1" fontAlgn="base" latinLnBrk="0" hangingPunct="1">
              <a:lnSpc>
                <a:spcPct val="90000"/>
              </a:lnSpc>
              <a:spcBef>
                <a:spcPct val="0"/>
              </a:spcBef>
              <a:spcAft>
                <a:spcPct val="0"/>
              </a:spcAft>
              <a:buClrTx/>
              <a:buSzTx/>
              <a:buFontTx/>
              <a:buNone/>
              <a:tabLst/>
              <a:defRPr/>
            </a:pPr>
            <a:r>
              <a:rPr kumimoji="0" lang="en-US" sz="1371"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spTree>
    <p:extLst>
      <p:ext uri="{BB962C8B-B14F-4D97-AF65-F5344CB8AC3E}">
        <p14:creationId xmlns:p14="http://schemas.microsoft.com/office/powerpoint/2010/main" val="17741196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170" y="1189177"/>
            <a:ext cx="11650488" cy="1858018"/>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09" indent="0">
              <a:buNone/>
              <a:defRPr/>
            </a:lvl3pPr>
            <a:lvl4pPr marL="448015" indent="0">
              <a:buNone/>
              <a:defRPr/>
            </a:lvl4pPr>
            <a:lvl5pPr marL="67202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59955442"/>
      </p:ext>
    </p:extLst>
  </p:cSld>
  <p:clrMapOvr>
    <a:masterClrMapping/>
  </p:clrMapOvr>
  <p:transition>
    <p:fade/>
  </p:transition>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1_Title &amp; Non-bulleted text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399">
                <a:solidFill>
                  <a:schemeClr val="bg1"/>
                </a:solidFill>
              </a:defRPr>
            </a:lvl1pPr>
          </a:lstStyle>
          <a:p>
            <a:r>
              <a:rPr lang="en-US" dirty="0"/>
              <a:t>Click to edit Master title style</a:t>
            </a:r>
          </a:p>
        </p:txBody>
      </p:sp>
      <p:sp>
        <p:nvSpPr>
          <p:cNvPr id="6" name="Text Placeholder 5"/>
          <p:cNvSpPr>
            <a:spLocks noGrp="1"/>
          </p:cNvSpPr>
          <p:nvPr>
            <p:ph type="body" sz="quarter" idx="10"/>
          </p:nvPr>
        </p:nvSpPr>
        <p:spPr>
          <a:xfrm>
            <a:off x="269170" y="1189178"/>
            <a:ext cx="11650488" cy="1890133"/>
          </a:xfrm>
        </p:spPr>
        <p:txBody>
          <a:bodyPr/>
          <a:lstStyle>
            <a:lvl1pPr marL="0" indent="0">
              <a:buNone/>
              <a:defRPr sz="3599">
                <a:solidFill>
                  <a:schemeClr val="bg1"/>
                </a:solidFill>
              </a:defRPr>
            </a:lvl1pPr>
            <a:lvl2pPr marL="0" indent="0">
              <a:buFontTx/>
              <a:buNone/>
              <a:defRPr sz="1799">
                <a:solidFill>
                  <a:schemeClr val="bg1"/>
                </a:solidFill>
              </a:defRPr>
            </a:lvl2pPr>
            <a:lvl3pPr marL="224009" indent="0">
              <a:buNone/>
              <a:defRPr sz="1799">
                <a:solidFill>
                  <a:schemeClr val="bg1"/>
                </a:solidFill>
              </a:defRPr>
            </a:lvl3pPr>
            <a:lvl4pPr marL="448015" indent="0">
              <a:buNone/>
              <a:defRPr sz="1600">
                <a:solidFill>
                  <a:schemeClr val="bg1"/>
                </a:solidFill>
              </a:defRPr>
            </a:lvl4pPr>
            <a:lvl5pPr marL="672024" indent="0">
              <a:buNone/>
              <a:defRPr sz="1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56469256"/>
      </p:ext>
    </p:extLst>
  </p:cSld>
  <p:clrMapOvr>
    <a:masterClrMapping/>
  </p:clrMapOvr>
  <p:transition>
    <p:fade/>
  </p:transition>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3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4114794178"/>
      </p:ext>
    </p:extLst>
  </p:cSld>
  <p:clrMapOvr>
    <a:masterClrMapping/>
  </p:clrMapOvr>
  <p:transition>
    <p:fade/>
  </p:transition>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70" y="1189178"/>
            <a:ext cx="11650488" cy="1854686"/>
          </a:xfrm>
        </p:spPr>
        <p:txBody>
          <a:bodyPr>
            <a:spAutoFit/>
          </a:bodyPr>
          <a:lstStyle>
            <a:lvl1pPr>
              <a:defRPr sz="3527"/>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976855863"/>
      </p:ext>
    </p:extLst>
  </p:cSld>
  <p:clrMapOvr>
    <a:masterClrMapping/>
  </p:clrMapOvr>
  <p:transition>
    <p:fade/>
  </p:transition>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2" y="1189175"/>
            <a:ext cx="5377147"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0"/>
            </a:lvl2pPr>
            <a:lvl3pPr marL="227119" indent="0">
              <a:buNone/>
              <a:tabLst/>
              <a:defRPr sz="1960"/>
            </a:lvl3pPr>
            <a:lvl4pPr marL="451127" indent="0">
              <a:buNone/>
              <a:defRPr/>
            </a:lvl4pPr>
            <a:lvl5pPr marL="672024"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0" y="1189175"/>
            <a:ext cx="5377147"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0"/>
            </a:lvl2pPr>
            <a:lvl3pPr marL="227119" indent="0">
              <a:buNone/>
              <a:tabLst/>
              <a:defRPr sz="1960"/>
            </a:lvl3pPr>
            <a:lvl4pPr marL="451127" indent="0">
              <a:buNone/>
              <a:defRPr/>
            </a:lvl4pPr>
            <a:lvl5pPr marL="672024"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05652262"/>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nd non-bulleted Content with artwork">
    <p:spTree>
      <p:nvGrpSpPr>
        <p:cNvPr id="1" name=""/>
        <p:cNvGrpSpPr/>
        <p:nvPr/>
      </p:nvGrpSpPr>
      <p:grpSpPr>
        <a:xfrm>
          <a:off x="0" y="0"/>
          <a:ext cx="0" cy="0"/>
          <a:chOff x="0" y="0"/>
          <a:chExt cx="0" cy="0"/>
        </a:xfrm>
      </p:grpSpPr>
      <p:pic>
        <p:nvPicPr>
          <p:cNvPr id="5"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8727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0"/>
          </p:nvPr>
        </p:nvSpPr>
        <p:spPr>
          <a:xfrm>
            <a:off x="269169" y="1189177"/>
            <a:ext cx="11650488" cy="669927"/>
          </a:xfrm>
        </p:spPr>
        <p:txBody>
          <a:bodyPr>
            <a:spAutoFit/>
          </a:bodyPr>
          <a:lstStyle>
            <a:lvl1pPr marL="0" indent="0">
              <a:buFontTx/>
              <a:buNone/>
              <a:defRPr sz="3528"/>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a:t>Click to edit Master text styles</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71789582"/>
      </p:ext>
    </p:extLst>
  </p:cSld>
  <p:clrMapOvr>
    <a:masterClrMapping/>
  </p:clrMapOvr>
  <p:transition>
    <p:fade/>
  </p:transition>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2" y="1189176"/>
            <a:ext cx="5377147" cy="2377940"/>
          </a:xfrm>
        </p:spPr>
        <p:txBody>
          <a:bodyPr wrap="square">
            <a:spAutoFit/>
          </a:bodyPr>
          <a:lstStyle>
            <a:lvl1pPr marL="281565" indent="-281565">
              <a:spcBef>
                <a:spcPts val="1200"/>
              </a:spcBef>
              <a:buClr>
                <a:schemeClr val="tx1"/>
              </a:buClr>
              <a:buFont typeface="Arial" pitchFamily="34" charset="0"/>
              <a:buChar char="•"/>
              <a:defRPr sz="3135"/>
            </a:lvl1pPr>
            <a:lvl2pPr marL="520496" indent="-228510">
              <a:defRPr sz="2352"/>
            </a:lvl2pPr>
            <a:lvl3pPr marL="685531" indent="-165036">
              <a:tabLst/>
              <a:defRPr sz="1960"/>
            </a:lvl3pPr>
            <a:lvl4pPr marL="863261" indent="-177730">
              <a:defRPr/>
            </a:lvl4pPr>
            <a:lvl5pPr marL="1028296" indent="-16503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0" y="1189176"/>
            <a:ext cx="5377147" cy="2377940"/>
          </a:xfrm>
        </p:spPr>
        <p:txBody>
          <a:bodyPr wrap="square">
            <a:spAutoFit/>
          </a:bodyPr>
          <a:lstStyle>
            <a:lvl1pPr marL="281565" indent="-281565">
              <a:spcBef>
                <a:spcPts val="1200"/>
              </a:spcBef>
              <a:buClr>
                <a:schemeClr val="tx1"/>
              </a:buClr>
              <a:buFont typeface="Arial" pitchFamily="34" charset="0"/>
              <a:buChar char="•"/>
              <a:defRPr sz="3135"/>
            </a:lvl1pPr>
            <a:lvl2pPr marL="520496" indent="-228510">
              <a:defRPr sz="2352"/>
            </a:lvl2pPr>
            <a:lvl3pPr marL="685531" indent="-165036">
              <a:tabLst/>
              <a:defRPr sz="1960"/>
            </a:lvl3pPr>
            <a:lvl4pPr marL="863261" indent="-177730">
              <a:defRPr/>
            </a:lvl4pPr>
            <a:lvl5pPr marL="1028296" indent="-16503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53768317"/>
      </p:ext>
    </p:extLst>
  </p:cSld>
  <p:clrMapOvr>
    <a:masterClrMapping/>
  </p:clrMapOvr>
  <p:transition>
    <p:fade/>
  </p:transition>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426365116"/>
      </p:ext>
    </p:extLst>
  </p:cSld>
  <p:clrMapOvr>
    <a:masterClrMapping/>
  </p:clrMapOvr>
  <p:transition>
    <p:fade/>
  </p:transition>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Content Placeholder 4"/>
          <p:cNvSpPr>
            <a:spLocks noGrp="1"/>
          </p:cNvSpPr>
          <p:nvPr>
            <p:ph sz="quarter" idx="10"/>
          </p:nvPr>
        </p:nvSpPr>
        <p:spPr>
          <a:xfrm>
            <a:off x="269171" y="964751"/>
            <a:ext cx="11652805" cy="683264"/>
          </a:xfrm>
        </p:spPr>
        <p:txBody>
          <a:bodyPr/>
          <a:lstStyle>
            <a:lvl1pPr marL="0" indent="0" algn="l" defTabSz="914005" rtl="0" eaLnBrk="1" latinLnBrk="0" hangingPunct="1">
              <a:lnSpc>
                <a:spcPct val="90000"/>
              </a:lnSpc>
              <a:spcBef>
                <a:spcPct val="0"/>
              </a:spcBef>
              <a:buNone/>
              <a:defRPr kumimoji="0" lang="en-US" sz="3599" b="0" i="1" u="none" strike="noStrike" kern="1200" cap="none" spc="-100"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464588924"/>
      </p:ext>
    </p:extLst>
  </p:cSld>
  <p:clrMapOvr>
    <a:masterClrMapping/>
  </p:clrMapOvr>
  <p:transition>
    <p:fade/>
  </p:transition>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dirty="0"/>
          </a:p>
        </p:txBody>
      </p:sp>
      <p:sp>
        <p:nvSpPr>
          <p:cNvPr id="5" name="Content Placeholder 4"/>
          <p:cNvSpPr>
            <a:spLocks noGrp="1"/>
          </p:cNvSpPr>
          <p:nvPr>
            <p:ph sz="quarter" idx="10"/>
          </p:nvPr>
        </p:nvSpPr>
        <p:spPr>
          <a:xfrm>
            <a:off x="269171" y="1625151"/>
            <a:ext cx="11652805" cy="683264"/>
          </a:xfrm>
        </p:spPr>
        <p:txBody>
          <a:bodyPr/>
          <a:lstStyle>
            <a:lvl1pPr marL="0" indent="0" algn="l" defTabSz="914005" rtl="0" eaLnBrk="1" latinLnBrk="0" hangingPunct="1">
              <a:lnSpc>
                <a:spcPct val="90000"/>
              </a:lnSpc>
              <a:spcBef>
                <a:spcPct val="0"/>
              </a:spcBef>
              <a:buNone/>
              <a:defRPr kumimoji="0" lang="en-US" sz="3599" b="0" i="1" u="none" strike="noStrike" kern="1200" cap="none" spc="-100"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106718215"/>
      </p:ext>
    </p:extLst>
  </p:cSld>
  <p:clrMapOvr>
    <a:masterClrMapping/>
  </p:clrMapOvr>
  <p:transition>
    <p:fade/>
  </p:transition>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7"/>
            <a:ext cx="9856549" cy="1158793"/>
          </a:xfrm>
          <a:noFill/>
        </p:spPr>
        <p:txBody>
          <a:bodyPr tIns="91440" bIns="91440" anchor="t" anchorCtr="0">
            <a:spAutoFit/>
          </a:bodyPr>
          <a:lstStyle>
            <a:lvl1pPr>
              <a:defRPr sz="7055"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171" y="3877276"/>
            <a:ext cx="9858106" cy="778565"/>
          </a:xfrm>
          <a:noFill/>
        </p:spPr>
        <p:txBody>
          <a:bodyPr lIns="182880" tIns="146304" rIns="182880" bIns="146304">
            <a:sp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8033609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7"/>
            <a:ext cx="9856549" cy="1158793"/>
          </a:xfrm>
          <a:noFill/>
        </p:spPr>
        <p:txBody>
          <a:bodyPr tIns="91440" bIns="91440" anchor="t" anchorCtr="0">
            <a:spAutoFit/>
          </a:bodyPr>
          <a:lstStyle>
            <a:lvl1pPr>
              <a:defRPr lang="en-US" sz="7055"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2337901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73"/>
            <a:ext cx="11650488"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47536564"/>
      </p:ext>
    </p:extLst>
  </p:cSld>
  <p:clrMapOvr>
    <a:masterClrMapping/>
  </p:clrMapOvr>
  <p:transition>
    <p:fade/>
  </p:transition>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73"/>
            <a:ext cx="11650488"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37980999"/>
      </p:ext>
    </p:extLst>
  </p:cSld>
  <p:clrMapOvr>
    <a:masterClrMapping/>
  </p:clrMapOvr>
  <p:transition>
    <p:fade/>
  </p:transition>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73"/>
            <a:ext cx="11650488"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95861839"/>
      </p:ext>
    </p:extLst>
  </p:cSld>
  <p:clrMapOvr>
    <a:masterClrMapping/>
  </p:clrMapOvr>
  <p:transition>
    <p:fade/>
  </p:transition>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73"/>
            <a:ext cx="11650488"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8169154"/>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1985641"/>
          </a:xfrm>
        </p:spPr>
        <p:txBody>
          <a:bodyPr>
            <a:spAutoFit/>
          </a:bodyPr>
          <a:lstStyle>
            <a:lvl1pPr>
              <a:defRPr sz="352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20845912"/>
      </p:ext>
    </p:extLst>
  </p:cSld>
  <p:clrMapOvr>
    <a:masterClrMapping/>
  </p:clrMapOvr>
  <p:transition>
    <p:fade/>
  </p:transition>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16067047"/>
      </p:ext>
    </p:extLst>
  </p:cSld>
  <p:clrMapOvr>
    <a:masterClrMapping/>
  </p:clrMapOvr>
  <p:transition>
    <p:fade/>
  </p:transition>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6312414"/>
      </p:ext>
    </p:extLst>
  </p:cSld>
  <p:clrMapOvr>
    <a:masterClrMapping/>
  </p:clrMapOvr>
  <p:transition>
    <p:fade/>
  </p:transition>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4996710"/>
      </p:ext>
    </p:extLst>
  </p:cSld>
  <p:clrMapOvr>
    <a:masterClrMapping/>
  </p:clrMapOvr>
  <p:transition>
    <p:fade/>
  </p:transition>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3" tIns="45703" rIns="45703" bIns="45703" numCol="1" spcCol="0" rtlCol="0" fromWordArt="0" anchor="ctr" anchorCtr="0" forceAA="0" compatLnSpc="1">
            <a:prstTxWarp prst="textNoShape">
              <a:avLst/>
            </a:prstTxWarp>
            <a:noAutofit/>
          </a:bodyPr>
          <a:lstStyle/>
          <a:p>
            <a:pPr algn="ctr" defTabSz="913740" fontAlgn="base">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69" y="1197322"/>
            <a:ext cx="11650487" cy="1813947"/>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1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8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7053235"/>
      </p:ext>
    </p:extLst>
  </p:cSld>
  <p:clrMapOvr>
    <a:masterClrMapping/>
  </p:clrMapOvr>
  <p:transition>
    <p:fade/>
  </p:transition>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171" y="6170060"/>
            <a:ext cx="11620304" cy="395317"/>
          </a:xfrm>
          <a:prstGeom prst="rect">
            <a:avLst/>
          </a:prstGeom>
          <a:noFill/>
          <a:ln w="12700">
            <a:noFill/>
            <a:miter lim="800000"/>
            <a:headEnd type="none" w="sm" len="sm"/>
            <a:tailEnd type="none" w="sm" len="sm"/>
          </a:ln>
          <a:effectLst/>
        </p:spPr>
        <p:txBody>
          <a:bodyPr vert="horz" wrap="square" lIns="179213" tIns="143370" rIns="179213" bIns="143370" numCol="1" anchor="t" anchorCtr="0" compatLnSpc="1">
            <a:prstTxWarp prst="textNoShape">
              <a:avLst/>
            </a:prstTxWarp>
            <a:spAutoFit/>
          </a:bodyPr>
          <a:lstStyle/>
          <a:p>
            <a:pPr defTabSz="913562"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0085" y="3083654"/>
            <a:ext cx="3223021" cy="690695"/>
          </a:xfrm>
          <a:prstGeom prst="rect">
            <a:avLst/>
          </a:prstGeom>
        </p:spPr>
      </p:pic>
    </p:spTree>
    <p:extLst>
      <p:ext uri="{BB962C8B-B14F-4D97-AF65-F5344CB8AC3E}">
        <p14:creationId xmlns:p14="http://schemas.microsoft.com/office/powerpoint/2010/main" val="914218002"/>
      </p:ext>
    </p:extLst>
  </p:cSld>
  <p:clrMapOvr>
    <a:masterClrMapping/>
  </p:clrMapOvr>
  <p:transition>
    <p:fade/>
  </p:transition>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70" y="1189178"/>
            <a:ext cx="11650488" cy="2396047"/>
          </a:xfrm>
          <a:prstGeom prst="rect">
            <a:avLst/>
          </a:prstGeom>
        </p:spPr>
        <p:txBody>
          <a:bodyPr/>
          <a:lstStyle>
            <a:lvl1pPr marL="284677" indent="-284677">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19" indent="-275344">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696" indent="-284677">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05" indent="-224009">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13" indent="-224009">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88826"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84114232"/>
      </p:ext>
    </p:extLst>
  </p:cSld>
  <p:clrMapOvr>
    <a:masterClrMapping/>
  </p:clrMapOvr>
  <p:transition>
    <p:fade/>
  </p:transition>
</p:sldLayout>
</file>

<file path=ppt/slideLayouts/slideLayout586.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6" name="Rectangle 35"/>
          <p:cNvSpPr/>
          <p:nvPr userDrawn="1"/>
        </p:nvSpPr>
        <p:spPr bwMode="auto">
          <a:xfrm>
            <a:off x="0" y="6325187"/>
            <a:ext cx="12188825" cy="532814"/>
          </a:xfrm>
          <a:prstGeom prst="rect">
            <a:avLst/>
          </a:prstGeom>
          <a:solidFill>
            <a:srgbClr val="409AE1"/>
          </a:solidFill>
          <a:ln w="28575">
            <a:noFill/>
          </a:ln>
        </p:spPr>
        <p:txBody>
          <a:bodyPr vert="horz" wrap="square" lIns="91390" tIns="45695" rIns="91390" bIns="45695" numCol="1" anchor="t" anchorCtr="0" compatLnSpc="1">
            <a:prstTxWarp prst="textNoShape">
              <a:avLst/>
            </a:prstTxWarp>
          </a:bodyPr>
          <a:lstStyle/>
          <a:p>
            <a:pPr marR="0" lvl="0" indent="0" defTabSz="932194" fontAlgn="auto">
              <a:lnSpc>
                <a:spcPct val="100000"/>
              </a:lnSpc>
              <a:spcBef>
                <a:spcPts val="0"/>
              </a:spcBef>
              <a:spcAft>
                <a:spcPts val="0"/>
              </a:spcAft>
              <a:buClrTx/>
              <a:buSzTx/>
              <a:buFontTx/>
              <a:buNone/>
              <a:tabLst/>
            </a:pPr>
            <a:endParaRPr kumimoji="0" lang="en-US" sz="1050" b="0" i="0" u="none" strike="noStrike" kern="0" cap="none" spc="0" normalizeH="0" baseline="0">
              <a:ln>
                <a:noFill/>
              </a:ln>
              <a:solidFill>
                <a:srgbClr val="333333"/>
              </a:solidFill>
              <a:effectLst/>
              <a:uLnTx/>
              <a:uFillTx/>
            </a:endParaRPr>
          </a:p>
        </p:txBody>
      </p:sp>
      <p:sp>
        <p:nvSpPr>
          <p:cNvPr id="6" name="Freeform 539"/>
          <p:cNvSpPr>
            <a:spLocks noChangeAspect="1"/>
          </p:cNvSpPr>
          <p:nvPr userDrawn="1"/>
        </p:nvSpPr>
        <p:spPr bwMode="auto">
          <a:xfrm>
            <a:off x="9301373" y="5959092"/>
            <a:ext cx="1967543" cy="108201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a:extLst/>
        </p:spPr>
        <p:txBody>
          <a:bodyPr vert="horz" wrap="square" lIns="91390" tIns="45695" rIns="91390" bIns="45695" numCol="1" anchor="t" anchorCtr="0" compatLnSpc="1">
            <a:prstTxWarp prst="textNoShape">
              <a:avLst/>
            </a:prstTxWarp>
          </a:bodyPr>
          <a:lstStyle/>
          <a:p>
            <a:pPr marL="0" marR="0" lvl="0" indent="0" defTabSz="932194"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333333"/>
              </a:solidFill>
              <a:effectLst/>
              <a:uLnTx/>
              <a:uFillTx/>
            </a:endParaRPr>
          </a:p>
        </p:txBody>
      </p:sp>
      <p:grpSp>
        <p:nvGrpSpPr>
          <p:cNvPr id="9" name="Group 8"/>
          <p:cNvGrpSpPr/>
          <p:nvPr userDrawn="1"/>
        </p:nvGrpSpPr>
        <p:grpSpPr>
          <a:xfrm>
            <a:off x="9336143" y="6216162"/>
            <a:ext cx="1824151" cy="773723"/>
            <a:chOff x="4494770" y="2621197"/>
            <a:chExt cx="3127126" cy="1326043"/>
          </a:xfrm>
        </p:grpSpPr>
        <p:sp>
          <p:nvSpPr>
            <p:cNvPr id="10"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endParaRPr>
            </a:p>
          </p:txBody>
        </p:sp>
        <p:sp>
          <p:nvSpPr>
            <p:cNvPr id="11"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endParaRPr>
            </a:p>
          </p:txBody>
        </p:sp>
        <p:sp>
          <p:nvSpPr>
            <p:cNvPr id="12"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endParaRPr>
            </a:p>
          </p:txBody>
        </p:sp>
        <p:sp>
          <p:nvSpPr>
            <p:cNvPr id="13"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endParaRPr>
            </a:p>
          </p:txBody>
        </p:sp>
        <p:sp>
          <p:nvSpPr>
            <p:cNvPr id="14"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endParaRPr>
            </a:p>
          </p:txBody>
        </p:sp>
        <p:sp>
          <p:nvSpPr>
            <p:cNvPr id="15"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endParaRPr>
            </a:p>
          </p:txBody>
        </p:sp>
        <p:sp>
          <p:nvSpPr>
            <p:cNvPr id="16"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endParaRPr>
            </a:p>
          </p:txBody>
        </p:sp>
        <p:grpSp>
          <p:nvGrpSpPr>
            <p:cNvPr id="17" name="Group 16"/>
            <p:cNvGrpSpPr/>
            <p:nvPr/>
          </p:nvGrpSpPr>
          <p:grpSpPr>
            <a:xfrm>
              <a:off x="5413104" y="2621197"/>
              <a:ext cx="1326042" cy="1326043"/>
              <a:chOff x="5413104" y="2598477"/>
              <a:chExt cx="1326042" cy="1326043"/>
            </a:xfrm>
          </p:grpSpPr>
          <p:sp>
            <p:nvSpPr>
              <p:cNvPr id="18"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endParaRPr>
              </a:p>
            </p:txBody>
          </p:sp>
          <p:sp>
            <p:nvSpPr>
              <p:cNvPr id="19"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endParaRPr>
              </a:p>
            </p:txBody>
          </p:sp>
          <p:sp>
            <p:nvSpPr>
              <p:cNvPr id="20"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endParaRPr>
              </a:p>
            </p:txBody>
          </p:sp>
          <p:sp>
            <p:nvSpPr>
              <p:cNvPr id="21"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endParaRPr>
              </a:p>
            </p:txBody>
          </p:sp>
          <p:sp>
            <p:nvSpPr>
              <p:cNvPr id="22"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endParaRPr>
              </a:p>
            </p:txBody>
          </p:sp>
          <p:sp>
            <p:nvSpPr>
              <p:cNvPr id="23"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endParaRPr>
              </a:p>
            </p:txBody>
          </p:sp>
          <p:sp>
            <p:nvSpPr>
              <p:cNvPr id="24"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endParaRPr>
              </a:p>
            </p:txBody>
          </p:sp>
          <p:sp>
            <p:nvSpPr>
              <p:cNvPr id="25" name="Oval 24"/>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03" eaLnBrk="1" fontAlgn="base" latinLnBrk="0" hangingPunct="1">
                  <a:lnSpc>
                    <a:spcPct val="90000"/>
                  </a:lnSpc>
                  <a:spcBef>
                    <a:spcPct val="0"/>
                  </a:spcBef>
                  <a:spcAft>
                    <a:spcPct val="0"/>
                  </a:spcAft>
                  <a:buClrTx/>
                  <a:buSzTx/>
                  <a:buFontTx/>
                  <a:buNone/>
                  <a:tabLst/>
                  <a:defRPr/>
                </a:pPr>
                <a:endParaRPr kumimoji="0" lang="en-US" sz="2399"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6" name="Group 25"/>
          <p:cNvGrpSpPr/>
          <p:nvPr userDrawn="1"/>
        </p:nvGrpSpPr>
        <p:grpSpPr>
          <a:xfrm rot="16200000">
            <a:off x="2685834" y="3785447"/>
            <a:ext cx="182438" cy="5554105"/>
            <a:chOff x="9312007" y="34787"/>
            <a:chExt cx="1212906" cy="3143923"/>
          </a:xfrm>
        </p:grpSpPr>
        <p:sp>
          <p:nvSpPr>
            <p:cNvPr id="27" name="Bent Arrow 26"/>
            <p:cNvSpPr/>
            <p:nvPr/>
          </p:nvSpPr>
          <p:spPr bwMode="auto">
            <a:xfrm flipH="1">
              <a:off x="9832459" y="1745357"/>
              <a:ext cx="692454" cy="1433353"/>
            </a:xfrm>
            <a:prstGeom prst="bentArrow">
              <a:avLst>
                <a:gd name="adj1" fmla="val 25000"/>
                <a:gd name="adj2" fmla="val 0"/>
                <a:gd name="adj3" fmla="val 25000"/>
                <a:gd name="adj4" fmla="val 75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03"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28" name="Bent Arrow 27"/>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03"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9" name="Bent Arrow 28"/>
          <p:cNvSpPr/>
          <p:nvPr userDrawn="1"/>
        </p:nvSpPr>
        <p:spPr bwMode="auto">
          <a:xfrm>
            <a:off x="5684802" y="6687742"/>
            <a:ext cx="3819140" cy="163512"/>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algn="ctr" defTabSz="932103"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Bent Arrow 39"/>
          <p:cNvSpPr/>
          <p:nvPr userDrawn="1"/>
        </p:nvSpPr>
        <p:spPr bwMode="auto">
          <a:xfrm rot="10800000" flipH="1">
            <a:off x="2049147" y="5710544"/>
            <a:ext cx="7841822" cy="757825"/>
          </a:xfrm>
          <a:prstGeom prst="bentArrow">
            <a:avLst>
              <a:gd name="adj1" fmla="val 25000"/>
              <a:gd name="adj2" fmla="val 0"/>
              <a:gd name="adj3" fmla="val 25000"/>
              <a:gd name="adj4" fmla="val 20518"/>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algn="ctr" defTabSz="932103"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Bent Arrow 43"/>
          <p:cNvSpPr/>
          <p:nvPr userDrawn="1"/>
        </p:nvSpPr>
        <p:spPr bwMode="auto">
          <a:xfrm rot="10800000">
            <a:off x="11221455" y="6302645"/>
            <a:ext cx="709132" cy="266055"/>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algn="ctr" defTabSz="932103"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0" y="5375935"/>
            <a:ext cx="12188825" cy="95735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pPr>
            <a:endParaRPr lang="en-US" sz="2399">
              <a:solidFill>
                <a:schemeClr val="tx1"/>
              </a:solidFill>
              <a:ea typeface="Segoe UI" pitchFamily="34" charset="0"/>
              <a:cs typeface="Segoe UI" pitchFamily="34" charset="0"/>
            </a:endParaRPr>
          </a:p>
        </p:txBody>
      </p:sp>
      <p:sp>
        <p:nvSpPr>
          <p:cNvPr id="45" name="Bent Arrow 44"/>
          <p:cNvSpPr/>
          <p:nvPr userDrawn="1"/>
        </p:nvSpPr>
        <p:spPr bwMode="auto">
          <a:xfrm rot="16200000">
            <a:off x="11533738" y="6610205"/>
            <a:ext cx="325590" cy="265986"/>
          </a:xfrm>
          <a:prstGeom prst="bentArrow">
            <a:avLst>
              <a:gd name="adj1" fmla="val 25000"/>
              <a:gd name="adj2" fmla="val 0"/>
              <a:gd name="adj3" fmla="val 25000"/>
              <a:gd name="adj4" fmla="val 15819"/>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algn="ctr" defTabSz="932103"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46" name="Freeform 15"/>
          <p:cNvSpPr>
            <a:spLocks noEditPoints="1"/>
          </p:cNvSpPr>
          <p:nvPr userDrawn="1"/>
        </p:nvSpPr>
        <p:spPr bwMode="auto">
          <a:xfrm>
            <a:off x="4388089" y="6600371"/>
            <a:ext cx="121530" cy="121561"/>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03" tIns="45701" rIns="91403" bIns="45701" numCol="1" anchor="t" anchorCtr="0" compatLnSpc="1">
            <a:prstTxWarp prst="textNoShape">
              <a:avLst/>
            </a:prstTxWarp>
          </a:bodyPr>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endParaRPr>
          </a:p>
        </p:txBody>
      </p:sp>
      <p:sp>
        <p:nvSpPr>
          <p:cNvPr id="47" name="Freeform 18"/>
          <p:cNvSpPr>
            <a:spLocks/>
          </p:cNvSpPr>
          <p:nvPr userDrawn="1"/>
        </p:nvSpPr>
        <p:spPr bwMode="auto">
          <a:xfrm>
            <a:off x="4430483" y="6462555"/>
            <a:ext cx="37448" cy="124388"/>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03" tIns="45701" rIns="91403" bIns="45701" numCol="1" anchor="t" anchorCtr="0" compatLnSpc="1">
            <a:prstTxWarp prst="textNoShape">
              <a:avLst/>
            </a:prstTxWarp>
          </a:bodyPr>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endParaRPr>
          </a:p>
        </p:txBody>
      </p:sp>
      <p:sp>
        <p:nvSpPr>
          <p:cNvPr id="49" name="Rectangle 48"/>
          <p:cNvSpPr/>
          <p:nvPr userDrawn="1"/>
        </p:nvSpPr>
        <p:spPr bwMode="auto">
          <a:xfrm>
            <a:off x="-217542" y="6858000"/>
            <a:ext cx="12529822" cy="78377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pPr>
            <a:endParaRPr lang="en-US" sz="2399">
              <a:solidFill>
                <a:schemeClr val="tx1"/>
              </a:solidFill>
              <a:ea typeface="Segoe UI" pitchFamily="34" charset="0"/>
              <a:cs typeface="Segoe UI" pitchFamily="34" charset="0"/>
            </a:endParaRPr>
          </a:p>
        </p:txBody>
      </p:sp>
      <p:sp>
        <p:nvSpPr>
          <p:cNvPr id="52" name="Rectangle 51"/>
          <p:cNvSpPr/>
          <p:nvPr userDrawn="1"/>
        </p:nvSpPr>
        <p:spPr bwMode="auto">
          <a:xfrm>
            <a:off x="-391784" y="6074230"/>
            <a:ext cx="391784" cy="78377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pPr>
            <a:endParaRPr lang="en-US" sz="2399">
              <a:solidFill>
                <a:schemeClr val="tx1"/>
              </a:solidFill>
              <a:ea typeface="Segoe UI" pitchFamily="34" charset="0"/>
              <a:cs typeface="Segoe UI" pitchFamily="34" charset="0"/>
            </a:endParaRPr>
          </a:p>
        </p:txBody>
      </p:sp>
      <p:sp>
        <p:nvSpPr>
          <p:cNvPr id="53" name="Rectangle 52"/>
          <p:cNvSpPr/>
          <p:nvPr userDrawn="1"/>
        </p:nvSpPr>
        <p:spPr bwMode="auto">
          <a:xfrm>
            <a:off x="0" y="6344998"/>
            <a:ext cx="12188825" cy="513003"/>
          </a:xfrm>
          <a:prstGeom prst="rect">
            <a:avLst/>
          </a:prstGeom>
          <a:solidFill>
            <a:schemeClr val="accent1">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pPr>
            <a:endParaRPr lang="en-US" sz="2399">
              <a:solidFill>
                <a:schemeClr val="tx1"/>
              </a:solidFill>
              <a:ea typeface="Segoe UI" pitchFamily="34" charset="0"/>
              <a:cs typeface="Segoe UI" pitchFamily="34" charset="0"/>
            </a:endParaRPr>
          </a:p>
        </p:txBody>
      </p:sp>
      <p:pic>
        <p:nvPicPr>
          <p:cNvPr id="41" name="Picture 40"/>
          <p:cNvPicPr>
            <a:picLocks noChangeAspect="1"/>
          </p:cNvPicPr>
          <p:nvPr userDrawn="1"/>
        </p:nvPicPr>
        <p:blipFill>
          <a:blip r:embed="rId2" cstate="email">
            <a:biLevel thresh="25000"/>
            <a:extLst>
              <a:ext uri="{28A0092B-C50C-407E-A947-70E740481C1C}">
                <a14:useLocalDpi xmlns:a14="http://schemas.microsoft.com/office/drawing/2010/main"/>
              </a:ext>
            </a:extLst>
          </a:blip>
          <a:stretch>
            <a:fillRect/>
          </a:stretch>
        </p:blipFill>
        <p:spPr>
          <a:xfrm>
            <a:off x="171466" y="6491045"/>
            <a:ext cx="936365" cy="206372"/>
          </a:xfrm>
          <a:prstGeom prst="rect">
            <a:avLst/>
          </a:prstGeom>
        </p:spPr>
      </p:pic>
    </p:spTree>
    <p:extLst>
      <p:ext uri="{BB962C8B-B14F-4D97-AF65-F5344CB8AC3E}">
        <p14:creationId xmlns:p14="http://schemas.microsoft.com/office/powerpoint/2010/main" val="179049457"/>
      </p:ext>
    </p:extLst>
  </p:cSld>
  <p:clrMapOvr>
    <a:masterClrMapping/>
  </p:clrMapOvr>
  <p:transition>
    <p:fade/>
  </p:transition>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userDrawn="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9" name="Picture 8"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6" name="Presenter"/>
          <p:cNvSpPr txBox="1">
            <a:spLocks/>
          </p:cNvSpPr>
          <p:nvPr userDrawn="1"/>
        </p:nvSpPr>
        <p:spPr>
          <a:xfrm>
            <a:off x="6340563" y="5233032"/>
            <a:ext cx="5668478"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2422" y="4263383"/>
            <a:ext cx="5826403"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301303666"/>
      </p:ext>
    </p:extLst>
  </p:cSld>
  <p:clrMapOvr>
    <a:masterClrMapping/>
  </p:clrMapOvr>
  <p:transition>
    <p:fade/>
  </p:transition>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userDrawn="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9"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0" name="Title"/>
          <p:cNvSpPr>
            <a:spLocks noGrp="1"/>
          </p:cNvSpPr>
          <p:nvPr>
            <p:ph type="title" hasCustomPrompt="1"/>
          </p:nvPr>
        </p:nvSpPr>
        <p:spPr>
          <a:xfrm>
            <a:off x="6362422" y="4263383"/>
            <a:ext cx="5826403"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2776661"/>
      </p:ext>
    </p:extLst>
  </p:cSld>
  <p:clrMapOvr>
    <a:masterClrMapping/>
  </p:clrMapOvr>
  <p:transition>
    <p:fade/>
  </p:transition>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userDrawn="1">
  <p:cSld name="Title Alt">
    <p:spTree>
      <p:nvGrpSpPr>
        <p:cNvPr id="1" name=""/>
        <p:cNvGrpSpPr/>
        <p:nvPr/>
      </p:nvGrpSpPr>
      <p:grpSpPr>
        <a:xfrm>
          <a:off x="0" y="0"/>
          <a:ext cx="0" cy="0"/>
          <a:chOff x="0" y="0"/>
          <a:chExt cx="0" cy="0"/>
        </a:xfrm>
      </p:grpSpPr>
      <p:pic>
        <p:nvPicPr>
          <p:cNvPr id="6"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9" name="Title"/>
          <p:cNvSpPr>
            <a:spLocks noGrp="1"/>
          </p:cNvSpPr>
          <p:nvPr>
            <p:ph type="title" hasCustomPrompt="1"/>
          </p:nvPr>
        </p:nvSpPr>
        <p:spPr>
          <a:xfrm>
            <a:off x="0" y="2194767"/>
            <a:ext cx="12188826"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588" y="3276600"/>
            <a:ext cx="12188825"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103804228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5"/>
            <a:ext cx="5377147"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0" y="1189175"/>
            <a:ext cx="5377147"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0892106"/>
      </p:ext>
    </p:extLst>
  </p:cSld>
  <p:clrMapOvr>
    <a:masterClrMapping/>
  </p:clrMapOvr>
  <p:transition>
    <p:fade/>
  </p:transition>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265" y="2709520"/>
            <a:ext cx="10719432" cy="1266359"/>
          </a:xfrm>
          <a:prstGeom prst="rect">
            <a:avLst/>
          </a:prstGeom>
        </p:spPr>
        <p:txBody>
          <a:bodyPr>
            <a:noAutofit/>
          </a:bodyPr>
          <a:lstStyle>
            <a:lvl1pPr algn="ctr">
              <a:defRPr sz="8000"/>
            </a:lvl1pPr>
          </a:lstStyle>
          <a:p>
            <a:pPr algn="ctr"/>
            <a:r>
              <a:rPr lang="en-US" sz="7998" dirty="0"/>
              <a:t>Statement</a:t>
            </a:r>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1023877021"/>
      </p:ext>
    </p:extLst>
  </p:cSld>
  <p:clrMapOvr>
    <a:masterClrMapping/>
  </p:clrMapOvr>
  <p:transition>
    <p:fade/>
  </p:transition>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263924797"/>
      </p:ext>
    </p:extLst>
  </p:cSld>
  <p:clrMapOvr>
    <a:masterClrMapping/>
  </p:clrMapOvr>
  <p:transition>
    <p:fade/>
  </p:transition>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2591268355"/>
      </p:ext>
    </p:extLst>
  </p:cSld>
  <p:clrMapOvr>
    <a:masterClrMapping/>
  </p:clrMapOvr>
  <p:transition>
    <p:fade/>
  </p:transition>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6"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Tree>
    <p:extLst>
      <p:ext uri="{BB962C8B-B14F-4D97-AF65-F5344CB8AC3E}">
        <p14:creationId xmlns:p14="http://schemas.microsoft.com/office/powerpoint/2010/main" val="17135178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7"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80003336"/>
      </p:ext>
    </p:extLst>
  </p:cSld>
  <p:clrMapOvr>
    <a:masterClrMapping/>
  </p:clrMapOvr>
  <p:transition>
    <p:fade/>
  </p:transition>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userDrawn="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088385783"/>
      </p:ext>
    </p:extLst>
  </p:cSld>
  <p:clrMapOvr>
    <a:masterClrMapping/>
  </p:clrMapOvr>
  <p:transition>
    <p:fade/>
  </p:transition>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userDrawn="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532022152"/>
      </p:ext>
    </p:extLst>
  </p:cSld>
  <p:clrMapOvr>
    <a:masterClrMapping/>
  </p:clrMapOvr>
  <p:transition>
    <p:fade/>
  </p:transition>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Headline and Content">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2" name="Body"/>
          <p:cNvSpPr>
            <a:spLocks noGrp="1"/>
          </p:cNvSpPr>
          <p:nvPr>
            <p:ph type="body" sz="quarter" idx="11"/>
          </p:nvPr>
        </p:nvSpPr>
        <p:spPr>
          <a:xfrm>
            <a:off x="373888" y="4824403"/>
            <a:ext cx="6748272"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Subhead"/>
          <p:cNvSpPr>
            <a:spLocks noGrp="1"/>
          </p:cNvSpPr>
          <p:nvPr>
            <p:ph type="body" sz="quarter" idx="12" hasCustomPrompt="1"/>
          </p:nvPr>
        </p:nvSpPr>
        <p:spPr>
          <a:xfrm>
            <a:off x="374650" y="3873500"/>
            <a:ext cx="6746875"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640" y="930350"/>
            <a:ext cx="9973765" cy="917575"/>
          </a:xfrm>
          <a:prstGeom prst="rect">
            <a:avLst/>
          </a:prstGeom>
        </p:spPr>
        <p:txBody>
          <a:bodyPr/>
          <a:lstStyle/>
          <a:p>
            <a:r>
              <a:rPr lang="en-US" sz="4800" dirty="0">
                <a:solidFill>
                  <a:schemeClr val="bg1"/>
                </a:solidFill>
              </a:rPr>
              <a:t>Headline</a:t>
            </a:r>
          </a:p>
        </p:txBody>
      </p:sp>
    </p:spTree>
    <p:extLst>
      <p:ext uri="{BB962C8B-B14F-4D97-AF65-F5344CB8AC3E}">
        <p14:creationId xmlns:p14="http://schemas.microsoft.com/office/powerpoint/2010/main" val="1046283935"/>
      </p:ext>
    </p:extLst>
  </p:cSld>
  <p:clrMapOvr>
    <a:masterClrMapping/>
  </p:clrMapOvr>
  <p:transition>
    <p:fade/>
  </p:transition>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4" name="Subhead"/>
          <p:cNvSpPr>
            <a:spLocks noGrp="1"/>
          </p:cNvSpPr>
          <p:nvPr>
            <p:ph type="body" sz="quarter" idx="12" hasCustomPrompt="1"/>
          </p:nvPr>
        </p:nvSpPr>
        <p:spPr>
          <a:xfrm>
            <a:off x="374650" y="3873500"/>
            <a:ext cx="6746875"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640" y="930350"/>
            <a:ext cx="9973765" cy="917575"/>
          </a:xfrm>
          <a:prstGeom prst="rect">
            <a:avLst/>
          </a:prstGeom>
        </p:spPr>
        <p:txBody>
          <a:bodyPr/>
          <a:lstStyle/>
          <a:p>
            <a:r>
              <a:rPr lang="en-US" sz="4800" dirty="0">
                <a:solidFill>
                  <a:schemeClr val="bg1"/>
                </a:solidFill>
              </a:rPr>
              <a:t>Headline</a:t>
            </a:r>
          </a:p>
        </p:txBody>
      </p:sp>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1169960351"/>
      </p:ext>
    </p:extLst>
  </p:cSld>
  <p:clrMapOvr>
    <a:masterClrMapping/>
  </p:clrMapOvr>
  <p:transition>
    <p:fade/>
  </p:transition>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userDrawn="1">
  <p:cSld name="Blank Half">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3800296820"/>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949983173"/>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0"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73954459"/>
      </p:ext>
    </p:extLst>
  </p:cSld>
  <p:clrMapOvr>
    <a:masterClrMapping/>
  </p:clrMapOvr>
  <p:transition>
    <p:fade/>
  </p:transition>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userDrawn="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0" y="930350"/>
            <a:ext cx="9973765" cy="917575"/>
          </a:xfrm>
          <a:prstGeom prst="rect">
            <a:avLst/>
          </a:prstGeom>
        </p:spPr>
        <p:txBody>
          <a:bodyPr/>
          <a:lstStyle>
            <a:lvl1pPr>
              <a:defRPr>
                <a:solidFill>
                  <a:schemeClr val="tx2"/>
                </a:solidFill>
              </a:defRPr>
            </a:lvl1pPr>
          </a:lstStyle>
          <a:p>
            <a:r>
              <a:rPr lang="en-US" sz="4800" dirty="0">
                <a:solidFill>
                  <a:srgbClr val="0072C6"/>
                </a:solidFill>
                <a:latin typeface="Segoe UI Light" panose="020B0502040204020203" pitchFamily="34" charset="0"/>
              </a:rPr>
              <a:t>Headline</a:t>
            </a:r>
          </a:p>
        </p:txBody>
      </p:sp>
      <p:sp>
        <p:nvSpPr>
          <p:cNvPr id="6" name="Body"/>
          <p:cNvSpPr>
            <a:spLocks noGrp="1"/>
          </p:cNvSpPr>
          <p:nvPr>
            <p:ph sz="quarter" idx="10"/>
          </p:nvPr>
        </p:nvSpPr>
        <p:spPr>
          <a:xfrm>
            <a:off x="274640" y="2193928"/>
            <a:ext cx="9974262"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39032214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01.xml><?xml version="1.0" encoding="utf-8"?>
<p:sldLayout xmlns:a="http://schemas.openxmlformats.org/drawingml/2006/main" xmlns:r="http://schemas.openxmlformats.org/officeDocument/2006/relationships" xmlns:p="http://schemas.openxmlformats.org/presentationml/2006/main" preserve="1" userDrawn="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0" y="930350"/>
            <a:ext cx="9973765" cy="917575"/>
          </a:xfrm>
          <a:prstGeom prst="rect">
            <a:avLst/>
          </a:prstGeom>
        </p:spPr>
        <p:txBody>
          <a:bodyPr/>
          <a:lstStyle>
            <a:lvl1pPr>
              <a:defRPr>
                <a:solidFill>
                  <a:schemeClr val="tx2"/>
                </a:solidFill>
              </a:defRPr>
            </a:lvl1pPr>
          </a:lstStyle>
          <a:p>
            <a:r>
              <a:rPr lang="en-US" sz="4800"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9721899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userDrawn="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517955" y="5576546"/>
            <a:ext cx="8066963" cy="917575"/>
          </a:xfrm>
          <a:prstGeom prst="rect">
            <a:avLst/>
          </a:prstGeom>
        </p:spPr>
        <p:txBody>
          <a:bodyPr/>
          <a:lstStyle>
            <a:lvl1pPr>
              <a:defRPr>
                <a:solidFill>
                  <a:schemeClr val="bg1"/>
                </a:solidFill>
              </a:defRPr>
            </a:lvl1pPr>
          </a:lstStyle>
          <a:p>
            <a:r>
              <a:rPr lang="en-US" sz="4800"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4636477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Blank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4769314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0"/>
            <a:ext cx="2847972" cy="917575"/>
          </a:xfrm>
          <a:prstGeom prst="rect">
            <a:avLst/>
          </a:prstGeom>
        </p:spPr>
        <p:txBody>
          <a:bodyPr/>
          <a:lstStyle>
            <a:lvl1pPr>
              <a:defRPr>
                <a:solidFill>
                  <a:schemeClr val="tx2"/>
                </a:solidFill>
              </a:defRPr>
            </a:lvl1pPr>
          </a:lstStyle>
          <a:p>
            <a:r>
              <a:rPr lang="en-US" sz="4800" dirty="0">
                <a:solidFill>
                  <a:srgbClr val="0072C6"/>
                </a:solidFill>
                <a:latin typeface="Segoe UI Light" panose="020B0502040204020203" pitchFamily="34" charset="0"/>
              </a:rPr>
              <a:t>Headline</a:t>
            </a:r>
          </a:p>
        </p:txBody>
      </p:sp>
      <p:sp>
        <p:nvSpPr>
          <p:cNvPr id="6" name="Body"/>
          <p:cNvSpPr>
            <a:spLocks noGrp="1"/>
          </p:cNvSpPr>
          <p:nvPr>
            <p:ph sz="quarter" idx="10"/>
          </p:nvPr>
        </p:nvSpPr>
        <p:spPr>
          <a:xfrm>
            <a:off x="3397254" y="684716"/>
            <a:ext cx="8623270"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2899559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0"/>
            <a:ext cx="2847972" cy="917575"/>
          </a:xfrm>
          <a:prstGeom prst="rect">
            <a:avLst/>
          </a:prstGeom>
        </p:spPr>
        <p:txBody>
          <a:bodyPr/>
          <a:lstStyle>
            <a:lvl1pPr>
              <a:defRPr>
                <a:solidFill>
                  <a:schemeClr val="tx2"/>
                </a:solidFill>
              </a:defRPr>
            </a:lvl1pPr>
          </a:lstStyle>
          <a:p>
            <a:r>
              <a:rPr lang="en-US" sz="4800"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42289585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19" y="2317689"/>
            <a:ext cx="11611293"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White Background"/>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4" name="Subhead"/>
          <p:cNvSpPr txBox="1">
            <a:spLocks/>
          </p:cNvSpPr>
          <p:nvPr userDrawn="1"/>
        </p:nvSpPr>
        <p:spPr>
          <a:xfrm>
            <a:off x="274319" y="1415481"/>
            <a:ext cx="9872764"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r>
              <a:rPr lang="en-US" sz="4000" dirty="0">
                <a:solidFill>
                  <a:schemeClr val="tx2"/>
                </a:solidFill>
              </a:rPr>
              <a:t>Subhead</a:t>
            </a:r>
          </a:p>
        </p:txBody>
      </p:sp>
      <p:sp>
        <p:nvSpPr>
          <p:cNvPr id="13" name="Headline"/>
          <p:cNvSpPr>
            <a:spLocks noGrp="1"/>
          </p:cNvSpPr>
          <p:nvPr userDrawn="1">
            <p:ph type="title" hasCustomPrompt="1"/>
          </p:nvPr>
        </p:nvSpPr>
        <p:spPr>
          <a:xfrm>
            <a:off x="274639" y="295279"/>
            <a:ext cx="9872764" cy="923922"/>
          </a:xfrm>
          <a:prstGeom prst="rect">
            <a:avLst/>
          </a:prstGeom>
        </p:spPr>
        <p:txBody>
          <a:bodyPr/>
          <a:lstStyle>
            <a:lvl1pPr>
              <a:defRPr sz="5200">
                <a:solidFill>
                  <a:schemeClr val="tx1"/>
                </a:solidFill>
              </a:defRPr>
            </a:lvl1pPr>
          </a:lstStyle>
          <a:p>
            <a:r>
              <a:rPr lang="en-US" dirty="0"/>
              <a:t>Headline</a:t>
            </a:r>
          </a:p>
        </p:txBody>
      </p:sp>
    </p:spTree>
    <p:extLst>
      <p:ext uri="{BB962C8B-B14F-4D97-AF65-F5344CB8AC3E}">
        <p14:creationId xmlns:p14="http://schemas.microsoft.com/office/powerpoint/2010/main" val="3708925659"/>
      </p:ext>
    </p:extLst>
  </p:cSld>
  <p:clrMapOvr>
    <a:masterClrMapping/>
  </p:clrMapOvr>
  <p:transition>
    <p:fade/>
  </p:transition>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3" name="Headline"/>
          <p:cNvSpPr>
            <a:spLocks noGrp="1"/>
          </p:cNvSpPr>
          <p:nvPr userDrawn="1">
            <p:ph type="title" hasCustomPrompt="1"/>
          </p:nvPr>
        </p:nvSpPr>
        <p:spPr>
          <a:xfrm>
            <a:off x="274639" y="295279"/>
            <a:ext cx="9872764" cy="923922"/>
          </a:xfrm>
          <a:prstGeom prst="rect">
            <a:avLst/>
          </a:prstGeom>
        </p:spPr>
        <p:txBody>
          <a:bodyPr/>
          <a:lstStyle>
            <a:lvl1pPr>
              <a:defRPr sz="5200">
                <a:solidFill>
                  <a:schemeClr val="tx1"/>
                </a:solidFill>
              </a:defRPr>
            </a:lvl1pPr>
          </a:lstStyle>
          <a:p>
            <a:r>
              <a:rPr lang="en-US" dirty="0"/>
              <a:t>Headline</a:t>
            </a:r>
          </a:p>
        </p:txBody>
      </p:sp>
    </p:spTree>
    <p:extLst>
      <p:ext uri="{BB962C8B-B14F-4D97-AF65-F5344CB8AC3E}">
        <p14:creationId xmlns:p14="http://schemas.microsoft.com/office/powerpoint/2010/main" val="844786335"/>
      </p:ext>
    </p:extLst>
  </p:cSld>
  <p:clrMapOvr>
    <a:masterClrMapping/>
  </p:clrMapOvr>
  <p:transition>
    <p:fade/>
  </p:transition>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Blank Third">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Tree>
    <p:extLst>
      <p:ext uri="{BB962C8B-B14F-4D97-AF65-F5344CB8AC3E}">
        <p14:creationId xmlns:p14="http://schemas.microsoft.com/office/powerpoint/2010/main" val="2235632608"/>
      </p:ext>
    </p:extLst>
  </p:cSld>
  <p:clrMapOvr>
    <a:masterClrMapping/>
  </p:clrMapOvr>
  <p:transition>
    <p:fade/>
  </p:transition>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400" dirty="0">
                <a:solidFill>
                  <a:srgbClr val="92D050"/>
                </a:solidFill>
              </a:rPr>
              <a:t>Headline</a:t>
            </a:r>
            <a:endParaRPr lang="en-US" dirty="0">
              <a:solidFill>
                <a:schemeClr val="bg2"/>
              </a:solidFill>
            </a:endParaRPr>
          </a:p>
        </p:txBody>
      </p:sp>
      <p:sp>
        <p:nvSpPr>
          <p:cNvPr id="7" name="Body"/>
          <p:cNvSpPr>
            <a:spLocks noGrp="1"/>
          </p:cNvSpPr>
          <p:nvPr>
            <p:ph sz="quarter" idx="10"/>
          </p:nvPr>
        </p:nvSpPr>
        <p:spPr>
          <a:xfrm>
            <a:off x="2103352" y="1828800"/>
            <a:ext cx="8740950"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67845321"/>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Column Green Bullet text">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6"/>
            <a:ext cx="5377147" cy="2377940"/>
          </a:xfrm>
        </p:spPr>
        <p:txBody>
          <a:bodyPr wrap="square">
            <a:spAutoFit/>
          </a:bodyPr>
          <a:lstStyle>
            <a:lvl1pPr marL="392089" indent="-392089">
              <a:spcBef>
                <a:spcPts val="1200"/>
              </a:spcBef>
              <a:buClr>
                <a:srgbClr val="89C402"/>
              </a:buClr>
              <a:buSzPct val="100000"/>
              <a:buFont typeface="Wingdings" panose="05000000000000000000" pitchFamily="2" charset="2"/>
              <a:buChar char="ü"/>
              <a:defRPr sz="3136"/>
            </a:lvl1pPr>
            <a:lvl2pPr marL="728165" indent="-336076">
              <a:buClr>
                <a:srgbClr val="89C402"/>
              </a:buClr>
              <a:buSzPct val="100000"/>
              <a:buFont typeface="Wingdings" panose="05000000000000000000" pitchFamily="2" charset="2"/>
              <a:buChar char="ü"/>
              <a:defRPr sz="2352"/>
            </a:lvl2pPr>
            <a:lvl3pPr marL="1008229" indent="-280064">
              <a:buClr>
                <a:srgbClr val="89C402"/>
              </a:buClr>
              <a:buSzPct val="100000"/>
              <a:buFont typeface="Wingdings" panose="05000000000000000000" pitchFamily="2" charset="2"/>
              <a:buChar char="ü"/>
              <a:tabLst/>
              <a:defRPr sz="1960"/>
            </a:lvl3pPr>
            <a:lvl4pPr marL="1232280" indent="-224051">
              <a:buClr>
                <a:srgbClr val="89C402"/>
              </a:buClr>
              <a:buSzPct val="100000"/>
              <a:buFont typeface="Wingdings" panose="05000000000000000000" pitchFamily="2" charset="2"/>
              <a:buChar char="ü"/>
              <a:defRPr lang="en-US" sz="1764" kern="1200" spc="0" baseline="0" dirty="0">
                <a:gradFill>
                  <a:gsLst>
                    <a:gs pos="1250">
                      <a:schemeClr val="tx1"/>
                    </a:gs>
                    <a:gs pos="100000">
                      <a:schemeClr val="tx1"/>
                    </a:gs>
                  </a:gsLst>
                  <a:lin ang="5400000" scaled="0"/>
                </a:gradFill>
                <a:latin typeface="+mn-lt"/>
                <a:ea typeface="+mn-ea"/>
                <a:cs typeface="+mn-cs"/>
              </a:defRPr>
            </a:lvl4pPr>
            <a:lvl5pPr marL="1232280" indent="-224051">
              <a:buClr>
                <a:srgbClr val="89C402"/>
              </a:buClr>
              <a:buSzPct val="100000"/>
              <a:buFont typeface="Wingdings" panose="05000000000000000000" pitchFamily="2" charset="2"/>
              <a:buChar char="ü"/>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3"/>
          <p:cNvSpPr>
            <a:spLocks noGrp="1"/>
          </p:cNvSpPr>
          <p:nvPr>
            <p:ph type="body" sz="quarter" idx="11"/>
          </p:nvPr>
        </p:nvSpPr>
        <p:spPr>
          <a:xfrm>
            <a:off x="6544828" y="1189176"/>
            <a:ext cx="5377147" cy="2377940"/>
          </a:xfrm>
        </p:spPr>
        <p:txBody>
          <a:bodyPr wrap="square">
            <a:spAutoFit/>
          </a:bodyPr>
          <a:lstStyle>
            <a:lvl1pPr marL="392089" indent="-392089">
              <a:spcBef>
                <a:spcPts val="1200"/>
              </a:spcBef>
              <a:buClr>
                <a:srgbClr val="89C402"/>
              </a:buClr>
              <a:buSzPct val="100000"/>
              <a:buFont typeface="Wingdings" panose="05000000000000000000" pitchFamily="2" charset="2"/>
              <a:buChar char="ü"/>
              <a:defRPr sz="3136"/>
            </a:lvl1pPr>
            <a:lvl2pPr marL="728165" indent="-336076">
              <a:buClr>
                <a:srgbClr val="89C402"/>
              </a:buClr>
              <a:buSzPct val="100000"/>
              <a:buFont typeface="Wingdings" panose="05000000000000000000" pitchFamily="2" charset="2"/>
              <a:buChar char="ü"/>
              <a:defRPr sz="2352"/>
            </a:lvl2pPr>
            <a:lvl3pPr marL="1008229" indent="-280064">
              <a:buClr>
                <a:srgbClr val="89C402"/>
              </a:buClr>
              <a:buSzPct val="100000"/>
              <a:buFont typeface="Wingdings" panose="05000000000000000000" pitchFamily="2" charset="2"/>
              <a:buChar char="ü"/>
              <a:tabLst/>
              <a:defRPr sz="1960"/>
            </a:lvl3pPr>
            <a:lvl4pPr marL="1232280" indent="-224051">
              <a:buClr>
                <a:srgbClr val="89C402"/>
              </a:buClr>
              <a:buSzPct val="100000"/>
              <a:buFont typeface="Wingdings" panose="05000000000000000000" pitchFamily="2" charset="2"/>
              <a:buChar char="ü"/>
              <a:defRPr lang="en-US" sz="1764" kern="1200" spc="0" baseline="0" dirty="0">
                <a:gradFill>
                  <a:gsLst>
                    <a:gs pos="1250">
                      <a:schemeClr val="tx1"/>
                    </a:gs>
                    <a:gs pos="100000">
                      <a:schemeClr val="tx1"/>
                    </a:gs>
                  </a:gsLst>
                  <a:lin ang="5400000" scaled="0"/>
                </a:gradFill>
                <a:latin typeface="+mn-lt"/>
                <a:ea typeface="+mn-ea"/>
                <a:cs typeface="+mn-cs"/>
              </a:defRPr>
            </a:lvl4pPr>
            <a:lvl5pPr marL="1232280" indent="-224051">
              <a:buClr>
                <a:srgbClr val="89C402"/>
              </a:buClr>
              <a:buSzPct val="100000"/>
              <a:buFont typeface="Wingdings" panose="05000000000000000000" pitchFamily="2" charset="2"/>
              <a:buChar char="ü"/>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28931307"/>
      </p:ext>
    </p:extLst>
  </p:cSld>
  <p:clrMapOvr>
    <a:masterClrMapping/>
  </p:clrMapOvr>
  <p:transition>
    <p:fade/>
  </p:transition>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400" dirty="0">
                <a:solidFill>
                  <a:srgbClr val="92D050"/>
                </a:solidFill>
              </a:rPr>
              <a:t>Headline</a:t>
            </a:r>
            <a:endParaRPr lang="en-US" dirty="0">
              <a:solidFill>
                <a:schemeClr val="bg2"/>
              </a:solidFill>
            </a:endParaRPr>
          </a:p>
        </p:txBody>
      </p:sp>
    </p:spTree>
    <p:extLst>
      <p:ext uri="{BB962C8B-B14F-4D97-AF65-F5344CB8AC3E}">
        <p14:creationId xmlns:p14="http://schemas.microsoft.com/office/powerpoint/2010/main" val="989043002"/>
      </p:ext>
    </p:extLst>
  </p:cSld>
  <p:clrMapOvr>
    <a:masterClrMapping/>
  </p:clrMapOvr>
  <p:transition>
    <p:fade/>
  </p:transition>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467" y="2970213"/>
            <a:ext cx="10083890" cy="917575"/>
          </a:xfrm>
          <a:prstGeom prst="rect">
            <a:avLst/>
          </a:prstGeom>
        </p:spPr>
        <p:txBody>
          <a:bodyPr/>
          <a:lstStyle>
            <a:lvl1pPr algn="ctr">
              <a:defRPr sz="6000">
                <a:solidFill>
                  <a:srgbClr val="92D050"/>
                </a:solidFill>
              </a:defRPr>
            </a:lvl1pPr>
          </a:lstStyle>
          <a:p>
            <a:r>
              <a:rPr lang="en-US" sz="5400" dirty="0">
                <a:solidFill>
                  <a:srgbClr val="92D050"/>
                </a:solidFill>
              </a:rPr>
              <a:t>Demo</a:t>
            </a:r>
            <a:endParaRPr lang="en-US" dirty="0">
              <a:solidFill>
                <a:schemeClr val="bg2"/>
              </a:solidFill>
            </a:endParaRPr>
          </a:p>
        </p:txBody>
      </p:sp>
      <p:pic>
        <p:nvPicPr>
          <p:cNvPr id="4" name="Picture 3"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3352693563"/>
      </p:ext>
    </p:extLst>
  </p:cSld>
  <p:clrMapOvr>
    <a:masterClrMapping/>
  </p:clrMapOvr>
  <p:transition>
    <p:fade/>
  </p:transition>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1277307220"/>
      </p:ext>
    </p:extLst>
  </p:cSld>
  <p:clrMapOvr>
    <a:masterClrMapping/>
  </p:clrMapOvr>
  <p:transition>
    <p:fade/>
  </p:transition>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Tree>
    <p:extLst>
      <p:ext uri="{BB962C8B-B14F-4D97-AF65-F5344CB8AC3E}">
        <p14:creationId xmlns:p14="http://schemas.microsoft.com/office/powerpoint/2010/main" val="1903176623"/>
      </p:ext>
    </p:extLst>
  </p:cSld>
  <p:clrMapOvr>
    <a:masterClrMapping/>
  </p:clrMapOvr>
  <p:transition>
    <p:fade/>
  </p:transition>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138934129"/>
      </p:ext>
    </p:extLst>
  </p:cSld>
  <p:clrMapOvr>
    <a:masterClrMapping/>
  </p:clrMapOvr>
  <p:transition>
    <p:fade/>
  </p:transition>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bwMode="auto">
          <a:xfrm>
            <a:off x="8882557" y="-1"/>
            <a:ext cx="3306269" cy="6855083"/>
          </a:xfrm>
          <a:prstGeom prst="rect">
            <a:avLst/>
          </a:prstGeom>
          <a:solidFill>
            <a:srgbClr val="00AEEF"/>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1695" y="1944139"/>
            <a:ext cx="1307993"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18" tIns="46618" rIns="46618" bIns="46618" numCol="1" spcCol="0" rtlCol="0" fromWordArt="0" anchor="ctr" anchorCtr="0" forceAA="0" compatLnSpc="1">
            <a:prstTxWarp prst="textNoShape">
              <a:avLst/>
            </a:prstTxWarp>
            <a:noAutofit/>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1835"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144" y="158736"/>
            <a:ext cx="3693156" cy="2413891"/>
          </a:xfrm>
          <a:prstGeom prst="rect">
            <a:avLst/>
          </a:prstGeom>
        </p:spPr>
        <p:txBody>
          <a:bodyPr anchor="ctr">
            <a:noAutofit/>
          </a:bodyPr>
          <a:lstStyle>
            <a:lvl1pPr>
              <a:defRPr sz="8797"/>
            </a:lvl1pPr>
          </a:lstStyle>
          <a:p>
            <a:r>
              <a:rPr lang="en-US" sz="8795" dirty="0">
                <a:solidFill>
                  <a:schemeClr val="bg1">
                    <a:alpha val="99000"/>
                  </a:schemeClr>
                </a:solidFill>
              </a:rPr>
              <a:t>Q&amp;A</a:t>
            </a:r>
          </a:p>
        </p:txBody>
      </p:sp>
    </p:spTree>
    <p:extLst>
      <p:ext uri="{BB962C8B-B14F-4D97-AF65-F5344CB8AC3E}">
        <p14:creationId xmlns:p14="http://schemas.microsoft.com/office/powerpoint/2010/main" val="3434045937"/>
      </p:ext>
    </p:extLst>
  </p:cSld>
  <p:clrMapOvr>
    <a:masterClrMapping/>
  </p:clrMapOvr>
  <p:transition>
    <p:fade/>
  </p:transition>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6"/>
            <a:ext cx="12188825" cy="6852165"/>
          </a:xfrm>
          <a:prstGeom prst="rect">
            <a:avLst/>
          </a:prstGeom>
        </p:spPr>
      </p:pic>
      <p:sp>
        <p:nvSpPr>
          <p:cNvPr id="8" name="Rectangle 7"/>
          <p:cNvSpPr/>
          <p:nvPr userDrawn="1"/>
        </p:nvSpPr>
        <p:spPr bwMode="auto">
          <a:xfrm>
            <a:off x="10184615" y="-1"/>
            <a:ext cx="2004210" cy="6855083"/>
          </a:xfrm>
          <a:prstGeom prst="rect">
            <a:avLst/>
          </a:prstGeom>
          <a:solidFill>
            <a:srgbClr val="8CC600"/>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5531" y="233151"/>
            <a:ext cx="1182378"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21" tIns="41961" rIns="83921" bIns="41961" numCol="1" anchor="t" anchorCtr="0" compatLnSpc="1">
            <a:prstTxWarp prst="textNoShape">
              <a:avLst/>
            </a:prstTxWarp>
          </a:bodyPr>
          <a:lstStyle/>
          <a:p>
            <a:pPr marL="0" marR="0" lvl="0" indent="0" defTabSz="93227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292929"/>
              </a:solidFill>
              <a:effectLst/>
              <a:uLnTx/>
              <a:uFillTx/>
            </a:endParaRPr>
          </a:p>
        </p:txBody>
      </p:sp>
      <p:sp>
        <p:nvSpPr>
          <p:cNvPr id="4" name="Text Placeholder 3"/>
          <p:cNvSpPr>
            <a:spLocks noGrp="1"/>
          </p:cNvSpPr>
          <p:nvPr>
            <p:ph type="body" sz="quarter" idx="10"/>
          </p:nvPr>
        </p:nvSpPr>
        <p:spPr>
          <a:xfrm>
            <a:off x="589647" y="233152"/>
            <a:ext cx="9308263" cy="6416675"/>
          </a:xfrm>
          <a:prstGeom prst="rect">
            <a:avLst/>
          </a:prstGeom>
        </p:spPr>
        <p:txBody>
          <a:bodyPr/>
          <a:lstStyle>
            <a:lvl1pPr marL="0" indent="0">
              <a:buNone/>
              <a:defRPr sz="3599"/>
            </a:lvl1pPr>
            <a:lvl2pPr>
              <a:defRPr sz="3599"/>
            </a:lvl2pPr>
            <a:lvl3pPr>
              <a:defRPr sz="3599"/>
            </a:lvl3pPr>
            <a:lvl4pPr>
              <a:defRPr sz="3599"/>
            </a:lvl4pPr>
            <a:lvl5pPr>
              <a:defRPr sz="3599"/>
            </a:lvl5pPr>
          </a:lstStyle>
          <a:p>
            <a:pPr lvl="0"/>
            <a:r>
              <a:rPr lang="en-US" dirty="0"/>
              <a:t>Click to edit Master text styles</a:t>
            </a:r>
          </a:p>
        </p:txBody>
      </p:sp>
    </p:spTree>
    <p:extLst>
      <p:ext uri="{BB962C8B-B14F-4D97-AF65-F5344CB8AC3E}">
        <p14:creationId xmlns:p14="http://schemas.microsoft.com/office/powerpoint/2010/main" val="1094468158"/>
      </p:ext>
    </p:extLst>
  </p:cSld>
  <p:clrMapOvr>
    <a:masterClrMapping/>
  </p:clrMapOvr>
  <p:transition>
    <p:fade/>
  </p:transition>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88825"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
        <p:nvSpPr>
          <p:cNvPr id="3" name="Text Box 3"/>
          <p:cNvSpPr txBox="1">
            <a:spLocks noChangeArrowheads="1"/>
          </p:cNvSpPr>
          <p:nvPr userDrawn="1"/>
        </p:nvSpPr>
        <p:spPr bwMode="blackWhite">
          <a:xfrm>
            <a:off x="450085" y="5503176"/>
            <a:ext cx="8637119" cy="711824"/>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650"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650"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743" y="2968091"/>
            <a:ext cx="3223021" cy="690695"/>
          </a:xfrm>
          <a:prstGeom prst="rect">
            <a:avLst/>
          </a:prstGeom>
        </p:spPr>
      </p:pic>
    </p:spTree>
    <p:extLst>
      <p:ext uri="{BB962C8B-B14F-4D97-AF65-F5344CB8AC3E}">
        <p14:creationId xmlns:p14="http://schemas.microsoft.com/office/powerpoint/2010/main" val="1629545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652" y="342355"/>
            <a:ext cx="11076937" cy="957600"/>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252636051"/>
      </p:ext>
    </p:extLst>
  </p:cSld>
  <p:clrMapOvr>
    <a:masterClrMapping/>
  </p:clrMapOvr>
  <p:transition>
    <p:fade/>
  </p:transition>
</p:sldLayout>
</file>

<file path=ppt/slideLayouts/slideLayout619.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170" y="289512"/>
            <a:ext cx="11652805" cy="899665"/>
          </a:xfrm>
          <a:prstGeom prst="rect">
            <a:avLst/>
          </a:prstGeom>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170" y="1189177"/>
            <a:ext cx="11652805" cy="2018835"/>
          </a:xfrm>
          <a:prstGeom prst="rect">
            <a:avLst/>
          </a:prstGeom>
        </p:spPr>
        <p:txBody>
          <a:bodyPr/>
          <a:lstStyle>
            <a:lvl1pPr marL="0" indent="0">
              <a:buNone/>
              <a:defRPr/>
            </a:lvl1pPr>
            <a:lvl2pPr marL="28004" indent="0">
              <a:buNone/>
              <a:defRPr sz="1960"/>
            </a:lvl2pPr>
            <a:lvl3pPr marL="219362" indent="0">
              <a:buNone/>
              <a:defRPr sz="1960"/>
            </a:lvl3pPr>
            <a:lvl4pPr marL="466728" indent="0">
              <a:buNone/>
              <a:defRPr sz="1764"/>
            </a:lvl4pPr>
            <a:lvl5pPr marL="724983" indent="0">
              <a:buNone/>
              <a:defRPr sz="176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74076434"/>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849641267"/>
      </p:ext>
    </p:extLst>
  </p:cSld>
  <p:clrMapOvr>
    <a:masterClrMapping/>
  </p:clrMapOvr>
  <p:transition>
    <p:fade/>
  </p:transition>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p:cSld name="Walkin">
    <p:bg>
      <p:bgRef idx="1001">
        <a:schemeClr val="bg2"/>
      </p:bgRef>
    </p:bg>
    <p:spTree>
      <p:nvGrpSpPr>
        <p:cNvPr id="1" name=""/>
        <p:cNvGrpSpPr/>
        <p:nvPr/>
      </p:nvGrpSpPr>
      <p:grpSpPr>
        <a:xfrm>
          <a:off x="0" y="0"/>
          <a:ext cx="0" cy="0"/>
          <a:chOff x="0" y="0"/>
          <a:chExt cx="0" cy="0"/>
        </a:xfrm>
      </p:grpSpPr>
      <p:sp>
        <p:nvSpPr>
          <p:cNvPr id="2" name="Rectangle 1"/>
          <p:cNvSpPr/>
          <p:nvPr/>
        </p:nvSpPr>
        <p:spPr bwMode="auto">
          <a:xfrm>
            <a:off x="269169" y="2077801"/>
            <a:ext cx="6273340"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50086" y="6119147"/>
            <a:ext cx="1253051" cy="268786"/>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454774" y="481159"/>
            <a:ext cx="1407711" cy="300619"/>
          </a:xfrm>
          <a:prstGeom prst="rect">
            <a:avLst/>
          </a:prstGeom>
        </p:spPr>
      </p:pic>
      <p:sp>
        <p:nvSpPr>
          <p:cNvPr id="12" name="Freeform 11"/>
          <p:cNvSpPr>
            <a:spLocks noEditPoints="1"/>
          </p:cNvSpPr>
          <p:nvPr/>
        </p:nvSpPr>
        <p:spPr bwMode="black">
          <a:xfrm>
            <a:off x="2095003" y="2425050"/>
            <a:ext cx="7998819"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00BCF2"/>
          </a:solidFill>
          <a:ln>
            <a:noFill/>
          </a:ln>
        </p:spPr>
        <p:txBody>
          <a:bodyPr vert="horz" wrap="square" lIns="89619" tIns="44809" rIns="89619" bIns="44809" numCol="1" anchor="t" anchorCtr="0" compatLnSpc="1">
            <a:prstTxWarp prst="textNoShape">
              <a:avLst/>
            </a:prstTxWarp>
          </a:bodyPr>
          <a:lstStyle/>
          <a:p>
            <a:endParaRPr lang="en-US" sz="1764" dirty="0"/>
          </a:p>
        </p:txBody>
      </p:sp>
    </p:spTree>
    <p:extLst>
      <p:ext uri="{BB962C8B-B14F-4D97-AF65-F5344CB8AC3E}">
        <p14:creationId xmlns:p14="http://schemas.microsoft.com/office/powerpoint/2010/main" val="29950646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p:cSld name="Title Slide - Microsoft">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0086" y="6119147"/>
            <a:ext cx="1253051" cy="268786"/>
          </a:xfrm>
          <a:prstGeom prst="rect">
            <a:avLst/>
          </a:prstGeom>
        </p:spPr>
      </p:pic>
      <p:sp>
        <p:nvSpPr>
          <p:cNvPr id="18" name="Title 1"/>
          <p:cNvSpPr>
            <a:spLocks noGrp="1"/>
          </p:cNvSpPr>
          <p:nvPr>
            <p:ph type="title" hasCustomPrompt="1"/>
          </p:nvPr>
        </p:nvSpPr>
        <p:spPr>
          <a:xfrm>
            <a:off x="269232" y="2084187"/>
            <a:ext cx="9858042" cy="1793090"/>
          </a:xfrm>
          <a:noFill/>
        </p:spPr>
        <p:txBody>
          <a:bodyPr lIns="146304" tIns="91440" rIns="146304" bIns="91440" anchor="t" anchorCtr="0"/>
          <a:lstStyle>
            <a:lvl1pPr>
              <a:defRPr sz="5292"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232" y="3878574"/>
            <a:ext cx="9858043"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rotWithShape="1">
          <a:blip r:embed="rId3" cstate="screen">
            <a:extLst>
              <a:ext uri="{28A0092B-C50C-407E-A947-70E740481C1C}">
                <a14:useLocalDpi xmlns:a14="http://schemas.microsoft.com/office/drawing/2010/main"/>
              </a:ext>
            </a:extLst>
          </a:blip>
          <a:srcRect b="1380"/>
          <a:stretch/>
        </p:blipFill>
        <p:spPr bwMode="invGray">
          <a:xfrm>
            <a:off x="448096" y="481159"/>
            <a:ext cx="1421066" cy="300619"/>
          </a:xfrm>
          <a:prstGeom prst="rect">
            <a:avLst/>
          </a:prstGeom>
        </p:spPr>
      </p:pic>
      <p:sp>
        <p:nvSpPr>
          <p:cNvPr id="7" name="Text Placeholder 2"/>
          <p:cNvSpPr>
            <a:spLocks noGrp="1"/>
          </p:cNvSpPr>
          <p:nvPr>
            <p:ph type="body" sz="quarter" idx="13" hasCustomPrompt="1"/>
          </p:nvPr>
        </p:nvSpPr>
        <p:spPr>
          <a:xfrm>
            <a:off x="8334892" y="301618"/>
            <a:ext cx="3583210" cy="567015"/>
          </a:xfrm>
        </p:spPr>
        <p:txBody>
          <a:bodyPr lIns="182880" tIns="146304" rIns="182880" bIns="146304"/>
          <a:lstStyle>
            <a:lvl1pPr marL="0" indent="0" algn="r">
              <a:buNone/>
              <a:defRPr sz="1960">
                <a:latin typeface="+mn-lt"/>
              </a:defRPr>
            </a:lvl1pPr>
            <a:lvl2pPr marL="336044" indent="0">
              <a:buNone/>
              <a:defRPr sz="1960"/>
            </a:lvl2pPr>
            <a:lvl3pPr marL="560073" indent="0">
              <a:buNone/>
              <a:defRPr sz="1960"/>
            </a:lvl3pPr>
            <a:lvl4pPr marL="784103" indent="0">
              <a:buNone/>
              <a:defRPr sz="1960"/>
            </a:lvl4pPr>
            <a:lvl5pPr marL="1008132" indent="0">
              <a:buNone/>
              <a:defRPr sz="1960"/>
            </a:lvl5pPr>
          </a:lstStyle>
          <a:p>
            <a:pPr lvl="0"/>
            <a:r>
              <a:rPr lang="en-US" dirty="0"/>
              <a:t>Session Code Here</a:t>
            </a:r>
          </a:p>
        </p:txBody>
      </p:sp>
      <p:sp>
        <p:nvSpPr>
          <p:cNvPr id="2" name="TextBox 1"/>
          <p:cNvSpPr txBox="1"/>
          <p:nvPr/>
        </p:nvSpPr>
        <p:spPr>
          <a:xfrm>
            <a:off x="283234" y="5954048"/>
            <a:ext cx="1862361" cy="615609"/>
          </a:xfrm>
          <a:prstGeom prst="rect">
            <a:avLst/>
          </a:prstGeom>
          <a:noFill/>
        </p:spPr>
        <p:txBody>
          <a:bodyPr wrap="none" lIns="179238" tIns="143391" rIns="179238" bIns="143391" rtlCol="0">
            <a:spAutoFit/>
          </a:bodyPr>
          <a:lstStyle/>
          <a:p>
            <a:pPr>
              <a:lnSpc>
                <a:spcPct val="90000"/>
              </a:lnSpc>
              <a:spcAft>
                <a:spcPts val="588"/>
              </a:spcAft>
            </a:pPr>
            <a:r>
              <a:rPr lang="en-US" sz="2352" dirty="0">
                <a:gradFill>
                  <a:gsLst>
                    <a:gs pos="2917">
                      <a:schemeClr val="tx1"/>
                    </a:gs>
                    <a:gs pos="30000">
                      <a:schemeClr val="tx1"/>
                    </a:gs>
                  </a:gsLst>
                  <a:lin ang="5400000" scaled="0"/>
                </a:gradFill>
              </a:rPr>
              <a:t>#Build2016</a:t>
            </a:r>
          </a:p>
        </p:txBody>
      </p:sp>
    </p:spTree>
    <p:extLst>
      <p:ext uri="{BB962C8B-B14F-4D97-AF65-F5344CB8AC3E}">
        <p14:creationId xmlns:p14="http://schemas.microsoft.com/office/powerpoint/2010/main" val="2300306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p:cSld name="Title Slide - Build">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0086" y="6119147"/>
            <a:ext cx="1253051" cy="268786"/>
          </a:xfrm>
          <a:prstGeom prst="rect">
            <a:avLst/>
          </a:prstGeom>
        </p:spPr>
      </p:pic>
      <p:sp>
        <p:nvSpPr>
          <p:cNvPr id="18" name="Title 1"/>
          <p:cNvSpPr>
            <a:spLocks noGrp="1"/>
          </p:cNvSpPr>
          <p:nvPr>
            <p:ph type="title" hasCustomPrompt="1"/>
          </p:nvPr>
        </p:nvSpPr>
        <p:spPr>
          <a:xfrm>
            <a:off x="269232" y="2084187"/>
            <a:ext cx="9858042" cy="1793090"/>
          </a:xfrm>
          <a:noFill/>
        </p:spPr>
        <p:txBody>
          <a:bodyPr lIns="146304" tIns="91440" rIns="146304" bIns="91440" anchor="t" anchorCtr="0"/>
          <a:lstStyle>
            <a:lvl1pPr>
              <a:defRPr sz="5292"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232" y="3878574"/>
            <a:ext cx="9858043"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7" name="Text Placeholder 2"/>
          <p:cNvSpPr>
            <a:spLocks noGrp="1"/>
          </p:cNvSpPr>
          <p:nvPr>
            <p:ph type="body" sz="quarter" idx="13" hasCustomPrompt="1"/>
          </p:nvPr>
        </p:nvSpPr>
        <p:spPr>
          <a:xfrm>
            <a:off x="8334892" y="301618"/>
            <a:ext cx="3583210" cy="567015"/>
          </a:xfrm>
        </p:spPr>
        <p:txBody>
          <a:bodyPr lIns="182880" tIns="146304" rIns="182880" bIns="146304"/>
          <a:lstStyle>
            <a:lvl1pPr marL="0" indent="0" algn="r">
              <a:buNone/>
              <a:defRPr sz="1960">
                <a:latin typeface="+mn-lt"/>
              </a:defRPr>
            </a:lvl1pPr>
            <a:lvl2pPr marL="336044" indent="0">
              <a:buNone/>
              <a:defRPr sz="1960"/>
            </a:lvl2pPr>
            <a:lvl3pPr marL="560073" indent="0">
              <a:buNone/>
              <a:defRPr sz="1960"/>
            </a:lvl3pPr>
            <a:lvl4pPr marL="784103" indent="0">
              <a:buNone/>
              <a:defRPr sz="1960"/>
            </a:lvl4pPr>
            <a:lvl5pPr marL="1008132" indent="0">
              <a:buNone/>
              <a:defRPr sz="1960"/>
            </a:lvl5pPr>
          </a:lstStyle>
          <a:p>
            <a:pPr lvl="0"/>
            <a:r>
              <a:rPr lang="en-US" dirty="0"/>
              <a:t>Session Code Here</a:t>
            </a:r>
          </a:p>
        </p:txBody>
      </p:sp>
      <p:sp>
        <p:nvSpPr>
          <p:cNvPr id="8" name="Freeform 7"/>
          <p:cNvSpPr>
            <a:spLocks noChangeAspect="1" noEditPoints="1"/>
          </p:cNvSpPr>
          <p:nvPr/>
        </p:nvSpPr>
        <p:spPr bwMode="black">
          <a:xfrm>
            <a:off x="448095" y="481157"/>
            <a:ext cx="1214334" cy="30482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19" tIns="44809" rIns="89619" bIns="44809" numCol="1" anchor="t" anchorCtr="0" compatLnSpc="1">
            <a:prstTxWarp prst="textNoShape">
              <a:avLst/>
            </a:prstTxWarp>
          </a:bodyPr>
          <a:lstStyle/>
          <a:p>
            <a:endParaRPr lang="en-US" sz="1764" dirty="0">
              <a:solidFill>
                <a:srgbClr val="404040"/>
              </a:solidFill>
            </a:endParaRPr>
          </a:p>
        </p:txBody>
      </p:sp>
      <p:sp>
        <p:nvSpPr>
          <p:cNvPr id="9" name="TextBox 8"/>
          <p:cNvSpPr txBox="1"/>
          <p:nvPr/>
        </p:nvSpPr>
        <p:spPr>
          <a:xfrm>
            <a:off x="283234" y="5954048"/>
            <a:ext cx="1862361" cy="615609"/>
          </a:xfrm>
          <a:prstGeom prst="rect">
            <a:avLst/>
          </a:prstGeom>
          <a:noFill/>
        </p:spPr>
        <p:txBody>
          <a:bodyPr wrap="none" lIns="179238" tIns="143391" rIns="179238" bIns="143391" rtlCol="0">
            <a:spAutoFit/>
          </a:bodyPr>
          <a:lstStyle/>
          <a:p>
            <a:pPr>
              <a:lnSpc>
                <a:spcPct val="90000"/>
              </a:lnSpc>
              <a:spcAft>
                <a:spcPts val="588"/>
              </a:spcAft>
            </a:pPr>
            <a:r>
              <a:rPr lang="en-US" sz="2352" dirty="0">
                <a:gradFill>
                  <a:gsLst>
                    <a:gs pos="2917">
                      <a:schemeClr val="tx1"/>
                    </a:gs>
                    <a:gs pos="30000">
                      <a:schemeClr val="tx1"/>
                    </a:gs>
                  </a:gsLst>
                  <a:lin ang="5400000" scaled="0"/>
                </a:gradFill>
              </a:rPr>
              <a:t>#Build2016</a:t>
            </a:r>
          </a:p>
        </p:txBody>
      </p:sp>
    </p:spTree>
    <p:extLst>
      <p:ext uri="{BB962C8B-B14F-4D97-AF65-F5344CB8AC3E}">
        <p14:creationId xmlns:p14="http://schemas.microsoft.com/office/powerpoint/2010/main" val="29499859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169" y="1189178"/>
            <a:ext cx="11650488"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0"/>
            </a:lvl2pPr>
            <a:lvl3pPr marL="224030" indent="0">
              <a:buNone/>
              <a:defRPr/>
            </a:lvl3pPr>
            <a:lvl4pPr marL="448059" indent="0">
              <a:buNone/>
              <a:defRPr/>
            </a:lvl4pPr>
            <a:lvl5pPr marL="67208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506361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169" y="1189178"/>
            <a:ext cx="11650488"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30" indent="0">
              <a:buNone/>
              <a:defRPr/>
            </a:lvl3pPr>
            <a:lvl4pPr marL="448059" indent="0">
              <a:buNone/>
              <a:defRPr/>
            </a:lvl4pPr>
            <a:lvl5pPr marL="67208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1777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052030"/>
          </a:xfrm>
        </p:spPr>
        <p:txBody>
          <a:bodyPr>
            <a:spAutoFit/>
          </a:bodyPr>
          <a:lstStyle>
            <a:lvl1pPr>
              <a:defRPr sz="392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9382919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052030"/>
          </a:xfrm>
        </p:spPr>
        <p:txBody>
          <a:bodyPr>
            <a:spAutoFit/>
          </a:bodyPr>
          <a:lstStyle>
            <a:lvl1pPr>
              <a:defRPr sz="392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01535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5"/>
            <a:ext cx="5377147"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0" y="1189175"/>
            <a:ext cx="5377147"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48089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5"/>
            <a:ext cx="5377147"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0" y="1189175"/>
            <a:ext cx="5377147"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73870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6"/>
            <a:ext cx="5377147" cy="2377940"/>
          </a:xfrm>
        </p:spPr>
        <p:txBody>
          <a:bodyPr wrap="square">
            <a:spAutoFit/>
          </a:bodyPr>
          <a:lstStyle>
            <a:lvl1pPr marL="281592" indent="-281592">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0" y="1189176"/>
            <a:ext cx="5377147" cy="2377940"/>
          </a:xfrm>
        </p:spPr>
        <p:txBody>
          <a:bodyPr wrap="square">
            <a:spAutoFit/>
          </a:bodyPr>
          <a:lstStyle>
            <a:lvl1pPr marL="281592" indent="-281592">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131730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nd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 Placeholder 3"/>
          <p:cNvSpPr>
            <a:spLocks noGrp="1"/>
          </p:cNvSpPr>
          <p:nvPr>
            <p:ph type="body" sz="quarter" idx="10" hasCustomPrompt="1"/>
          </p:nvPr>
        </p:nvSpPr>
        <p:spPr>
          <a:xfrm>
            <a:off x="269169" y="1008336"/>
            <a:ext cx="11650488" cy="561290"/>
          </a:xfrm>
        </p:spPr>
        <p:txBody>
          <a:bodyPr/>
          <a:lstStyle>
            <a:lvl1pPr marL="0" indent="0">
              <a:buFontTx/>
              <a:buNone/>
              <a:defRPr sz="2744" baseline="0"/>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dirty="0"/>
              <a:t>Sub-head, or additional information goes here</a:t>
            </a:r>
          </a:p>
        </p:txBody>
      </p:sp>
    </p:spTree>
    <p:extLst>
      <p:ext uri="{BB962C8B-B14F-4D97-AF65-F5344CB8AC3E}">
        <p14:creationId xmlns:p14="http://schemas.microsoft.com/office/powerpoint/2010/main" val="260951343"/>
      </p:ext>
    </p:extLst>
  </p:cSld>
  <p:clrMapOvr>
    <a:masterClrMapping/>
  </p:clrMapOvr>
  <p:transition>
    <p:fade/>
  </p:transition>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6"/>
            <a:ext cx="5377147" cy="2377940"/>
          </a:xfrm>
        </p:spPr>
        <p:txBody>
          <a:bodyPr wrap="square">
            <a:spAutoFit/>
          </a:bodyPr>
          <a:lstStyle>
            <a:lvl1pPr marL="281592" indent="-281592">
              <a:spcBef>
                <a:spcPts val="1200"/>
              </a:spcBef>
              <a:buClr>
                <a:schemeClr val="tx1"/>
              </a:buClr>
              <a:buFont typeface="Arial" pitchFamily="34" charset="0"/>
              <a:buChar char="•"/>
              <a:defRPr sz="3136"/>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0" y="1189176"/>
            <a:ext cx="5377147" cy="2377940"/>
          </a:xfrm>
        </p:spPr>
        <p:txBody>
          <a:bodyPr wrap="square">
            <a:spAutoFit/>
          </a:bodyPr>
          <a:lstStyle>
            <a:lvl1pPr marL="281592" indent="-281592">
              <a:spcBef>
                <a:spcPts val="1200"/>
              </a:spcBef>
              <a:buClr>
                <a:schemeClr val="tx1"/>
              </a:buClr>
              <a:buFont typeface="Arial" pitchFamily="34" charset="0"/>
              <a:buChar char="•"/>
              <a:defRPr sz="3136"/>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0808397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84591604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079503" y="2906012"/>
            <a:ext cx="10032135" cy="899665"/>
          </a:xfrm>
        </p:spPr>
        <p:txBody>
          <a:bodyPr anchor="ctr" anchorCtr="0"/>
          <a:lstStyle>
            <a:lvl1pPr algn="l">
              <a:defRPr>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507855595"/>
      </p:ext>
    </p:extLst>
  </p:cSld>
  <p:clrMapOvr>
    <a:masterClrMapping/>
  </p:clrMapOvr>
  <p:transition>
    <p:fade/>
  </p:transition>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1186357"/>
            <a:ext cx="8961914" cy="1158793"/>
          </a:xfrm>
          <a:noFill/>
        </p:spPr>
        <p:txBody>
          <a:bodyPr wrap="square" tIns="91440" bIns="91440" anchor="t" anchorCtr="0">
            <a:spAutoFit/>
          </a:bodyPr>
          <a:lstStyle>
            <a:lvl1pPr>
              <a:defRPr sz="7056" spc="-98" baseline="0">
                <a:gradFill>
                  <a:gsLst>
                    <a:gs pos="24779">
                      <a:srgbClr val="000000"/>
                    </a:gs>
                    <a:gs pos="70000">
                      <a:srgbClr val="000000"/>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170" y="3877277"/>
            <a:ext cx="8961913" cy="724246"/>
          </a:xfrm>
          <a:noFill/>
        </p:spPr>
        <p:txBody>
          <a:bodyPr wrap="square" lIns="182880" tIns="146304" rIns="182880" bIns="146304">
            <a:spAutoFit/>
          </a:bodyPr>
          <a:lstStyle>
            <a:lvl1pPr marL="0" indent="0">
              <a:spcBef>
                <a:spcPts val="0"/>
              </a:spcBef>
              <a:buNone/>
              <a:defRPr sz="3136" spc="0" baseline="0">
                <a:gradFill>
                  <a:gsLst>
                    <a:gs pos="24779">
                      <a:srgbClr val="000000"/>
                    </a:gs>
                    <a:gs pos="70000">
                      <a:srgbClr val="000000"/>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7389298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7"/>
            <a:ext cx="8961913"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41034631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209129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158793"/>
          </a:xfrm>
          <a:noFill/>
        </p:spPr>
        <p:txBody>
          <a:bodyPr tIns="91440" bIns="91440" anchor="t" anchorCtr="0">
            <a:spAutoFit/>
          </a:bodyPr>
          <a:lstStyle>
            <a:lvl1pPr>
              <a:defRPr sz="7056" spc="-98" baseline="0">
                <a:gradFill>
                  <a:gsLst>
                    <a:gs pos="92035">
                      <a:srgbClr val="000000"/>
                    </a:gs>
                    <a:gs pos="75000">
                      <a:srgbClr val="000000"/>
                    </a:gs>
                  </a:gsLst>
                  <a:lin ang="5400000" scaled="0"/>
                </a:gradFill>
              </a:defRPr>
            </a:lvl1pPr>
          </a:lstStyle>
          <a:p>
            <a:r>
              <a:rPr lang="en-US" dirty="0"/>
              <a:t>Section title</a:t>
            </a:r>
          </a:p>
        </p:txBody>
      </p:sp>
    </p:spTree>
    <p:extLst>
      <p:ext uri="{BB962C8B-B14F-4D97-AF65-F5344CB8AC3E}">
        <p14:creationId xmlns:p14="http://schemas.microsoft.com/office/powerpoint/2010/main" val="8222131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1" y="1217195"/>
            <a:ext cx="5377147" cy="1973570"/>
          </a:xfrm>
        </p:spPr>
        <p:txBody>
          <a:bodyPr>
            <a:spAutoFit/>
          </a:bodyPr>
          <a:lstStyle>
            <a:lvl1pPr>
              <a:defRPr sz="6468"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5968" y="0"/>
            <a:ext cx="6092857" cy="6856100"/>
          </a:xfrm>
          <a:blipFill dpi="0" rotWithShape="1">
            <a:blip r:embed="rId2"/>
            <a:srcRect/>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0679421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22991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643739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nd subhead dark grey">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 Placeholder 3"/>
          <p:cNvSpPr>
            <a:spLocks noGrp="1"/>
          </p:cNvSpPr>
          <p:nvPr>
            <p:ph type="body" sz="quarter" idx="10" hasCustomPrompt="1"/>
          </p:nvPr>
        </p:nvSpPr>
        <p:spPr>
          <a:xfrm>
            <a:off x="269169" y="1008336"/>
            <a:ext cx="11650488" cy="561290"/>
          </a:xfrm>
        </p:spPr>
        <p:txBody>
          <a:bodyPr/>
          <a:lstStyle>
            <a:lvl1pPr marL="0" indent="0">
              <a:buFontTx/>
              <a:buNone/>
              <a:defRPr sz="2744" baseline="0"/>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dirty="0"/>
              <a:t>Sub-head, or additional information goes here</a:t>
            </a:r>
          </a:p>
        </p:txBody>
      </p:sp>
    </p:spTree>
    <p:extLst>
      <p:ext uri="{BB962C8B-B14F-4D97-AF65-F5344CB8AC3E}">
        <p14:creationId xmlns:p14="http://schemas.microsoft.com/office/powerpoint/2010/main" val="1599263079"/>
      </p:ext>
    </p:extLst>
  </p:cSld>
  <p:clrMapOvr>
    <a:masterClrMapping/>
  </p:clrMapOvr>
  <p:transition>
    <p:fade/>
  </p:transition>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0" tIns="45710" rIns="45710" bIns="45710" numCol="1" spcCol="0" rtlCol="0" fromWordArt="0" anchor="ctr" anchorCtr="0" forceAA="0" compatLnSpc="1">
            <a:prstTxWarp prst="textNoShape">
              <a:avLst/>
            </a:prstTxWarp>
            <a:noAutofit/>
          </a:bodyPr>
          <a:lstStyle/>
          <a:p>
            <a:pPr algn="ctr" defTabSz="913828" fontAlgn="base">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69" y="1197323"/>
            <a:ext cx="11650487"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2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1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7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98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25258561"/>
      </p:ext>
    </p:extLst>
  </p:cSld>
  <p:clrMapOvr>
    <a:masterClrMapping/>
  </p:clrMapOvr>
  <p:transition>
    <p:fade/>
  </p:transition>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169" y="6171617"/>
            <a:ext cx="11650487" cy="395317"/>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650"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54774" y="470068"/>
            <a:ext cx="1407711" cy="300619"/>
          </a:xfrm>
          <a:prstGeom prst="rect">
            <a:avLst/>
          </a:prstGeom>
        </p:spPr>
      </p:pic>
    </p:spTree>
    <p:extLst>
      <p:ext uri="{BB962C8B-B14F-4D97-AF65-F5344CB8AC3E}">
        <p14:creationId xmlns:p14="http://schemas.microsoft.com/office/powerpoint/2010/main" val="377616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396047"/>
          </a:xfrm>
          <a:prstGeom prst="rect">
            <a:avLst/>
          </a:prstGeom>
        </p:spPr>
        <p:txBody>
          <a:bodyPr/>
          <a:lstStyle>
            <a:lvl1pPr marL="284705" indent="-28470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73" indent="-275370">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77" indent="-284705">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807" indent="-224030">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837" indent="-224030">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12188826"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892849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3603" y="1122363"/>
            <a:ext cx="9141619"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3603" y="3602038"/>
            <a:ext cx="9141619" cy="516936"/>
          </a:xfrm>
        </p:spPr>
        <p:txBody>
          <a:bodyPr/>
          <a:lstStyle>
            <a:lvl1pPr marL="0" indent="0" algn="ctr">
              <a:buNone/>
              <a:defRPr sz="2399"/>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7982" y="6356351"/>
            <a:ext cx="2742486" cy="365125"/>
          </a:xfrm>
          <a:prstGeom prst="rect">
            <a:avLst/>
          </a:prstGeom>
        </p:spPr>
        <p:txBody>
          <a:bodyPr/>
          <a:lstStyle/>
          <a:p>
            <a:fld id="{04BDCA09-46AC-453E-93C0-0A90C6851E93}" type="datetimeFigureOut">
              <a:rPr lang="en-US" smtClean="0"/>
              <a:t>5/26/2016</a:t>
            </a:fld>
            <a:endParaRPr lang="en-US" dirty="0"/>
          </a:p>
        </p:txBody>
      </p:sp>
      <p:sp>
        <p:nvSpPr>
          <p:cNvPr id="5" name="Footer Placeholder 4"/>
          <p:cNvSpPr>
            <a:spLocks noGrp="1"/>
          </p:cNvSpPr>
          <p:nvPr>
            <p:ph type="ftr" sz="quarter" idx="11"/>
          </p:nvPr>
        </p:nvSpPr>
        <p:spPr>
          <a:xfrm>
            <a:off x="4037549" y="6356351"/>
            <a:ext cx="4113728"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8608357" y="6356351"/>
            <a:ext cx="2742486" cy="365125"/>
          </a:xfrm>
          <a:prstGeom prst="rect">
            <a:avLst/>
          </a:prstGeom>
        </p:spPr>
        <p:txBody>
          <a:bodyPr/>
          <a:lstStyle/>
          <a:p>
            <a:fld id="{EE25CC11-B8CC-4AD2-83E4-15B2D21BA109}" type="slidenum">
              <a:rPr lang="en-US" smtClean="0"/>
              <a:t>‹#›</a:t>
            </a:fld>
            <a:endParaRPr lang="en-US" dirty="0"/>
          </a:p>
        </p:txBody>
      </p:sp>
    </p:spTree>
    <p:extLst>
      <p:ext uri="{BB962C8B-B14F-4D97-AF65-F5344CB8AC3E}">
        <p14:creationId xmlns:p14="http://schemas.microsoft.com/office/powerpoint/2010/main" val="760207188"/>
      </p:ext>
    </p:extLst>
  </p:cSld>
  <p:clrMapOvr>
    <a:masterClrMapping/>
  </p:clrMapOvr>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6139"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6" name="Presenter"/>
          <p:cNvSpPr txBox="1">
            <a:spLocks/>
          </p:cNvSpPr>
          <p:nvPr/>
        </p:nvSpPr>
        <p:spPr>
          <a:xfrm>
            <a:off x="6340563" y="5233034"/>
            <a:ext cx="5668478" cy="1095241"/>
          </a:xfrm>
          <a:prstGeom prst="rect">
            <a:avLst/>
          </a:prstGeom>
        </p:spPr>
        <p:txBody>
          <a:bodyPr vert="horz" wrap="square" lIns="228540" tIns="91376" rIns="146202" bIns="91376"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283">
              <a:lnSpc>
                <a:spcPts val="2999"/>
              </a:lnSpc>
              <a:spcBef>
                <a:spcPts val="0"/>
              </a:spcBef>
              <a:spcAft>
                <a:spcPts val="1199"/>
              </a:spcAft>
              <a:defRPr/>
            </a:pPr>
            <a:r>
              <a:rPr lang="en-US" sz="2199" dirty="0">
                <a:solidFill>
                  <a:srgbClr val="FFFFFF"/>
                </a:solidFill>
              </a:rPr>
              <a:t>Presenter</a:t>
            </a:r>
            <a:endParaRPr sz="2199" dirty="0">
              <a:solidFill>
                <a:srgbClr val="FFFFFF"/>
              </a:solidFill>
            </a:endParaRPr>
          </a:p>
        </p:txBody>
      </p:sp>
      <p:sp>
        <p:nvSpPr>
          <p:cNvPr id="10" name="Title"/>
          <p:cNvSpPr>
            <a:spLocks noGrp="1"/>
          </p:cNvSpPr>
          <p:nvPr>
            <p:ph type="title" hasCustomPrompt="1"/>
          </p:nvPr>
        </p:nvSpPr>
        <p:spPr>
          <a:xfrm>
            <a:off x="6362423" y="4263385"/>
            <a:ext cx="5826403" cy="899665"/>
          </a:xfrm>
          <a:prstGeom prst="rect">
            <a:avLst/>
          </a:prstGeom>
        </p:spPr>
        <p:txBody>
          <a:bodyPr/>
          <a:lstStyle>
            <a:lvl1pPr>
              <a:defRPr lang="en-US" sz="5398"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1880604328"/>
      </p:ext>
    </p:extLst>
  </p:cSld>
  <p:clrMapOvr>
    <a:masterClrMapping/>
  </p:clrMapOvr>
  <p:transition>
    <p:fade/>
  </p:transition>
  <p:hf hdr="0" ftr="0" dt="0"/>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6139"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10" name="Title"/>
          <p:cNvSpPr>
            <a:spLocks noGrp="1"/>
          </p:cNvSpPr>
          <p:nvPr>
            <p:ph type="title" hasCustomPrompt="1"/>
          </p:nvPr>
        </p:nvSpPr>
        <p:spPr>
          <a:xfrm>
            <a:off x="6362423" y="4263385"/>
            <a:ext cx="5826403" cy="899665"/>
          </a:xfrm>
          <a:prstGeom prst="rect">
            <a:avLst/>
          </a:prstGeom>
        </p:spPr>
        <p:txBody>
          <a:bodyPr/>
          <a:lstStyle>
            <a:lvl1pPr>
              <a:defRPr lang="en-US" sz="5398"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1032661435"/>
      </p:ext>
    </p:extLst>
  </p:cSld>
  <p:clrMapOvr>
    <a:masterClrMapping/>
  </p:clrMapOvr>
  <p:transition>
    <p:fade/>
  </p:transition>
  <p:hf hdr="0" ftr="0" dt="0"/>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9" name="Title"/>
          <p:cNvSpPr>
            <a:spLocks noGrp="1"/>
          </p:cNvSpPr>
          <p:nvPr>
            <p:ph type="title" hasCustomPrompt="1"/>
          </p:nvPr>
        </p:nvSpPr>
        <p:spPr>
          <a:xfrm>
            <a:off x="0" y="2194769"/>
            <a:ext cx="12188826" cy="1081833"/>
          </a:xfrm>
          <a:prstGeom prst="rect">
            <a:avLst/>
          </a:prstGeom>
        </p:spPr>
        <p:txBody>
          <a:bodyPr/>
          <a:lstStyle>
            <a:lvl1pPr algn="ctr">
              <a:defRPr lang="en-US" sz="5398"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588" y="3276600"/>
            <a:ext cx="12188825" cy="990600"/>
          </a:xfrm>
          <a:prstGeom prst="rect">
            <a:avLst/>
          </a:prstGeom>
        </p:spPr>
        <p:txBody>
          <a:bodyPr/>
          <a:lstStyle>
            <a:lvl1pPr marL="0" indent="0" algn="ctr">
              <a:buNone/>
              <a:defRPr lang="en-US" sz="2199" b="0" kern="1200" cap="none" spc="-102"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545968344"/>
      </p:ext>
    </p:extLst>
  </p:cSld>
  <p:clrMapOvr>
    <a:masterClrMapping/>
  </p:clrMapOvr>
  <p:transition>
    <p:fade/>
  </p:transition>
  <p:hf hdr="0" ftr="0" dt="0"/>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265" y="2709522"/>
            <a:ext cx="10719432" cy="1266359"/>
          </a:xfrm>
          <a:prstGeom prst="rect">
            <a:avLst/>
          </a:prstGeom>
        </p:spPr>
        <p:txBody>
          <a:bodyPr>
            <a:noAutofit/>
          </a:bodyPr>
          <a:lstStyle>
            <a:lvl1pPr algn="ctr">
              <a:defRPr sz="7998"/>
            </a:lvl1pPr>
          </a:lstStyle>
          <a:p>
            <a:pPr algn="ctr"/>
            <a:r>
              <a:rPr lang="en-US" sz="7996" dirty="0"/>
              <a:t>Statement</a:t>
            </a:r>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Tree>
    <p:extLst>
      <p:ext uri="{BB962C8B-B14F-4D97-AF65-F5344CB8AC3E}">
        <p14:creationId xmlns:p14="http://schemas.microsoft.com/office/powerpoint/2010/main" val="2166751879"/>
      </p:ext>
    </p:extLst>
  </p:cSld>
  <p:clrMapOvr>
    <a:masterClrMapping/>
  </p:clrMapOvr>
  <p:transition>
    <p:fade/>
  </p:transition>
  <p:hf hdr="0" ftr="0" dt="0"/>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Tree>
    <p:extLst>
      <p:ext uri="{BB962C8B-B14F-4D97-AF65-F5344CB8AC3E}">
        <p14:creationId xmlns:p14="http://schemas.microsoft.com/office/powerpoint/2010/main" val="1484799374"/>
      </p:ext>
    </p:extLst>
  </p:cSld>
  <p:clrMapOvr>
    <a:masterClrMapping/>
  </p:clrMapOvr>
  <p:transition>
    <p:fade/>
  </p:transition>
  <p:hf hdr="0" ftr="0" dt="0"/>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Tree>
    <p:extLst>
      <p:ext uri="{BB962C8B-B14F-4D97-AF65-F5344CB8AC3E}">
        <p14:creationId xmlns:p14="http://schemas.microsoft.com/office/powerpoint/2010/main" val="569886893"/>
      </p:ext>
    </p:extLst>
  </p:cSld>
  <p:clrMapOvr>
    <a:masterClrMapping/>
  </p:clrMapOvr>
  <p:transition>
    <p:fade/>
  </p:transition>
  <p:hf hdr="0" ftr="0" dt="0"/>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1158793"/>
          </a:xfrm>
          <a:noFill/>
        </p:spPr>
        <p:txBody>
          <a:bodyPr tIns="91440" bIns="91440" anchor="t" anchorCtr="0">
            <a:spAutoFit/>
          </a:bodyPr>
          <a:lstStyle>
            <a:lvl1pPr>
              <a:defRPr sz="7057"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170" y="3877276"/>
            <a:ext cx="9858106" cy="778565"/>
          </a:xfrm>
          <a:noFill/>
        </p:spPr>
        <p:txBody>
          <a:bodyPr lIns="182880" tIns="146304" rIns="182880" bIns="146304">
            <a:sp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7953303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4946" y="6474574"/>
            <a:ext cx="1157198"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Tree>
    <p:extLst>
      <p:ext uri="{BB962C8B-B14F-4D97-AF65-F5344CB8AC3E}">
        <p14:creationId xmlns:p14="http://schemas.microsoft.com/office/powerpoint/2010/main" val="414608128"/>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132068439"/>
      </p:ext>
    </p:extLst>
  </p:cSld>
  <p:clrMapOvr>
    <a:masterClrMapping/>
  </p:clrMapOvr>
  <p:transition>
    <p:fade/>
  </p:transition>
  <p:hf hdr="0" ftr="0" dt="0"/>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858228735"/>
      </p:ext>
    </p:extLst>
  </p:cSld>
  <p:clrMapOvr>
    <a:masterClrMapping/>
  </p:clrMapOvr>
  <p:transition>
    <p:fade/>
  </p:transition>
  <p:hf hdr="0" ftr="0" dt="0"/>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2193052756"/>
      </p:ext>
    </p:extLst>
  </p:cSld>
  <p:clrMapOvr>
    <a:masterClrMapping/>
  </p:clrMapOvr>
  <p:transition>
    <p:fade/>
  </p:transition>
  <p:hf hdr="0" ftr="0" dt="0"/>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4946" y="6474574"/>
            <a:ext cx="1157198"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12" name="Body"/>
          <p:cNvSpPr>
            <a:spLocks noGrp="1"/>
          </p:cNvSpPr>
          <p:nvPr>
            <p:ph type="body" sz="quarter" idx="11"/>
          </p:nvPr>
        </p:nvSpPr>
        <p:spPr>
          <a:xfrm>
            <a:off x="373888" y="4824405"/>
            <a:ext cx="6748272" cy="1139825"/>
          </a:xfrm>
          <a:prstGeom prst="rect">
            <a:avLst/>
          </a:prstGeom>
        </p:spPr>
        <p:txBody>
          <a:bodyPr/>
          <a:lstStyle>
            <a:lvl1pPr>
              <a:buClr>
                <a:schemeClr val="tx2"/>
              </a:buClr>
              <a:defRPr lang="en-US" sz="1999" kern="1200" spc="0" baseline="0" dirty="0" smtClean="0">
                <a:solidFill>
                  <a:srgbClr val="0072C6"/>
                </a:solidFill>
                <a:latin typeface="Segoe UI Light" panose="020B0502040204020203" pitchFamily="34" charset="0"/>
                <a:ea typeface="+mn-ea"/>
                <a:cs typeface="+mn-cs"/>
              </a:defRPr>
            </a:lvl1pPr>
            <a:lvl2pPr>
              <a:buClr>
                <a:schemeClr val="tx2"/>
              </a:buClr>
              <a:defRPr lang="en-US" sz="1999" kern="1200" spc="0" baseline="0" dirty="0" smtClean="0">
                <a:solidFill>
                  <a:srgbClr val="0072C6"/>
                </a:solidFill>
                <a:latin typeface="Segoe UI Light" panose="020B0502040204020203" pitchFamily="34" charset="0"/>
                <a:ea typeface="+mn-ea"/>
                <a:cs typeface="+mn-cs"/>
              </a:defRPr>
            </a:lvl2pPr>
            <a:lvl3pPr>
              <a:buClr>
                <a:schemeClr val="tx2"/>
              </a:buClr>
              <a:defRPr lang="en-US" sz="1999" kern="1200" spc="0" baseline="0" dirty="0" smtClean="0">
                <a:solidFill>
                  <a:srgbClr val="0072C6"/>
                </a:solidFill>
                <a:latin typeface="Segoe UI Light" panose="020B0502040204020203" pitchFamily="34" charset="0"/>
                <a:ea typeface="+mn-ea"/>
                <a:cs typeface="+mn-cs"/>
              </a:defRPr>
            </a:lvl3pPr>
            <a:lvl4pPr>
              <a:buClr>
                <a:schemeClr val="tx2"/>
              </a:buClr>
              <a:defRPr lang="en-US" sz="1999" kern="1200" spc="0" baseline="0" dirty="0" smtClean="0">
                <a:solidFill>
                  <a:srgbClr val="0072C6"/>
                </a:solidFill>
                <a:latin typeface="Segoe UI Light" panose="020B0502040204020203" pitchFamily="34" charset="0"/>
                <a:ea typeface="+mn-ea"/>
                <a:cs typeface="+mn-cs"/>
              </a:defRPr>
            </a:lvl4pPr>
            <a:lvl5pPr>
              <a:buClr>
                <a:schemeClr val="tx2"/>
              </a:buClr>
              <a:defRPr lang="en-US" sz="1999" kern="1200" spc="0" baseline="0" dirty="0" smtClean="0">
                <a:solidFill>
                  <a:srgbClr val="0072C6"/>
                </a:solidFill>
                <a:latin typeface="Segoe UI Light" panose="020B0502040204020203"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Subhead"/>
          <p:cNvSpPr>
            <a:spLocks noGrp="1"/>
          </p:cNvSpPr>
          <p:nvPr>
            <p:ph type="body" sz="quarter" idx="12" hasCustomPrompt="1"/>
          </p:nvPr>
        </p:nvSpPr>
        <p:spPr>
          <a:xfrm>
            <a:off x="374650" y="3873502"/>
            <a:ext cx="6746875" cy="950913"/>
          </a:xfrm>
          <a:prstGeom prst="rect">
            <a:avLst/>
          </a:prstGeom>
        </p:spPr>
        <p:txBody>
          <a:bodyPr/>
          <a:lstStyle>
            <a:lvl1pPr marL="0" indent="0">
              <a:buNone/>
              <a:defRPr>
                <a:solidFill>
                  <a:schemeClr val="tx2"/>
                </a:solidFill>
              </a:defRPr>
            </a:lvl1pPr>
            <a:lvl2pPr marL="335975" indent="0">
              <a:buNone/>
              <a:defRPr>
                <a:solidFill>
                  <a:schemeClr val="tx2"/>
                </a:solidFill>
              </a:defRPr>
            </a:lvl2pPr>
            <a:lvl3pPr marL="559959" indent="0">
              <a:buNone/>
              <a:defRPr>
                <a:solidFill>
                  <a:schemeClr val="tx2"/>
                </a:solidFill>
              </a:defRPr>
            </a:lvl3pPr>
            <a:lvl4pPr marL="783943" indent="0">
              <a:buNone/>
              <a:defRPr>
                <a:solidFill>
                  <a:schemeClr val="tx2"/>
                </a:solidFill>
              </a:defRPr>
            </a:lvl4pPr>
            <a:lvl5pPr marL="1007927"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641" y="930352"/>
            <a:ext cx="9973765" cy="917575"/>
          </a:xfrm>
          <a:prstGeom prst="rect">
            <a:avLst/>
          </a:prstGeom>
        </p:spPr>
        <p:txBody>
          <a:bodyPr/>
          <a:lstStyle/>
          <a:p>
            <a:r>
              <a:rPr lang="en-US" sz="4799">
                <a:solidFill>
                  <a:schemeClr val="bg1"/>
                </a:solidFill>
              </a:rPr>
              <a:t>Click to edit Master title style</a:t>
            </a:r>
            <a:endParaRPr lang="en-US" sz="4799" dirty="0">
              <a:solidFill>
                <a:schemeClr val="bg1"/>
              </a:solidFill>
            </a:endParaRPr>
          </a:p>
        </p:txBody>
      </p:sp>
    </p:spTree>
    <p:extLst>
      <p:ext uri="{BB962C8B-B14F-4D97-AF65-F5344CB8AC3E}">
        <p14:creationId xmlns:p14="http://schemas.microsoft.com/office/powerpoint/2010/main" val="136612060"/>
      </p:ext>
    </p:extLst>
  </p:cSld>
  <p:clrMapOvr>
    <a:masterClrMapping/>
  </p:clrMapOvr>
  <p:transition>
    <p:fade/>
  </p:transition>
  <p:hf hdr="0" ftr="0" dt="0"/>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4946" y="6474574"/>
            <a:ext cx="1157198"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14" name="Subhead"/>
          <p:cNvSpPr>
            <a:spLocks noGrp="1"/>
          </p:cNvSpPr>
          <p:nvPr>
            <p:ph type="body" sz="quarter" idx="12" hasCustomPrompt="1"/>
          </p:nvPr>
        </p:nvSpPr>
        <p:spPr>
          <a:xfrm>
            <a:off x="374650" y="3873502"/>
            <a:ext cx="6746875" cy="950913"/>
          </a:xfrm>
          <a:prstGeom prst="rect">
            <a:avLst/>
          </a:prstGeom>
        </p:spPr>
        <p:txBody>
          <a:bodyPr/>
          <a:lstStyle>
            <a:lvl1pPr marL="0" indent="0">
              <a:buNone/>
              <a:defRPr>
                <a:solidFill>
                  <a:schemeClr val="tx2"/>
                </a:solidFill>
              </a:defRPr>
            </a:lvl1pPr>
            <a:lvl2pPr marL="335975" indent="0">
              <a:buNone/>
              <a:defRPr>
                <a:solidFill>
                  <a:schemeClr val="tx2"/>
                </a:solidFill>
              </a:defRPr>
            </a:lvl2pPr>
            <a:lvl3pPr marL="559959" indent="0">
              <a:buNone/>
              <a:defRPr>
                <a:solidFill>
                  <a:schemeClr val="tx2"/>
                </a:solidFill>
              </a:defRPr>
            </a:lvl3pPr>
            <a:lvl4pPr marL="783943" indent="0">
              <a:buNone/>
              <a:defRPr>
                <a:solidFill>
                  <a:schemeClr val="tx2"/>
                </a:solidFill>
              </a:defRPr>
            </a:lvl4pPr>
            <a:lvl5pPr marL="1007927"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641" y="930352"/>
            <a:ext cx="9973765" cy="917575"/>
          </a:xfrm>
          <a:prstGeom prst="rect">
            <a:avLst/>
          </a:prstGeom>
        </p:spPr>
        <p:txBody>
          <a:bodyPr/>
          <a:lstStyle/>
          <a:p>
            <a:r>
              <a:rPr lang="en-US" sz="4799">
                <a:solidFill>
                  <a:schemeClr val="bg1"/>
                </a:solidFill>
              </a:rPr>
              <a:t>Click to edit Master title style</a:t>
            </a:r>
            <a:endParaRPr lang="en-US" sz="4799"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spTree>
    <p:extLst>
      <p:ext uri="{BB962C8B-B14F-4D97-AF65-F5344CB8AC3E}">
        <p14:creationId xmlns:p14="http://schemas.microsoft.com/office/powerpoint/2010/main" val="1774328790"/>
      </p:ext>
    </p:extLst>
  </p:cSld>
  <p:clrMapOvr>
    <a:masterClrMapping/>
  </p:clrMapOvr>
  <p:transition>
    <p:fade/>
  </p:transition>
  <p:hf hdr="0" ftr="0" dt="0"/>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4946" y="6474574"/>
            <a:ext cx="1157198"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spTree>
    <p:extLst>
      <p:ext uri="{BB962C8B-B14F-4D97-AF65-F5344CB8AC3E}">
        <p14:creationId xmlns:p14="http://schemas.microsoft.com/office/powerpoint/2010/main" val="1680658482"/>
      </p:ext>
    </p:extLst>
  </p:cSld>
  <p:clrMapOvr>
    <a:masterClrMapping/>
  </p:clrMapOvr>
  <p:transition>
    <p:fade/>
  </p:transition>
  <p:hf hdr="0" ftr="0" dt="0"/>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930352"/>
            <a:ext cx="9973765" cy="917575"/>
          </a:xfrm>
          <a:prstGeom prst="rect">
            <a:avLst/>
          </a:prstGeom>
        </p:spPr>
        <p:txBody>
          <a:bodyPr/>
          <a:lstStyle>
            <a:lvl1pPr>
              <a:defRPr>
                <a:solidFill>
                  <a:schemeClr val="tx2"/>
                </a:solidFill>
              </a:defRPr>
            </a:lvl1pPr>
          </a:lstStyle>
          <a:p>
            <a:r>
              <a:rPr lang="en-US" sz="4799">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640" y="2193928"/>
            <a:ext cx="9974262" cy="2719388"/>
          </a:xfrm>
          <a:prstGeom prst="rect">
            <a:avLst/>
          </a:prstGeom>
        </p:spPr>
        <p:txBody>
          <a:bodyPr/>
          <a:lstStyle>
            <a:lvl1pPr>
              <a:buClr>
                <a:schemeClr val="tx2"/>
              </a:buClr>
              <a:defRPr sz="1999">
                <a:solidFill>
                  <a:schemeClr val="tx2"/>
                </a:solidFill>
              </a:defRPr>
            </a:lvl1pPr>
            <a:lvl2pPr>
              <a:buClr>
                <a:schemeClr val="tx2"/>
              </a:buClr>
              <a:defRPr sz="1999">
                <a:solidFill>
                  <a:schemeClr val="tx2"/>
                </a:solidFill>
              </a:defRPr>
            </a:lvl2pPr>
            <a:lvl3pPr>
              <a:buClr>
                <a:schemeClr val="tx2"/>
              </a:buClr>
              <a:defRPr sz="1999">
                <a:solidFill>
                  <a:schemeClr val="tx2"/>
                </a:solidFill>
              </a:defRPr>
            </a:lvl3pPr>
            <a:lvl4pPr>
              <a:buClr>
                <a:schemeClr val="tx2"/>
              </a:buClr>
              <a:defRPr sz="1999">
                <a:solidFill>
                  <a:schemeClr val="tx2"/>
                </a:solidFill>
              </a:defRPr>
            </a:lvl4pPr>
            <a:lvl5pPr>
              <a:buClr>
                <a:schemeClr val="tx2"/>
              </a:buClr>
              <a:defRPr sz="1999">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239125829"/>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930352"/>
            <a:ext cx="9973765" cy="917575"/>
          </a:xfrm>
          <a:prstGeom prst="rect">
            <a:avLst/>
          </a:prstGeom>
        </p:spPr>
        <p:txBody>
          <a:bodyPr/>
          <a:lstStyle>
            <a:lvl1pPr>
              <a:defRPr>
                <a:solidFill>
                  <a:schemeClr val="tx2"/>
                </a:solidFill>
              </a:defRPr>
            </a:lvl1pPr>
          </a:lstStyle>
          <a:p>
            <a:r>
              <a:rPr lang="en-US" sz="4799">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2099634644"/>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517956" y="5576548"/>
            <a:ext cx="8066963" cy="917575"/>
          </a:xfrm>
          <a:prstGeom prst="rect">
            <a:avLst/>
          </a:prstGeom>
        </p:spPr>
        <p:txBody>
          <a:bodyPr/>
          <a:lstStyle>
            <a:lvl1pPr>
              <a:defRPr>
                <a:solidFill>
                  <a:schemeClr val="bg1"/>
                </a:solidFill>
              </a:defRPr>
            </a:lvl1pPr>
          </a:lstStyle>
          <a:p>
            <a:r>
              <a:rPr lang="en-US" sz="4799">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1962726840"/>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1158793"/>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2699430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3632050270"/>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2"/>
            <a:ext cx="2847972" cy="917575"/>
          </a:xfrm>
          <a:prstGeom prst="rect">
            <a:avLst/>
          </a:prstGeom>
        </p:spPr>
        <p:txBody>
          <a:bodyPr/>
          <a:lstStyle>
            <a:lvl1pPr>
              <a:defRPr>
                <a:solidFill>
                  <a:schemeClr val="tx2"/>
                </a:solidFill>
              </a:defRPr>
            </a:lvl1pPr>
          </a:lstStyle>
          <a:p>
            <a:r>
              <a:rPr lang="en-US" sz="4799">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7254" y="684718"/>
            <a:ext cx="8623270" cy="4420683"/>
          </a:xfrm>
          <a:prstGeom prst="rect">
            <a:avLst/>
          </a:prstGeom>
        </p:spPr>
        <p:txBody>
          <a:bodyPr/>
          <a:lstStyle>
            <a:lvl1pPr>
              <a:buClr>
                <a:schemeClr val="tx2"/>
              </a:buClr>
              <a:defRPr sz="1999">
                <a:solidFill>
                  <a:schemeClr val="tx2"/>
                </a:solidFill>
              </a:defRPr>
            </a:lvl1pPr>
            <a:lvl2pPr>
              <a:buClr>
                <a:schemeClr val="tx2"/>
              </a:buClr>
              <a:defRPr sz="1999">
                <a:solidFill>
                  <a:schemeClr val="tx2"/>
                </a:solidFill>
              </a:defRPr>
            </a:lvl2pPr>
            <a:lvl3pPr>
              <a:buClr>
                <a:schemeClr val="tx2"/>
              </a:buClr>
              <a:defRPr sz="1999">
                <a:solidFill>
                  <a:schemeClr val="tx2"/>
                </a:solidFill>
              </a:defRPr>
            </a:lvl3pPr>
            <a:lvl4pPr>
              <a:buClr>
                <a:schemeClr val="tx2"/>
              </a:buClr>
              <a:defRPr sz="1999">
                <a:solidFill>
                  <a:schemeClr val="tx2"/>
                </a:solidFill>
              </a:defRPr>
            </a:lvl4pPr>
            <a:lvl5pPr>
              <a:buClr>
                <a:schemeClr val="tx2"/>
              </a:buClr>
              <a:defRPr sz="1999">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2388659397"/>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2"/>
            <a:ext cx="2847972" cy="917575"/>
          </a:xfrm>
          <a:prstGeom prst="rect">
            <a:avLst/>
          </a:prstGeom>
        </p:spPr>
        <p:txBody>
          <a:bodyPr/>
          <a:lstStyle>
            <a:lvl1pPr>
              <a:defRPr>
                <a:solidFill>
                  <a:schemeClr val="tx2"/>
                </a:solidFill>
              </a:defRPr>
            </a:lvl1pPr>
          </a:lstStyle>
          <a:p>
            <a:r>
              <a:rPr lang="en-US" sz="4799">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1480013106"/>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20" y="2317689"/>
            <a:ext cx="11611293" cy="4083112"/>
          </a:xfrm>
          <a:prstGeom prst="rect">
            <a:avLst/>
          </a:prstGeom>
        </p:spPr>
        <p:txBody>
          <a:bodyPr/>
          <a:lstStyle>
            <a:lvl1pPr>
              <a:defRPr sz="1999"/>
            </a:lvl1pPr>
            <a:lvl2pPr>
              <a:defRPr sz="1999"/>
            </a:lvl2pPr>
            <a:lvl3pPr>
              <a:defRPr sz="1999"/>
            </a:lvl3pPr>
            <a:lvl4pPr>
              <a:defRPr sz="1999"/>
            </a:lvl4pPr>
            <a:lvl5pPr>
              <a:defRPr sz="199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White Background"/>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3" name="Headline"/>
          <p:cNvSpPr>
            <a:spLocks noGrp="1"/>
          </p:cNvSpPr>
          <p:nvPr>
            <p:ph type="title" hasCustomPrompt="1"/>
          </p:nvPr>
        </p:nvSpPr>
        <p:spPr>
          <a:xfrm>
            <a:off x="274639" y="295279"/>
            <a:ext cx="9872764" cy="923922"/>
          </a:xfrm>
          <a:prstGeom prst="rect">
            <a:avLst/>
          </a:prstGeom>
        </p:spPr>
        <p:txBody>
          <a:bodyPr/>
          <a:lstStyle>
            <a:lvl1pPr>
              <a:defRPr sz="5198">
                <a:solidFill>
                  <a:schemeClr val="tx1"/>
                </a:solidFill>
              </a:defRPr>
            </a:lvl1pPr>
          </a:lstStyle>
          <a:p>
            <a:r>
              <a:rPr lang="en-US" dirty="0"/>
              <a:t>Headline</a:t>
            </a:r>
          </a:p>
        </p:txBody>
      </p:sp>
      <p:sp>
        <p:nvSpPr>
          <p:cNvPr id="5" name="Text Placeholder 4"/>
          <p:cNvSpPr>
            <a:spLocks noGrp="1"/>
          </p:cNvSpPr>
          <p:nvPr>
            <p:ph type="body" sz="quarter" idx="11" hasCustomPrompt="1"/>
          </p:nvPr>
        </p:nvSpPr>
        <p:spPr>
          <a:xfrm>
            <a:off x="274567" y="1403350"/>
            <a:ext cx="9873265" cy="642018"/>
          </a:xfrm>
          <a:prstGeom prst="rect">
            <a:avLst/>
          </a:prstGeom>
        </p:spPr>
        <p:txBody>
          <a:bodyPr/>
          <a:lstStyle>
            <a:lvl1pPr marL="0" marR="0" indent="0" algn="l" defTabSz="913906" rtl="0" eaLnBrk="1" fontAlgn="auto" latinLnBrk="0" hangingPunct="1">
              <a:lnSpc>
                <a:spcPct val="90000"/>
              </a:lnSpc>
              <a:spcBef>
                <a:spcPct val="20000"/>
              </a:spcBef>
              <a:spcAft>
                <a:spcPts val="0"/>
              </a:spcAft>
              <a:buClr>
                <a:schemeClr val="bg1"/>
              </a:buClr>
              <a:buSzPct val="90000"/>
              <a:buFontTx/>
              <a:buNone/>
              <a:tabLst/>
              <a:defRPr sz="3599">
                <a:solidFill>
                  <a:schemeClr val="tx2"/>
                </a:solidFill>
              </a:defRPr>
            </a:lvl1pPr>
          </a:lstStyle>
          <a:p>
            <a:pPr marL="335975" marR="0" lvl="0" indent="-335975"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a:pPr>
            <a:r>
              <a:rPr lang="en-US" sz="3999" dirty="0">
                <a:solidFill>
                  <a:schemeClr val="tx2"/>
                </a:solidFill>
              </a:rPr>
              <a:t>Subhead</a:t>
            </a:r>
          </a:p>
        </p:txBody>
      </p:sp>
    </p:spTree>
    <p:extLst>
      <p:ext uri="{BB962C8B-B14F-4D97-AF65-F5344CB8AC3E}">
        <p14:creationId xmlns:p14="http://schemas.microsoft.com/office/powerpoint/2010/main" val="2720393764"/>
      </p:ext>
    </p:extLst>
  </p:cSld>
  <p:clrMapOvr>
    <a:masterClrMapping/>
  </p:clrMapOvr>
  <p:transition>
    <p:fade/>
  </p:transition>
  <p:hf hdr="0" ftr="0" dt="0"/>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Alt">
    <p:spTree>
      <p:nvGrpSpPr>
        <p:cNvPr id="1" name=""/>
        <p:cNvGrpSpPr/>
        <p:nvPr/>
      </p:nvGrpSpPr>
      <p:grpSpPr>
        <a:xfrm>
          <a:off x="0" y="0"/>
          <a:ext cx="0" cy="0"/>
          <a:chOff x="0" y="0"/>
          <a:chExt cx="0" cy="0"/>
        </a:xfrm>
      </p:grpSpPr>
      <p:grpSp>
        <p:nvGrpSpPr>
          <p:cNvPr id="2" name="Group 1"/>
          <p:cNvGrpSpPr/>
          <p:nvPr/>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3" name="Headline"/>
          <p:cNvSpPr>
            <a:spLocks noGrp="1"/>
          </p:cNvSpPr>
          <p:nvPr>
            <p:ph type="title" hasCustomPrompt="1"/>
          </p:nvPr>
        </p:nvSpPr>
        <p:spPr>
          <a:xfrm>
            <a:off x="274639" y="295279"/>
            <a:ext cx="9872764" cy="923922"/>
          </a:xfrm>
          <a:prstGeom prst="rect">
            <a:avLst/>
          </a:prstGeom>
        </p:spPr>
        <p:txBody>
          <a:bodyPr/>
          <a:lstStyle>
            <a:lvl1pPr>
              <a:defRPr sz="5198">
                <a:solidFill>
                  <a:schemeClr val="tx1"/>
                </a:solidFill>
              </a:defRPr>
            </a:lvl1pPr>
          </a:lstStyle>
          <a:p>
            <a:r>
              <a:rPr lang="en-US" dirty="0"/>
              <a:t>Headline</a:t>
            </a:r>
          </a:p>
        </p:txBody>
      </p:sp>
      <p:sp>
        <p:nvSpPr>
          <p:cNvPr id="9" name="Body"/>
          <p:cNvSpPr>
            <a:spLocks noGrp="1"/>
          </p:cNvSpPr>
          <p:nvPr>
            <p:ph sz="quarter" idx="10"/>
          </p:nvPr>
        </p:nvSpPr>
        <p:spPr>
          <a:xfrm>
            <a:off x="274320" y="1620253"/>
            <a:ext cx="11611293" cy="4780548"/>
          </a:xfrm>
          <a:prstGeom prst="rect">
            <a:avLst/>
          </a:prstGeom>
        </p:spPr>
        <p:txBody>
          <a:bodyPr/>
          <a:lstStyle>
            <a:lvl1pPr>
              <a:defRPr sz="1999"/>
            </a:lvl1pPr>
            <a:lvl2pPr>
              <a:defRPr sz="1999"/>
            </a:lvl2pPr>
            <a:lvl3pPr>
              <a:defRPr sz="1999"/>
            </a:lvl3pPr>
            <a:lvl4pPr>
              <a:defRPr sz="1999"/>
            </a:lvl4pPr>
            <a:lvl5pPr>
              <a:defRPr sz="199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8368440"/>
      </p:ext>
    </p:extLst>
  </p:cSld>
  <p:clrMapOvr>
    <a:masterClrMapping/>
  </p:clrMapOvr>
  <p:transition>
    <p:fade/>
  </p:transition>
  <p:hf hdr="0" ftr="0" dt="0"/>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3" name="Headline"/>
          <p:cNvSpPr>
            <a:spLocks noGrp="1"/>
          </p:cNvSpPr>
          <p:nvPr>
            <p:ph type="title" hasCustomPrompt="1"/>
          </p:nvPr>
        </p:nvSpPr>
        <p:spPr>
          <a:xfrm>
            <a:off x="274639" y="295279"/>
            <a:ext cx="9872764" cy="923922"/>
          </a:xfrm>
          <a:prstGeom prst="rect">
            <a:avLst/>
          </a:prstGeom>
        </p:spPr>
        <p:txBody>
          <a:bodyPr/>
          <a:lstStyle>
            <a:lvl1pPr>
              <a:defRPr sz="5198">
                <a:solidFill>
                  <a:schemeClr val="tx1"/>
                </a:solidFill>
              </a:defRPr>
            </a:lvl1pPr>
          </a:lstStyle>
          <a:p>
            <a:r>
              <a:rPr lang="en-US" dirty="0"/>
              <a:t>Headline</a:t>
            </a:r>
          </a:p>
        </p:txBody>
      </p:sp>
    </p:spTree>
    <p:extLst>
      <p:ext uri="{BB962C8B-B14F-4D97-AF65-F5344CB8AC3E}">
        <p14:creationId xmlns:p14="http://schemas.microsoft.com/office/powerpoint/2010/main" val="348675736"/>
      </p:ext>
    </p:extLst>
  </p:cSld>
  <p:clrMapOvr>
    <a:masterClrMapping/>
  </p:clrMapOvr>
  <p:transition>
    <p:fade/>
  </p:transition>
  <p:hf hdr="0" ftr="0" dt="0"/>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Tree>
    <p:extLst>
      <p:ext uri="{BB962C8B-B14F-4D97-AF65-F5344CB8AC3E}">
        <p14:creationId xmlns:p14="http://schemas.microsoft.com/office/powerpoint/2010/main" val="2689986909"/>
      </p:ext>
    </p:extLst>
  </p:cSld>
  <p:clrMapOvr>
    <a:masterClrMapping/>
  </p:clrMapOvr>
  <p:transition>
    <p:fade/>
  </p:transition>
  <p:hf hdr="0" ftr="0" dt="0"/>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5"/>
            <a:ext cx="8769842" cy="917575"/>
          </a:xfrm>
          <a:prstGeom prst="rect">
            <a:avLst/>
          </a:prstGeom>
        </p:spPr>
        <p:txBody>
          <a:bodyPr/>
          <a:lstStyle/>
          <a:p>
            <a:r>
              <a:rPr lang="en-US" sz="5398">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353" y="1828800"/>
            <a:ext cx="8740950" cy="4343400"/>
          </a:xfrm>
          <a:prstGeom prst="rect">
            <a:avLst/>
          </a:prstGeom>
        </p:spPr>
        <p:txBody>
          <a:bodyPr/>
          <a:lstStyle>
            <a:lvl1pPr>
              <a:defRPr sz="1999"/>
            </a:lvl1pPr>
            <a:lvl2pPr>
              <a:defRPr sz="1999"/>
            </a:lvl2pPr>
            <a:lvl3pPr>
              <a:defRPr sz="1999"/>
            </a:lvl3pPr>
            <a:lvl4pPr>
              <a:defRPr sz="1999"/>
            </a:lvl4pPr>
            <a:lvl5pPr>
              <a:defRPr sz="199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42974966"/>
      </p:ext>
    </p:extLst>
  </p:cSld>
  <p:clrMapOvr>
    <a:masterClrMapping/>
  </p:clrMapOvr>
  <p:transition>
    <p:fade/>
  </p:transition>
  <p:hf hdr="0" ftr="0" dt="0"/>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5"/>
            <a:ext cx="8769842" cy="917575"/>
          </a:xfrm>
          <a:prstGeom prst="rect">
            <a:avLst/>
          </a:prstGeom>
        </p:spPr>
        <p:txBody>
          <a:bodyPr/>
          <a:lstStyle/>
          <a:p>
            <a:r>
              <a:rPr lang="en-US" sz="5398">
                <a:solidFill>
                  <a:srgbClr val="92D050"/>
                </a:solidFill>
              </a:rPr>
              <a:t>Click to edit Master title style</a:t>
            </a:r>
            <a:endParaRPr lang="en-US" dirty="0">
              <a:solidFill>
                <a:schemeClr val="bg2"/>
              </a:solidFill>
            </a:endParaRPr>
          </a:p>
        </p:txBody>
      </p:sp>
    </p:spTree>
    <p:extLst>
      <p:ext uri="{BB962C8B-B14F-4D97-AF65-F5344CB8AC3E}">
        <p14:creationId xmlns:p14="http://schemas.microsoft.com/office/powerpoint/2010/main" val="4141016572"/>
      </p:ext>
    </p:extLst>
  </p:cSld>
  <p:clrMapOvr>
    <a:masterClrMapping/>
  </p:clrMapOvr>
  <p:transition>
    <p:fade/>
  </p:transition>
  <p:hf hdr="0" ftr="0" dt="0"/>
</p:sldLayout>
</file>

<file path=ppt/slideLayouts/slideLayout669.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468" y="2970215"/>
            <a:ext cx="10083890" cy="917575"/>
          </a:xfrm>
          <a:prstGeom prst="rect">
            <a:avLst/>
          </a:prstGeom>
        </p:spPr>
        <p:txBody>
          <a:bodyPr/>
          <a:lstStyle>
            <a:lvl1pPr algn="ctr">
              <a:defRPr sz="5998">
                <a:solidFill>
                  <a:srgbClr val="92D050"/>
                </a:solidFill>
              </a:defRPr>
            </a:lvl1pPr>
          </a:lstStyle>
          <a:p>
            <a:r>
              <a:rPr lang="en-US" sz="5398" dirty="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5"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Tree>
    <p:extLst>
      <p:ext uri="{BB962C8B-B14F-4D97-AF65-F5344CB8AC3E}">
        <p14:creationId xmlns:p14="http://schemas.microsoft.com/office/powerpoint/2010/main" val="1840390863"/>
      </p:ext>
    </p:extLst>
  </p:cSld>
  <p:clrMapOvr>
    <a:masterClrMapping/>
  </p:clrMapOvr>
  <p:transition>
    <p:fade/>
  </p:transition>
  <p:hf hdr="0" ftr="0" dt="0"/>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50948370"/>
      </p:ext>
    </p:extLst>
  </p:cSld>
  <p:clrMapOvr>
    <a:masterClrMapping/>
  </p:clrMapOvr>
  <p:transition>
    <p:fade/>
  </p:transition>
</p:sldLayout>
</file>

<file path=ppt/slideLayouts/slideLayout670.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pic>
        <p:nvPicPr>
          <p:cNvPr id="6"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pic>
        <p:nvPicPr>
          <p:cNvPr id="7"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Tree>
    <p:extLst>
      <p:ext uri="{BB962C8B-B14F-4D97-AF65-F5344CB8AC3E}">
        <p14:creationId xmlns:p14="http://schemas.microsoft.com/office/powerpoint/2010/main" val="2469799294"/>
      </p:ext>
    </p:extLst>
  </p:cSld>
  <p:clrMapOvr>
    <a:masterClrMapping/>
  </p:clrMapOvr>
  <p:transition>
    <p:fade/>
  </p:transition>
</p:sldLayout>
</file>

<file path=ppt/slideLayouts/slideLayout671.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pic>
        <p:nvPicPr>
          <p:cNvPr id="4"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pic>
        <p:nvPicPr>
          <p:cNvPr id="5"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Tree>
    <p:extLst>
      <p:ext uri="{BB962C8B-B14F-4D97-AF65-F5344CB8AC3E}">
        <p14:creationId xmlns:p14="http://schemas.microsoft.com/office/powerpoint/2010/main" val="2648659963"/>
      </p:ext>
    </p:extLst>
  </p:cSld>
  <p:clrMapOvr>
    <a:masterClrMapping/>
  </p:clrMapOvr>
  <p:transition>
    <p:fade/>
  </p:transition>
</p:sldLayout>
</file>

<file path=ppt/slideLayouts/slideLayout672.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pic>
        <p:nvPicPr>
          <p:cNvPr id="3" name="Logo" descr="MS Logo Whit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pic>
        <p:nvPicPr>
          <p:cNvPr id="4"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Tree>
    <p:extLst>
      <p:ext uri="{BB962C8B-B14F-4D97-AF65-F5344CB8AC3E}">
        <p14:creationId xmlns:p14="http://schemas.microsoft.com/office/powerpoint/2010/main" val="2787766033"/>
      </p:ext>
    </p:extLst>
  </p:cSld>
  <p:clrMapOvr>
    <a:masterClrMapping/>
  </p:clrMapOvr>
  <p:transition>
    <p:fade/>
  </p:transition>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bwMode="auto">
          <a:xfrm>
            <a:off x="8882557" y="-1"/>
            <a:ext cx="3306269" cy="6855083"/>
          </a:xfrm>
          <a:prstGeom prst="rect">
            <a:avLst/>
          </a:prstGeom>
          <a:solidFill>
            <a:srgbClr val="00AEEF"/>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1695" y="1944139"/>
            <a:ext cx="1307993"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18" tIns="46618" rIns="46618" bIns="46618" numCol="1" spcCol="0" rtlCol="0" fromWordArt="0" anchor="ctr" anchorCtr="0" forceAA="0" compatLnSpc="1">
            <a:prstTxWarp prst="textNoShape">
              <a:avLst/>
            </a:prstTxWarp>
            <a:noAutofit/>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1835"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144" y="158736"/>
            <a:ext cx="3693156" cy="2413891"/>
          </a:xfrm>
          <a:prstGeom prst="rect">
            <a:avLst/>
          </a:prstGeom>
        </p:spPr>
        <p:txBody>
          <a:bodyPr anchor="ctr">
            <a:noAutofit/>
          </a:bodyPr>
          <a:lstStyle>
            <a:lvl1pPr>
              <a:defRPr sz="8797"/>
            </a:lvl1pPr>
          </a:lstStyle>
          <a:p>
            <a:r>
              <a:rPr lang="en-US" sz="8795">
                <a:solidFill>
                  <a:schemeClr val="bg1">
                    <a:alpha val="99000"/>
                  </a:schemeClr>
                </a:solidFill>
              </a:rPr>
              <a:t>Click to edit Master title style</a:t>
            </a:r>
            <a:endParaRPr lang="en-US" sz="8795" dirty="0">
              <a:solidFill>
                <a:schemeClr val="bg1">
                  <a:alpha val="99000"/>
                </a:schemeClr>
              </a:solidFill>
            </a:endParaRPr>
          </a:p>
        </p:txBody>
      </p:sp>
    </p:spTree>
    <p:extLst>
      <p:ext uri="{BB962C8B-B14F-4D97-AF65-F5344CB8AC3E}">
        <p14:creationId xmlns:p14="http://schemas.microsoft.com/office/powerpoint/2010/main" val="1938282386"/>
      </p:ext>
    </p:extLst>
  </p:cSld>
  <p:clrMapOvr>
    <a:masterClrMapping/>
  </p:clrMapOvr>
  <p:transition>
    <p:fade/>
  </p:transition>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6"/>
            <a:ext cx="12188825" cy="6852165"/>
          </a:xfrm>
          <a:prstGeom prst="rect">
            <a:avLst/>
          </a:prstGeom>
        </p:spPr>
      </p:pic>
      <p:sp>
        <p:nvSpPr>
          <p:cNvPr id="8" name="Rectangle 7"/>
          <p:cNvSpPr/>
          <p:nvPr userDrawn="1"/>
        </p:nvSpPr>
        <p:spPr bwMode="auto">
          <a:xfrm>
            <a:off x="10184615" y="-1"/>
            <a:ext cx="2004210" cy="6855083"/>
          </a:xfrm>
          <a:prstGeom prst="rect">
            <a:avLst/>
          </a:prstGeom>
          <a:solidFill>
            <a:srgbClr val="8CC600"/>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5531" y="233151"/>
            <a:ext cx="1182378"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21" tIns="41961" rIns="83921" bIns="41961" numCol="1" anchor="t" anchorCtr="0" compatLnSpc="1">
            <a:prstTxWarp prst="textNoShape">
              <a:avLst/>
            </a:prstTxWarp>
          </a:bodyPr>
          <a:lstStyle/>
          <a:p>
            <a:pPr marL="0" marR="0" lvl="0" indent="0" defTabSz="93227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292929"/>
              </a:solidFill>
              <a:effectLst/>
              <a:uLnTx/>
              <a:uFillTx/>
            </a:endParaRPr>
          </a:p>
        </p:txBody>
      </p:sp>
      <p:sp>
        <p:nvSpPr>
          <p:cNvPr id="4" name="Text Placeholder 3"/>
          <p:cNvSpPr>
            <a:spLocks noGrp="1"/>
          </p:cNvSpPr>
          <p:nvPr>
            <p:ph type="body" sz="quarter" idx="10"/>
          </p:nvPr>
        </p:nvSpPr>
        <p:spPr>
          <a:xfrm>
            <a:off x="589647" y="233152"/>
            <a:ext cx="9308263" cy="6416675"/>
          </a:xfrm>
          <a:prstGeom prst="rect">
            <a:avLst/>
          </a:prstGeom>
        </p:spPr>
        <p:txBody>
          <a:bodyPr/>
          <a:lstStyle>
            <a:lvl1pPr marL="0" indent="0">
              <a:buNone/>
              <a:defRPr sz="3599"/>
            </a:lvl1pPr>
            <a:lvl2pPr>
              <a:defRPr sz="3599"/>
            </a:lvl2pPr>
            <a:lvl3pPr>
              <a:defRPr sz="3599"/>
            </a:lvl3pPr>
            <a:lvl4pPr>
              <a:defRPr sz="3599"/>
            </a:lvl4pPr>
            <a:lvl5pPr>
              <a:defRPr sz="3599"/>
            </a:lvl5pPr>
          </a:lstStyle>
          <a:p>
            <a:pPr lvl="0"/>
            <a:r>
              <a:rPr lang="en-US"/>
              <a:t>Click to edit Master text styles</a:t>
            </a:r>
          </a:p>
        </p:txBody>
      </p:sp>
    </p:spTree>
    <p:extLst>
      <p:ext uri="{BB962C8B-B14F-4D97-AF65-F5344CB8AC3E}">
        <p14:creationId xmlns:p14="http://schemas.microsoft.com/office/powerpoint/2010/main" val="123278398"/>
      </p:ext>
    </p:extLst>
  </p:cSld>
  <p:clrMapOvr>
    <a:masterClrMapping/>
  </p:clrMapOvr>
  <p:transition>
    <p:fade/>
  </p:transition>
</p:sldLayout>
</file>

<file path=ppt/slideLayouts/slideLayout675.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88825"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
        <p:nvSpPr>
          <p:cNvPr id="3" name="Text Box 3"/>
          <p:cNvSpPr txBox="1">
            <a:spLocks noChangeArrowheads="1"/>
          </p:cNvSpPr>
          <p:nvPr userDrawn="1"/>
        </p:nvSpPr>
        <p:spPr bwMode="blackWhite">
          <a:xfrm>
            <a:off x="450085" y="5503176"/>
            <a:ext cx="8637119" cy="711824"/>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650"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650"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743" y="2968091"/>
            <a:ext cx="3223021" cy="690695"/>
          </a:xfrm>
          <a:prstGeom prst="rect">
            <a:avLst/>
          </a:prstGeom>
        </p:spPr>
      </p:pic>
    </p:spTree>
    <p:extLst>
      <p:ext uri="{BB962C8B-B14F-4D97-AF65-F5344CB8AC3E}">
        <p14:creationId xmlns:p14="http://schemas.microsoft.com/office/powerpoint/2010/main" val="3704905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170" y="289512"/>
            <a:ext cx="11652805" cy="899665"/>
          </a:xfrm>
          <a:prstGeom prst="rect">
            <a:avLst/>
          </a:prstGeom>
        </p:spPr>
        <p:txBody>
          <a:bodyPr/>
          <a:lstStyle/>
          <a:p>
            <a:r>
              <a:rPr lang="en-US"/>
              <a:t>Click to edit Master title style</a:t>
            </a:r>
            <a:endParaRPr lang="en-US" dirty="0"/>
          </a:p>
        </p:txBody>
      </p:sp>
    </p:spTree>
    <p:extLst>
      <p:ext uri="{BB962C8B-B14F-4D97-AF65-F5344CB8AC3E}">
        <p14:creationId xmlns:p14="http://schemas.microsoft.com/office/powerpoint/2010/main" val="1660661162"/>
      </p:ext>
    </p:extLst>
  </p:cSld>
  <p:clrMapOvr>
    <a:masterClrMapping/>
  </p:clrMapOvr>
  <p:transition>
    <p:fade/>
  </p:transition>
</p:sldLayout>
</file>

<file path=ppt/slideLayouts/slideLayout67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232" y="2084187"/>
            <a:ext cx="8961851" cy="1793090"/>
          </a:xfrm>
          <a:noFill/>
        </p:spPr>
        <p:txBody>
          <a:bodyPr lIns="146304" tIns="91440" rIns="146304" bIns="91440" anchor="t" anchorCtr="0"/>
          <a:lstStyle>
            <a:lvl1pPr>
              <a:defRPr sz="5292"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232" y="3878574"/>
            <a:ext cx="7169469"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8" name="Rectangle 7"/>
          <p:cNvSpPr/>
          <p:nvPr userDrawn="1"/>
        </p:nvSpPr>
        <p:spPr bwMode="auto">
          <a:xfrm>
            <a:off x="448096" y="470069"/>
            <a:ext cx="2060121"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740" rtl="0" eaLnBrk="1" fontAlgn="base" latinLnBrk="0" hangingPunct="1">
              <a:lnSpc>
                <a:spcPct val="90000"/>
              </a:lnSpc>
              <a:spcBef>
                <a:spcPct val="0"/>
              </a:spcBef>
              <a:spcAft>
                <a:spcPct val="0"/>
              </a:spcAft>
              <a:buClrTx/>
              <a:buSzTx/>
              <a:buFontTx/>
              <a:buNone/>
              <a:tabLst/>
              <a:defRPr/>
            </a:pPr>
            <a:r>
              <a:rPr kumimoji="0" lang="en-US" sz="2744"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48096" y="863773"/>
            <a:ext cx="2060121"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740" rtl="0" eaLnBrk="1" fontAlgn="base" latinLnBrk="0" hangingPunct="1">
              <a:lnSpc>
                <a:spcPct val="90000"/>
              </a:lnSpc>
              <a:spcBef>
                <a:spcPct val="0"/>
              </a:spcBef>
              <a:spcAft>
                <a:spcPct val="0"/>
              </a:spcAft>
              <a:buClrTx/>
              <a:buSzTx/>
              <a:buFontTx/>
              <a:buNone/>
              <a:tabLst/>
              <a:defRPr/>
            </a:pPr>
            <a:r>
              <a:rPr kumimoji="0" lang="en-US" sz="1371"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spTree>
    <p:extLst>
      <p:ext uri="{BB962C8B-B14F-4D97-AF65-F5344CB8AC3E}">
        <p14:creationId xmlns:p14="http://schemas.microsoft.com/office/powerpoint/2010/main" val="341046009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7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170" y="1189177"/>
            <a:ext cx="11650488" cy="1858018"/>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09" indent="0">
              <a:buNone/>
              <a:defRPr/>
            </a:lvl3pPr>
            <a:lvl4pPr marL="448015" indent="0">
              <a:buNone/>
              <a:defRPr/>
            </a:lvl4pPr>
            <a:lvl5pPr marL="67202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20667321"/>
      </p:ext>
    </p:extLst>
  </p:cSld>
  <p:clrMapOvr>
    <a:masterClrMapping/>
  </p:clrMapOvr>
  <p:transition>
    <p:fade/>
  </p:transition>
</p:sldLayout>
</file>

<file path=ppt/slideLayouts/slideLayout679.xml><?xml version="1.0" encoding="utf-8"?>
<p:sldLayout xmlns:a="http://schemas.openxmlformats.org/drawingml/2006/main" xmlns:r="http://schemas.openxmlformats.org/officeDocument/2006/relationships" xmlns:p="http://schemas.openxmlformats.org/presentationml/2006/main" preserve="1" userDrawn="1">
  <p:cSld name="1_Title &amp; Non-bulleted text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399">
                <a:solidFill>
                  <a:schemeClr val="bg1"/>
                </a:solidFill>
              </a:defRPr>
            </a:lvl1pPr>
          </a:lstStyle>
          <a:p>
            <a:r>
              <a:rPr lang="en-US" dirty="0"/>
              <a:t>Click to edit Master title style</a:t>
            </a:r>
          </a:p>
        </p:txBody>
      </p:sp>
      <p:sp>
        <p:nvSpPr>
          <p:cNvPr id="6" name="Text Placeholder 5"/>
          <p:cNvSpPr>
            <a:spLocks noGrp="1"/>
          </p:cNvSpPr>
          <p:nvPr>
            <p:ph type="body" sz="quarter" idx="10"/>
          </p:nvPr>
        </p:nvSpPr>
        <p:spPr>
          <a:xfrm>
            <a:off x="269170" y="1189178"/>
            <a:ext cx="11650488" cy="1890133"/>
          </a:xfrm>
        </p:spPr>
        <p:txBody>
          <a:bodyPr/>
          <a:lstStyle>
            <a:lvl1pPr marL="0" indent="0">
              <a:buNone/>
              <a:defRPr sz="3599">
                <a:solidFill>
                  <a:schemeClr val="bg1"/>
                </a:solidFill>
              </a:defRPr>
            </a:lvl1pPr>
            <a:lvl2pPr marL="0" indent="0">
              <a:buFontTx/>
              <a:buNone/>
              <a:defRPr sz="1799">
                <a:solidFill>
                  <a:schemeClr val="bg1"/>
                </a:solidFill>
              </a:defRPr>
            </a:lvl2pPr>
            <a:lvl3pPr marL="224009" indent="0">
              <a:buNone/>
              <a:defRPr sz="1799">
                <a:solidFill>
                  <a:schemeClr val="bg1"/>
                </a:solidFill>
              </a:defRPr>
            </a:lvl3pPr>
            <a:lvl4pPr marL="448015" indent="0">
              <a:buNone/>
              <a:defRPr sz="1600">
                <a:solidFill>
                  <a:schemeClr val="bg1"/>
                </a:solidFill>
              </a:defRPr>
            </a:lvl4pPr>
            <a:lvl5pPr marL="672024" indent="0">
              <a:buNone/>
              <a:defRPr sz="1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22513400"/>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99129202"/>
      </p:ext>
    </p:extLst>
  </p:cSld>
  <p:clrMapOvr>
    <a:masterClrMapping/>
  </p:clrMapOvr>
  <p:transition>
    <p:fade/>
  </p:transition>
</p:sldLayout>
</file>

<file path=ppt/slideLayouts/slideLayout680.xml><?xml version="1.0" encoding="utf-8"?>
<p:sldLayout xmlns:a="http://schemas.openxmlformats.org/drawingml/2006/main" xmlns:r="http://schemas.openxmlformats.org/officeDocument/2006/relationships" xmlns:p="http://schemas.openxmlformats.org/presentationml/2006/main" preserve="1" userDrawn="1">
  <p:cSld name="3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227869187"/>
      </p:ext>
    </p:extLst>
  </p:cSld>
  <p:clrMapOvr>
    <a:masterClrMapping/>
  </p:clrMapOvr>
  <p:transition>
    <p:fade/>
  </p:transition>
</p:sldLayout>
</file>

<file path=ppt/slideLayouts/slideLayout68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70" y="1189178"/>
            <a:ext cx="11650488" cy="1854686"/>
          </a:xfrm>
        </p:spPr>
        <p:txBody>
          <a:bodyPr>
            <a:spAutoFit/>
          </a:bodyPr>
          <a:lstStyle>
            <a:lvl1pPr>
              <a:defRPr sz="3527"/>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636345599"/>
      </p:ext>
    </p:extLst>
  </p:cSld>
  <p:clrMapOvr>
    <a:masterClrMapping/>
  </p:clrMapOvr>
  <p:transition>
    <p:fade/>
  </p:transition>
</p:sldLayout>
</file>

<file path=ppt/slideLayouts/slideLayout68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2" y="1189175"/>
            <a:ext cx="5377147"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0"/>
            </a:lvl2pPr>
            <a:lvl3pPr marL="227119" indent="0">
              <a:buNone/>
              <a:tabLst/>
              <a:defRPr sz="1960"/>
            </a:lvl3pPr>
            <a:lvl4pPr marL="451127" indent="0">
              <a:buNone/>
              <a:defRPr/>
            </a:lvl4pPr>
            <a:lvl5pPr marL="672024"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0" y="1189175"/>
            <a:ext cx="5377147"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0"/>
            </a:lvl2pPr>
            <a:lvl3pPr marL="227119" indent="0">
              <a:buNone/>
              <a:tabLst/>
              <a:defRPr sz="1960"/>
            </a:lvl3pPr>
            <a:lvl4pPr marL="451127" indent="0">
              <a:buNone/>
              <a:defRPr/>
            </a:lvl4pPr>
            <a:lvl5pPr marL="672024"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35311716"/>
      </p:ext>
    </p:extLst>
  </p:cSld>
  <p:clrMapOvr>
    <a:masterClrMapping/>
  </p:clrMapOvr>
  <p:transition>
    <p:fade/>
  </p:transition>
</p:sldLayout>
</file>

<file path=ppt/slideLayouts/slideLayout68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2" y="1189176"/>
            <a:ext cx="5377147" cy="2377940"/>
          </a:xfrm>
        </p:spPr>
        <p:txBody>
          <a:bodyPr wrap="square">
            <a:spAutoFit/>
          </a:bodyPr>
          <a:lstStyle>
            <a:lvl1pPr marL="281565" indent="-281565">
              <a:spcBef>
                <a:spcPts val="1200"/>
              </a:spcBef>
              <a:buClr>
                <a:schemeClr val="tx1"/>
              </a:buClr>
              <a:buFont typeface="Arial" pitchFamily="34" charset="0"/>
              <a:buChar char="•"/>
              <a:defRPr sz="3135"/>
            </a:lvl1pPr>
            <a:lvl2pPr marL="520496" indent="-228510">
              <a:defRPr sz="2352"/>
            </a:lvl2pPr>
            <a:lvl3pPr marL="685531" indent="-165036">
              <a:tabLst/>
              <a:defRPr sz="1960"/>
            </a:lvl3pPr>
            <a:lvl4pPr marL="863261" indent="-177730">
              <a:defRPr/>
            </a:lvl4pPr>
            <a:lvl5pPr marL="1028296" indent="-16503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0" y="1189176"/>
            <a:ext cx="5377147" cy="2377940"/>
          </a:xfrm>
        </p:spPr>
        <p:txBody>
          <a:bodyPr wrap="square">
            <a:spAutoFit/>
          </a:bodyPr>
          <a:lstStyle>
            <a:lvl1pPr marL="281565" indent="-281565">
              <a:spcBef>
                <a:spcPts val="1200"/>
              </a:spcBef>
              <a:buClr>
                <a:schemeClr val="tx1"/>
              </a:buClr>
              <a:buFont typeface="Arial" pitchFamily="34" charset="0"/>
              <a:buChar char="•"/>
              <a:defRPr sz="3135"/>
            </a:lvl1pPr>
            <a:lvl2pPr marL="520496" indent="-228510">
              <a:defRPr sz="2352"/>
            </a:lvl2pPr>
            <a:lvl3pPr marL="685531" indent="-165036">
              <a:tabLst/>
              <a:defRPr sz="1960"/>
            </a:lvl3pPr>
            <a:lvl4pPr marL="863261" indent="-177730">
              <a:defRPr/>
            </a:lvl4pPr>
            <a:lvl5pPr marL="1028296" indent="-16503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50715252"/>
      </p:ext>
    </p:extLst>
  </p:cSld>
  <p:clrMapOvr>
    <a:masterClrMapping/>
  </p:clrMapOvr>
  <p:transition>
    <p:fade/>
  </p:transition>
</p:sldLayout>
</file>

<file path=ppt/slideLayouts/slideLayout68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636699541"/>
      </p:ext>
    </p:extLst>
  </p:cSld>
  <p:clrMapOvr>
    <a:masterClrMapping/>
  </p:clrMapOvr>
  <p:transition>
    <p:fade/>
  </p:transition>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Content Placeholder 4"/>
          <p:cNvSpPr>
            <a:spLocks noGrp="1"/>
          </p:cNvSpPr>
          <p:nvPr>
            <p:ph sz="quarter" idx="10"/>
          </p:nvPr>
        </p:nvSpPr>
        <p:spPr>
          <a:xfrm>
            <a:off x="269171" y="964751"/>
            <a:ext cx="11652805" cy="683264"/>
          </a:xfrm>
        </p:spPr>
        <p:txBody>
          <a:bodyPr/>
          <a:lstStyle>
            <a:lvl1pPr marL="0" indent="0" algn="l" defTabSz="914005" rtl="0" eaLnBrk="1" latinLnBrk="0" hangingPunct="1">
              <a:lnSpc>
                <a:spcPct val="90000"/>
              </a:lnSpc>
              <a:spcBef>
                <a:spcPct val="0"/>
              </a:spcBef>
              <a:buNone/>
              <a:defRPr kumimoji="0" lang="en-US" sz="3599" b="0" i="1" u="none" strike="noStrike" kern="1200" cap="none" spc="-100"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2600126655"/>
      </p:ext>
    </p:extLst>
  </p:cSld>
  <p:clrMapOvr>
    <a:masterClrMapping/>
  </p:clrMapOvr>
  <p:transition>
    <p:fade/>
  </p:transition>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dirty="0"/>
          </a:p>
        </p:txBody>
      </p:sp>
      <p:sp>
        <p:nvSpPr>
          <p:cNvPr id="5" name="Content Placeholder 4"/>
          <p:cNvSpPr>
            <a:spLocks noGrp="1"/>
          </p:cNvSpPr>
          <p:nvPr>
            <p:ph sz="quarter" idx="10"/>
          </p:nvPr>
        </p:nvSpPr>
        <p:spPr>
          <a:xfrm>
            <a:off x="269171" y="1625151"/>
            <a:ext cx="11652805" cy="683264"/>
          </a:xfrm>
        </p:spPr>
        <p:txBody>
          <a:bodyPr/>
          <a:lstStyle>
            <a:lvl1pPr marL="0" indent="0" algn="l" defTabSz="914005" rtl="0" eaLnBrk="1" latinLnBrk="0" hangingPunct="1">
              <a:lnSpc>
                <a:spcPct val="90000"/>
              </a:lnSpc>
              <a:spcBef>
                <a:spcPct val="0"/>
              </a:spcBef>
              <a:buNone/>
              <a:defRPr kumimoji="0" lang="en-US" sz="3599" b="0" i="1" u="none" strike="noStrike" kern="1200" cap="none" spc="-100"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2760856992"/>
      </p:ext>
    </p:extLst>
  </p:cSld>
  <p:clrMapOvr>
    <a:masterClrMapping/>
  </p:clrMapOvr>
  <p:transition>
    <p:fade/>
  </p:transition>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7"/>
            <a:ext cx="9856549" cy="1158793"/>
          </a:xfrm>
          <a:noFill/>
        </p:spPr>
        <p:txBody>
          <a:bodyPr tIns="91440" bIns="91440" anchor="t" anchorCtr="0">
            <a:spAutoFit/>
          </a:bodyPr>
          <a:lstStyle>
            <a:lvl1pPr>
              <a:defRPr sz="7055"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171" y="3877276"/>
            <a:ext cx="9858106" cy="778565"/>
          </a:xfrm>
          <a:noFill/>
        </p:spPr>
        <p:txBody>
          <a:bodyPr lIns="182880" tIns="146304" rIns="182880" bIns="146304">
            <a:sp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90452138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8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7"/>
            <a:ext cx="9856549" cy="1158793"/>
          </a:xfrm>
          <a:noFill/>
        </p:spPr>
        <p:txBody>
          <a:bodyPr tIns="91440" bIns="91440" anchor="t" anchorCtr="0">
            <a:spAutoFit/>
          </a:bodyPr>
          <a:lstStyle>
            <a:lvl1pPr>
              <a:defRPr lang="en-US" sz="7055"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5888798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8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73"/>
            <a:ext cx="11650488"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03214514"/>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bg1">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2478275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73"/>
            <a:ext cx="11650488"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70837889"/>
      </p:ext>
    </p:extLst>
  </p:cSld>
  <p:clrMapOvr>
    <a:masterClrMapping/>
  </p:clrMapOvr>
  <p:transition>
    <p:fade/>
  </p:transition>
</p:sldLayout>
</file>

<file path=ppt/slideLayouts/slideLayout69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73"/>
            <a:ext cx="11650488"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08499393"/>
      </p:ext>
    </p:extLst>
  </p:cSld>
  <p:clrMapOvr>
    <a:masterClrMapping/>
  </p:clrMapOvr>
  <p:transition>
    <p:fade/>
  </p:transition>
</p:sldLayout>
</file>

<file path=ppt/slideLayouts/slideLayout69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73"/>
            <a:ext cx="11650488"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95023501"/>
      </p:ext>
    </p:extLst>
  </p:cSld>
  <p:clrMapOvr>
    <a:masterClrMapping/>
  </p:clrMapOvr>
  <p:transition>
    <p:fade/>
  </p:transition>
</p:sldLayout>
</file>

<file path=ppt/slideLayouts/slideLayout69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192025"/>
      </p:ext>
    </p:extLst>
  </p:cSld>
  <p:clrMapOvr>
    <a:masterClrMapping/>
  </p:clrMapOvr>
  <p:transition>
    <p:fade/>
  </p:transition>
</p:sldLayout>
</file>

<file path=ppt/slideLayouts/slideLayout69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7033075"/>
      </p:ext>
    </p:extLst>
  </p:cSld>
  <p:clrMapOvr>
    <a:masterClrMapping/>
  </p:clrMapOvr>
  <p:transition>
    <p:fade/>
  </p:transition>
</p:sldLayout>
</file>

<file path=ppt/slideLayouts/slideLayout69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8311020"/>
      </p:ext>
    </p:extLst>
  </p:cSld>
  <p:clrMapOvr>
    <a:masterClrMapping/>
  </p:clrMapOvr>
  <p:transition>
    <p:fade/>
  </p:transition>
</p:sldLayout>
</file>

<file path=ppt/slideLayouts/slideLayout69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3621821"/>
      </p:ext>
    </p:extLst>
  </p:cSld>
  <p:clrMapOvr>
    <a:masterClrMapping/>
  </p:clrMapOvr>
  <p:transition>
    <p:fade/>
  </p:transition>
</p:sldLayout>
</file>

<file path=ppt/slideLayouts/slideLayout69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3" tIns="45703" rIns="45703" bIns="45703" numCol="1" spcCol="0" rtlCol="0" fromWordArt="0" anchor="ctr" anchorCtr="0" forceAA="0" compatLnSpc="1">
            <a:prstTxWarp prst="textNoShape">
              <a:avLst/>
            </a:prstTxWarp>
            <a:noAutofit/>
          </a:bodyPr>
          <a:lstStyle/>
          <a:p>
            <a:pPr algn="ctr" defTabSz="913740" fontAlgn="base">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69" y="1197322"/>
            <a:ext cx="11650487" cy="1813947"/>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1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8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04541821"/>
      </p:ext>
    </p:extLst>
  </p:cSld>
  <p:clrMapOvr>
    <a:masterClrMapping/>
  </p:clrMapOvr>
  <p:transition>
    <p:fade/>
  </p:transition>
</p:sldLayout>
</file>

<file path=ppt/slideLayouts/slideLayout69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171" y="6170060"/>
            <a:ext cx="11620304" cy="395317"/>
          </a:xfrm>
          <a:prstGeom prst="rect">
            <a:avLst/>
          </a:prstGeom>
          <a:noFill/>
          <a:ln w="12700">
            <a:noFill/>
            <a:miter lim="800000"/>
            <a:headEnd type="none" w="sm" len="sm"/>
            <a:tailEnd type="none" w="sm" len="sm"/>
          </a:ln>
          <a:effectLst/>
        </p:spPr>
        <p:txBody>
          <a:bodyPr vert="horz" wrap="square" lIns="179213" tIns="143370" rIns="179213" bIns="143370" numCol="1" anchor="t" anchorCtr="0" compatLnSpc="1">
            <a:prstTxWarp prst="textNoShape">
              <a:avLst/>
            </a:prstTxWarp>
            <a:spAutoFit/>
          </a:bodyPr>
          <a:lstStyle/>
          <a:p>
            <a:pPr defTabSz="913562"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0085" y="3083654"/>
            <a:ext cx="3223021" cy="690695"/>
          </a:xfrm>
          <a:prstGeom prst="rect">
            <a:avLst/>
          </a:prstGeom>
        </p:spPr>
      </p:pic>
    </p:spTree>
    <p:extLst>
      <p:ext uri="{BB962C8B-B14F-4D97-AF65-F5344CB8AC3E}">
        <p14:creationId xmlns:p14="http://schemas.microsoft.com/office/powerpoint/2010/main" val="4254433508"/>
      </p:ext>
    </p:extLst>
  </p:cSld>
  <p:clrMapOvr>
    <a:masterClrMapping/>
  </p:clrMapOvr>
  <p:transition>
    <p:fade/>
  </p:transition>
</p:sldLayout>
</file>

<file path=ppt/slideLayouts/slideLayout69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70" y="1189178"/>
            <a:ext cx="11650488" cy="2396047"/>
          </a:xfrm>
          <a:prstGeom prst="rect">
            <a:avLst/>
          </a:prstGeom>
        </p:spPr>
        <p:txBody>
          <a:bodyPr/>
          <a:lstStyle>
            <a:lvl1pPr marL="284677" indent="-284677">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19" indent="-275344">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696" indent="-284677">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05" indent="-224009">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13" indent="-224009">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88826"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08571210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6"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Tree>
    <p:extLst>
      <p:ext uri="{BB962C8B-B14F-4D97-AF65-F5344CB8AC3E}">
        <p14:creationId xmlns:p14="http://schemas.microsoft.com/office/powerpoint/2010/main" val="346874279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76250">
                      <a:schemeClr val="tx1"/>
                    </a:gs>
                    <a:gs pos="31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482889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00.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6" name="Rectangle 35"/>
          <p:cNvSpPr/>
          <p:nvPr userDrawn="1"/>
        </p:nvSpPr>
        <p:spPr bwMode="auto">
          <a:xfrm>
            <a:off x="0" y="6325187"/>
            <a:ext cx="12188825" cy="532814"/>
          </a:xfrm>
          <a:prstGeom prst="rect">
            <a:avLst/>
          </a:prstGeom>
          <a:solidFill>
            <a:srgbClr val="409AE1"/>
          </a:solidFill>
          <a:ln w="28575">
            <a:noFill/>
          </a:ln>
        </p:spPr>
        <p:txBody>
          <a:bodyPr vert="horz" wrap="square" lIns="91390" tIns="45695" rIns="91390" bIns="45695" numCol="1" anchor="t" anchorCtr="0" compatLnSpc="1">
            <a:prstTxWarp prst="textNoShape">
              <a:avLst/>
            </a:prstTxWarp>
          </a:bodyPr>
          <a:lstStyle/>
          <a:p>
            <a:pPr marR="0" lvl="0" indent="0" defTabSz="932194" fontAlgn="auto">
              <a:lnSpc>
                <a:spcPct val="100000"/>
              </a:lnSpc>
              <a:spcBef>
                <a:spcPts val="0"/>
              </a:spcBef>
              <a:spcAft>
                <a:spcPts val="0"/>
              </a:spcAft>
              <a:buClrTx/>
              <a:buSzTx/>
              <a:buFontTx/>
              <a:buNone/>
              <a:tabLst/>
            </a:pPr>
            <a:endParaRPr kumimoji="0" lang="en-US" sz="1050" b="0" i="0" u="none" strike="noStrike" kern="0" cap="none" spc="0" normalizeH="0" baseline="0">
              <a:ln>
                <a:noFill/>
              </a:ln>
              <a:solidFill>
                <a:srgbClr val="333333"/>
              </a:solidFill>
              <a:effectLst/>
              <a:uLnTx/>
              <a:uFillTx/>
            </a:endParaRPr>
          </a:p>
        </p:txBody>
      </p:sp>
      <p:sp>
        <p:nvSpPr>
          <p:cNvPr id="6" name="Freeform 539"/>
          <p:cNvSpPr>
            <a:spLocks noChangeAspect="1"/>
          </p:cNvSpPr>
          <p:nvPr userDrawn="1"/>
        </p:nvSpPr>
        <p:spPr bwMode="auto">
          <a:xfrm>
            <a:off x="9301373" y="5959092"/>
            <a:ext cx="1967543" cy="108201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a:extLst/>
        </p:spPr>
        <p:txBody>
          <a:bodyPr vert="horz" wrap="square" lIns="91390" tIns="45695" rIns="91390" bIns="45695" numCol="1" anchor="t" anchorCtr="0" compatLnSpc="1">
            <a:prstTxWarp prst="textNoShape">
              <a:avLst/>
            </a:prstTxWarp>
          </a:bodyPr>
          <a:lstStyle/>
          <a:p>
            <a:pPr marL="0" marR="0" lvl="0" indent="0" defTabSz="932194"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333333"/>
              </a:solidFill>
              <a:effectLst/>
              <a:uLnTx/>
              <a:uFillTx/>
            </a:endParaRPr>
          </a:p>
        </p:txBody>
      </p:sp>
      <p:grpSp>
        <p:nvGrpSpPr>
          <p:cNvPr id="9" name="Group 8"/>
          <p:cNvGrpSpPr/>
          <p:nvPr userDrawn="1"/>
        </p:nvGrpSpPr>
        <p:grpSpPr>
          <a:xfrm>
            <a:off x="9336143" y="6216162"/>
            <a:ext cx="1824151" cy="773723"/>
            <a:chOff x="4494770" y="2621197"/>
            <a:chExt cx="3127126" cy="1326043"/>
          </a:xfrm>
        </p:grpSpPr>
        <p:sp>
          <p:nvSpPr>
            <p:cNvPr id="10"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endParaRPr>
            </a:p>
          </p:txBody>
        </p:sp>
        <p:sp>
          <p:nvSpPr>
            <p:cNvPr id="11"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endParaRPr>
            </a:p>
          </p:txBody>
        </p:sp>
        <p:sp>
          <p:nvSpPr>
            <p:cNvPr id="12"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endParaRPr>
            </a:p>
          </p:txBody>
        </p:sp>
        <p:sp>
          <p:nvSpPr>
            <p:cNvPr id="13"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endParaRPr>
            </a:p>
          </p:txBody>
        </p:sp>
        <p:sp>
          <p:nvSpPr>
            <p:cNvPr id="14"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endParaRPr>
            </a:p>
          </p:txBody>
        </p:sp>
        <p:sp>
          <p:nvSpPr>
            <p:cNvPr id="15"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endParaRPr>
            </a:p>
          </p:txBody>
        </p:sp>
        <p:sp>
          <p:nvSpPr>
            <p:cNvPr id="16"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endParaRPr>
            </a:p>
          </p:txBody>
        </p:sp>
        <p:grpSp>
          <p:nvGrpSpPr>
            <p:cNvPr id="17" name="Group 16"/>
            <p:cNvGrpSpPr/>
            <p:nvPr/>
          </p:nvGrpSpPr>
          <p:grpSpPr>
            <a:xfrm>
              <a:off x="5413104" y="2621197"/>
              <a:ext cx="1326042" cy="1326043"/>
              <a:chOff x="5413104" y="2598477"/>
              <a:chExt cx="1326042" cy="1326043"/>
            </a:xfrm>
          </p:grpSpPr>
          <p:sp>
            <p:nvSpPr>
              <p:cNvPr id="18"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endParaRPr>
              </a:p>
            </p:txBody>
          </p:sp>
          <p:sp>
            <p:nvSpPr>
              <p:cNvPr id="19"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endParaRPr>
              </a:p>
            </p:txBody>
          </p:sp>
          <p:sp>
            <p:nvSpPr>
              <p:cNvPr id="20"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endParaRPr>
              </a:p>
            </p:txBody>
          </p:sp>
          <p:sp>
            <p:nvSpPr>
              <p:cNvPr id="21"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endParaRPr>
              </a:p>
            </p:txBody>
          </p:sp>
          <p:sp>
            <p:nvSpPr>
              <p:cNvPr id="22"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endParaRPr>
              </a:p>
            </p:txBody>
          </p:sp>
          <p:sp>
            <p:nvSpPr>
              <p:cNvPr id="23"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endParaRPr>
              </a:p>
            </p:txBody>
          </p:sp>
          <p:sp>
            <p:nvSpPr>
              <p:cNvPr id="24"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endParaRPr>
              </a:p>
            </p:txBody>
          </p:sp>
          <p:sp>
            <p:nvSpPr>
              <p:cNvPr id="25" name="Oval 24"/>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03" eaLnBrk="1" fontAlgn="base" latinLnBrk="0" hangingPunct="1">
                  <a:lnSpc>
                    <a:spcPct val="90000"/>
                  </a:lnSpc>
                  <a:spcBef>
                    <a:spcPct val="0"/>
                  </a:spcBef>
                  <a:spcAft>
                    <a:spcPct val="0"/>
                  </a:spcAft>
                  <a:buClrTx/>
                  <a:buSzTx/>
                  <a:buFontTx/>
                  <a:buNone/>
                  <a:tabLst/>
                  <a:defRPr/>
                </a:pPr>
                <a:endParaRPr kumimoji="0" lang="en-US" sz="2399"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6" name="Group 25"/>
          <p:cNvGrpSpPr/>
          <p:nvPr userDrawn="1"/>
        </p:nvGrpSpPr>
        <p:grpSpPr>
          <a:xfrm rot="16200000">
            <a:off x="2685834" y="3785447"/>
            <a:ext cx="182438" cy="5554105"/>
            <a:chOff x="9312007" y="34787"/>
            <a:chExt cx="1212906" cy="3143923"/>
          </a:xfrm>
        </p:grpSpPr>
        <p:sp>
          <p:nvSpPr>
            <p:cNvPr id="27" name="Bent Arrow 26"/>
            <p:cNvSpPr/>
            <p:nvPr/>
          </p:nvSpPr>
          <p:spPr bwMode="auto">
            <a:xfrm flipH="1">
              <a:off x="9832459" y="1745357"/>
              <a:ext cx="692454" cy="1433353"/>
            </a:xfrm>
            <a:prstGeom prst="bentArrow">
              <a:avLst>
                <a:gd name="adj1" fmla="val 25000"/>
                <a:gd name="adj2" fmla="val 0"/>
                <a:gd name="adj3" fmla="val 25000"/>
                <a:gd name="adj4" fmla="val 75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03"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28" name="Bent Arrow 27"/>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03"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9" name="Bent Arrow 28"/>
          <p:cNvSpPr/>
          <p:nvPr userDrawn="1"/>
        </p:nvSpPr>
        <p:spPr bwMode="auto">
          <a:xfrm>
            <a:off x="5684802" y="6687742"/>
            <a:ext cx="3819140" cy="163512"/>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algn="ctr" defTabSz="932103"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Bent Arrow 39"/>
          <p:cNvSpPr/>
          <p:nvPr userDrawn="1"/>
        </p:nvSpPr>
        <p:spPr bwMode="auto">
          <a:xfrm rot="10800000" flipH="1">
            <a:off x="2049147" y="5710544"/>
            <a:ext cx="7841822" cy="757825"/>
          </a:xfrm>
          <a:prstGeom prst="bentArrow">
            <a:avLst>
              <a:gd name="adj1" fmla="val 25000"/>
              <a:gd name="adj2" fmla="val 0"/>
              <a:gd name="adj3" fmla="val 25000"/>
              <a:gd name="adj4" fmla="val 20518"/>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algn="ctr" defTabSz="932103"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Bent Arrow 43"/>
          <p:cNvSpPr/>
          <p:nvPr userDrawn="1"/>
        </p:nvSpPr>
        <p:spPr bwMode="auto">
          <a:xfrm rot="10800000">
            <a:off x="11221455" y="6302645"/>
            <a:ext cx="709132" cy="266055"/>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algn="ctr" defTabSz="932103"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0" y="5375935"/>
            <a:ext cx="12188825" cy="95735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pPr>
            <a:endParaRPr lang="en-US" sz="2399">
              <a:solidFill>
                <a:schemeClr val="tx1"/>
              </a:solidFill>
              <a:ea typeface="Segoe UI" pitchFamily="34" charset="0"/>
              <a:cs typeface="Segoe UI" pitchFamily="34" charset="0"/>
            </a:endParaRPr>
          </a:p>
        </p:txBody>
      </p:sp>
      <p:sp>
        <p:nvSpPr>
          <p:cNvPr id="45" name="Bent Arrow 44"/>
          <p:cNvSpPr/>
          <p:nvPr userDrawn="1"/>
        </p:nvSpPr>
        <p:spPr bwMode="auto">
          <a:xfrm rot="16200000">
            <a:off x="11533738" y="6610205"/>
            <a:ext cx="325590" cy="265986"/>
          </a:xfrm>
          <a:prstGeom prst="bentArrow">
            <a:avLst>
              <a:gd name="adj1" fmla="val 25000"/>
              <a:gd name="adj2" fmla="val 0"/>
              <a:gd name="adj3" fmla="val 25000"/>
              <a:gd name="adj4" fmla="val 15819"/>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algn="ctr" defTabSz="932103"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46" name="Freeform 15"/>
          <p:cNvSpPr>
            <a:spLocks noEditPoints="1"/>
          </p:cNvSpPr>
          <p:nvPr userDrawn="1"/>
        </p:nvSpPr>
        <p:spPr bwMode="auto">
          <a:xfrm>
            <a:off x="4388089" y="6600371"/>
            <a:ext cx="121530" cy="121561"/>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03" tIns="45701" rIns="91403" bIns="45701" numCol="1" anchor="t" anchorCtr="0" compatLnSpc="1">
            <a:prstTxWarp prst="textNoShape">
              <a:avLst/>
            </a:prstTxWarp>
          </a:bodyPr>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endParaRPr>
          </a:p>
        </p:txBody>
      </p:sp>
      <p:sp>
        <p:nvSpPr>
          <p:cNvPr id="47" name="Freeform 18"/>
          <p:cNvSpPr>
            <a:spLocks/>
          </p:cNvSpPr>
          <p:nvPr userDrawn="1"/>
        </p:nvSpPr>
        <p:spPr bwMode="auto">
          <a:xfrm>
            <a:off x="4430483" y="6462555"/>
            <a:ext cx="37448" cy="124388"/>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03" tIns="45701" rIns="91403" bIns="45701" numCol="1" anchor="t" anchorCtr="0" compatLnSpc="1">
            <a:prstTxWarp prst="textNoShape">
              <a:avLst/>
            </a:prstTxWarp>
          </a:bodyPr>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endParaRPr>
          </a:p>
        </p:txBody>
      </p:sp>
      <p:sp>
        <p:nvSpPr>
          <p:cNvPr id="49" name="Rectangle 48"/>
          <p:cNvSpPr/>
          <p:nvPr userDrawn="1"/>
        </p:nvSpPr>
        <p:spPr bwMode="auto">
          <a:xfrm>
            <a:off x="-217542" y="6858000"/>
            <a:ext cx="12529822" cy="78377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pPr>
            <a:endParaRPr lang="en-US" sz="2399">
              <a:solidFill>
                <a:schemeClr val="tx1"/>
              </a:solidFill>
              <a:ea typeface="Segoe UI" pitchFamily="34" charset="0"/>
              <a:cs typeface="Segoe UI" pitchFamily="34" charset="0"/>
            </a:endParaRPr>
          </a:p>
        </p:txBody>
      </p:sp>
      <p:sp>
        <p:nvSpPr>
          <p:cNvPr id="52" name="Rectangle 51"/>
          <p:cNvSpPr/>
          <p:nvPr userDrawn="1"/>
        </p:nvSpPr>
        <p:spPr bwMode="auto">
          <a:xfrm>
            <a:off x="-391784" y="6074230"/>
            <a:ext cx="391784" cy="78377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pPr>
            <a:endParaRPr lang="en-US" sz="2399">
              <a:solidFill>
                <a:schemeClr val="tx1"/>
              </a:solidFill>
              <a:ea typeface="Segoe UI" pitchFamily="34" charset="0"/>
              <a:cs typeface="Segoe UI" pitchFamily="34" charset="0"/>
            </a:endParaRPr>
          </a:p>
        </p:txBody>
      </p:sp>
      <p:sp>
        <p:nvSpPr>
          <p:cNvPr id="53" name="Rectangle 52"/>
          <p:cNvSpPr/>
          <p:nvPr userDrawn="1"/>
        </p:nvSpPr>
        <p:spPr bwMode="auto">
          <a:xfrm>
            <a:off x="0" y="6344998"/>
            <a:ext cx="12188825" cy="513003"/>
          </a:xfrm>
          <a:prstGeom prst="rect">
            <a:avLst/>
          </a:prstGeom>
          <a:solidFill>
            <a:schemeClr val="accent1">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pPr>
            <a:endParaRPr lang="en-US" sz="2399">
              <a:solidFill>
                <a:schemeClr val="tx1"/>
              </a:solidFill>
              <a:ea typeface="Segoe UI" pitchFamily="34" charset="0"/>
              <a:cs typeface="Segoe UI" pitchFamily="34" charset="0"/>
            </a:endParaRPr>
          </a:p>
        </p:txBody>
      </p:sp>
      <p:pic>
        <p:nvPicPr>
          <p:cNvPr id="41" name="Picture 40"/>
          <p:cNvPicPr>
            <a:picLocks noChangeAspect="1"/>
          </p:cNvPicPr>
          <p:nvPr userDrawn="1"/>
        </p:nvPicPr>
        <p:blipFill>
          <a:blip r:embed="rId2" cstate="email">
            <a:biLevel thresh="25000"/>
            <a:extLst>
              <a:ext uri="{28A0092B-C50C-407E-A947-70E740481C1C}">
                <a14:useLocalDpi xmlns:a14="http://schemas.microsoft.com/office/drawing/2010/main"/>
              </a:ext>
            </a:extLst>
          </a:blip>
          <a:stretch>
            <a:fillRect/>
          </a:stretch>
        </p:blipFill>
        <p:spPr>
          <a:xfrm>
            <a:off x="171466" y="6491045"/>
            <a:ext cx="936365" cy="206372"/>
          </a:xfrm>
          <a:prstGeom prst="rect">
            <a:avLst/>
          </a:prstGeom>
        </p:spPr>
      </p:pic>
    </p:spTree>
    <p:extLst>
      <p:ext uri="{BB962C8B-B14F-4D97-AF65-F5344CB8AC3E}">
        <p14:creationId xmlns:p14="http://schemas.microsoft.com/office/powerpoint/2010/main" val="2997979456"/>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1" y="1217195"/>
            <a:ext cx="5377147"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5968" y="0"/>
            <a:ext cx="6092857"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115041622"/>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1411559"/>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94668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1">
            <a:lumMod val="5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50460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lank Accent Color 3">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27326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0" tIns="45710" rIns="45710" bIns="45710" numCol="1" spcCol="0" rtlCol="0" fromWordArt="0" anchor="ctr" anchorCtr="0" forceAA="0" compatLnSpc="1">
            <a:prstTxWarp prst="textNoShape">
              <a:avLst/>
            </a:prstTxWarp>
            <a:noAutofit/>
          </a:bodyPr>
          <a:lstStyle/>
          <a:p>
            <a:pPr algn="ctr" defTabSz="913916" eaLnBrk="1" hangingPunct="1"/>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69" y="1197322"/>
            <a:ext cx="11650487"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5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80864950"/>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eveloper Code Layout Blue Header">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314067"/>
            <a:ext cx="11652805" cy="899665"/>
          </a:xfrm>
        </p:spPr>
        <p:txBody>
          <a:bodyPr/>
          <a:lstStyle>
            <a:lvl1pPr>
              <a:defRPr baseline="0">
                <a:gradFill>
                  <a:gsLst>
                    <a:gs pos="22500">
                      <a:schemeClr val="bg2"/>
                    </a:gs>
                    <a:gs pos="48000">
                      <a:schemeClr val="bg2"/>
                    </a:gs>
                  </a:gsLst>
                  <a:lin ang="5400000" scaled="0"/>
                </a:gradFill>
              </a:defRPr>
            </a:lvl1pPr>
          </a:lstStyle>
          <a:p>
            <a:r>
              <a:rPr lang="en-US" dirty="0"/>
              <a:t>Slide for developer code</a:t>
            </a:r>
          </a:p>
        </p:txBody>
      </p:sp>
      <p:sp>
        <p:nvSpPr>
          <p:cNvPr id="5" name="Text Placeholder 4"/>
          <p:cNvSpPr>
            <a:spLocks noGrp="1"/>
          </p:cNvSpPr>
          <p:nvPr>
            <p:ph type="body" sz="quarter" idx="10"/>
          </p:nvPr>
        </p:nvSpPr>
        <p:spPr>
          <a:xfrm>
            <a:off x="269169" y="1197322"/>
            <a:ext cx="11650487"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5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47806052"/>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169" y="6171616"/>
            <a:ext cx="11650487" cy="395317"/>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737" fontAlgn="auto">
              <a:spcBef>
                <a:spcPts val="0"/>
              </a:spcBef>
              <a:spcAft>
                <a:spcPts val="0"/>
              </a:spcAft>
            </a:pPr>
            <a:r>
              <a:rPr lang="en-US" sz="686" dirty="0">
                <a:gradFill>
                  <a:gsLst>
                    <a:gs pos="0">
                      <a:srgbClr val="FFFFFF"/>
                    </a:gs>
                    <a:gs pos="100000">
                      <a:srgbClr val="FFFFFF"/>
                    </a:gs>
                  </a:gsLst>
                  <a:lin ang="5400000" scaled="0"/>
                </a:gradFill>
                <a:latin typeface="Segoe UI"/>
                <a:ea typeface="+mn-ea"/>
                <a:cs typeface="Segoe UI" pitchFamily="34" charset="0"/>
              </a:rPr>
              <a:t>© 2015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085" y="3083653"/>
            <a:ext cx="3223021" cy="690695"/>
          </a:xfrm>
          <a:prstGeom prst="rect">
            <a:avLst/>
          </a:prstGeom>
        </p:spPr>
      </p:pic>
    </p:spTree>
    <p:extLst>
      <p:ext uri="{BB962C8B-B14F-4D97-AF65-F5344CB8AC3E}">
        <p14:creationId xmlns:p14="http://schemas.microsoft.com/office/powerpoint/2010/main" val="3508397790"/>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Appendix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Appendix</a:t>
            </a:r>
          </a:p>
        </p:txBody>
      </p:sp>
    </p:spTree>
    <p:extLst>
      <p:ext uri="{BB962C8B-B14F-4D97-AF65-F5344CB8AC3E}">
        <p14:creationId xmlns:p14="http://schemas.microsoft.com/office/powerpoint/2010/main" val="3909204984"/>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7"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871514311"/>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30323710"/>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169" y="1189177"/>
            <a:ext cx="11650488"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79972398"/>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8814016"/>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_Blank_blue">
    <p:bg>
      <p:bgPr>
        <a:solidFill>
          <a:schemeClr val="accent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351322" y="6145571"/>
            <a:ext cx="1355277" cy="290715"/>
          </a:xfrm>
          <a:prstGeom prst="rect">
            <a:avLst/>
          </a:prstGeom>
        </p:spPr>
      </p:pic>
      <p:sp>
        <p:nvSpPr>
          <p:cNvPr id="3" name="Freeform 2"/>
          <p:cNvSpPr>
            <a:spLocks noEditPoints="1"/>
          </p:cNvSpPr>
          <p:nvPr userDrawn="1"/>
        </p:nvSpPr>
        <p:spPr bwMode="black">
          <a:xfrm>
            <a:off x="2095003" y="2425050"/>
            <a:ext cx="7998819"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6" tIns="44804" rIns="89606" bIns="44804" numCol="1" anchor="t" anchorCtr="0" compatLnSpc="1">
            <a:prstTxWarp prst="textNoShape">
              <a:avLst/>
            </a:prstTxWarp>
          </a:bodyPr>
          <a:lstStyle/>
          <a:p>
            <a:pPr marL="0" marR="0" lvl="0" indent="0" algn="l" defTabSz="914121"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15236611"/>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232" y="2084187"/>
            <a:ext cx="8961851" cy="1793090"/>
          </a:xfrm>
          <a:noFill/>
        </p:spPr>
        <p:txBody>
          <a:bodyPr lIns="146304" tIns="91440" rIns="146304" bIns="91440" anchor="t" anchorCtr="0"/>
          <a:lstStyle>
            <a:lvl1pPr>
              <a:defRPr sz="5293" spc="-99"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232" y="3878576"/>
            <a:ext cx="7169470"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8472" y="6118622"/>
            <a:ext cx="1255086" cy="268966"/>
          </a:xfrm>
          <a:prstGeom prst="rect">
            <a:avLst/>
          </a:prstGeom>
        </p:spPr>
      </p:pic>
    </p:spTree>
    <p:extLst>
      <p:ext uri="{BB962C8B-B14F-4D97-AF65-F5344CB8AC3E}">
        <p14:creationId xmlns:p14="http://schemas.microsoft.com/office/powerpoint/2010/main" val="25539182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169" y="1189177"/>
            <a:ext cx="11650488" cy="2050989"/>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37" indent="0">
              <a:buNone/>
              <a:defRPr/>
            </a:lvl3pPr>
            <a:lvl4pPr marL="448072" indent="0">
              <a:buNone/>
              <a:defRPr/>
            </a:lvl4pPr>
            <a:lvl5pPr marL="67210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64629833"/>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8"/>
            <a:ext cx="11650488" cy="2117332"/>
          </a:xfrm>
        </p:spPr>
        <p:txBody>
          <a:bodyPr>
            <a:spAutoFit/>
          </a:bodyPr>
          <a:lstStyle>
            <a:lvl1pPr>
              <a:defRPr sz="391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28292162"/>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2" y="1189176"/>
            <a:ext cx="5377147" cy="1942412"/>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48" indent="0">
              <a:buNone/>
              <a:tabLst/>
              <a:defRPr sz="1960"/>
            </a:lvl3pPr>
            <a:lvl4pPr marL="451184" indent="0">
              <a:buNone/>
              <a:defRPr/>
            </a:lvl4pPr>
            <a:lvl5pPr marL="672108"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2" y="1189176"/>
            <a:ext cx="5377147" cy="1942412"/>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48" indent="0">
              <a:buNone/>
              <a:tabLst/>
              <a:defRPr sz="1960"/>
            </a:lvl3pPr>
            <a:lvl4pPr marL="451184" indent="0">
              <a:buNone/>
              <a:defRPr/>
            </a:lvl4pPr>
            <a:lvl5pPr marL="672108"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3792448"/>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2" y="1189176"/>
            <a:ext cx="5377147" cy="2443234"/>
          </a:xfrm>
        </p:spPr>
        <p:txBody>
          <a:bodyPr wrap="square">
            <a:spAutoFit/>
          </a:bodyPr>
          <a:lstStyle>
            <a:lvl1pPr marL="281602" indent="-281602">
              <a:spcBef>
                <a:spcPts val="1200"/>
              </a:spcBef>
              <a:buClr>
                <a:schemeClr val="tx1"/>
              </a:buClr>
              <a:buFont typeface="Arial" pitchFamily="34" charset="0"/>
              <a:buChar char="•"/>
              <a:defRPr sz="3136"/>
            </a:lvl1pPr>
            <a:lvl2pPr marL="520561" indent="-228539">
              <a:defRPr sz="2352"/>
            </a:lvl2pPr>
            <a:lvl3pPr marL="685618" indent="-165056">
              <a:tabLst/>
              <a:defRPr sz="1960"/>
            </a:lvl3pPr>
            <a:lvl4pPr marL="863370" indent="-177753">
              <a:defRPr/>
            </a:lvl4pPr>
            <a:lvl5pPr marL="1028427" indent="-16505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2" y="1189176"/>
            <a:ext cx="5377147" cy="2443234"/>
          </a:xfrm>
        </p:spPr>
        <p:txBody>
          <a:bodyPr wrap="square">
            <a:spAutoFit/>
          </a:bodyPr>
          <a:lstStyle>
            <a:lvl1pPr marL="281602" indent="-281602">
              <a:spcBef>
                <a:spcPts val="1200"/>
              </a:spcBef>
              <a:buClr>
                <a:schemeClr val="tx1"/>
              </a:buClr>
              <a:buFont typeface="Arial" pitchFamily="34" charset="0"/>
              <a:buChar char="•"/>
              <a:defRPr sz="3136"/>
            </a:lvl1pPr>
            <a:lvl2pPr marL="520561" indent="-228539">
              <a:defRPr sz="2352"/>
            </a:lvl2pPr>
            <a:lvl3pPr marL="685618" indent="-165056">
              <a:tabLst/>
              <a:defRPr sz="1960"/>
            </a:lvl3pPr>
            <a:lvl4pPr marL="863370" indent="-177753">
              <a:defRPr/>
            </a:lvl4pPr>
            <a:lvl5pPr marL="1028427" indent="-16505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46956573"/>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13040221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683055037"/>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01973128"/>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40363"/>
            <a:ext cx="9856549" cy="995838"/>
          </a:xfrm>
          <a:noFill/>
        </p:spPr>
        <p:txBody>
          <a:bodyPr tIns="91440" bIns="91440" anchor="b" anchorCtr="0">
            <a:spAutoFit/>
          </a:bodyPr>
          <a:lstStyle>
            <a:lvl1pPr>
              <a:defRPr sz="5881" spc="-99"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836092" y="3694460"/>
            <a:ext cx="9858105" cy="669927"/>
          </a:xfrm>
          <a:noFill/>
        </p:spPr>
        <p:txBody>
          <a:bodyPr lIns="182880" tIns="146304" rIns="182880" bIns="146304">
            <a:spAutoFit/>
          </a:bodyPr>
          <a:lstStyle>
            <a:lvl1pPr marL="0" indent="0">
              <a:spcBef>
                <a:spcPts val="0"/>
              </a:spcBef>
              <a:buNone/>
              <a:defRPr sz="2744"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cxnSp>
        <p:nvCxnSpPr>
          <p:cNvPr id="10" name="Straight Connector 9"/>
          <p:cNvCxnSpPr/>
          <p:nvPr userDrawn="1"/>
        </p:nvCxnSpPr>
        <p:spPr>
          <a:xfrm>
            <a:off x="1010350" y="3429000"/>
            <a:ext cx="7167198"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36092" y="4207040"/>
            <a:ext cx="9858105" cy="615609"/>
          </a:xfrm>
          <a:noFill/>
        </p:spPr>
        <p:txBody>
          <a:bodyPr lIns="182880" tIns="146304" rIns="182880" bIns="146304">
            <a:spAutoFit/>
          </a:bodyPr>
          <a:lstStyle>
            <a:lvl1pPr marL="0" indent="0">
              <a:spcBef>
                <a:spcPts val="0"/>
              </a:spcBef>
              <a:buNone/>
              <a:defRPr sz="2352"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Optional Title Role, Company</a:t>
            </a:r>
          </a:p>
        </p:txBody>
      </p:sp>
    </p:spTree>
    <p:extLst>
      <p:ext uri="{BB962C8B-B14F-4D97-AF65-F5344CB8AC3E}">
        <p14:creationId xmlns:p14="http://schemas.microsoft.com/office/powerpoint/2010/main" val="33716585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4333" y="2240363"/>
            <a:ext cx="6945325" cy="995838"/>
          </a:xfrm>
          <a:noFill/>
        </p:spPr>
        <p:txBody>
          <a:bodyPr wrap="square" tIns="91440" bIns="91440" anchor="b" anchorCtr="0">
            <a:spAutoFit/>
          </a:bodyPr>
          <a:lstStyle>
            <a:lvl1pPr>
              <a:defRPr sz="5881" spc="-99"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4994559" y="3694460"/>
            <a:ext cx="6946423" cy="669927"/>
          </a:xfrm>
          <a:noFill/>
        </p:spPr>
        <p:txBody>
          <a:bodyPr wrap="square" lIns="182880" tIns="146304" rIns="182880" bIns="146304">
            <a:spAutoFit/>
          </a:bodyPr>
          <a:lstStyle>
            <a:lvl1pPr marL="0" indent="0">
              <a:spcBef>
                <a:spcPts val="0"/>
              </a:spcBef>
              <a:buNone/>
              <a:defRPr sz="2744"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cxnSp>
        <p:nvCxnSpPr>
          <p:cNvPr id="10" name="Straight Connector 9"/>
          <p:cNvCxnSpPr/>
          <p:nvPr userDrawn="1"/>
        </p:nvCxnSpPr>
        <p:spPr>
          <a:xfrm>
            <a:off x="5168818" y="3429000"/>
            <a:ext cx="6202636"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297065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531852274"/>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99236364"/>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85314483"/>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03257472"/>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05437413"/>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nk_charcoal_BUILD LOGO">
    <p:bg>
      <p:bgPr>
        <a:solidFill>
          <a:schemeClr val="bg1"/>
        </a:solidFill>
        <a:effectLst/>
      </p:bgPr>
    </p:bg>
    <p:spTree>
      <p:nvGrpSpPr>
        <p:cNvPr id="1" name=""/>
        <p:cNvGrpSpPr/>
        <p:nvPr/>
      </p:nvGrpSpPr>
      <p:grpSpPr>
        <a:xfrm>
          <a:off x="0" y="0"/>
          <a:ext cx="0" cy="0"/>
          <a:chOff x="0" y="0"/>
          <a:chExt cx="0" cy="0"/>
        </a:xfrm>
      </p:grpSpPr>
      <p:sp>
        <p:nvSpPr>
          <p:cNvPr id="4" name="Freeform 3"/>
          <p:cNvSpPr>
            <a:spLocks noEditPoints="1"/>
          </p:cNvSpPr>
          <p:nvPr userDrawn="1"/>
        </p:nvSpPr>
        <p:spPr bwMode="black">
          <a:xfrm>
            <a:off x="10530336" y="6220470"/>
            <a:ext cx="138019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6" tIns="44804" rIns="89606" bIns="44804" numCol="1" anchor="t" anchorCtr="0" compatLnSpc="1">
            <a:prstTxWarp prst="textNoShape">
              <a:avLst/>
            </a:prstTxWarp>
          </a:bodyPr>
          <a:lstStyle/>
          <a:p>
            <a:pPr marL="0" marR="0" lvl="0" indent="0" algn="l" defTabSz="914121"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055125956"/>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nk_blue_BUILD LOGO">
    <p:bg>
      <p:bgPr>
        <a:solidFill>
          <a:schemeClr val="accent1"/>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530336" y="6220470"/>
            <a:ext cx="138019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6" tIns="44804" rIns="89606" bIns="44804" numCol="1" anchor="t" anchorCtr="0" compatLnSpc="1">
            <a:prstTxWarp prst="textNoShape">
              <a:avLst/>
            </a:prstTxWarp>
          </a:bodyPr>
          <a:lstStyle/>
          <a:p>
            <a:pPr marL="0" marR="0" lvl="0" indent="0" algn="l" defTabSz="914121"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126129264"/>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2.pn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13.xml"/><Relationship Id="rId13" Type="http://schemas.openxmlformats.org/officeDocument/2006/relationships/slideLayout" Target="../slideLayouts/slideLayout218.xml"/><Relationship Id="rId18" Type="http://schemas.openxmlformats.org/officeDocument/2006/relationships/slideLayout" Target="../slideLayouts/slideLayout223.xml"/><Relationship Id="rId26" Type="http://schemas.openxmlformats.org/officeDocument/2006/relationships/slideLayout" Target="../slideLayouts/slideLayout231.xml"/><Relationship Id="rId3" Type="http://schemas.openxmlformats.org/officeDocument/2006/relationships/slideLayout" Target="../slideLayouts/slideLayout208.xml"/><Relationship Id="rId21" Type="http://schemas.openxmlformats.org/officeDocument/2006/relationships/slideLayout" Target="../slideLayouts/slideLayout226.xml"/><Relationship Id="rId7" Type="http://schemas.openxmlformats.org/officeDocument/2006/relationships/slideLayout" Target="../slideLayouts/slideLayout212.xml"/><Relationship Id="rId12" Type="http://schemas.openxmlformats.org/officeDocument/2006/relationships/slideLayout" Target="../slideLayouts/slideLayout217.xml"/><Relationship Id="rId17" Type="http://schemas.openxmlformats.org/officeDocument/2006/relationships/slideLayout" Target="../slideLayouts/slideLayout222.xml"/><Relationship Id="rId25" Type="http://schemas.openxmlformats.org/officeDocument/2006/relationships/slideLayout" Target="../slideLayouts/slideLayout230.xml"/><Relationship Id="rId33" Type="http://schemas.openxmlformats.org/officeDocument/2006/relationships/theme" Target="../theme/theme10.xml"/><Relationship Id="rId2" Type="http://schemas.openxmlformats.org/officeDocument/2006/relationships/slideLayout" Target="../slideLayouts/slideLayout207.xml"/><Relationship Id="rId16" Type="http://schemas.openxmlformats.org/officeDocument/2006/relationships/slideLayout" Target="../slideLayouts/slideLayout221.xml"/><Relationship Id="rId20" Type="http://schemas.openxmlformats.org/officeDocument/2006/relationships/slideLayout" Target="../slideLayouts/slideLayout225.xml"/><Relationship Id="rId29" Type="http://schemas.openxmlformats.org/officeDocument/2006/relationships/slideLayout" Target="../slideLayouts/slideLayout234.xml"/><Relationship Id="rId1" Type="http://schemas.openxmlformats.org/officeDocument/2006/relationships/slideLayout" Target="../slideLayouts/slideLayout206.xml"/><Relationship Id="rId6" Type="http://schemas.openxmlformats.org/officeDocument/2006/relationships/slideLayout" Target="../slideLayouts/slideLayout211.xml"/><Relationship Id="rId11" Type="http://schemas.openxmlformats.org/officeDocument/2006/relationships/slideLayout" Target="../slideLayouts/slideLayout216.xml"/><Relationship Id="rId24" Type="http://schemas.openxmlformats.org/officeDocument/2006/relationships/slideLayout" Target="../slideLayouts/slideLayout229.xml"/><Relationship Id="rId32" Type="http://schemas.openxmlformats.org/officeDocument/2006/relationships/slideLayout" Target="../slideLayouts/slideLayout237.xml"/><Relationship Id="rId5" Type="http://schemas.openxmlformats.org/officeDocument/2006/relationships/slideLayout" Target="../slideLayouts/slideLayout210.xml"/><Relationship Id="rId15" Type="http://schemas.openxmlformats.org/officeDocument/2006/relationships/slideLayout" Target="../slideLayouts/slideLayout220.xml"/><Relationship Id="rId23" Type="http://schemas.openxmlformats.org/officeDocument/2006/relationships/slideLayout" Target="../slideLayouts/slideLayout228.xml"/><Relationship Id="rId28" Type="http://schemas.openxmlformats.org/officeDocument/2006/relationships/slideLayout" Target="../slideLayouts/slideLayout233.xml"/><Relationship Id="rId10" Type="http://schemas.openxmlformats.org/officeDocument/2006/relationships/slideLayout" Target="../slideLayouts/slideLayout215.xml"/><Relationship Id="rId19" Type="http://schemas.openxmlformats.org/officeDocument/2006/relationships/slideLayout" Target="../slideLayouts/slideLayout224.xml"/><Relationship Id="rId31" Type="http://schemas.openxmlformats.org/officeDocument/2006/relationships/slideLayout" Target="../slideLayouts/slideLayout236.xml"/><Relationship Id="rId4" Type="http://schemas.openxmlformats.org/officeDocument/2006/relationships/slideLayout" Target="../slideLayouts/slideLayout209.xml"/><Relationship Id="rId9" Type="http://schemas.openxmlformats.org/officeDocument/2006/relationships/slideLayout" Target="../slideLayouts/slideLayout214.xml"/><Relationship Id="rId14" Type="http://schemas.openxmlformats.org/officeDocument/2006/relationships/slideLayout" Target="../slideLayouts/slideLayout219.xml"/><Relationship Id="rId22" Type="http://schemas.openxmlformats.org/officeDocument/2006/relationships/slideLayout" Target="../slideLayouts/slideLayout227.xml"/><Relationship Id="rId27" Type="http://schemas.openxmlformats.org/officeDocument/2006/relationships/slideLayout" Target="../slideLayouts/slideLayout232.xml"/><Relationship Id="rId30" Type="http://schemas.openxmlformats.org/officeDocument/2006/relationships/slideLayout" Target="../slideLayouts/slideLayout235.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45.xml"/><Relationship Id="rId13" Type="http://schemas.openxmlformats.org/officeDocument/2006/relationships/slideLayout" Target="../slideLayouts/slideLayout250.xml"/><Relationship Id="rId18" Type="http://schemas.openxmlformats.org/officeDocument/2006/relationships/slideLayout" Target="../slideLayouts/slideLayout255.xml"/><Relationship Id="rId3" Type="http://schemas.openxmlformats.org/officeDocument/2006/relationships/slideLayout" Target="../slideLayouts/slideLayout240.xml"/><Relationship Id="rId21" Type="http://schemas.openxmlformats.org/officeDocument/2006/relationships/slideLayout" Target="../slideLayouts/slideLayout258.xml"/><Relationship Id="rId7" Type="http://schemas.openxmlformats.org/officeDocument/2006/relationships/slideLayout" Target="../slideLayouts/slideLayout244.xml"/><Relationship Id="rId12" Type="http://schemas.openxmlformats.org/officeDocument/2006/relationships/slideLayout" Target="../slideLayouts/slideLayout249.xml"/><Relationship Id="rId17" Type="http://schemas.openxmlformats.org/officeDocument/2006/relationships/slideLayout" Target="../slideLayouts/slideLayout254.xml"/><Relationship Id="rId2" Type="http://schemas.openxmlformats.org/officeDocument/2006/relationships/slideLayout" Target="../slideLayouts/slideLayout239.xml"/><Relationship Id="rId16" Type="http://schemas.openxmlformats.org/officeDocument/2006/relationships/slideLayout" Target="../slideLayouts/slideLayout253.xml"/><Relationship Id="rId20" Type="http://schemas.openxmlformats.org/officeDocument/2006/relationships/slideLayout" Target="../slideLayouts/slideLayout257.xml"/><Relationship Id="rId1" Type="http://schemas.openxmlformats.org/officeDocument/2006/relationships/slideLayout" Target="../slideLayouts/slideLayout238.xml"/><Relationship Id="rId6" Type="http://schemas.openxmlformats.org/officeDocument/2006/relationships/slideLayout" Target="../slideLayouts/slideLayout243.xml"/><Relationship Id="rId11" Type="http://schemas.openxmlformats.org/officeDocument/2006/relationships/slideLayout" Target="../slideLayouts/slideLayout248.xml"/><Relationship Id="rId24" Type="http://schemas.openxmlformats.org/officeDocument/2006/relationships/image" Target="../media/image77.png"/><Relationship Id="rId5" Type="http://schemas.openxmlformats.org/officeDocument/2006/relationships/slideLayout" Target="../slideLayouts/slideLayout242.xml"/><Relationship Id="rId15" Type="http://schemas.openxmlformats.org/officeDocument/2006/relationships/slideLayout" Target="../slideLayouts/slideLayout252.xml"/><Relationship Id="rId23" Type="http://schemas.openxmlformats.org/officeDocument/2006/relationships/theme" Target="../theme/theme11.xml"/><Relationship Id="rId10" Type="http://schemas.openxmlformats.org/officeDocument/2006/relationships/slideLayout" Target="../slideLayouts/slideLayout247.xml"/><Relationship Id="rId19" Type="http://schemas.openxmlformats.org/officeDocument/2006/relationships/slideLayout" Target="../slideLayouts/slideLayout256.xml"/><Relationship Id="rId4" Type="http://schemas.openxmlformats.org/officeDocument/2006/relationships/slideLayout" Target="../slideLayouts/slideLayout241.xml"/><Relationship Id="rId9" Type="http://schemas.openxmlformats.org/officeDocument/2006/relationships/slideLayout" Target="../slideLayouts/slideLayout246.xml"/><Relationship Id="rId14" Type="http://schemas.openxmlformats.org/officeDocument/2006/relationships/slideLayout" Target="../slideLayouts/slideLayout251.xml"/><Relationship Id="rId22" Type="http://schemas.openxmlformats.org/officeDocument/2006/relationships/slideLayout" Target="../slideLayouts/slideLayout259.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67.xml"/><Relationship Id="rId13" Type="http://schemas.openxmlformats.org/officeDocument/2006/relationships/slideLayout" Target="../slideLayouts/slideLayout272.xml"/><Relationship Id="rId18" Type="http://schemas.openxmlformats.org/officeDocument/2006/relationships/slideLayout" Target="../slideLayouts/slideLayout277.xml"/><Relationship Id="rId26" Type="http://schemas.openxmlformats.org/officeDocument/2006/relationships/slideLayout" Target="../slideLayouts/slideLayout285.xml"/><Relationship Id="rId3" Type="http://schemas.openxmlformats.org/officeDocument/2006/relationships/slideLayout" Target="../slideLayouts/slideLayout262.xml"/><Relationship Id="rId21" Type="http://schemas.openxmlformats.org/officeDocument/2006/relationships/slideLayout" Target="../slideLayouts/slideLayout280.xml"/><Relationship Id="rId34" Type="http://schemas.openxmlformats.org/officeDocument/2006/relationships/image" Target="../media/image90.png"/><Relationship Id="rId7" Type="http://schemas.openxmlformats.org/officeDocument/2006/relationships/slideLayout" Target="../slideLayouts/slideLayout266.xml"/><Relationship Id="rId12" Type="http://schemas.openxmlformats.org/officeDocument/2006/relationships/slideLayout" Target="../slideLayouts/slideLayout271.xml"/><Relationship Id="rId17" Type="http://schemas.openxmlformats.org/officeDocument/2006/relationships/slideLayout" Target="../slideLayouts/slideLayout276.xml"/><Relationship Id="rId25" Type="http://schemas.openxmlformats.org/officeDocument/2006/relationships/slideLayout" Target="../slideLayouts/slideLayout284.xml"/><Relationship Id="rId33" Type="http://schemas.openxmlformats.org/officeDocument/2006/relationships/image" Target="../media/image89.png"/><Relationship Id="rId2" Type="http://schemas.openxmlformats.org/officeDocument/2006/relationships/slideLayout" Target="../slideLayouts/slideLayout261.xml"/><Relationship Id="rId16" Type="http://schemas.openxmlformats.org/officeDocument/2006/relationships/slideLayout" Target="../slideLayouts/slideLayout275.xml"/><Relationship Id="rId20" Type="http://schemas.openxmlformats.org/officeDocument/2006/relationships/slideLayout" Target="../slideLayouts/slideLayout279.xml"/><Relationship Id="rId29" Type="http://schemas.openxmlformats.org/officeDocument/2006/relationships/slideLayout" Target="../slideLayouts/slideLayout288.xml"/><Relationship Id="rId1" Type="http://schemas.openxmlformats.org/officeDocument/2006/relationships/slideLayout" Target="../slideLayouts/slideLayout260.xml"/><Relationship Id="rId6" Type="http://schemas.openxmlformats.org/officeDocument/2006/relationships/slideLayout" Target="../slideLayouts/slideLayout265.xml"/><Relationship Id="rId11" Type="http://schemas.openxmlformats.org/officeDocument/2006/relationships/slideLayout" Target="../slideLayouts/slideLayout270.xml"/><Relationship Id="rId24" Type="http://schemas.openxmlformats.org/officeDocument/2006/relationships/slideLayout" Target="../slideLayouts/slideLayout283.xml"/><Relationship Id="rId32" Type="http://schemas.openxmlformats.org/officeDocument/2006/relationships/theme" Target="../theme/theme12.xml"/><Relationship Id="rId5" Type="http://schemas.openxmlformats.org/officeDocument/2006/relationships/slideLayout" Target="../slideLayouts/slideLayout264.xml"/><Relationship Id="rId15" Type="http://schemas.openxmlformats.org/officeDocument/2006/relationships/slideLayout" Target="../slideLayouts/slideLayout274.xml"/><Relationship Id="rId23" Type="http://schemas.openxmlformats.org/officeDocument/2006/relationships/slideLayout" Target="../slideLayouts/slideLayout282.xml"/><Relationship Id="rId28" Type="http://schemas.openxmlformats.org/officeDocument/2006/relationships/slideLayout" Target="../slideLayouts/slideLayout287.xml"/><Relationship Id="rId10" Type="http://schemas.openxmlformats.org/officeDocument/2006/relationships/slideLayout" Target="../slideLayouts/slideLayout269.xml"/><Relationship Id="rId19" Type="http://schemas.openxmlformats.org/officeDocument/2006/relationships/slideLayout" Target="../slideLayouts/slideLayout278.xml"/><Relationship Id="rId31" Type="http://schemas.openxmlformats.org/officeDocument/2006/relationships/slideLayout" Target="../slideLayouts/slideLayout290.xml"/><Relationship Id="rId4" Type="http://schemas.openxmlformats.org/officeDocument/2006/relationships/slideLayout" Target="../slideLayouts/slideLayout263.xml"/><Relationship Id="rId9" Type="http://schemas.openxmlformats.org/officeDocument/2006/relationships/slideLayout" Target="../slideLayouts/slideLayout268.xml"/><Relationship Id="rId14" Type="http://schemas.openxmlformats.org/officeDocument/2006/relationships/slideLayout" Target="../slideLayouts/slideLayout273.xml"/><Relationship Id="rId22" Type="http://schemas.openxmlformats.org/officeDocument/2006/relationships/slideLayout" Target="../slideLayouts/slideLayout281.xml"/><Relationship Id="rId27" Type="http://schemas.openxmlformats.org/officeDocument/2006/relationships/slideLayout" Target="../slideLayouts/slideLayout286.xml"/><Relationship Id="rId30" Type="http://schemas.openxmlformats.org/officeDocument/2006/relationships/slideLayout" Target="../slideLayouts/slideLayout289.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98.xml"/><Relationship Id="rId13" Type="http://schemas.openxmlformats.org/officeDocument/2006/relationships/slideLayout" Target="../slideLayouts/slideLayout303.xml"/><Relationship Id="rId18" Type="http://schemas.openxmlformats.org/officeDocument/2006/relationships/slideLayout" Target="../slideLayouts/slideLayout308.xml"/><Relationship Id="rId26" Type="http://schemas.openxmlformats.org/officeDocument/2006/relationships/slideLayout" Target="../slideLayouts/slideLayout316.xml"/><Relationship Id="rId3" Type="http://schemas.openxmlformats.org/officeDocument/2006/relationships/slideLayout" Target="../slideLayouts/slideLayout293.xml"/><Relationship Id="rId21" Type="http://schemas.openxmlformats.org/officeDocument/2006/relationships/slideLayout" Target="../slideLayouts/slideLayout311.xml"/><Relationship Id="rId34" Type="http://schemas.openxmlformats.org/officeDocument/2006/relationships/image" Target="../media/image90.png"/><Relationship Id="rId7" Type="http://schemas.openxmlformats.org/officeDocument/2006/relationships/slideLayout" Target="../slideLayouts/slideLayout297.xml"/><Relationship Id="rId12" Type="http://schemas.openxmlformats.org/officeDocument/2006/relationships/slideLayout" Target="../slideLayouts/slideLayout302.xml"/><Relationship Id="rId17" Type="http://schemas.openxmlformats.org/officeDocument/2006/relationships/slideLayout" Target="../slideLayouts/slideLayout307.xml"/><Relationship Id="rId25" Type="http://schemas.openxmlformats.org/officeDocument/2006/relationships/slideLayout" Target="../slideLayouts/slideLayout315.xml"/><Relationship Id="rId33" Type="http://schemas.openxmlformats.org/officeDocument/2006/relationships/image" Target="../media/image89.png"/><Relationship Id="rId2" Type="http://schemas.openxmlformats.org/officeDocument/2006/relationships/slideLayout" Target="../slideLayouts/slideLayout292.xml"/><Relationship Id="rId16" Type="http://schemas.openxmlformats.org/officeDocument/2006/relationships/slideLayout" Target="../slideLayouts/slideLayout306.xml"/><Relationship Id="rId20" Type="http://schemas.openxmlformats.org/officeDocument/2006/relationships/slideLayout" Target="../slideLayouts/slideLayout310.xml"/><Relationship Id="rId29" Type="http://schemas.openxmlformats.org/officeDocument/2006/relationships/slideLayout" Target="../slideLayouts/slideLayout319.xml"/><Relationship Id="rId1" Type="http://schemas.openxmlformats.org/officeDocument/2006/relationships/slideLayout" Target="../slideLayouts/slideLayout291.xml"/><Relationship Id="rId6" Type="http://schemas.openxmlformats.org/officeDocument/2006/relationships/slideLayout" Target="../slideLayouts/slideLayout296.xml"/><Relationship Id="rId11" Type="http://schemas.openxmlformats.org/officeDocument/2006/relationships/slideLayout" Target="../slideLayouts/slideLayout301.xml"/><Relationship Id="rId24" Type="http://schemas.openxmlformats.org/officeDocument/2006/relationships/slideLayout" Target="../slideLayouts/slideLayout314.xml"/><Relationship Id="rId32" Type="http://schemas.openxmlformats.org/officeDocument/2006/relationships/theme" Target="../theme/theme13.xml"/><Relationship Id="rId5" Type="http://schemas.openxmlformats.org/officeDocument/2006/relationships/slideLayout" Target="../slideLayouts/slideLayout295.xml"/><Relationship Id="rId15" Type="http://schemas.openxmlformats.org/officeDocument/2006/relationships/slideLayout" Target="../slideLayouts/slideLayout305.xml"/><Relationship Id="rId23" Type="http://schemas.openxmlformats.org/officeDocument/2006/relationships/slideLayout" Target="../slideLayouts/slideLayout313.xml"/><Relationship Id="rId28" Type="http://schemas.openxmlformats.org/officeDocument/2006/relationships/slideLayout" Target="../slideLayouts/slideLayout318.xml"/><Relationship Id="rId10" Type="http://schemas.openxmlformats.org/officeDocument/2006/relationships/slideLayout" Target="../slideLayouts/slideLayout300.xml"/><Relationship Id="rId19" Type="http://schemas.openxmlformats.org/officeDocument/2006/relationships/slideLayout" Target="../slideLayouts/slideLayout309.xml"/><Relationship Id="rId31" Type="http://schemas.openxmlformats.org/officeDocument/2006/relationships/slideLayout" Target="../slideLayouts/slideLayout321.xml"/><Relationship Id="rId4" Type="http://schemas.openxmlformats.org/officeDocument/2006/relationships/slideLayout" Target="../slideLayouts/slideLayout294.xml"/><Relationship Id="rId9" Type="http://schemas.openxmlformats.org/officeDocument/2006/relationships/slideLayout" Target="../slideLayouts/slideLayout299.xml"/><Relationship Id="rId14" Type="http://schemas.openxmlformats.org/officeDocument/2006/relationships/slideLayout" Target="../slideLayouts/slideLayout304.xml"/><Relationship Id="rId22" Type="http://schemas.openxmlformats.org/officeDocument/2006/relationships/slideLayout" Target="../slideLayouts/slideLayout312.xml"/><Relationship Id="rId27" Type="http://schemas.openxmlformats.org/officeDocument/2006/relationships/slideLayout" Target="../slideLayouts/slideLayout317.xml"/><Relationship Id="rId30" Type="http://schemas.openxmlformats.org/officeDocument/2006/relationships/slideLayout" Target="../slideLayouts/slideLayout320.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29.xml"/><Relationship Id="rId13" Type="http://schemas.openxmlformats.org/officeDocument/2006/relationships/slideLayout" Target="../slideLayouts/slideLayout334.xml"/><Relationship Id="rId18" Type="http://schemas.openxmlformats.org/officeDocument/2006/relationships/slideLayout" Target="../slideLayouts/slideLayout339.xml"/><Relationship Id="rId26" Type="http://schemas.openxmlformats.org/officeDocument/2006/relationships/slideLayout" Target="../slideLayouts/slideLayout347.xml"/><Relationship Id="rId3" Type="http://schemas.openxmlformats.org/officeDocument/2006/relationships/slideLayout" Target="../slideLayouts/slideLayout324.xml"/><Relationship Id="rId21" Type="http://schemas.openxmlformats.org/officeDocument/2006/relationships/slideLayout" Target="../slideLayouts/slideLayout342.xml"/><Relationship Id="rId34" Type="http://schemas.openxmlformats.org/officeDocument/2006/relationships/slideLayout" Target="../slideLayouts/slideLayout355.xml"/><Relationship Id="rId7" Type="http://schemas.openxmlformats.org/officeDocument/2006/relationships/slideLayout" Target="../slideLayouts/slideLayout328.xml"/><Relationship Id="rId12" Type="http://schemas.openxmlformats.org/officeDocument/2006/relationships/slideLayout" Target="../slideLayouts/slideLayout333.xml"/><Relationship Id="rId17" Type="http://schemas.openxmlformats.org/officeDocument/2006/relationships/slideLayout" Target="../slideLayouts/slideLayout338.xml"/><Relationship Id="rId25" Type="http://schemas.openxmlformats.org/officeDocument/2006/relationships/slideLayout" Target="../slideLayouts/slideLayout346.xml"/><Relationship Id="rId33" Type="http://schemas.openxmlformats.org/officeDocument/2006/relationships/slideLayout" Target="../slideLayouts/slideLayout354.xml"/><Relationship Id="rId2" Type="http://schemas.openxmlformats.org/officeDocument/2006/relationships/slideLayout" Target="../slideLayouts/slideLayout323.xml"/><Relationship Id="rId16" Type="http://schemas.openxmlformats.org/officeDocument/2006/relationships/slideLayout" Target="../slideLayouts/slideLayout337.xml"/><Relationship Id="rId20" Type="http://schemas.openxmlformats.org/officeDocument/2006/relationships/slideLayout" Target="../slideLayouts/slideLayout341.xml"/><Relationship Id="rId29" Type="http://schemas.openxmlformats.org/officeDocument/2006/relationships/slideLayout" Target="../slideLayouts/slideLayout350.xml"/><Relationship Id="rId1" Type="http://schemas.openxmlformats.org/officeDocument/2006/relationships/slideLayout" Target="../slideLayouts/slideLayout322.xml"/><Relationship Id="rId6" Type="http://schemas.openxmlformats.org/officeDocument/2006/relationships/slideLayout" Target="../slideLayouts/slideLayout327.xml"/><Relationship Id="rId11" Type="http://schemas.openxmlformats.org/officeDocument/2006/relationships/slideLayout" Target="../slideLayouts/slideLayout332.xml"/><Relationship Id="rId24" Type="http://schemas.openxmlformats.org/officeDocument/2006/relationships/slideLayout" Target="../slideLayouts/slideLayout345.xml"/><Relationship Id="rId32" Type="http://schemas.openxmlformats.org/officeDocument/2006/relationships/slideLayout" Target="../slideLayouts/slideLayout353.xml"/><Relationship Id="rId5" Type="http://schemas.openxmlformats.org/officeDocument/2006/relationships/slideLayout" Target="../slideLayouts/slideLayout326.xml"/><Relationship Id="rId15" Type="http://schemas.openxmlformats.org/officeDocument/2006/relationships/slideLayout" Target="../slideLayouts/slideLayout336.xml"/><Relationship Id="rId23" Type="http://schemas.openxmlformats.org/officeDocument/2006/relationships/slideLayout" Target="../slideLayouts/slideLayout344.xml"/><Relationship Id="rId28" Type="http://schemas.openxmlformats.org/officeDocument/2006/relationships/slideLayout" Target="../slideLayouts/slideLayout349.xml"/><Relationship Id="rId36" Type="http://schemas.openxmlformats.org/officeDocument/2006/relationships/image" Target="../media/image10.png"/><Relationship Id="rId10" Type="http://schemas.openxmlformats.org/officeDocument/2006/relationships/slideLayout" Target="../slideLayouts/slideLayout331.xml"/><Relationship Id="rId19" Type="http://schemas.openxmlformats.org/officeDocument/2006/relationships/slideLayout" Target="../slideLayouts/slideLayout340.xml"/><Relationship Id="rId31" Type="http://schemas.openxmlformats.org/officeDocument/2006/relationships/slideLayout" Target="../slideLayouts/slideLayout352.xml"/><Relationship Id="rId4" Type="http://schemas.openxmlformats.org/officeDocument/2006/relationships/slideLayout" Target="../slideLayouts/slideLayout325.xml"/><Relationship Id="rId9" Type="http://schemas.openxmlformats.org/officeDocument/2006/relationships/slideLayout" Target="../slideLayouts/slideLayout330.xml"/><Relationship Id="rId14" Type="http://schemas.openxmlformats.org/officeDocument/2006/relationships/slideLayout" Target="../slideLayouts/slideLayout335.xml"/><Relationship Id="rId22" Type="http://schemas.openxmlformats.org/officeDocument/2006/relationships/slideLayout" Target="../slideLayouts/slideLayout343.xml"/><Relationship Id="rId27" Type="http://schemas.openxmlformats.org/officeDocument/2006/relationships/slideLayout" Target="../slideLayouts/slideLayout348.xml"/><Relationship Id="rId30" Type="http://schemas.openxmlformats.org/officeDocument/2006/relationships/slideLayout" Target="../slideLayouts/slideLayout351.xml"/><Relationship Id="rId35"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63.xml"/><Relationship Id="rId13" Type="http://schemas.openxmlformats.org/officeDocument/2006/relationships/slideLayout" Target="../slideLayouts/slideLayout368.xml"/><Relationship Id="rId18" Type="http://schemas.openxmlformats.org/officeDocument/2006/relationships/slideLayout" Target="../slideLayouts/slideLayout373.xml"/><Relationship Id="rId3" Type="http://schemas.openxmlformats.org/officeDocument/2006/relationships/slideLayout" Target="../slideLayouts/slideLayout358.xml"/><Relationship Id="rId7" Type="http://schemas.openxmlformats.org/officeDocument/2006/relationships/slideLayout" Target="../slideLayouts/slideLayout362.xml"/><Relationship Id="rId12" Type="http://schemas.openxmlformats.org/officeDocument/2006/relationships/slideLayout" Target="../slideLayouts/slideLayout367.xml"/><Relationship Id="rId17" Type="http://schemas.openxmlformats.org/officeDocument/2006/relationships/slideLayout" Target="../slideLayouts/slideLayout372.xml"/><Relationship Id="rId2" Type="http://schemas.openxmlformats.org/officeDocument/2006/relationships/slideLayout" Target="../slideLayouts/slideLayout357.xml"/><Relationship Id="rId16" Type="http://schemas.openxmlformats.org/officeDocument/2006/relationships/slideLayout" Target="../slideLayouts/slideLayout371.xml"/><Relationship Id="rId1" Type="http://schemas.openxmlformats.org/officeDocument/2006/relationships/slideLayout" Target="../slideLayouts/slideLayout356.xml"/><Relationship Id="rId6" Type="http://schemas.openxmlformats.org/officeDocument/2006/relationships/slideLayout" Target="../slideLayouts/slideLayout361.xml"/><Relationship Id="rId11" Type="http://schemas.openxmlformats.org/officeDocument/2006/relationships/slideLayout" Target="../slideLayouts/slideLayout366.xml"/><Relationship Id="rId5" Type="http://schemas.openxmlformats.org/officeDocument/2006/relationships/slideLayout" Target="../slideLayouts/slideLayout360.xml"/><Relationship Id="rId15" Type="http://schemas.openxmlformats.org/officeDocument/2006/relationships/slideLayout" Target="../slideLayouts/slideLayout370.xml"/><Relationship Id="rId10" Type="http://schemas.openxmlformats.org/officeDocument/2006/relationships/slideLayout" Target="../slideLayouts/slideLayout365.xml"/><Relationship Id="rId19" Type="http://schemas.openxmlformats.org/officeDocument/2006/relationships/theme" Target="../theme/theme15.xml"/><Relationship Id="rId4" Type="http://schemas.openxmlformats.org/officeDocument/2006/relationships/slideLayout" Target="../slideLayouts/slideLayout359.xml"/><Relationship Id="rId9" Type="http://schemas.openxmlformats.org/officeDocument/2006/relationships/slideLayout" Target="../slideLayouts/slideLayout364.xml"/><Relationship Id="rId14" Type="http://schemas.openxmlformats.org/officeDocument/2006/relationships/slideLayout" Target="../slideLayouts/slideLayout369.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81.xml"/><Relationship Id="rId13" Type="http://schemas.openxmlformats.org/officeDocument/2006/relationships/slideLayout" Target="../slideLayouts/slideLayout386.xml"/><Relationship Id="rId18" Type="http://schemas.openxmlformats.org/officeDocument/2006/relationships/slideLayout" Target="../slideLayouts/slideLayout391.xml"/><Relationship Id="rId3" Type="http://schemas.openxmlformats.org/officeDocument/2006/relationships/slideLayout" Target="../slideLayouts/slideLayout376.xml"/><Relationship Id="rId21" Type="http://schemas.openxmlformats.org/officeDocument/2006/relationships/slideLayout" Target="../slideLayouts/slideLayout394.xml"/><Relationship Id="rId7" Type="http://schemas.openxmlformats.org/officeDocument/2006/relationships/slideLayout" Target="../slideLayouts/slideLayout380.xml"/><Relationship Id="rId12" Type="http://schemas.openxmlformats.org/officeDocument/2006/relationships/slideLayout" Target="../slideLayouts/slideLayout385.xml"/><Relationship Id="rId17" Type="http://schemas.openxmlformats.org/officeDocument/2006/relationships/slideLayout" Target="../slideLayouts/slideLayout390.xml"/><Relationship Id="rId2" Type="http://schemas.openxmlformats.org/officeDocument/2006/relationships/slideLayout" Target="../slideLayouts/slideLayout375.xml"/><Relationship Id="rId16" Type="http://schemas.openxmlformats.org/officeDocument/2006/relationships/slideLayout" Target="../slideLayouts/slideLayout389.xml"/><Relationship Id="rId20" Type="http://schemas.openxmlformats.org/officeDocument/2006/relationships/slideLayout" Target="../slideLayouts/slideLayout393.xml"/><Relationship Id="rId1" Type="http://schemas.openxmlformats.org/officeDocument/2006/relationships/slideLayout" Target="../slideLayouts/slideLayout374.xml"/><Relationship Id="rId6" Type="http://schemas.openxmlformats.org/officeDocument/2006/relationships/slideLayout" Target="../slideLayouts/slideLayout379.xml"/><Relationship Id="rId11" Type="http://schemas.openxmlformats.org/officeDocument/2006/relationships/slideLayout" Target="../slideLayouts/slideLayout384.xml"/><Relationship Id="rId5" Type="http://schemas.openxmlformats.org/officeDocument/2006/relationships/slideLayout" Target="../slideLayouts/slideLayout378.xml"/><Relationship Id="rId15" Type="http://schemas.openxmlformats.org/officeDocument/2006/relationships/slideLayout" Target="../slideLayouts/slideLayout388.xml"/><Relationship Id="rId23" Type="http://schemas.openxmlformats.org/officeDocument/2006/relationships/image" Target="../media/image10.png"/><Relationship Id="rId10" Type="http://schemas.openxmlformats.org/officeDocument/2006/relationships/slideLayout" Target="../slideLayouts/slideLayout383.xml"/><Relationship Id="rId19" Type="http://schemas.openxmlformats.org/officeDocument/2006/relationships/slideLayout" Target="../slideLayouts/slideLayout392.xml"/><Relationship Id="rId4" Type="http://schemas.openxmlformats.org/officeDocument/2006/relationships/slideLayout" Target="../slideLayouts/slideLayout377.xml"/><Relationship Id="rId9" Type="http://schemas.openxmlformats.org/officeDocument/2006/relationships/slideLayout" Target="../slideLayouts/slideLayout382.xml"/><Relationship Id="rId14" Type="http://schemas.openxmlformats.org/officeDocument/2006/relationships/slideLayout" Target="../slideLayouts/slideLayout387.xml"/><Relationship Id="rId22"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402.xml"/><Relationship Id="rId13" Type="http://schemas.openxmlformats.org/officeDocument/2006/relationships/slideLayout" Target="../slideLayouts/slideLayout407.xml"/><Relationship Id="rId18" Type="http://schemas.openxmlformats.org/officeDocument/2006/relationships/slideLayout" Target="../slideLayouts/slideLayout412.xml"/><Relationship Id="rId26" Type="http://schemas.openxmlformats.org/officeDocument/2006/relationships/slideLayout" Target="../slideLayouts/slideLayout420.xml"/><Relationship Id="rId3" Type="http://schemas.openxmlformats.org/officeDocument/2006/relationships/slideLayout" Target="../slideLayouts/slideLayout397.xml"/><Relationship Id="rId21" Type="http://schemas.openxmlformats.org/officeDocument/2006/relationships/slideLayout" Target="../slideLayouts/slideLayout415.xml"/><Relationship Id="rId34" Type="http://schemas.openxmlformats.org/officeDocument/2006/relationships/image" Target="../media/image89.png"/><Relationship Id="rId7" Type="http://schemas.openxmlformats.org/officeDocument/2006/relationships/slideLayout" Target="../slideLayouts/slideLayout401.xml"/><Relationship Id="rId12" Type="http://schemas.openxmlformats.org/officeDocument/2006/relationships/slideLayout" Target="../slideLayouts/slideLayout406.xml"/><Relationship Id="rId17" Type="http://schemas.openxmlformats.org/officeDocument/2006/relationships/slideLayout" Target="../slideLayouts/slideLayout411.xml"/><Relationship Id="rId25" Type="http://schemas.openxmlformats.org/officeDocument/2006/relationships/slideLayout" Target="../slideLayouts/slideLayout419.xml"/><Relationship Id="rId33" Type="http://schemas.openxmlformats.org/officeDocument/2006/relationships/theme" Target="../theme/theme17.xml"/><Relationship Id="rId2" Type="http://schemas.openxmlformats.org/officeDocument/2006/relationships/slideLayout" Target="../slideLayouts/slideLayout396.xml"/><Relationship Id="rId16" Type="http://schemas.openxmlformats.org/officeDocument/2006/relationships/slideLayout" Target="../slideLayouts/slideLayout410.xml"/><Relationship Id="rId20" Type="http://schemas.openxmlformats.org/officeDocument/2006/relationships/slideLayout" Target="../slideLayouts/slideLayout414.xml"/><Relationship Id="rId29" Type="http://schemas.openxmlformats.org/officeDocument/2006/relationships/slideLayout" Target="../slideLayouts/slideLayout423.xml"/><Relationship Id="rId1" Type="http://schemas.openxmlformats.org/officeDocument/2006/relationships/slideLayout" Target="../slideLayouts/slideLayout395.xml"/><Relationship Id="rId6" Type="http://schemas.openxmlformats.org/officeDocument/2006/relationships/slideLayout" Target="../slideLayouts/slideLayout400.xml"/><Relationship Id="rId11" Type="http://schemas.openxmlformats.org/officeDocument/2006/relationships/slideLayout" Target="../slideLayouts/slideLayout405.xml"/><Relationship Id="rId24" Type="http://schemas.openxmlformats.org/officeDocument/2006/relationships/slideLayout" Target="../slideLayouts/slideLayout418.xml"/><Relationship Id="rId32" Type="http://schemas.openxmlformats.org/officeDocument/2006/relationships/slideLayout" Target="../slideLayouts/slideLayout426.xml"/><Relationship Id="rId5" Type="http://schemas.openxmlformats.org/officeDocument/2006/relationships/slideLayout" Target="../slideLayouts/slideLayout399.xml"/><Relationship Id="rId15" Type="http://schemas.openxmlformats.org/officeDocument/2006/relationships/slideLayout" Target="../slideLayouts/slideLayout409.xml"/><Relationship Id="rId23" Type="http://schemas.openxmlformats.org/officeDocument/2006/relationships/slideLayout" Target="../slideLayouts/slideLayout417.xml"/><Relationship Id="rId28" Type="http://schemas.openxmlformats.org/officeDocument/2006/relationships/slideLayout" Target="../slideLayouts/slideLayout422.xml"/><Relationship Id="rId10" Type="http://schemas.openxmlformats.org/officeDocument/2006/relationships/slideLayout" Target="../slideLayouts/slideLayout404.xml"/><Relationship Id="rId19" Type="http://schemas.openxmlformats.org/officeDocument/2006/relationships/slideLayout" Target="../slideLayouts/slideLayout413.xml"/><Relationship Id="rId31" Type="http://schemas.openxmlformats.org/officeDocument/2006/relationships/slideLayout" Target="../slideLayouts/slideLayout425.xml"/><Relationship Id="rId4" Type="http://schemas.openxmlformats.org/officeDocument/2006/relationships/slideLayout" Target="../slideLayouts/slideLayout398.xml"/><Relationship Id="rId9" Type="http://schemas.openxmlformats.org/officeDocument/2006/relationships/slideLayout" Target="../slideLayouts/slideLayout403.xml"/><Relationship Id="rId14" Type="http://schemas.openxmlformats.org/officeDocument/2006/relationships/slideLayout" Target="../slideLayouts/slideLayout408.xml"/><Relationship Id="rId22" Type="http://schemas.openxmlformats.org/officeDocument/2006/relationships/slideLayout" Target="../slideLayouts/slideLayout416.xml"/><Relationship Id="rId27" Type="http://schemas.openxmlformats.org/officeDocument/2006/relationships/slideLayout" Target="../slideLayouts/slideLayout421.xml"/><Relationship Id="rId30" Type="http://schemas.openxmlformats.org/officeDocument/2006/relationships/slideLayout" Target="../slideLayouts/slideLayout424.xml"/><Relationship Id="rId35" Type="http://schemas.openxmlformats.org/officeDocument/2006/relationships/image" Target="../media/image90.png"/></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434.xml"/><Relationship Id="rId13" Type="http://schemas.openxmlformats.org/officeDocument/2006/relationships/slideLayout" Target="../slideLayouts/slideLayout439.xml"/><Relationship Id="rId18" Type="http://schemas.openxmlformats.org/officeDocument/2006/relationships/slideLayout" Target="../slideLayouts/slideLayout444.xml"/><Relationship Id="rId26" Type="http://schemas.openxmlformats.org/officeDocument/2006/relationships/slideLayout" Target="../slideLayouts/slideLayout452.xml"/><Relationship Id="rId3" Type="http://schemas.openxmlformats.org/officeDocument/2006/relationships/slideLayout" Target="../slideLayouts/slideLayout429.xml"/><Relationship Id="rId21" Type="http://schemas.openxmlformats.org/officeDocument/2006/relationships/slideLayout" Target="../slideLayouts/slideLayout447.xml"/><Relationship Id="rId7" Type="http://schemas.openxmlformats.org/officeDocument/2006/relationships/slideLayout" Target="../slideLayouts/slideLayout433.xml"/><Relationship Id="rId12" Type="http://schemas.openxmlformats.org/officeDocument/2006/relationships/slideLayout" Target="../slideLayouts/slideLayout438.xml"/><Relationship Id="rId17" Type="http://schemas.openxmlformats.org/officeDocument/2006/relationships/slideLayout" Target="../slideLayouts/slideLayout443.xml"/><Relationship Id="rId25" Type="http://schemas.openxmlformats.org/officeDocument/2006/relationships/slideLayout" Target="../slideLayouts/slideLayout451.xml"/><Relationship Id="rId2" Type="http://schemas.openxmlformats.org/officeDocument/2006/relationships/slideLayout" Target="../slideLayouts/slideLayout428.xml"/><Relationship Id="rId16" Type="http://schemas.openxmlformats.org/officeDocument/2006/relationships/slideLayout" Target="../slideLayouts/slideLayout442.xml"/><Relationship Id="rId20" Type="http://schemas.openxmlformats.org/officeDocument/2006/relationships/slideLayout" Target="../slideLayouts/slideLayout446.xml"/><Relationship Id="rId29" Type="http://schemas.openxmlformats.org/officeDocument/2006/relationships/theme" Target="../theme/theme18.xml"/><Relationship Id="rId1" Type="http://schemas.openxmlformats.org/officeDocument/2006/relationships/slideLayout" Target="../slideLayouts/slideLayout427.xml"/><Relationship Id="rId6" Type="http://schemas.openxmlformats.org/officeDocument/2006/relationships/slideLayout" Target="../slideLayouts/slideLayout432.xml"/><Relationship Id="rId11" Type="http://schemas.openxmlformats.org/officeDocument/2006/relationships/slideLayout" Target="../slideLayouts/slideLayout437.xml"/><Relationship Id="rId24" Type="http://schemas.openxmlformats.org/officeDocument/2006/relationships/slideLayout" Target="../slideLayouts/slideLayout450.xml"/><Relationship Id="rId5" Type="http://schemas.openxmlformats.org/officeDocument/2006/relationships/slideLayout" Target="../slideLayouts/slideLayout431.xml"/><Relationship Id="rId15" Type="http://schemas.openxmlformats.org/officeDocument/2006/relationships/slideLayout" Target="../slideLayouts/slideLayout441.xml"/><Relationship Id="rId23" Type="http://schemas.openxmlformats.org/officeDocument/2006/relationships/slideLayout" Target="../slideLayouts/slideLayout449.xml"/><Relationship Id="rId28" Type="http://schemas.openxmlformats.org/officeDocument/2006/relationships/slideLayout" Target="../slideLayouts/slideLayout454.xml"/><Relationship Id="rId10" Type="http://schemas.openxmlformats.org/officeDocument/2006/relationships/slideLayout" Target="../slideLayouts/slideLayout436.xml"/><Relationship Id="rId19" Type="http://schemas.openxmlformats.org/officeDocument/2006/relationships/slideLayout" Target="../slideLayouts/slideLayout445.xml"/><Relationship Id="rId4" Type="http://schemas.openxmlformats.org/officeDocument/2006/relationships/slideLayout" Target="../slideLayouts/slideLayout430.xml"/><Relationship Id="rId9" Type="http://schemas.openxmlformats.org/officeDocument/2006/relationships/slideLayout" Target="../slideLayouts/slideLayout435.xml"/><Relationship Id="rId14" Type="http://schemas.openxmlformats.org/officeDocument/2006/relationships/slideLayout" Target="../slideLayouts/slideLayout440.xml"/><Relationship Id="rId22" Type="http://schemas.openxmlformats.org/officeDocument/2006/relationships/slideLayout" Target="../slideLayouts/slideLayout448.xml"/><Relationship Id="rId27" Type="http://schemas.openxmlformats.org/officeDocument/2006/relationships/slideLayout" Target="../slideLayouts/slideLayout453.xml"/><Relationship Id="rId30" Type="http://schemas.openxmlformats.org/officeDocument/2006/relationships/image" Target="../media/image10.png"/></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462.xml"/><Relationship Id="rId13" Type="http://schemas.openxmlformats.org/officeDocument/2006/relationships/slideLayout" Target="../slideLayouts/slideLayout467.xml"/><Relationship Id="rId18" Type="http://schemas.openxmlformats.org/officeDocument/2006/relationships/slideLayout" Target="../slideLayouts/slideLayout472.xml"/><Relationship Id="rId26" Type="http://schemas.openxmlformats.org/officeDocument/2006/relationships/slideLayout" Target="../slideLayouts/slideLayout480.xml"/><Relationship Id="rId3" Type="http://schemas.openxmlformats.org/officeDocument/2006/relationships/slideLayout" Target="../slideLayouts/slideLayout457.xml"/><Relationship Id="rId21" Type="http://schemas.openxmlformats.org/officeDocument/2006/relationships/slideLayout" Target="../slideLayouts/slideLayout475.xml"/><Relationship Id="rId7" Type="http://schemas.openxmlformats.org/officeDocument/2006/relationships/slideLayout" Target="../slideLayouts/slideLayout461.xml"/><Relationship Id="rId12" Type="http://schemas.openxmlformats.org/officeDocument/2006/relationships/slideLayout" Target="../slideLayouts/slideLayout466.xml"/><Relationship Id="rId17" Type="http://schemas.openxmlformats.org/officeDocument/2006/relationships/slideLayout" Target="../slideLayouts/slideLayout471.xml"/><Relationship Id="rId25" Type="http://schemas.openxmlformats.org/officeDocument/2006/relationships/slideLayout" Target="../slideLayouts/slideLayout479.xml"/><Relationship Id="rId2" Type="http://schemas.openxmlformats.org/officeDocument/2006/relationships/slideLayout" Target="../slideLayouts/slideLayout456.xml"/><Relationship Id="rId16" Type="http://schemas.openxmlformats.org/officeDocument/2006/relationships/slideLayout" Target="../slideLayouts/slideLayout470.xml"/><Relationship Id="rId20" Type="http://schemas.openxmlformats.org/officeDocument/2006/relationships/slideLayout" Target="../slideLayouts/slideLayout474.xml"/><Relationship Id="rId29" Type="http://schemas.openxmlformats.org/officeDocument/2006/relationships/slideLayout" Target="../slideLayouts/slideLayout483.xml"/><Relationship Id="rId1" Type="http://schemas.openxmlformats.org/officeDocument/2006/relationships/slideLayout" Target="../slideLayouts/slideLayout455.xml"/><Relationship Id="rId6" Type="http://schemas.openxmlformats.org/officeDocument/2006/relationships/slideLayout" Target="../slideLayouts/slideLayout460.xml"/><Relationship Id="rId11" Type="http://schemas.openxmlformats.org/officeDocument/2006/relationships/slideLayout" Target="../slideLayouts/slideLayout465.xml"/><Relationship Id="rId24" Type="http://schemas.openxmlformats.org/officeDocument/2006/relationships/slideLayout" Target="../slideLayouts/slideLayout478.xml"/><Relationship Id="rId5" Type="http://schemas.openxmlformats.org/officeDocument/2006/relationships/slideLayout" Target="../slideLayouts/slideLayout459.xml"/><Relationship Id="rId15" Type="http://schemas.openxmlformats.org/officeDocument/2006/relationships/slideLayout" Target="../slideLayouts/slideLayout469.xml"/><Relationship Id="rId23" Type="http://schemas.openxmlformats.org/officeDocument/2006/relationships/slideLayout" Target="../slideLayouts/slideLayout477.xml"/><Relationship Id="rId28" Type="http://schemas.openxmlformats.org/officeDocument/2006/relationships/slideLayout" Target="../slideLayouts/slideLayout482.xml"/><Relationship Id="rId10" Type="http://schemas.openxmlformats.org/officeDocument/2006/relationships/slideLayout" Target="../slideLayouts/slideLayout464.xml"/><Relationship Id="rId19" Type="http://schemas.openxmlformats.org/officeDocument/2006/relationships/slideLayout" Target="../slideLayouts/slideLayout473.xml"/><Relationship Id="rId31" Type="http://schemas.openxmlformats.org/officeDocument/2006/relationships/image" Target="../media/image10.png"/><Relationship Id="rId4" Type="http://schemas.openxmlformats.org/officeDocument/2006/relationships/slideLayout" Target="../slideLayouts/slideLayout458.xml"/><Relationship Id="rId9" Type="http://schemas.openxmlformats.org/officeDocument/2006/relationships/slideLayout" Target="../slideLayouts/slideLayout463.xml"/><Relationship Id="rId14" Type="http://schemas.openxmlformats.org/officeDocument/2006/relationships/slideLayout" Target="../slideLayouts/slideLayout468.xml"/><Relationship Id="rId22" Type="http://schemas.openxmlformats.org/officeDocument/2006/relationships/slideLayout" Target="../slideLayouts/slideLayout476.xml"/><Relationship Id="rId27" Type="http://schemas.openxmlformats.org/officeDocument/2006/relationships/slideLayout" Target="../slideLayouts/slideLayout481.xml"/><Relationship Id="rId30" Type="http://schemas.openxmlformats.org/officeDocument/2006/relationships/theme" Target="../theme/theme1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2" Type="http://schemas.openxmlformats.org/officeDocument/2006/relationships/slideLayout" Target="../slideLayouts/slideLayout34.xml"/><Relationship Id="rId16" Type="http://schemas.openxmlformats.org/officeDocument/2006/relationships/image" Target="../media/image10.png"/><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theme" Target="../theme/theme2.xml"/><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491.xml"/><Relationship Id="rId13" Type="http://schemas.openxmlformats.org/officeDocument/2006/relationships/slideLayout" Target="../slideLayouts/slideLayout496.xml"/><Relationship Id="rId18" Type="http://schemas.openxmlformats.org/officeDocument/2006/relationships/slideLayout" Target="../slideLayouts/slideLayout501.xml"/><Relationship Id="rId26" Type="http://schemas.openxmlformats.org/officeDocument/2006/relationships/theme" Target="../theme/theme20.xml"/><Relationship Id="rId3" Type="http://schemas.openxmlformats.org/officeDocument/2006/relationships/slideLayout" Target="../slideLayouts/slideLayout486.xml"/><Relationship Id="rId21" Type="http://schemas.openxmlformats.org/officeDocument/2006/relationships/slideLayout" Target="../slideLayouts/slideLayout504.xml"/><Relationship Id="rId7" Type="http://schemas.openxmlformats.org/officeDocument/2006/relationships/slideLayout" Target="../slideLayouts/slideLayout490.xml"/><Relationship Id="rId12" Type="http://schemas.openxmlformats.org/officeDocument/2006/relationships/slideLayout" Target="../slideLayouts/slideLayout495.xml"/><Relationship Id="rId17" Type="http://schemas.openxmlformats.org/officeDocument/2006/relationships/slideLayout" Target="../slideLayouts/slideLayout500.xml"/><Relationship Id="rId25" Type="http://schemas.openxmlformats.org/officeDocument/2006/relationships/slideLayout" Target="../slideLayouts/slideLayout508.xml"/><Relationship Id="rId2" Type="http://schemas.openxmlformats.org/officeDocument/2006/relationships/slideLayout" Target="../slideLayouts/slideLayout485.xml"/><Relationship Id="rId16" Type="http://schemas.openxmlformats.org/officeDocument/2006/relationships/slideLayout" Target="../slideLayouts/slideLayout499.xml"/><Relationship Id="rId20" Type="http://schemas.openxmlformats.org/officeDocument/2006/relationships/slideLayout" Target="../slideLayouts/slideLayout503.xml"/><Relationship Id="rId1" Type="http://schemas.openxmlformats.org/officeDocument/2006/relationships/slideLayout" Target="../slideLayouts/slideLayout484.xml"/><Relationship Id="rId6" Type="http://schemas.openxmlformats.org/officeDocument/2006/relationships/slideLayout" Target="../slideLayouts/slideLayout489.xml"/><Relationship Id="rId11" Type="http://schemas.openxmlformats.org/officeDocument/2006/relationships/slideLayout" Target="../slideLayouts/slideLayout494.xml"/><Relationship Id="rId24" Type="http://schemas.openxmlformats.org/officeDocument/2006/relationships/slideLayout" Target="../slideLayouts/slideLayout507.xml"/><Relationship Id="rId5" Type="http://schemas.openxmlformats.org/officeDocument/2006/relationships/slideLayout" Target="../slideLayouts/slideLayout488.xml"/><Relationship Id="rId15" Type="http://schemas.openxmlformats.org/officeDocument/2006/relationships/slideLayout" Target="../slideLayouts/slideLayout498.xml"/><Relationship Id="rId23" Type="http://schemas.openxmlformats.org/officeDocument/2006/relationships/slideLayout" Target="../slideLayouts/slideLayout506.xml"/><Relationship Id="rId10" Type="http://schemas.openxmlformats.org/officeDocument/2006/relationships/slideLayout" Target="../slideLayouts/slideLayout493.xml"/><Relationship Id="rId19" Type="http://schemas.openxmlformats.org/officeDocument/2006/relationships/slideLayout" Target="../slideLayouts/slideLayout502.xml"/><Relationship Id="rId4" Type="http://schemas.openxmlformats.org/officeDocument/2006/relationships/slideLayout" Target="../slideLayouts/slideLayout487.xml"/><Relationship Id="rId9" Type="http://schemas.openxmlformats.org/officeDocument/2006/relationships/slideLayout" Target="../slideLayouts/slideLayout492.xml"/><Relationship Id="rId14" Type="http://schemas.openxmlformats.org/officeDocument/2006/relationships/slideLayout" Target="../slideLayouts/slideLayout497.xml"/><Relationship Id="rId22" Type="http://schemas.openxmlformats.org/officeDocument/2006/relationships/slideLayout" Target="../slideLayouts/slideLayout505.xml"/></Relationships>
</file>

<file path=ppt/slideMasters/_rels/slideMaster21.xml.rels><?xml version="1.0" encoding="UTF-8" standalone="yes"?>
<Relationships xmlns="http://schemas.openxmlformats.org/package/2006/relationships"><Relationship Id="rId3" Type="http://schemas.openxmlformats.org/officeDocument/2006/relationships/slideLayout" Target="../slideLayouts/slideLayout511.xml"/><Relationship Id="rId2" Type="http://schemas.openxmlformats.org/officeDocument/2006/relationships/slideLayout" Target="../slideLayouts/slideLayout510.xml"/><Relationship Id="rId1" Type="http://schemas.openxmlformats.org/officeDocument/2006/relationships/slideLayout" Target="../slideLayouts/slideLayout509.xml"/><Relationship Id="rId6" Type="http://schemas.openxmlformats.org/officeDocument/2006/relationships/image" Target="../media/image10.png"/><Relationship Id="rId5" Type="http://schemas.openxmlformats.org/officeDocument/2006/relationships/theme" Target="../theme/theme21.xml"/><Relationship Id="rId4" Type="http://schemas.openxmlformats.org/officeDocument/2006/relationships/slideLayout" Target="../slideLayouts/slideLayout512.xml"/></Relationships>
</file>

<file path=ppt/slideMasters/_rels/slideMaster2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22.xml"/></Relationships>
</file>

<file path=ppt/slideMasters/_rels/slideMaster23.xml.rels><?xml version="1.0" encoding="UTF-8" standalone="yes"?>
<Relationships xmlns="http://schemas.openxmlformats.org/package/2006/relationships"><Relationship Id="rId3" Type="http://schemas.openxmlformats.org/officeDocument/2006/relationships/slideLayout" Target="../slideLayouts/slideLayout515.xml"/><Relationship Id="rId2" Type="http://schemas.openxmlformats.org/officeDocument/2006/relationships/slideLayout" Target="../slideLayouts/slideLayout514.xml"/><Relationship Id="rId1" Type="http://schemas.openxmlformats.org/officeDocument/2006/relationships/slideLayout" Target="../slideLayouts/slideLayout513.xml"/><Relationship Id="rId5" Type="http://schemas.openxmlformats.org/officeDocument/2006/relationships/image" Target="../media/image77.png"/><Relationship Id="rId4" Type="http://schemas.openxmlformats.org/officeDocument/2006/relationships/theme" Target="../theme/theme23.xml"/></Relationships>
</file>

<file path=ppt/slideMasters/_rels/slideMaster2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theme" Target="../theme/theme24.xml"/><Relationship Id="rId1" Type="http://schemas.openxmlformats.org/officeDocument/2006/relationships/slideLayout" Target="../slideLayouts/slideLayout516.xml"/></Relationships>
</file>

<file path=ppt/slideMasters/_rels/slideMaster25.xml.rels><?xml version="1.0" encoding="UTF-8" standalone="yes"?>
<Relationships xmlns="http://schemas.openxmlformats.org/package/2006/relationships"><Relationship Id="rId2" Type="http://schemas.openxmlformats.org/officeDocument/2006/relationships/theme" Target="../theme/theme25.xml"/><Relationship Id="rId1" Type="http://schemas.openxmlformats.org/officeDocument/2006/relationships/slideLayout" Target="../slideLayouts/slideLayout517.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525.xml"/><Relationship Id="rId13" Type="http://schemas.openxmlformats.org/officeDocument/2006/relationships/slideLayout" Target="../slideLayouts/slideLayout530.xml"/><Relationship Id="rId18" Type="http://schemas.openxmlformats.org/officeDocument/2006/relationships/slideLayout" Target="../slideLayouts/slideLayout535.xml"/><Relationship Id="rId3" Type="http://schemas.openxmlformats.org/officeDocument/2006/relationships/slideLayout" Target="../slideLayouts/slideLayout520.xml"/><Relationship Id="rId21" Type="http://schemas.openxmlformats.org/officeDocument/2006/relationships/slideLayout" Target="../slideLayouts/slideLayout538.xml"/><Relationship Id="rId7" Type="http://schemas.openxmlformats.org/officeDocument/2006/relationships/slideLayout" Target="../slideLayouts/slideLayout524.xml"/><Relationship Id="rId12" Type="http://schemas.openxmlformats.org/officeDocument/2006/relationships/slideLayout" Target="../slideLayouts/slideLayout529.xml"/><Relationship Id="rId17" Type="http://schemas.openxmlformats.org/officeDocument/2006/relationships/slideLayout" Target="../slideLayouts/slideLayout534.xml"/><Relationship Id="rId25" Type="http://schemas.openxmlformats.org/officeDocument/2006/relationships/image" Target="../media/image108.png"/><Relationship Id="rId2" Type="http://schemas.openxmlformats.org/officeDocument/2006/relationships/slideLayout" Target="../slideLayouts/slideLayout519.xml"/><Relationship Id="rId16" Type="http://schemas.openxmlformats.org/officeDocument/2006/relationships/slideLayout" Target="../slideLayouts/slideLayout533.xml"/><Relationship Id="rId20" Type="http://schemas.openxmlformats.org/officeDocument/2006/relationships/slideLayout" Target="../slideLayouts/slideLayout537.xml"/><Relationship Id="rId1" Type="http://schemas.openxmlformats.org/officeDocument/2006/relationships/slideLayout" Target="../slideLayouts/slideLayout518.xml"/><Relationship Id="rId6" Type="http://schemas.openxmlformats.org/officeDocument/2006/relationships/slideLayout" Target="../slideLayouts/slideLayout523.xml"/><Relationship Id="rId11" Type="http://schemas.openxmlformats.org/officeDocument/2006/relationships/slideLayout" Target="../slideLayouts/slideLayout528.xml"/><Relationship Id="rId24" Type="http://schemas.openxmlformats.org/officeDocument/2006/relationships/theme" Target="../theme/theme26.xml"/><Relationship Id="rId5" Type="http://schemas.openxmlformats.org/officeDocument/2006/relationships/slideLayout" Target="../slideLayouts/slideLayout522.xml"/><Relationship Id="rId15" Type="http://schemas.openxmlformats.org/officeDocument/2006/relationships/slideLayout" Target="../slideLayouts/slideLayout532.xml"/><Relationship Id="rId23" Type="http://schemas.openxmlformats.org/officeDocument/2006/relationships/slideLayout" Target="../slideLayouts/slideLayout540.xml"/><Relationship Id="rId10" Type="http://schemas.openxmlformats.org/officeDocument/2006/relationships/slideLayout" Target="../slideLayouts/slideLayout527.xml"/><Relationship Id="rId19" Type="http://schemas.openxmlformats.org/officeDocument/2006/relationships/slideLayout" Target="../slideLayouts/slideLayout536.xml"/><Relationship Id="rId4" Type="http://schemas.openxmlformats.org/officeDocument/2006/relationships/slideLayout" Target="../slideLayouts/slideLayout521.xml"/><Relationship Id="rId9" Type="http://schemas.openxmlformats.org/officeDocument/2006/relationships/slideLayout" Target="../slideLayouts/slideLayout526.xml"/><Relationship Id="rId14" Type="http://schemas.openxmlformats.org/officeDocument/2006/relationships/slideLayout" Target="../slideLayouts/slideLayout531.xml"/><Relationship Id="rId22" Type="http://schemas.openxmlformats.org/officeDocument/2006/relationships/slideLayout" Target="../slideLayouts/slideLayout539.xm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548.xml"/><Relationship Id="rId13" Type="http://schemas.openxmlformats.org/officeDocument/2006/relationships/slideLayout" Target="../slideLayouts/slideLayout553.xml"/><Relationship Id="rId18" Type="http://schemas.openxmlformats.org/officeDocument/2006/relationships/slideLayout" Target="../slideLayouts/slideLayout558.xml"/><Relationship Id="rId3" Type="http://schemas.openxmlformats.org/officeDocument/2006/relationships/slideLayout" Target="../slideLayouts/slideLayout543.xml"/><Relationship Id="rId21" Type="http://schemas.openxmlformats.org/officeDocument/2006/relationships/slideLayout" Target="../slideLayouts/slideLayout561.xml"/><Relationship Id="rId7" Type="http://schemas.openxmlformats.org/officeDocument/2006/relationships/slideLayout" Target="../slideLayouts/slideLayout547.xml"/><Relationship Id="rId12" Type="http://schemas.openxmlformats.org/officeDocument/2006/relationships/slideLayout" Target="../slideLayouts/slideLayout552.xml"/><Relationship Id="rId17" Type="http://schemas.openxmlformats.org/officeDocument/2006/relationships/slideLayout" Target="../slideLayouts/slideLayout557.xml"/><Relationship Id="rId25" Type="http://schemas.openxmlformats.org/officeDocument/2006/relationships/image" Target="../media/image108.png"/><Relationship Id="rId2" Type="http://schemas.openxmlformats.org/officeDocument/2006/relationships/slideLayout" Target="../slideLayouts/slideLayout542.xml"/><Relationship Id="rId16" Type="http://schemas.openxmlformats.org/officeDocument/2006/relationships/slideLayout" Target="../slideLayouts/slideLayout556.xml"/><Relationship Id="rId20" Type="http://schemas.openxmlformats.org/officeDocument/2006/relationships/slideLayout" Target="../slideLayouts/slideLayout560.xml"/><Relationship Id="rId1" Type="http://schemas.openxmlformats.org/officeDocument/2006/relationships/slideLayout" Target="../slideLayouts/slideLayout541.xml"/><Relationship Id="rId6" Type="http://schemas.openxmlformats.org/officeDocument/2006/relationships/slideLayout" Target="../slideLayouts/slideLayout546.xml"/><Relationship Id="rId11" Type="http://schemas.openxmlformats.org/officeDocument/2006/relationships/slideLayout" Target="../slideLayouts/slideLayout551.xml"/><Relationship Id="rId24" Type="http://schemas.openxmlformats.org/officeDocument/2006/relationships/theme" Target="../theme/theme27.xml"/><Relationship Id="rId5" Type="http://schemas.openxmlformats.org/officeDocument/2006/relationships/slideLayout" Target="../slideLayouts/slideLayout545.xml"/><Relationship Id="rId15" Type="http://schemas.openxmlformats.org/officeDocument/2006/relationships/slideLayout" Target="../slideLayouts/slideLayout555.xml"/><Relationship Id="rId23" Type="http://schemas.openxmlformats.org/officeDocument/2006/relationships/slideLayout" Target="../slideLayouts/slideLayout563.xml"/><Relationship Id="rId10" Type="http://schemas.openxmlformats.org/officeDocument/2006/relationships/slideLayout" Target="../slideLayouts/slideLayout550.xml"/><Relationship Id="rId19" Type="http://schemas.openxmlformats.org/officeDocument/2006/relationships/slideLayout" Target="../slideLayouts/slideLayout559.xml"/><Relationship Id="rId4" Type="http://schemas.openxmlformats.org/officeDocument/2006/relationships/slideLayout" Target="../slideLayouts/slideLayout544.xml"/><Relationship Id="rId9" Type="http://schemas.openxmlformats.org/officeDocument/2006/relationships/slideLayout" Target="../slideLayouts/slideLayout549.xml"/><Relationship Id="rId14" Type="http://schemas.openxmlformats.org/officeDocument/2006/relationships/slideLayout" Target="../slideLayouts/slideLayout554.xml"/><Relationship Id="rId22" Type="http://schemas.openxmlformats.org/officeDocument/2006/relationships/slideLayout" Target="../slideLayouts/slideLayout562.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571.xml"/><Relationship Id="rId13" Type="http://schemas.openxmlformats.org/officeDocument/2006/relationships/slideLayout" Target="../slideLayouts/slideLayout576.xml"/><Relationship Id="rId18" Type="http://schemas.openxmlformats.org/officeDocument/2006/relationships/slideLayout" Target="../slideLayouts/slideLayout581.xml"/><Relationship Id="rId3" Type="http://schemas.openxmlformats.org/officeDocument/2006/relationships/slideLayout" Target="../slideLayouts/slideLayout566.xml"/><Relationship Id="rId21" Type="http://schemas.openxmlformats.org/officeDocument/2006/relationships/slideLayout" Target="../slideLayouts/slideLayout584.xml"/><Relationship Id="rId7" Type="http://schemas.openxmlformats.org/officeDocument/2006/relationships/slideLayout" Target="../slideLayouts/slideLayout570.xml"/><Relationship Id="rId12" Type="http://schemas.openxmlformats.org/officeDocument/2006/relationships/slideLayout" Target="../slideLayouts/slideLayout575.xml"/><Relationship Id="rId17" Type="http://schemas.openxmlformats.org/officeDocument/2006/relationships/slideLayout" Target="../slideLayouts/slideLayout580.xml"/><Relationship Id="rId25" Type="http://schemas.openxmlformats.org/officeDocument/2006/relationships/image" Target="../media/image108.png"/><Relationship Id="rId2" Type="http://schemas.openxmlformats.org/officeDocument/2006/relationships/slideLayout" Target="../slideLayouts/slideLayout565.xml"/><Relationship Id="rId16" Type="http://schemas.openxmlformats.org/officeDocument/2006/relationships/slideLayout" Target="../slideLayouts/slideLayout579.xml"/><Relationship Id="rId20" Type="http://schemas.openxmlformats.org/officeDocument/2006/relationships/slideLayout" Target="../slideLayouts/slideLayout583.xml"/><Relationship Id="rId1" Type="http://schemas.openxmlformats.org/officeDocument/2006/relationships/slideLayout" Target="../slideLayouts/slideLayout564.xml"/><Relationship Id="rId6" Type="http://schemas.openxmlformats.org/officeDocument/2006/relationships/slideLayout" Target="../slideLayouts/slideLayout569.xml"/><Relationship Id="rId11" Type="http://schemas.openxmlformats.org/officeDocument/2006/relationships/slideLayout" Target="../slideLayouts/slideLayout574.xml"/><Relationship Id="rId24" Type="http://schemas.openxmlformats.org/officeDocument/2006/relationships/theme" Target="../theme/theme28.xml"/><Relationship Id="rId5" Type="http://schemas.openxmlformats.org/officeDocument/2006/relationships/slideLayout" Target="../slideLayouts/slideLayout568.xml"/><Relationship Id="rId15" Type="http://schemas.openxmlformats.org/officeDocument/2006/relationships/slideLayout" Target="../slideLayouts/slideLayout578.xml"/><Relationship Id="rId23" Type="http://schemas.openxmlformats.org/officeDocument/2006/relationships/slideLayout" Target="../slideLayouts/slideLayout586.xml"/><Relationship Id="rId10" Type="http://schemas.openxmlformats.org/officeDocument/2006/relationships/slideLayout" Target="../slideLayouts/slideLayout573.xml"/><Relationship Id="rId19" Type="http://schemas.openxmlformats.org/officeDocument/2006/relationships/slideLayout" Target="../slideLayouts/slideLayout582.xml"/><Relationship Id="rId4" Type="http://schemas.openxmlformats.org/officeDocument/2006/relationships/slideLayout" Target="../slideLayouts/slideLayout567.xml"/><Relationship Id="rId9" Type="http://schemas.openxmlformats.org/officeDocument/2006/relationships/slideLayout" Target="../slideLayouts/slideLayout572.xml"/><Relationship Id="rId14" Type="http://schemas.openxmlformats.org/officeDocument/2006/relationships/slideLayout" Target="../slideLayouts/slideLayout577.xml"/><Relationship Id="rId22" Type="http://schemas.openxmlformats.org/officeDocument/2006/relationships/slideLayout" Target="../slideLayouts/slideLayout585.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594.xml"/><Relationship Id="rId13" Type="http://schemas.openxmlformats.org/officeDocument/2006/relationships/slideLayout" Target="../slideLayouts/slideLayout599.xml"/><Relationship Id="rId18" Type="http://schemas.openxmlformats.org/officeDocument/2006/relationships/slideLayout" Target="../slideLayouts/slideLayout604.xml"/><Relationship Id="rId26" Type="http://schemas.openxmlformats.org/officeDocument/2006/relationships/slideLayout" Target="../slideLayouts/slideLayout612.xml"/><Relationship Id="rId3" Type="http://schemas.openxmlformats.org/officeDocument/2006/relationships/slideLayout" Target="../slideLayouts/slideLayout589.xml"/><Relationship Id="rId21" Type="http://schemas.openxmlformats.org/officeDocument/2006/relationships/slideLayout" Target="../slideLayouts/slideLayout607.xml"/><Relationship Id="rId34" Type="http://schemas.openxmlformats.org/officeDocument/2006/relationships/theme" Target="../theme/theme29.xml"/><Relationship Id="rId7" Type="http://schemas.openxmlformats.org/officeDocument/2006/relationships/slideLayout" Target="../slideLayouts/slideLayout593.xml"/><Relationship Id="rId12" Type="http://schemas.openxmlformats.org/officeDocument/2006/relationships/slideLayout" Target="../slideLayouts/slideLayout598.xml"/><Relationship Id="rId17" Type="http://schemas.openxmlformats.org/officeDocument/2006/relationships/slideLayout" Target="../slideLayouts/slideLayout603.xml"/><Relationship Id="rId25" Type="http://schemas.openxmlformats.org/officeDocument/2006/relationships/slideLayout" Target="../slideLayouts/slideLayout611.xml"/><Relationship Id="rId33" Type="http://schemas.openxmlformats.org/officeDocument/2006/relationships/slideLayout" Target="../slideLayouts/slideLayout619.xml"/><Relationship Id="rId2" Type="http://schemas.openxmlformats.org/officeDocument/2006/relationships/slideLayout" Target="../slideLayouts/slideLayout588.xml"/><Relationship Id="rId16" Type="http://schemas.openxmlformats.org/officeDocument/2006/relationships/slideLayout" Target="../slideLayouts/slideLayout602.xml"/><Relationship Id="rId20" Type="http://schemas.openxmlformats.org/officeDocument/2006/relationships/slideLayout" Target="../slideLayouts/slideLayout606.xml"/><Relationship Id="rId29" Type="http://schemas.openxmlformats.org/officeDocument/2006/relationships/slideLayout" Target="../slideLayouts/slideLayout615.xml"/><Relationship Id="rId1" Type="http://schemas.openxmlformats.org/officeDocument/2006/relationships/slideLayout" Target="../slideLayouts/slideLayout587.xml"/><Relationship Id="rId6" Type="http://schemas.openxmlformats.org/officeDocument/2006/relationships/slideLayout" Target="../slideLayouts/slideLayout592.xml"/><Relationship Id="rId11" Type="http://schemas.openxmlformats.org/officeDocument/2006/relationships/slideLayout" Target="../slideLayouts/slideLayout597.xml"/><Relationship Id="rId24" Type="http://schemas.openxmlformats.org/officeDocument/2006/relationships/slideLayout" Target="../slideLayouts/slideLayout610.xml"/><Relationship Id="rId32" Type="http://schemas.openxmlformats.org/officeDocument/2006/relationships/slideLayout" Target="../slideLayouts/slideLayout618.xml"/><Relationship Id="rId5" Type="http://schemas.openxmlformats.org/officeDocument/2006/relationships/slideLayout" Target="../slideLayouts/slideLayout591.xml"/><Relationship Id="rId15" Type="http://schemas.openxmlformats.org/officeDocument/2006/relationships/slideLayout" Target="../slideLayouts/slideLayout601.xml"/><Relationship Id="rId23" Type="http://schemas.openxmlformats.org/officeDocument/2006/relationships/slideLayout" Target="../slideLayouts/slideLayout609.xml"/><Relationship Id="rId28" Type="http://schemas.openxmlformats.org/officeDocument/2006/relationships/slideLayout" Target="../slideLayouts/slideLayout614.xml"/><Relationship Id="rId36" Type="http://schemas.openxmlformats.org/officeDocument/2006/relationships/image" Target="../media/image2.png"/><Relationship Id="rId10" Type="http://schemas.openxmlformats.org/officeDocument/2006/relationships/slideLayout" Target="../slideLayouts/slideLayout596.xml"/><Relationship Id="rId19" Type="http://schemas.openxmlformats.org/officeDocument/2006/relationships/slideLayout" Target="../slideLayouts/slideLayout605.xml"/><Relationship Id="rId31" Type="http://schemas.openxmlformats.org/officeDocument/2006/relationships/slideLayout" Target="../slideLayouts/slideLayout617.xml"/><Relationship Id="rId4" Type="http://schemas.openxmlformats.org/officeDocument/2006/relationships/slideLayout" Target="../slideLayouts/slideLayout590.xml"/><Relationship Id="rId9" Type="http://schemas.openxmlformats.org/officeDocument/2006/relationships/slideLayout" Target="../slideLayouts/slideLayout595.xml"/><Relationship Id="rId14" Type="http://schemas.openxmlformats.org/officeDocument/2006/relationships/slideLayout" Target="../slideLayouts/slideLayout600.xml"/><Relationship Id="rId22" Type="http://schemas.openxmlformats.org/officeDocument/2006/relationships/slideLayout" Target="../slideLayouts/slideLayout608.xml"/><Relationship Id="rId27" Type="http://schemas.openxmlformats.org/officeDocument/2006/relationships/slideLayout" Target="../slideLayouts/slideLayout613.xml"/><Relationship Id="rId30" Type="http://schemas.openxmlformats.org/officeDocument/2006/relationships/slideLayout" Target="../slideLayouts/slideLayout616.xml"/><Relationship Id="rId35" Type="http://schemas.openxmlformats.org/officeDocument/2006/relationships/image" Target="../media/image1.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slideLayout" Target="../slideLayouts/slideLayout64.xml"/><Relationship Id="rId26" Type="http://schemas.openxmlformats.org/officeDocument/2006/relationships/slideLayout" Target="../slideLayouts/slideLayout72.xml"/><Relationship Id="rId3" Type="http://schemas.openxmlformats.org/officeDocument/2006/relationships/slideLayout" Target="../slideLayouts/slideLayout49.xml"/><Relationship Id="rId21" Type="http://schemas.openxmlformats.org/officeDocument/2006/relationships/slideLayout" Target="../slideLayouts/slideLayout67.xml"/><Relationship Id="rId34" Type="http://schemas.openxmlformats.org/officeDocument/2006/relationships/slideLayout" Target="../slideLayouts/slideLayout80.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5" Type="http://schemas.openxmlformats.org/officeDocument/2006/relationships/slideLayout" Target="../slideLayouts/slideLayout71.xml"/><Relationship Id="rId33" Type="http://schemas.openxmlformats.org/officeDocument/2006/relationships/slideLayout" Target="../slideLayouts/slideLayout79.xml"/><Relationship Id="rId38" Type="http://schemas.openxmlformats.org/officeDocument/2006/relationships/image" Target="../media/image10.png"/><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slideLayout" Target="../slideLayouts/slideLayout66.xml"/><Relationship Id="rId29" Type="http://schemas.openxmlformats.org/officeDocument/2006/relationships/slideLayout" Target="../slideLayouts/slideLayout75.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24" Type="http://schemas.openxmlformats.org/officeDocument/2006/relationships/slideLayout" Target="../slideLayouts/slideLayout70.xml"/><Relationship Id="rId32" Type="http://schemas.openxmlformats.org/officeDocument/2006/relationships/slideLayout" Target="../slideLayouts/slideLayout78.xml"/><Relationship Id="rId37" Type="http://schemas.openxmlformats.org/officeDocument/2006/relationships/theme" Target="../theme/theme3.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23" Type="http://schemas.openxmlformats.org/officeDocument/2006/relationships/slideLayout" Target="../slideLayouts/slideLayout69.xml"/><Relationship Id="rId28" Type="http://schemas.openxmlformats.org/officeDocument/2006/relationships/slideLayout" Target="../slideLayouts/slideLayout74.xml"/><Relationship Id="rId36" Type="http://schemas.openxmlformats.org/officeDocument/2006/relationships/slideLayout" Target="../slideLayouts/slideLayout82.xml"/><Relationship Id="rId10" Type="http://schemas.openxmlformats.org/officeDocument/2006/relationships/slideLayout" Target="../slideLayouts/slideLayout56.xml"/><Relationship Id="rId19" Type="http://schemas.openxmlformats.org/officeDocument/2006/relationships/slideLayout" Target="../slideLayouts/slideLayout65.xml"/><Relationship Id="rId31" Type="http://schemas.openxmlformats.org/officeDocument/2006/relationships/slideLayout" Target="../slideLayouts/slideLayout77.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slideLayout" Target="../slideLayouts/slideLayout68.xml"/><Relationship Id="rId27" Type="http://schemas.openxmlformats.org/officeDocument/2006/relationships/slideLayout" Target="../slideLayouts/slideLayout73.xml"/><Relationship Id="rId30" Type="http://schemas.openxmlformats.org/officeDocument/2006/relationships/slideLayout" Target="../slideLayouts/slideLayout76.xml"/><Relationship Id="rId35" Type="http://schemas.openxmlformats.org/officeDocument/2006/relationships/slideLayout" Target="../slideLayouts/slideLayout81.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627.xml"/><Relationship Id="rId13" Type="http://schemas.openxmlformats.org/officeDocument/2006/relationships/slideLayout" Target="../slideLayouts/slideLayout632.xml"/><Relationship Id="rId18" Type="http://schemas.openxmlformats.org/officeDocument/2006/relationships/slideLayout" Target="../slideLayouts/slideLayout637.xml"/><Relationship Id="rId3" Type="http://schemas.openxmlformats.org/officeDocument/2006/relationships/slideLayout" Target="../slideLayouts/slideLayout622.xml"/><Relationship Id="rId21" Type="http://schemas.openxmlformats.org/officeDocument/2006/relationships/slideLayout" Target="../slideLayouts/slideLayout640.xml"/><Relationship Id="rId7" Type="http://schemas.openxmlformats.org/officeDocument/2006/relationships/slideLayout" Target="../slideLayouts/slideLayout626.xml"/><Relationship Id="rId12" Type="http://schemas.openxmlformats.org/officeDocument/2006/relationships/slideLayout" Target="../slideLayouts/slideLayout631.xml"/><Relationship Id="rId17" Type="http://schemas.openxmlformats.org/officeDocument/2006/relationships/slideLayout" Target="../slideLayouts/slideLayout636.xml"/><Relationship Id="rId25" Type="http://schemas.openxmlformats.org/officeDocument/2006/relationships/theme" Target="../theme/theme30.xml"/><Relationship Id="rId2" Type="http://schemas.openxmlformats.org/officeDocument/2006/relationships/slideLayout" Target="../slideLayouts/slideLayout621.xml"/><Relationship Id="rId16" Type="http://schemas.openxmlformats.org/officeDocument/2006/relationships/slideLayout" Target="../slideLayouts/slideLayout635.xml"/><Relationship Id="rId20" Type="http://schemas.openxmlformats.org/officeDocument/2006/relationships/slideLayout" Target="../slideLayouts/slideLayout639.xml"/><Relationship Id="rId1" Type="http://schemas.openxmlformats.org/officeDocument/2006/relationships/slideLayout" Target="../slideLayouts/slideLayout620.xml"/><Relationship Id="rId6" Type="http://schemas.openxmlformats.org/officeDocument/2006/relationships/slideLayout" Target="../slideLayouts/slideLayout625.xml"/><Relationship Id="rId11" Type="http://schemas.openxmlformats.org/officeDocument/2006/relationships/slideLayout" Target="../slideLayouts/slideLayout630.xml"/><Relationship Id="rId24" Type="http://schemas.openxmlformats.org/officeDocument/2006/relationships/slideLayout" Target="../slideLayouts/slideLayout643.xml"/><Relationship Id="rId5" Type="http://schemas.openxmlformats.org/officeDocument/2006/relationships/slideLayout" Target="../slideLayouts/slideLayout624.xml"/><Relationship Id="rId15" Type="http://schemas.openxmlformats.org/officeDocument/2006/relationships/slideLayout" Target="../slideLayouts/slideLayout634.xml"/><Relationship Id="rId23" Type="http://schemas.openxmlformats.org/officeDocument/2006/relationships/slideLayout" Target="../slideLayouts/slideLayout642.xml"/><Relationship Id="rId10" Type="http://schemas.openxmlformats.org/officeDocument/2006/relationships/slideLayout" Target="../slideLayouts/slideLayout629.xml"/><Relationship Id="rId19" Type="http://schemas.openxmlformats.org/officeDocument/2006/relationships/slideLayout" Target="../slideLayouts/slideLayout638.xml"/><Relationship Id="rId4" Type="http://schemas.openxmlformats.org/officeDocument/2006/relationships/slideLayout" Target="../slideLayouts/slideLayout623.xml"/><Relationship Id="rId9" Type="http://schemas.openxmlformats.org/officeDocument/2006/relationships/slideLayout" Target="../slideLayouts/slideLayout628.xml"/><Relationship Id="rId14" Type="http://schemas.openxmlformats.org/officeDocument/2006/relationships/slideLayout" Target="../slideLayouts/slideLayout633.xml"/><Relationship Id="rId22" Type="http://schemas.openxmlformats.org/officeDocument/2006/relationships/slideLayout" Target="../slideLayouts/slideLayout641.xml"/></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651.xml"/><Relationship Id="rId13" Type="http://schemas.openxmlformats.org/officeDocument/2006/relationships/slideLayout" Target="../slideLayouts/slideLayout656.xml"/><Relationship Id="rId18" Type="http://schemas.openxmlformats.org/officeDocument/2006/relationships/slideLayout" Target="../slideLayouts/slideLayout661.xml"/><Relationship Id="rId26" Type="http://schemas.openxmlformats.org/officeDocument/2006/relationships/slideLayout" Target="../slideLayouts/slideLayout669.xml"/><Relationship Id="rId3" Type="http://schemas.openxmlformats.org/officeDocument/2006/relationships/slideLayout" Target="../slideLayouts/slideLayout646.xml"/><Relationship Id="rId21" Type="http://schemas.openxmlformats.org/officeDocument/2006/relationships/slideLayout" Target="../slideLayouts/slideLayout664.xml"/><Relationship Id="rId34" Type="http://schemas.openxmlformats.org/officeDocument/2006/relationships/theme" Target="../theme/theme31.xml"/><Relationship Id="rId7" Type="http://schemas.openxmlformats.org/officeDocument/2006/relationships/slideLayout" Target="../slideLayouts/slideLayout650.xml"/><Relationship Id="rId12" Type="http://schemas.openxmlformats.org/officeDocument/2006/relationships/slideLayout" Target="../slideLayouts/slideLayout655.xml"/><Relationship Id="rId17" Type="http://schemas.openxmlformats.org/officeDocument/2006/relationships/slideLayout" Target="../slideLayouts/slideLayout660.xml"/><Relationship Id="rId25" Type="http://schemas.openxmlformats.org/officeDocument/2006/relationships/slideLayout" Target="../slideLayouts/slideLayout668.xml"/><Relationship Id="rId33" Type="http://schemas.openxmlformats.org/officeDocument/2006/relationships/slideLayout" Target="../slideLayouts/slideLayout676.xml"/><Relationship Id="rId2" Type="http://schemas.openxmlformats.org/officeDocument/2006/relationships/slideLayout" Target="../slideLayouts/slideLayout645.xml"/><Relationship Id="rId16" Type="http://schemas.openxmlformats.org/officeDocument/2006/relationships/slideLayout" Target="../slideLayouts/slideLayout659.xml"/><Relationship Id="rId20" Type="http://schemas.openxmlformats.org/officeDocument/2006/relationships/slideLayout" Target="../slideLayouts/slideLayout663.xml"/><Relationship Id="rId29" Type="http://schemas.openxmlformats.org/officeDocument/2006/relationships/slideLayout" Target="../slideLayouts/slideLayout672.xml"/><Relationship Id="rId1" Type="http://schemas.openxmlformats.org/officeDocument/2006/relationships/slideLayout" Target="../slideLayouts/slideLayout644.xml"/><Relationship Id="rId6" Type="http://schemas.openxmlformats.org/officeDocument/2006/relationships/slideLayout" Target="../slideLayouts/slideLayout649.xml"/><Relationship Id="rId11" Type="http://schemas.openxmlformats.org/officeDocument/2006/relationships/slideLayout" Target="../slideLayouts/slideLayout654.xml"/><Relationship Id="rId24" Type="http://schemas.openxmlformats.org/officeDocument/2006/relationships/slideLayout" Target="../slideLayouts/slideLayout667.xml"/><Relationship Id="rId32" Type="http://schemas.openxmlformats.org/officeDocument/2006/relationships/slideLayout" Target="../slideLayouts/slideLayout675.xml"/><Relationship Id="rId5" Type="http://schemas.openxmlformats.org/officeDocument/2006/relationships/slideLayout" Target="../slideLayouts/slideLayout648.xml"/><Relationship Id="rId15" Type="http://schemas.openxmlformats.org/officeDocument/2006/relationships/slideLayout" Target="../slideLayouts/slideLayout658.xml"/><Relationship Id="rId23" Type="http://schemas.openxmlformats.org/officeDocument/2006/relationships/slideLayout" Target="../slideLayouts/slideLayout666.xml"/><Relationship Id="rId28" Type="http://schemas.openxmlformats.org/officeDocument/2006/relationships/slideLayout" Target="../slideLayouts/slideLayout671.xml"/><Relationship Id="rId36" Type="http://schemas.openxmlformats.org/officeDocument/2006/relationships/image" Target="../media/image90.png"/><Relationship Id="rId10" Type="http://schemas.openxmlformats.org/officeDocument/2006/relationships/slideLayout" Target="../slideLayouts/slideLayout653.xml"/><Relationship Id="rId19" Type="http://schemas.openxmlformats.org/officeDocument/2006/relationships/slideLayout" Target="../slideLayouts/slideLayout662.xml"/><Relationship Id="rId31" Type="http://schemas.openxmlformats.org/officeDocument/2006/relationships/slideLayout" Target="../slideLayouts/slideLayout674.xml"/><Relationship Id="rId4" Type="http://schemas.openxmlformats.org/officeDocument/2006/relationships/slideLayout" Target="../slideLayouts/slideLayout647.xml"/><Relationship Id="rId9" Type="http://schemas.openxmlformats.org/officeDocument/2006/relationships/slideLayout" Target="../slideLayouts/slideLayout652.xml"/><Relationship Id="rId14" Type="http://schemas.openxmlformats.org/officeDocument/2006/relationships/slideLayout" Target="../slideLayouts/slideLayout657.xml"/><Relationship Id="rId22" Type="http://schemas.openxmlformats.org/officeDocument/2006/relationships/slideLayout" Target="../slideLayouts/slideLayout665.xml"/><Relationship Id="rId27" Type="http://schemas.openxmlformats.org/officeDocument/2006/relationships/slideLayout" Target="../slideLayouts/slideLayout670.xml"/><Relationship Id="rId30" Type="http://schemas.openxmlformats.org/officeDocument/2006/relationships/slideLayout" Target="../slideLayouts/slideLayout673.xml"/><Relationship Id="rId35" Type="http://schemas.openxmlformats.org/officeDocument/2006/relationships/image" Target="../media/image89.png"/></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684.xml"/><Relationship Id="rId13" Type="http://schemas.openxmlformats.org/officeDocument/2006/relationships/slideLayout" Target="../slideLayouts/slideLayout689.xml"/><Relationship Id="rId18" Type="http://schemas.openxmlformats.org/officeDocument/2006/relationships/slideLayout" Target="../slideLayouts/slideLayout694.xml"/><Relationship Id="rId26" Type="http://schemas.openxmlformats.org/officeDocument/2006/relationships/image" Target="../media/image108.png"/><Relationship Id="rId3" Type="http://schemas.openxmlformats.org/officeDocument/2006/relationships/slideLayout" Target="../slideLayouts/slideLayout679.xml"/><Relationship Id="rId21" Type="http://schemas.openxmlformats.org/officeDocument/2006/relationships/slideLayout" Target="../slideLayouts/slideLayout697.xml"/><Relationship Id="rId7" Type="http://schemas.openxmlformats.org/officeDocument/2006/relationships/slideLayout" Target="../slideLayouts/slideLayout683.xml"/><Relationship Id="rId12" Type="http://schemas.openxmlformats.org/officeDocument/2006/relationships/slideLayout" Target="../slideLayouts/slideLayout688.xml"/><Relationship Id="rId17" Type="http://schemas.openxmlformats.org/officeDocument/2006/relationships/slideLayout" Target="../slideLayouts/slideLayout693.xml"/><Relationship Id="rId25" Type="http://schemas.openxmlformats.org/officeDocument/2006/relationships/theme" Target="../theme/theme32.xml"/><Relationship Id="rId2" Type="http://schemas.openxmlformats.org/officeDocument/2006/relationships/slideLayout" Target="../slideLayouts/slideLayout678.xml"/><Relationship Id="rId16" Type="http://schemas.openxmlformats.org/officeDocument/2006/relationships/slideLayout" Target="../slideLayouts/slideLayout692.xml"/><Relationship Id="rId20" Type="http://schemas.openxmlformats.org/officeDocument/2006/relationships/slideLayout" Target="../slideLayouts/slideLayout696.xml"/><Relationship Id="rId1" Type="http://schemas.openxmlformats.org/officeDocument/2006/relationships/slideLayout" Target="../slideLayouts/slideLayout677.xml"/><Relationship Id="rId6" Type="http://schemas.openxmlformats.org/officeDocument/2006/relationships/slideLayout" Target="../slideLayouts/slideLayout682.xml"/><Relationship Id="rId11" Type="http://schemas.openxmlformats.org/officeDocument/2006/relationships/slideLayout" Target="../slideLayouts/slideLayout687.xml"/><Relationship Id="rId24" Type="http://schemas.openxmlformats.org/officeDocument/2006/relationships/slideLayout" Target="../slideLayouts/slideLayout700.xml"/><Relationship Id="rId5" Type="http://schemas.openxmlformats.org/officeDocument/2006/relationships/slideLayout" Target="../slideLayouts/slideLayout681.xml"/><Relationship Id="rId15" Type="http://schemas.openxmlformats.org/officeDocument/2006/relationships/slideLayout" Target="../slideLayouts/slideLayout691.xml"/><Relationship Id="rId23" Type="http://schemas.openxmlformats.org/officeDocument/2006/relationships/slideLayout" Target="../slideLayouts/slideLayout699.xml"/><Relationship Id="rId10" Type="http://schemas.openxmlformats.org/officeDocument/2006/relationships/slideLayout" Target="../slideLayouts/slideLayout686.xml"/><Relationship Id="rId19" Type="http://schemas.openxmlformats.org/officeDocument/2006/relationships/slideLayout" Target="../slideLayouts/slideLayout695.xml"/><Relationship Id="rId4" Type="http://schemas.openxmlformats.org/officeDocument/2006/relationships/slideLayout" Target="../slideLayouts/slideLayout680.xml"/><Relationship Id="rId9" Type="http://schemas.openxmlformats.org/officeDocument/2006/relationships/slideLayout" Target="../slideLayouts/slideLayout685.xml"/><Relationship Id="rId14" Type="http://schemas.openxmlformats.org/officeDocument/2006/relationships/slideLayout" Target="../slideLayouts/slideLayout690.xml"/><Relationship Id="rId22" Type="http://schemas.openxmlformats.org/officeDocument/2006/relationships/slideLayout" Target="../slideLayouts/slideLayout69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slideLayout" Target="../slideLayouts/slideLayout95.xml"/><Relationship Id="rId18" Type="http://schemas.openxmlformats.org/officeDocument/2006/relationships/slideLayout" Target="../slideLayouts/slideLayout100.xml"/><Relationship Id="rId26" Type="http://schemas.openxmlformats.org/officeDocument/2006/relationships/slideLayout" Target="../slideLayouts/slideLayout108.xml"/><Relationship Id="rId3" Type="http://schemas.openxmlformats.org/officeDocument/2006/relationships/slideLayout" Target="../slideLayouts/slideLayout85.xml"/><Relationship Id="rId21" Type="http://schemas.openxmlformats.org/officeDocument/2006/relationships/slideLayout" Target="../slideLayouts/slideLayout103.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17" Type="http://schemas.openxmlformats.org/officeDocument/2006/relationships/slideLayout" Target="../slideLayouts/slideLayout99.xml"/><Relationship Id="rId25" Type="http://schemas.openxmlformats.org/officeDocument/2006/relationships/slideLayout" Target="../slideLayouts/slideLayout107.xml"/><Relationship Id="rId2" Type="http://schemas.openxmlformats.org/officeDocument/2006/relationships/slideLayout" Target="../slideLayouts/slideLayout84.xml"/><Relationship Id="rId16" Type="http://schemas.openxmlformats.org/officeDocument/2006/relationships/slideLayout" Target="../slideLayouts/slideLayout98.xml"/><Relationship Id="rId20" Type="http://schemas.openxmlformats.org/officeDocument/2006/relationships/slideLayout" Target="../slideLayouts/slideLayout102.xml"/><Relationship Id="rId29" Type="http://schemas.openxmlformats.org/officeDocument/2006/relationships/image" Target="../media/image69.png"/><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24" Type="http://schemas.openxmlformats.org/officeDocument/2006/relationships/slideLayout" Target="../slideLayouts/slideLayout106.xml"/><Relationship Id="rId5" Type="http://schemas.openxmlformats.org/officeDocument/2006/relationships/slideLayout" Target="../slideLayouts/slideLayout87.xml"/><Relationship Id="rId15" Type="http://schemas.openxmlformats.org/officeDocument/2006/relationships/slideLayout" Target="../slideLayouts/slideLayout97.xml"/><Relationship Id="rId23" Type="http://schemas.openxmlformats.org/officeDocument/2006/relationships/slideLayout" Target="../slideLayouts/slideLayout105.xml"/><Relationship Id="rId28" Type="http://schemas.openxmlformats.org/officeDocument/2006/relationships/theme" Target="../theme/theme4.xml"/><Relationship Id="rId10" Type="http://schemas.openxmlformats.org/officeDocument/2006/relationships/slideLayout" Target="../slideLayouts/slideLayout92.xml"/><Relationship Id="rId19" Type="http://schemas.openxmlformats.org/officeDocument/2006/relationships/slideLayout" Target="../slideLayouts/slideLayout101.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slideLayout" Target="../slideLayouts/slideLayout96.xml"/><Relationship Id="rId22" Type="http://schemas.openxmlformats.org/officeDocument/2006/relationships/slideLayout" Target="../slideLayouts/slideLayout104.xml"/><Relationship Id="rId27" Type="http://schemas.openxmlformats.org/officeDocument/2006/relationships/slideLayout" Target="../slideLayouts/slideLayout10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7.xml"/><Relationship Id="rId13" Type="http://schemas.openxmlformats.org/officeDocument/2006/relationships/slideLayout" Target="../slideLayouts/slideLayout122.xml"/><Relationship Id="rId18" Type="http://schemas.openxmlformats.org/officeDocument/2006/relationships/slideLayout" Target="../slideLayouts/slideLayout127.xml"/><Relationship Id="rId26" Type="http://schemas.openxmlformats.org/officeDocument/2006/relationships/slideLayout" Target="../slideLayouts/slideLayout135.xml"/><Relationship Id="rId3" Type="http://schemas.openxmlformats.org/officeDocument/2006/relationships/slideLayout" Target="../slideLayouts/slideLayout112.xml"/><Relationship Id="rId21" Type="http://schemas.openxmlformats.org/officeDocument/2006/relationships/slideLayout" Target="../slideLayouts/slideLayout130.xml"/><Relationship Id="rId34" Type="http://schemas.openxmlformats.org/officeDocument/2006/relationships/image" Target="../media/image1.png"/><Relationship Id="rId7" Type="http://schemas.openxmlformats.org/officeDocument/2006/relationships/slideLayout" Target="../slideLayouts/slideLayout116.xml"/><Relationship Id="rId12" Type="http://schemas.openxmlformats.org/officeDocument/2006/relationships/slideLayout" Target="../slideLayouts/slideLayout121.xml"/><Relationship Id="rId17" Type="http://schemas.openxmlformats.org/officeDocument/2006/relationships/slideLayout" Target="../slideLayouts/slideLayout126.xml"/><Relationship Id="rId25" Type="http://schemas.openxmlformats.org/officeDocument/2006/relationships/slideLayout" Target="../slideLayouts/slideLayout134.xml"/><Relationship Id="rId33" Type="http://schemas.openxmlformats.org/officeDocument/2006/relationships/theme" Target="../theme/theme5.xml"/><Relationship Id="rId2" Type="http://schemas.openxmlformats.org/officeDocument/2006/relationships/slideLayout" Target="../slideLayouts/slideLayout111.xml"/><Relationship Id="rId16" Type="http://schemas.openxmlformats.org/officeDocument/2006/relationships/slideLayout" Target="../slideLayouts/slideLayout125.xml"/><Relationship Id="rId20" Type="http://schemas.openxmlformats.org/officeDocument/2006/relationships/slideLayout" Target="../slideLayouts/slideLayout129.xml"/><Relationship Id="rId29" Type="http://schemas.openxmlformats.org/officeDocument/2006/relationships/slideLayout" Target="../slideLayouts/slideLayout138.xml"/><Relationship Id="rId1" Type="http://schemas.openxmlformats.org/officeDocument/2006/relationships/slideLayout" Target="../slideLayouts/slideLayout110.xml"/><Relationship Id="rId6" Type="http://schemas.openxmlformats.org/officeDocument/2006/relationships/slideLayout" Target="../slideLayouts/slideLayout115.xml"/><Relationship Id="rId11" Type="http://schemas.openxmlformats.org/officeDocument/2006/relationships/slideLayout" Target="../slideLayouts/slideLayout120.xml"/><Relationship Id="rId24" Type="http://schemas.openxmlformats.org/officeDocument/2006/relationships/slideLayout" Target="../slideLayouts/slideLayout133.xml"/><Relationship Id="rId32" Type="http://schemas.openxmlformats.org/officeDocument/2006/relationships/slideLayout" Target="../slideLayouts/slideLayout141.xml"/><Relationship Id="rId5" Type="http://schemas.openxmlformats.org/officeDocument/2006/relationships/slideLayout" Target="../slideLayouts/slideLayout114.xml"/><Relationship Id="rId15" Type="http://schemas.openxmlformats.org/officeDocument/2006/relationships/slideLayout" Target="../slideLayouts/slideLayout124.xml"/><Relationship Id="rId23" Type="http://schemas.openxmlformats.org/officeDocument/2006/relationships/slideLayout" Target="../slideLayouts/slideLayout132.xml"/><Relationship Id="rId28" Type="http://schemas.openxmlformats.org/officeDocument/2006/relationships/slideLayout" Target="../slideLayouts/slideLayout137.xml"/><Relationship Id="rId10" Type="http://schemas.openxmlformats.org/officeDocument/2006/relationships/slideLayout" Target="../slideLayouts/slideLayout119.xml"/><Relationship Id="rId19" Type="http://schemas.openxmlformats.org/officeDocument/2006/relationships/slideLayout" Target="../slideLayouts/slideLayout128.xml"/><Relationship Id="rId31" Type="http://schemas.openxmlformats.org/officeDocument/2006/relationships/slideLayout" Target="../slideLayouts/slideLayout140.xml"/><Relationship Id="rId4" Type="http://schemas.openxmlformats.org/officeDocument/2006/relationships/slideLayout" Target="../slideLayouts/slideLayout113.xml"/><Relationship Id="rId9" Type="http://schemas.openxmlformats.org/officeDocument/2006/relationships/slideLayout" Target="../slideLayouts/slideLayout118.xml"/><Relationship Id="rId14" Type="http://schemas.openxmlformats.org/officeDocument/2006/relationships/slideLayout" Target="../slideLayouts/slideLayout123.xml"/><Relationship Id="rId22" Type="http://schemas.openxmlformats.org/officeDocument/2006/relationships/slideLayout" Target="../slideLayouts/slideLayout131.xml"/><Relationship Id="rId27" Type="http://schemas.openxmlformats.org/officeDocument/2006/relationships/slideLayout" Target="../slideLayouts/slideLayout136.xml"/><Relationship Id="rId30" Type="http://schemas.openxmlformats.org/officeDocument/2006/relationships/slideLayout" Target="../slideLayouts/slideLayout139.xml"/><Relationship Id="rId35" Type="http://schemas.openxmlformats.org/officeDocument/2006/relationships/image" Target="../media/image2.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49.xml"/><Relationship Id="rId13" Type="http://schemas.openxmlformats.org/officeDocument/2006/relationships/slideLayout" Target="../slideLayouts/slideLayout154.xml"/><Relationship Id="rId3" Type="http://schemas.openxmlformats.org/officeDocument/2006/relationships/slideLayout" Target="../slideLayouts/slideLayout144.xml"/><Relationship Id="rId7" Type="http://schemas.openxmlformats.org/officeDocument/2006/relationships/slideLayout" Target="../slideLayouts/slideLayout148.xml"/><Relationship Id="rId12" Type="http://schemas.openxmlformats.org/officeDocument/2006/relationships/slideLayout" Target="../slideLayouts/slideLayout153.xml"/><Relationship Id="rId2" Type="http://schemas.openxmlformats.org/officeDocument/2006/relationships/slideLayout" Target="../slideLayouts/slideLayout143.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11" Type="http://schemas.openxmlformats.org/officeDocument/2006/relationships/slideLayout" Target="../slideLayouts/slideLayout152.xml"/><Relationship Id="rId5" Type="http://schemas.openxmlformats.org/officeDocument/2006/relationships/slideLayout" Target="../slideLayouts/slideLayout146.xml"/><Relationship Id="rId15" Type="http://schemas.openxmlformats.org/officeDocument/2006/relationships/theme" Target="../theme/theme6.xml"/><Relationship Id="rId10" Type="http://schemas.openxmlformats.org/officeDocument/2006/relationships/slideLayout" Target="../slideLayouts/slideLayout151.xml"/><Relationship Id="rId4" Type="http://schemas.openxmlformats.org/officeDocument/2006/relationships/slideLayout" Target="../slideLayouts/slideLayout145.xml"/><Relationship Id="rId9" Type="http://schemas.openxmlformats.org/officeDocument/2006/relationships/slideLayout" Target="../slideLayouts/slideLayout150.xml"/><Relationship Id="rId14" Type="http://schemas.openxmlformats.org/officeDocument/2006/relationships/slideLayout" Target="../slideLayouts/slideLayout15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63.xml"/><Relationship Id="rId13" Type="http://schemas.openxmlformats.org/officeDocument/2006/relationships/slideLayout" Target="../slideLayouts/slideLayout168.xml"/><Relationship Id="rId18" Type="http://schemas.openxmlformats.org/officeDocument/2006/relationships/slideLayout" Target="../slideLayouts/slideLayout173.xml"/><Relationship Id="rId3" Type="http://schemas.openxmlformats.org/officeDocument/2006/relationships/slideLayout" Target="../slideLayouts/slideLayout158.xml"/><Relationship Id="rId7" Type="http://schemas.openxmlformats.org/officeDocument/2006/relationships/slideLayout" Target="../slideLayouts/slideLayout162.xml"/><Relationship Id="rId12" Type="http://schemas.openxmlformats.org/officeDocument/2006/relationships/slideLayout" Target="../slideLayouts/slideLayout167.xml"/><Relationship Id="rId17" Type="http://schemas.openxmlformats.org/officeDocument/2006/relationships/slideLayout" Target="../slideLayouts/slideLayout172.xml"/><Relationship Id="rId2" Type="http://schemas.openxmlformats.org/officeDocument/2006/relationships/slideLayout" Target="../slideLayouts/slideLayout157.xml"/><Relationship Id="rId16" Type="http://schemas.openxmlformats.org/officeDocument/2006/relationships/slideLayout" Target="../slideLayouts/slideLayout171.xml"/><Relationship Id="rId20" Type="http://schemas.openxmlformats.org/officeDocument/2006/relationships/image" Target="../media/image10.png"/><Relationship Id="rId1" Type="http://schemas.openxmlformats.org/officeDocument/2006/relationships/slideLayout" Target="../slideLayouts/slideLayout156.xml"/><Relationship Id="rId6" Type="http://schemas.openxmlformats.org/officeDocument/2006/relationships/slideLayout" Target="../slideLayouts/slideLayout161.xml"/><Relationship Id="rId11" Type="http://schemas.openxmlformats.org/officeDocument/2006/relationships/slideLayout" Target="../slideLayouts/slideLayout166.xml"/><Relationship Id="rId5" Type="http://schemas.openxmlformats.org/officeDocument/2006/relationships/slideLayout" Target="../slideLayouts/slideLayout160.xml"/><Relationship Id="rId15" Type="http://schemas.openxmlformats.org/officeDocument/2006/relationships/slideLayout" Target="../slideLayouts/slideLayout170.xml"/><Relationship Id="rId10" Type="http://schemas.openxmlformats.org/officeDocument/2006/relationships/slideLayout" Target="../slideLayouts/slideLayout165.xml"/><Relationship Id="rId19" Type="http://schemas.openxmlformats.org/officeDocument/2006/relationships/theme" Target="../theme/theme7.xml"/><Relationship Id="rId4" Type="http://schemas.openxmlformats.org/officeDocument/2006/relationships/slideLayout" Target="../slideLayouts/slideLayout159.xml"/><Relationship Id="rId9" Type="http://schemas.openxmlformats.org/officeDocument/2006/relationships/slideLayout" Target="../slideLayouts/slideLayout164.xml"/><Relationship Id="rId14" Type="http://schemas.openxmlformats.org/officeDocument/2006/relationships/slideLayout" Target="../slideLayouts/slideLayout169.xml"/></Relationships>
</file>

<file path=ppt/slideMasters/_rels/slideMaster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81.xml"/><Relationship Id="rId13" Type="http://schemas.openxmlformats.org/officeDocument/2006/relationships/slideLayout" Target="../slideLayouts/slideLayout186.xml"/><Relationship Id="rId18" Type="http://schemas.openxmlformats.org/officeDocument/2006/relationships/slideLayout" Target="../slideLayouts/slideLayout191.xml"/><Relationship Id="rId26" Type="http://schemas.openxmlformats.org/officeDocument/2006/relationships/slideLayout" Target="../slideLayouts/slideLayout199.xml"/><Relationship Id="rId3" Type="http://schemas.openxmlformats.org/officeDocument/2006/relationships/slideLayout" Target="../slideLayouts/slideLayout176.xml"/><Relationship Id="rId21" Type="http://schemas.openxmlformats.org/officeDocument/2006/relationships/slideLayout" Target="../slideLayouts/slideLayout194.xml"/><Relationship Id="rId34" Type="http://schemas.openxmlformats.org/officeDocument/2006/relationships/image" Target="../media/image1.png"/><Relationship Id="rId7" Type="http://schemas.openxmlformats.org/officeDocument/2006/relationships/slideLayout" Target="../slideLayouts/slideLayout180.xml"/><Relationship Id="rId12" Type="http://schemas.openxmlformats.org/officeDocument/2006/relationships/slideLayout" Target="../slideLayouts/slideLayout185.xml"/><Relationship Id="rId17" Type="http://schemas.openxmlformats.org/officeDocument/2006/relationships/slideLayout" Target="../slideLayouts/slideLayout190.xml"/><Relationship Id="rId25" Type="http://schemas.openxmlformats.org/officeDocument/2006/relationships/slideLayout" Target="../slideLayouts/slideLayout198.xml"/><Relationship Id="rId33" Type="http://schemas.openxmlformats.org/officeDocument/2006/relationships/theme" Target="../theme/theme9.xml"/><Relationship Id="rId2" Type="http://schemas.openxmlformats.org/officeDocument/2006/relationships/slideLayout" Target="../slideLayouts/slideLayout175.xml"/><Relationship Id="rId16" Type="http://schemas.openxmlformats.org/officeDocument/2006/relationships/slideLayout" Target="../slideLayouts/slideLayout189.xml"/><Relationship Id="rId20" Type="http://schemas.openxmlformats.org/officeDocument/2006/relationships/slideLayout" Target="../slideLayouts/slideLayout193.xml"/><Relationship Id="rId29" Type="http://schemas.openxmlformats.org/officeDocument/2006/relationships/slideLayout" Target="../slideLayouts/slideLayout202.xml"/><Relationship Id="rId1" Type="http://schemas.openxmlformats.org/officeDocument/2006/relationships/slideLayout" Target="../slideLayouts/slideLayout174.xml"/><Relationship Id="rId6" Type="http://schemas.openxmlformats.org/officeDocument/2006/relationships/slideLayout" Target="../slideLayouts/slideLayout179.xml"/><Relationship Id="rId11" Type="http://schemas.openxmlformats.org/officeDocument/2006/relationships/slideLayout" Target="../slideLayouts/slideLayout184.xml"/><Relationship Id="rId24" Type="http://schemas.openxmlformats.org/officeDocument/2006/relationships/slideLayout" Target="../slideLayouts/slideLayout197.xml"/><Relationship Id="rId32" Type="http://schemas.openxmlformats.org/officeDocument/2006/relationships/slideLayout" Target="../slideLayouts/slideLayout205.xml"/><Relationship Id="rId5" Type="http://schemas.openxmlformats.org/officeDocument/2006/relationships/slideLayout" Target="../slideLayouts/slideLayout178.xml"/><Relationship Id="rId15" Type="http://schemas.openxmlformats.org/officeDocument/2006/relationships/slideLayout" Target="../slideLayouts/slideLayout188.xml"/><Relationship Id="rId23" Type="http://schemas.openxmlformats.org/officeDocument/2006/relationships/slideLayout" Target="../slideLayouts/slideLayout196.xml"/><Relationship Id="rId28" Type="http://schemas.openxmlformats.org/officeDocument/2006/relationships/slideLayout" Target="../slideLayouts/slideLayout201.xml"/><Relationship Id="rId10" Type="http://schemas.openxmlformats.org/officeDocument/2006/relationships/slideLayout" Target="../slideLayouts/slideLayout183.xml"/><Relationship Id="rId19" Type="http://schemas.openxmlformats.org/officeDocument/2006/relationships/slideLayout" Target="../slideLayouts/slideLayout192.xml"/><Relationship Id="rId31" Type="http://schemas.openxmlformats.org/officeDocument/2006/relationships/slideLayout" Target="../slideLayouts/slideLayout204.xml"/><Relationship Id="rId4" Type="http://schemas.openxmlformats.org/officeDocument/2006/relationships/slideLayout" Target="../slideLayouts/slideLayout177.xml"/><Relationship Id="rId9" Type="http://schemas.openxmlformats.org/officeDocument/2006/relationships/slideLayout" Target="../slideLayouts/slideLayout182.xml"/><Relationship Id="rId14" Type="http://schemas.openxmlformats.org/officeDocument/2006/relationships/slideLayout" Target="../slideLayouts/slideLayout187.xml"/><Relationship Id="rId22" Type="http://schemas.openxmlformats.org/officeDocument/2006/relationships/slideLayout" Target="../slideLayouts/slideLayout195.xml"/><Relationship Id="rId27" Type="http://schemas.openxmlformats.org/officeDocument/2006/relationships/slideLayout" Target="../slideLayouts/slideLayout200.xml"/><Relationship Id="rId30" Type="http://schemas.openxmlformats.org/officeDocument/2006/relationships/slideLayout" Target="../slideLayouts/slideLayout203.xml"/><Relationship Id="rId35"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userDrawn="1"/>
        </p:nvPicPr>
        <p:blipFill>
          <a:blip r:embed="rId34">
            <a:extLst>
              <a:ext uri="{28A0092B-C50C-407E-A947-70E740481C1C}">
                <a14:useLocalDpi xmlns:a14="http://schemas.microsoft.com/office/drawing/2010/main" val="0"/>
              </a:ext>
            </a:extLst>
          </a:blip>
          <a:stretch>
            <a:fillRect/>
          </a:stretch>
        </p:blipFill>
        <p:spPr>
          <a:xfrm rot="5400000">
            <a:off x="10321813" y="1906465"/>
            <a:ext cx="4214127" cy="401200"/>
          </a:xfrm>
          <a:prstGeom prst="rect">
            <a:avLst/>
          </a:prstGeom>
        </p:spPr>
      </p:pic>
      <p:pic>
        <p:nvPicPr>
          <p:cNvPr id="8" name="Logo" descr="MS Logo White.png"/>
          <p:cNvPicPr>
            <a:picLocks noChangeAspect="1"/>
          </p:cNvPicPr>
          <p:nvPr userDrawn="1"/>
        </p:nvPicPr>
        <p:blipFill>
          <a:blip r:embed="rId35">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110325035"/>
      </p:ext>
    </p:extLst>
  </p:cSld>
  <p:clrMap bg1="lt1" tx1="dk1" bg2="lt2" tx2="dk2" accent1="accent1" accent2="accent2" accent3="accent3" accent4="accent4" accent5="accent5" accent6="accent6" hlink="hlink" folHlink="folHlink"/>
  <p:sldLayoutIdLst>
    <p:sldLayoutId id="2147484957" r:id="rId1"/>
    <p:sldLayoutId id="2147484960" r:id="rId2"/>
    <p:sldLayoutId id="2147484959" r:id="rId3"/>
    <p:sldLayoutId id="2147484961" r:id="rId4"/>
    <p:sldLayoutId id="2147484985" r:id="rId5"/>
    <p:sldLayoutId id="2147484995" r:id="rId6"/>
    <p:sldLayoutId id="2147484986" r:id="rId7"/>
    <p:sldLayoutId id="2147484987" r:id="rId8"/>
    <p:sldLayoutId id="2147484988" r:id="rId9"/>
    <p:sldLayoutId id="2147484989" r:id="rId10"/>
    <p:sldLayoutId id="2147484962" r:id="rId11"/>
    <p:sldLayoutId id="2147484963" r:id="rId12"/>
    <p:sldLayoutId id="2147484992" r:id="rId13"/>
    <p:sldLayoutId id="2147484964" r:id="rId14"/>
    <p:sldLayoutId id="2147484969" r:id="rId15"/>
    <p:sldLayoutId id="2147484994" r:id="rId16"/>
    <p:sldLayoutId id="2147484991" r:id="rId17"/>
    <p:sldLayoutId id="2147484965" r:id="rId18"/>
    <p:sldLayoutId id="2147484972" r:id="rId19"/>
    <p:sldLayoutId id="2147484966" r:id="rId20"/>
    <p:sldLayoutId id="2147484970" r:id="rId21"/>
    <p:sldLayoutId id="2147484993" r:id="rId22"/>
    <p:sldLayoutId id="2147484967" r:id="rId23"/>
    <p:sldLayoutId id="2147484968" r:id="rId24"/>
    <p:sldLayoutId id="2147484990" r:id="rId25"/>
    <p:sldLayoutId id="2147484996" r:id="rId26"/>
    <p:sldLayoutId id="2147484997" r:id="rId27"/>
    <p:sldLayoutId id="2147484998" r:id="rId28"/>
    <p:sldLayoutId id="2147485000" r:id="rId29"/>
    <p:sldLayoutId id="2147485001" r:id="rId30"/>
    <p:sldLayoutId id="2147484999" r:id="rId31"/>
    <p:sldLayoutId id="2147485017" r:id="rId32"/>
  </p:sldLayoutIdLst>
  <p:transition>
    <p:fade/>
  </p:transition>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3"/>
            <a:ext cx="11652805"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171" y="1189180"/>
            <a:ext cx="11650485" cy="211733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72409368"/>
      </p:ext>
    </p:extLst>
  </p:cSld>
  <p:clrMap bg1="dk1" tx1="lt1" bg2="dk2" tx2="lt2" accent1="accent1" accent2="accent2" accent3="accent3" accent4="accent4" accent5="accent5" accent6="accent6" hlink="hlink" folHlink="folHlink"/>
  <p:sldLayoutIdLst>
    <p:sldLayoutId id="2147485187" r:id="rId1"/>
    <p:sldLayoutId id="2147485188" r:id="rId2"/>
    <p:sldLayoutId id="2147485189" r:id="rId3"/>
    <p:sldLayoutId id="2147485190" r:id="rId4"/>
    <p:sldLayoutId id="2147485191" r:id="rId5"/>
    <p:sldLayoutId id="2147485192" r:id="rId6"/>
    <p:sldLayoutId id="2147485193" r:id="rId7"/>
    <p:sldLayoutId id="2147485194" r:id="rId8"/>
    <p:sldLayoutId id="2147485195" r:id="rId9"/>
    <p:sldLayoutId id="2147485196" r:id="rId10"/>
    <p:sldLayoutId id="2147485197" r:id="rId11"/>
    <p:sldLayoutId id="2147485198" r:id="rId12"/>
    <p:sldLayoutId id="2147485199" r:id="rId13"/>
    <p:sldLayoutId id="2147485200" r:id="rId14"/>
    <p:sldLayoutId id="2147485201" r:id="rId15"/>
    <p:sldLayoutId id="2147485202" r:id="rId16"/>
    <p:sldLayoutId id="2147485203" r:id="rId17"/>
    <p:sldLayoutId id="2147485204" r:id="rId18"/>
    <p:sldLayoutId id="2147485205" r:id="rId19"/>
    <p:sldLayoutId id="2147485206" r:id="rId20"/>
    <p:sldLayoutId id="2147485207" r:id="rId21"/>
    <p:sldLayoutId id="2147485208" r:id="rId22"/>
    <p:sldLayoutId id="2147485209" r:id="rId23"/>
    <p:sldLayoutId id="2147485210" r:id="rId24"/>
    <p:sldLayoutId id="2147485211" r:id="rId25"/>
    <p:sldLayoutId id="2147485212" r:id="rId26"/>
    <p:sldLayoutId id="2147485213" r:id="rId27"/>
    <p:sldLayoutId id="2147485214" r:id="rId28"/>
    <p:sldLayoutId id="2147485215" r:id="rId29"/>
    <p:sldLayoutId id="2147485216" r:id="rId30"/>
    <p:sldLayoutId id="2147485217" r:id="rId31"/>
    <p:sldLayoutId id="2147485218" r:id="rId32"/>
  </p:sldLayoutIdLst>
  <p:transition>
    <p:fade/>
  </p:transition>
  <p:txStyles>
    <p:titleStyle>
      <a:lvl1pPr algn="l" defTabSz="914060"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31" marR="0" indent="-336031" algn="l" defTabSz="914060" rtl="0" eaLnBrk="1" fontAlgn="auto" latinLnBrk="0" hangingPunct="1">
        <a:lnSpc>
          <a:spcPct val="90000"/>
        </a:lnSpc>
        <a:spcBef>
          <a:spcPct val="20000"/>
        </a:spcBef>
        <a:spcAft>
          <a:spcPts val="0"/>
        </a:spcAft>
        <a:buClrTx/>
        <a:buSzPct val="90000"/>
        <a:buFont typeface="Arial" pitchFamily="34" charset="0"/>
        <a:buChar char="•"/>
        <a:tabLst/>
        <a:defRPr sz="3918" kern="1200" spc="0" baseline="0">
          <a:gradFill>
            <a:gsLst>
              <a:gs pos="1250">
                <a:schemeClr val="tx1"/>
              </a:gs>
              <a:gs pos="100000">
                <a:schemeClr val="tx1"/>
              </a:gs>
            </a:gsLst>
            <a:lin ang="5400000" scaled="0"/>
          </a:gradFill>
          <a:latin typeface="+mj-lt"/>
          <a:ea typeface="+mn-ea"/>
          <a:cs typeface="+mn-cs"/>
        </a:defRPr>
      </a:lvl1pPr>
      <a:lvl2pPr marL="572499" marR="0" indent="-236467" algn="l" defTabSz="91406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075" marR="0" indent="-224022" algn="l" defTabSz="91406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096" marR="0" indent="-224022" algn="l" defTabSz="914060"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118" marR="0" indent="-224022" algn="l" defTabSz="914060"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665" indent="-228516" algn="l" defTabSz="91406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697" indent="-228516" algn="l" defTabSz="91406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727" indent="-228516" algn="l" defTabSz="91406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759" indent="-228516" algn="l" defTabSz="91406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60" rtl="0" eaLnBrk="1" latinLnBrk="0" hangingPunct="1">
        <a:defRPr sz="1765" kern="1200">
          <a:solidFill>
            <a:schemeClr val="tx1"/>
          </a:solidFill>
          <a:latin typeface="+mn-lt"/>
          <a:ea typeface="+mn-ea"/>
          <a:cs typeface="+mn-cs"/>
        </a:defRPr>
      </a:lvl1pPr>
      <a:lvl2pPr marL="457031" algn="l" defTabSz="914060" rtl="0" eaLnBrk="1" latinLnBrk="0" hangingPunct="1">
        <a:defRPr sz="1765" kern="1200">
          <a:solidFill>
            <a:schemeClr val="tx1"/>
          </a:solidFill>
          <a:latin typeface="+mn-lt"/>
          <a:ea typeface="+mn-ea"/>
          <a:cs typeface="+mn-cs"/>
        </a:defRPr>
      </a:lvl2pPr>
      <a:lvl3pPr marL="914060" algn="l" defTabSz="914060" rtl="0" eaLnBrk="1" latinLnBrk="0" hangingPunct="1">
        <a:defRPr sz="1765" kern="1200">
          <a:solidFill>
            <a:schemeClr val="tx1"/>
          </a:solidFill>
          <a:latin typeface="+mn-lt"/>
          <a:ea typeface="+mn-ea"/>
          <a:cs typeface="+mn-cs"/>
        </a:defRPr>
      </a:lvl3pPr>
      <a:lvl4pPr marL="1371091" algn="l" defTabSz="914060" rtl="0" eaLnBrk="1" latinLnBrk="0" hangingPunct="1">
        <a:defRPr sz="1765" kern="1200">
          <a:solidFill>
            <a:schemeClr val="tx1"/>
          </a:solidFill>
          <a:latin typeface="+mn-lt"/>
          <a:ea typeface="+mn-ea"/>
          <a:cs typeface="+mn-cs"/>
        </a:defRPr>
      </a:lvl4pPr>
      <a:lvl5pPr marL="1828121" algn="l" defTabSz="914060" rtl="0" eaLnBrk="1" latinLnBrk="0" hangingPunct="1">
        <a:defRPr sz="1765" kern="1200">
          <a:solidFill>
            <a:schemeClr val="tx1"/>
          </a:solidFill>
          <a:latin typeface="+mn-lt"/>
          <a:ea typeface="+mn-ea"/>
          <a:cs typeface="+mn-cs"/>
        </a:defRPr>
      </a:lvl5pPr>
      <a:lvl6pPr marL="2285153" algn="l" defTabSz="914060" rtl="0" eaLnBrk="1" latinLnBrk="0" hangingPunct="1">
        <a:defRPr sz="1765" kern="1200">
          <a:solidFill>
            <a:schemeClr val="tx1"/>
          </a:solidFill>
          <a:latin typeface="+mn-lt"/>
          <a:ea typeface="+mn-ea"/>
          <a:cs typeface="+mn-cs"/>
        </a:defRPr>
      </a:lvl6pPr>
      <a:lvl7pPr marL="2742183" algn="l" defTabSz="914060" rtl="0" eaLnBrk="1" latinLnBrk="0" hangingPunct="1">
        <a:defRPr sz="1765" kern="1200">
          <a:solidFill>
            <a:schemeClr val="tx1"/>
          </a:solidFill>
          <a:latin typeface="+mn-lt"/>
          <a:ea typeface="+mn-ea"/>
          <a:cs typeface="+mn-cs"/>
        </a:defRPr>
      </a:lvl7pPr>
      <a:lvl8pPr marL="3199212" algn="l" defTabSz="914060" rtl="0" eaLnBrk="1" latinLnBrk="0" hangingPunct="1">
        <a:defRPr sz="1765" kern="1200">
          <a:solidFill>
            <a:schemeClr val="tx1"/>
          </a:solidFill>
          <a:latin typeface="+mn-lt"/>
          <a:ea typeface="+mn-ea"/>
          <a:cs typeface="+mn-cs"/>
        </a:defRPr>
      </a:lvl8pPr>
      <a:lvl9pPr marL="3656243" algn="l" defTabSz="914060"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043"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169" y="1189177"/>
            <a:ext cx="11650488" cy="2051485"/>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2052" name="Picture 6"/>
          <p:cNvPicPr>
            <a:picLocks noChangeAspect="1"/>
          </p:cNvPicPr>
          <p:nvPr userDrawn="1"/>
        </p:nvPicPr>
        <p:blipFill>
          <a:blip r:embed="rId24">
            <a:extLst>
              <a:ext uri="{28A0092B-C50C-407E-A947-70E740481C1C}">
                <a14:useLocalDpi xmlns:a14="http://schemas.microsoft.com/office/drawing/2010/main" val="0"/>
              </a:ext>
            </a:extLst>
          </a:blip>
          <a:srcRect/>
          <a:stretch>
            <a:fillRect/>
          </a:stretch>
        </p:blipFill>
        <p:spPr bwMode="auto">
          <a:xfrm>
            <a:off x="12196605" y="0"/>
            <a:ext cx="87596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19154797"/>
      </p:ext>
    </p:extLst>
  </p:cSld>
  <p:clrMap bg1="dk1" tx1="lt1" bg2="dk2" tx2="lt2" accent1="accent1" accent2="accent2" accent3="accent3" accent4="accent4" accent5="accent5" accent6="accent6" hlink="hlink" folHlink="folHlink"/>
  <p:sldLayoutIdLst>
    <p:sldLayoutId id="2147485220" r:id="rId1"/>
    <p:sldLayoutId id="2147485221" r:id="rId2"/>
    <p:sldLayoutId id="2147485222" r:id="rId3"/>
    <p:sldLayoutId id="2147485223" r:id="rId4"/>
    <p:sldLayoutId id="2147485224" r:id="rId5"/>
    <p:sldLayoutId id="2147485225" r:id="rId6"/>
    <p:sldLayoutId id="2147485226" r:id="rId7"/>
    <p:sldLayoutId id="2147485227" r:id="rId8"/>
    <p:sldLayoutId id="2147485228" r:id="rId9"/>
    <p:sldLayoutId id="2147485229" r:id="rId10"/>
    <p:sldLayoutId id="2147485230" r:id="rId11"/>
    <p:sldLayoutId id="2147485231" r:id="rId12"/>
    <p:sldLayoutId id="2147485232" r:id="rId13"/>
    <p:sldLayoutId id="2147485233" r:id="rId14"/>
    <p:sldLayoutId id="2147485234" r:id="rId15"/>
    <p:sldLayoutId id="2147485235" r:id="rId16"/>
    <p:sldLayoutId id="2147485236" r:id="rId17"/>
    <p:sldLayoutId id="2147485237" r:id="rId18"/>
    <p:sldLayoutId id="2147485238" r:id="rId19"/>
    <p:sldLayoutId id="2147485239" r:id="rId20"/>
    <p:sldLayoutId id="2147485240" r:id="rId21"/>
    <p:sldLayoutId id="2147485241" r:id="rId22"/>
  </p:sldLayoutIdLst>
  <p:transition>
    <p:fade/>
  </p:transition>
  <p:txStyles>
    <p:titleStyle>
      <a:lvl1pPr algn="l" defTabSz="913319" rtl="0" eaLnBrk="0" fontAlgn="base" hangingPunct="0">
        <a:lnSpc>
          <a:spcPct val="90000"/>
        </a:lnSpc>
        <a:spcBef>
          <a:spcPct val="0"/>
        </a:spcBef>
        <a:spcAft>
          <a:spcPct val="0"/>
        </a:spcAft>
        <a:defRPr lang="en-US" sz="4704" kern="1200" spc="-100" dirty="0">
          <a:ln w="3175">
            <a:noFill/>
          </a:ln>
          <a:gradFill>
            <a:gsLst>
              <a:gs pos="1250">
                <a:schemeClr val="tx1"/>
              </a:gs>
              <a:gs pos="100000">
                <a:schemeClr val="tx1"/>
              </a:gs>
            </a:gsLst>
            <a:lin ang="5400000" scaled="0"/>
          </a:gradFill>
          <a:latin typeface="+mj-lt"/>
          <a:ea typeface="MS PGothic" panose="020B0600070205080204" pitchFamily="34" charset="-128"/>
          <a:cs typeface="Segoe UI" pitchFamily="34" charset="0"/>
        </a:defRPr>
      </a:lvl1pPr>
      <a:lvl2pPr algn="l" defTabSz="913319" rtl="0" eaLnBrk="0" fontAlgn="base" hangingPunct="0">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2pPr>
      <a:lvl3pPr algn="l" defTabSz="913319" rtl="0" eaLnBrk="0" fontAlgn="base" hangingPunct="0">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3pPr>
      <a:lvl4pPr algn="l" defTabSz="913319" rtl="0" eaLnBrk="0" fontAlgn="base" hangingPunct="0">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4pPr>
      <a:lvl5pPr algn="l" defTabSz="913319" rtl="0" eaLnBrk="0" fontAlgn="base" hangingPunct="0">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5pPr>
      <a:lvl6pPr marL="448102" algn="l" defTabSz="913319" rtl="0" fontAlgn="base">
        <a:lnSpc>
          <a:spcPct val="90000"/>
        </a:lnSpc>
        <a:spcBef>
          <a:spcPct val="0"/>
        </a:spcBef>
        <a:spcAft>
          <a:spcPct val="0"/>
        </a:spcAft>
        <a:defRPr sz="4704">
          <a:solidFill>
            <a:schemeClr val="tx1"/>
          </a:solidFill>
          <a:latin typeface="Segoe UI Light" charset="0"/>
          <a:ea typeface="ＭＳ Ｐゴシック" charset="0"/>
        </a:defRPr>
      </a:lvl6pPr>
      <a:lvl7pPr marL="896203" algn="l" defTabSz="913319" rtl="0" fontAlgn="base">
        <a:lnSpc>
          <a:spcPct val="90000"/>
        </a:lnSpc>
        <a:spcBef>
          <a:spcPct val="0"/>
        </a:spcBef>
        <a:spcAft>
          <a:spcPct val="0"/>
        </a:spcAft>
        <a:defRPr sz="4704">
          <a:solidFill>
            <a:schemeClr val="tx1"/>
          </a:solidFill>
          <a:latin typeface="Segoe UI Light" charset="0"/>
          <a:ea typeface="ＭＳ Ｐゴシック" charset="0"/>
        </a:defRPr>
      </a:lvl7pPr>
      <a:lvl8pPr marL="1344305" algn="l" defTabSz="913319" rtl="0" fontAlgn="base">
        <a:lnSpc>
          <a:spcPct val="90000"/>
        </a:lnSpc>
        <a:spcBef>
          <a:spcPct val="0"/>
        </a:spcBef>
        <a:spcAft>
          <a:spcPct val="0"/>
        </a:spcAft>
        <a:defRPr sz="4704">
          <a:solidFill>
            <a:schemeClr val="tx1"/>
          </a:solidFill>
          <a:latin typeface="Segoe UI Light" charset="0"/>
          <a:ea typeface="ＭＳ Ｐゴシック" charset="0"/>
        </a:defRPr>
      </a:lvl8pPr>
      <a:lvl9pPr marL="1792407" algn="l" defTabSz="913319" rtl="0" fontAlgn="base">
        <a:lnSpc>
          <a:spcPct val="90000"/>
        </a:lnSpc>
        <a:spcBef>
          <a:spcPct val="0"/>
        </a:spcBef>
        <a:spcAft>
          <a:spcPct val="0"/>
        </a:spcAft>
        <a:defRPr sz="4704">
          <a:solidFill>
            <a:schemeClr val="tx1"/>
          </a:solidFill>
          <a:latin typeface="Segoe UI Light" charset="0"/>
          <a:ea typeface="ＭＳ Ｐゴシック" charset="0"/>
        </a:defRPr>
      </a:lvl9pPr>
    </p:titleStyle>
    <p:bodyStyle>
      <a:lvl1pPr marL="336076" indent="-336076" algn="l" defTabSz="913319" rtl="0" eaLnBrk="0" fontAlgn="base" hangingPunct="0">
        <a:lnSpc>
          <a:spcPct val="90000"/>
        </a:lnSpc>
        <a:spcBef>
          <a:spcPct val="20000"/>
        </a:spcBef>
        <a:spcAft>
          <a:spcPct val="0"/>
        </a:spcAft>
        <a:buSzPct val="90000"/>
        <a:buFont typeface="Arial" panose="020B0604020202020204" pitchFamily="34" charset="0"/>
        <a:buChar char="•"/>
        <a:defRPr sz="3920" kern="1200">
          <a:gradFill>
            <a:gsLst>
              <a:gs pos="1250">
                <a:schemeClr val="tx1"/>
              </a:gs>
              <a:gs pos="100000">
                <a:schemeClr val="tx1"/>
              </a:gs>
            </a:gsLst>
            <a:lin ang="5400000" scaled="0"/>
          </a:gradFill>
          <a:latin typeface="+mj-lt"/>
          <a:ea typeface="MS PGothic" panose="020B0600070205080204" pitchFamily="34" charset="-128"/>
          <a:cs typeface="ＭＳ Ｐゴシック" charset="0"/>
        </a:defRPr>
      </a:lvl1pPr>
      <a:lvl2pPr marL="572574" indent="-236498" algn="l" defTabSz="913319" rtl="0" eaLnBrk="0" fontAlgn="base" hangingPunct="0">
        <a:lnSpc>
          <a:spcPct val="90000"/>
        </a:lnSpc>
        <a:spcBef>
          <a:spcPct val="20000"/>
        </a:spcBef>
        <a:spcAft>
          <a:spcPct val="0"/>
        </a:spcAft>
        <a:buSzPct val="90000"/>
        <a:buFont typeface="Arial" panose="020B0604020202020204" pitchFamily="34" charset="0"/>
        <a:buChar char="•"/>
        <a:defRPr sz="2352" kern="1200">
          <a:gradFill>
            <a:gsLst>
              <a:gs pos="1250">
                <a:schemeClr val="tx1"/>
              </a:gs>
              <a:gs pos="100000">
                <a:schemeClr val="tx1"/>
              </a:gs>
            </a:gsLst>
            <a:lin ang="5400000" scaled="0"/>
          </a:gradFill>
          <a:latin typeface="+mn-lt"/>
          <a:ea typeface="MS PGothic" panose="020B0600070205080204" pitchFamily="34" charset="-128"/>
          <a:cs typeface="+mn-cs"/>
        </a:defRPr>
      </a:lvl2pPr>
      <a:lvl3pPr marL="784178" indent="-224051" algn="l" defTabSz="913319" rtl="0" eaLnBrk="0" fontAlgn="base" hangingPunct="0">
        <a:lnSpc>
          <a:spcPct val="90000"/>
        </a:lnSpc>
        <a:spcBef>
          <a:spcPct val="20000"/>
        </a:spcBef>
        <a:spcAft>
          <a:spcPct val="0"/>
        </a:spcAft>
        <a:buSzPct val="90000"/>
        <a:buFont typeface="Arial" panose="020B0604020202020204" pitchFamily="34" charset="0"/>
        <a:buChar char="•"/>
        <a:defRPr sz="1960" kern="1200">
          <a:gradFill>
            <a:gsLst>
              <a:gs pos="1250">
                <a:schemeClr val="tx1"/>
              </a:gs>
              <a:gs pos="100000">
                <a:schemeClr val="tx1"/>
              </a:gs>
            </a:gsLst>
            <a:lin ang="5400000" scaled="0"/>
          </a:gradFill>
          <a:latin typeface="+mn-lt"/>
          <a:ea typeface="MS PGothic" panose="020B0600070205080204" pitchFamily="34" charset="-128"/>
          <a:cs typeface="+mn-cs"/>
        </a:defRPr>
      </a:lvl3pPr>
      <a:lvl4pPr marL="1008229" indent="-224051" algn="l" defTabSz="913319"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4pPr>
      <a:lvl5pPr marL="1232280" indent="-224051" algn="l" defTabSz="913319"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rot="5400000">
            <a:off x="10321814" y="1906466"/>
            <a:ext cx="4214127" cy="401200"/>
          </a:xfrm>
          <a:prstGeom prst="rect">
            <a:avLst/>
          </a:prstGeom>
        </p:spPr>
      </p:pic>
      <p:pic>
        <p:nvPicPr>
          <p:cNvPr id="8" name="Logo" descr="MS Logo White.png"/>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1814896927"/>
      </p:ext>
    </p:extLst>
  </p:cSld>
  <p:clrMap bg1="lt1" tx1="dk1" bg2="lt2" tx2="dk2" accent1="accent1" accent2="accent2" accent3="accent3" accent4="accent4" accent5="accent5" accent6="accent6" hlink="hlink" folHlink="folHlink"/>
  <p:sldLayoutIdLst>
    <p:sldLayoutId id="2147485243" r:id="rId1"/>
    <p:sldLayoutId id="2147485244" r:id="rId2"/>
    <p:sldLayoutId id="2147485245" r:id="rId3"/>
    <p:sldLayoutId id="2147485246" r:id="rId4"/>
    <p:sldLayoutId id="2147485247" r:id="rId5"/>
    <p:sldLayoutId id="2147485248" r:id="rId6"/>
    <p:sldLayoutId id="2147485249" r:id="rId7"/>
    <p:sldLayoutId id="2147485250" r:id="rId8"/>
    <p:sldLayoutId id="2147485251" r:id="rId9"/>
    <p:sldLayoutId id="2147485252" r:id="rId10"/>
    <p:sldLayoutId id="2147485253" r:id="rId11"/>
    <p:sldLayoutId id="2147485254" r:id="rId12"/>
    <p:sldLayoutId id="2147485255" r:id="rId13"/>
    <p:sldLayoutId id="2147485256" r:id="rId14"/>
    <p:sldLayoutId id="2147485257" r:id="rId15"/>
    <p:sldLayoutId id="2147485258" r:id="rId16"/>
    <p:sldLayoutId id="2147485259" r:id="rId17"/>
    <p:sldLayoutId id="2147485260" r:id="rId18"/>
    <p:sldLayoutId id="2147485261" r:id="rId19"/>
    <p:sldLayoutId id="2147485262" r:id="rId20"/>
    <p:sldLayoutId id="2147485263" r:id="rId21"/>
    <p:sldLayoutId id="2147485264" r:id="rId22"/>
    <p:sldLayoutId id="2147485265" r:id="rId23"/>
    <p:sldLayoutId id="2147485266" r:id="rId24"/>
    <p:sldLayoutId id="2147485267" r:id="rId25"/>
    <p:sldLayoutId id="2147485268" r:id="rId26"/>
    <p:sldLayoutId id="2147485269" r:id="rId27"/>
    <p:sldLayoutId id="2147485270" r:id="rId28"/>
    <p:sldLayoutId id="2147485271" r:id="rId29"/>
    <p:sldLayoutId id="2147485272" r:id="rId30"/>
    <p:sldLayoutId id="2147485273" r:id="rId31"/>
  </p:sldLayoutIdLst>
  <p:transition>
    <p:fade/>
  </p:transition>
  <p:hf hdr="0" ftr="0" dt="0"/>
  <p:txStyles>
    <p:titleStyle>
      <a:lvl1pPr algn="l" defTabSz="913906" rtl="0" eaLnBrk="1" latinLnBrk="0" hangingPunct="1">
        <a:lnSpc>
          <a:spcPct val="90000"/>
        </a:lnSpc>
        <a:spcBef>
          <a:spcPct val="0"/>
        </a:spcBef>
        <a:buNone/>
        <a:defRPr lang="en-US" sz="5291" b="0" kern="1200" cap="none" spc="-100" baseline="0" dirty="0" smtClean="0">
          <a:ln w="3175">
            <a:noFill/>
          </a:ln>
          <a:solidFill>
            <a:schemeClr val="bg1"/>
          </a:solidFill>
          <a:effectLst/>
          <a:latin typeface="+mj-lt"/>
          <a:ea typeface="+mn-ea"/>
          <a:cs typeface="Segoe UI" pitchFamily="34" charset="0"/>
        </a:defRPr>
      </a:lvl1pPr>
    </p:titleStyle>
    <p:bodyStyle>
      <a:lvl1pPr marL="335975" marR="0" indent="-335975"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19" kern="1200" spc="0" baseline="0">
          <a:solidFill>
            <a:schemeClr val="bg1"/>
          </a:solidFill>
          <a:latin typeface="+mj-lt"/>
          <a:ea typeface="+mn-ea"/>
          <a:cs typeface="+mn-cs"/>
        </a:defRPr>
      </a:lvl1pPr>
      <a:lvl2pPr marL="572402" marR="0" indent="-236427"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1" kern="1200" spc="0" baseline="0">
          <a:solidFill>
            <a:schemeClr val="bg1"/>
          </a:solidFill>
          <a:latin typeface="+mn-lt"/>
          <a:ea typeface="+mn-ea"/>
          <a:cs typeface="+mn-cs"/>
        </a:defRPr>
      </a:lvl2pPr>
      <a:lvl3pPr marL="783943" marR="0" indent="-223984"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1" kern="1200" spc="0" baseline="0">
          <a:solidFill>
            <a:schemeClr val="bg1"/>
          </a:solidFill>
          <a:latin typeface="+mn-lt"/>
          <a:ea typeface="+mn-ea"/>
          <a:cs typeface="+mn-cs"/>
        </a:defRPr>
      </a:lvl3pPr>
      <a:lvl4pPr marL="1007927" marR="0" indent="-223984"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59" kern="1200" spc="0" baseline="0">
          <a:solidFill>
            <a:schemeClr val="bg1"/>
          </a:solidFill>
          <a:latin typeface="+mn-lt"/>
          <a:ea typeface="+mn-ea"/>
          <a:cs typeface="+mn-cs"/>
        </a:defRPr>
      </a:lvl4pPr>
      <a:lvl5pPr marL="1231910" marR="0" indent="-223984"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59" kern="1200" spc="0" baseline="0">
          <a:solidFill>
            <a:schemeClr val="bg1"/>
          </a:solidFill>
          <a:latin typeface="+mn-lt"/>
          <a:ea typeface="+mn-ea"/>
          <a:cs typeface="+mn-cs"/>
        </a:defRPr>
      </a:lvl5pPr>
      <a:lvl6pPr marL="2513242"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6pPr>
      <a:lvl7pPr marL="2970196"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7pPr>
      <a:lvl8pPr marL="3427149"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8pPr>
      <a:lvl9pPr marL="3884102"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9pPr>
    </p:bodyStyle>
    <p:otherStyle>
      <a:defPPr>
        <a:defRPr lang="en-US"/>
      </a:defPPr>
      <a:lvl1pPr marL="0" algn="l" defTabSz="913906" rtl="0" eaLnBrk="1" latinLnBrk="0" hangingPunct="1">
        <a:defRPr sz="1763" kern="1200">
          <a:solidFill>
            <a:schemeClr val="tx1"/>
          </a:solidFill>
          <a:latin typeface="+mn-lt"/>
          <a:ea typeface="+mn-ea"/>
          <a:cs typeface="+mn-cs"/>
        </a:defRPr>
      </a:lvl1pPr>
      <a:lvl2pPr marL="456953" algn="l" defTabSz="913906" rtl="0" eaLnBrk="1" latinLnBrk="0" hangingPunct="1">
        <a:defRPr sz="1763" kern="1200">
          <a:solidFill>
            <a:schemeClr val="tx1"/>
          </a:solidFill>
          <a:latin typeface="+mn-lt"/>
          <a:ea typeface="+mn-ea"/>
          <a:cs typeface="+mn-cs"/>
        </a:defRPr>
      </a:lvl2pPr>
      <a:lvl3pPr marL="913906" algn="l" defTabSz="913906" rtl="0" eaLnBrk="1" latinLnBrk="0" hangingPunct="1">
        <a:defRPr sz="1763" kern="1200">
          <a:solidFill>
            <a:schemeClr val="tx1"/>
          </a:solidFill>
          <a:latin typeface="+mn-lt"/>
          <a:ea typeface="+mn-ea"/>
          <a:cs typeface="+mn-cs"/>
        </a:defRPr>
      </a:lvl3pPr>
      <a:lvl4pPr marL="1370860" algn="l" defTabSz="913906" rtl="0" eaLnBrk="1" latinLnBrk="0" hangingPunct="1">
        <a:defRPr sz="1763" kern="1200">
          <a:solidFill>
            <a:schemeClr val="tx1"/>
          </a:solidFill>
          <a:latin typeface="+mn-lt"/>
          <a:ea typeface="+mn-ea"/>
          <a:cs typeface="+mn-cs"/>
        </a:defRPr>
      </a:lvl4pPr>
      <a:lvl5pPr marL="1827812" algn="l" defTabSz="913906" rtl="0" eaLnBrk="1" latinLnBrk="0" hangingPunct="1">
        <a:defRPr sz="1763" kern="1200">
          <a:solidFill>
            <a:schemeClr val="tx1"/>
          </a:solidFill>
          <a:latin typeface="+mn-lt"/>
          <a:ea typeface="+mn-ea"/>
          <a:cs typeface="+mn-cs"/>
        </a:defRPr>
      </a:lvl5pPr>
      <a:lvl6pPr marL="2284766" algn="l" defTabSz="913906" rtl="0" eaLnBrk="1" latinLnBrk="0" hangingPunct="1">
        <a:defRPr sz="1763" kern="1200">
          <a:solidFill>
            <a:schemeClr val="tx1"/>
          </a:solidFill>
          <a:latin typeface="+mn-lt"/>
          <a:ea typeface="+mn-ea"/>
          <a:cs typeface="+mn-cs"/>
        </a:defRPr>
      </a:lvl6pPr>
      <a:lvl7pPr marL="2741718" algn="l" defTabSz="913906" rtl="0" eaLnBrk="1" latinLnBrk="0" hangingPunct="1">
        <a:defRPr sz="1763" kern="1200">
          <a:solidFill>
            <a:schemeClr val="tx1"/>
          </a:solidFill>
          <a:latin typeface="+mn-lt"/>
          <a:ea typeface="+mn-ea"/>
          <a:cs typeface="+mn-cs"/>
        </a:defRPr>
      </a:lvl7pPr>
      <a:lvl8pPr marL="3198672" algn="l" defTabSz="913906" rtl="0" eaLnBrk="1" latinLnBrk="0" hangingPunct="1">
        <a:defRPr sz="1763" kern="1200">
          <a:solidFill>
            <a:schemeClr val="tx1"/>
          </a:solidFill>
          <a:latin typeface="+mn-lt"/>
          <a:ea typeface="+mn-ea"/>
          <a:cs typeface="+mn-cs"/>
        </a:defRPr>
      </a:lvl8pPr>
      <a:lvl9pPr marL="3655626" algn="l" defTabSz="913906" rtl="0" eaLnBrk="1" latinLnBrk="0" hangingPunct="1">
        <a:defRPr sz="17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rot="5400000">
            <a:off x="10321814" y="1906466"/>
            <a:ext cx="4214127" cy="401200"/>
          </a:xfrm>
          <a:prstGeom prst="rect">
            <a:avLst/>
          </a:prstGeom>
        </p:spPr>
      </p:pic>
      <p:pic>
        <p:nvPicPr>
          <p:cNvPr id="8" name="Logo" descr="MS Logo White.png"/>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1255002727"/>
      </p:ext>
    </p:extLst>
  </p:cSld>
  <p:clrMap bg1="lt1" tx1="dk1" bg2="lt2" tx2="dk2" accent1="accent1" accent2="accent2" accent3="accent3" accent4="accent4" accent5="accent5" accent6="accent6" hlink="hlink" folHlink="folHlink"/>
  <p:sldLayoutIdLst>
    <p:sldLayoutId id="2147485275" r:id="rId1"/>
    <p:sldLayoutId id="2147485276" r:id="rId2"/>
    <p:sldLayoutId id="2147485277" r:id="rId3"/>
    <p:sldLayoutId id="2147485278" r:id="rId4"/>
    <p:sldLayoutId id="2147485279" r:id="rId5"/>
    <p:sldLayoutId id="2147485280" r:id="rId6"/>
    <p:sldLayoutId id="2147485281" r:id="rId7"/>
    <p:sldLayoutId id="2147485282" r:id="rId8"/>
    <p:sldLayoutId id="2147485283" r:id="rId9"/>
    <p:sldLayoutId id="2147485284" r:id="rId10"/>
    <p:sldLayoutId id="2147485285" r:id="rId11"/>
    <p:sldLayoutId id="2147485286" r:id="rId12"/>
    <p:sldLayoutId id="2147485287" r:id="rId13"/>
    <p:sldLayoutId id="2147485288" r:id="rId14"/>
    <p:sldLayoutId id="2147485289" r:id="rId15"/>
    <p:sldLayoutId id="2147485290" r:id="rId16"/>
    <p:sldLayoutId id="2147485291" r:id="rId17"/>
    <p:sldLayoutId id="2147485292" r:id="rId18"/>
    <p:sldLayoutId id="2147485293" r:id="rId19"/>
    <p:sldLayoutId id="2147485294" r:id="rId20"/>
    <p:sldLayoutId id="2147485295" r:id="rId21"/>
    <p:sldLayoutId id="2147485296" r:id="rId22"/>
    <p:sldLayoutId id="2147485297" r:id="rId23"/>
    <p:sldLayoutId id="2147485298" r:id="rId24"/>
    <p:sldLayoutId id="2147485299" r:id="rId25"/>
    <p:sldLayoutId id="2147485300" r:id="rId26"/>
    <p:sldLayoutId id="2147485301" r:id="rId27"/>
    <p:sldLayoutId id="2147485302" r:id="rId28"/>
    <p:sldLayoutId id="2147485303" r:id="rId29"/>
    <p:sldLayoutId id="2147485304" r:id="rId30"/>
    <p:sldLayoutId id="2147485305" r:id="rId31"/>
  </p:sldLayoutIdLst>
  <p:transition>
    <p:fade/>
  </p:transition>
  <p:hf hdr="0" ftr="0" dt="0"/>
  <p:txStyles>
    <p:titleStyle>
      <a:lvl1pPr algn="l" defTabSz="913906" rtl="0" eaLnBrk="1" latinLnBrk="0" hangingPunct="1">
        <a:lnSpc>
          <a:spcPct val="90000"/>
        </a:lnSpc>
        <a:spcBef>
          <a:spcPct val="0"/>
        </a:spcBef>
        <a:buNone/>
        <a:defRPr lang="en-US" sz="5291" b="0" kern="1200" cap="none" spc="-100" baseline="0" dirty="0" smtClean="0">
          <a:ln w="3175">
            <a:noFill/>
          </a:ln>
          <a:solidFill>
            <a:schemeClr val="bg1"/>
          </a:solidFill>
          <a:effectLst/>
          <a:latin typeface="+mj-lt"/>
          <a:ea typeface="+mn-ea"/>
          <a:cs typeface="Segoe UI" pitchFamily="34" charset="0"/>
        </a:defRPr>
      </a:lvl1pPr>
    </p:titleStyle>
    <p:bodyStyle>
      <a:lvl1pPr marL="335975" marR="0" indent="-335975"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19" kern="1200" spc="0" baseline="0">
          <a:solidFill>
            <a:schemeClr val="bg1"/>
          </a:solidFill>
          <a:latin typeface="+mj-lt"/>
          <a:ea typeface="+mn-ea"/>
          <a:cs typeface="+mn-cs"/>
        </a:defRPr>
      </a:lvl1pPr>
      <a:lvl2pPr marL="572402" marR="0" indent="-236427"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1" kern="1200" spc="0" baseline="0">
          <a:solidFill>
            <a:schemeClr val="bg1"/>
          </a:solidFill>
          <a:latin typeface="+mn-lt"/>
          <a:ea typeface="+mn-ea"/>
          <a:cs typeface="+mn-cs"/>
        </a:defRPr>
      </a:lvl2pPr>
      <a:lvl3pPr marL="783943" marR="0" indent="-223984"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1" kern="1200" spc="0" baseline="0">
          <a:solidFill>
            <a:schemeClr val="bg1"/>
          </a:solidFill>
          <a:latin typeface="+mn-lt"/>
          <a:ea typeface="+mn-ea"/>
          <a:cs typeface="+mn-cs"/>
        </a:defRPr>
      </a:lvl3pPr>
      <a:lvl4pPr marL="1007927" marR="0" indent="-223984"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59" kern="1200" spc="0" baseline="0">
          <a:solidFill>
            <a:schemeClr val="bg1"/>
          </a:solidFill>
          <a:latin typeface="+mn-lt"/>
          <a:ea typeface="+mn-ea"/>
          <a:cs typeface="+mn-cs"/>
        </a:defRPr>
      </a:lvl4pPr>
      <a:lvl5pPr marL="1231910" marR="0" indent="-223984"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59" kern="1200" spc="0" baseline="0">
          <a:solidFill>
            <a:schemeClr val="bg1"/>
          </a:solidFill>
          <a:latin typeface="+mn-lt"/>
          <a:ea typeface="+mn-ea"/>
          <a:cs typeface="+mn-cs"/>
        </a:defRPr>
      </a:lvl5pPr>
      <a:lvl6pPr marL="2513242"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6pPr>
      <a:lvl7pPr marL="2970196"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7pPr>
      <a:lvl8pPr marL="3427149"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8pPr>
      <a:lvl9pPr marL="3884102"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9pPr>
    </p:bodyStyle>
    <p:otherStyle>
      <a:defPPr>
        <a:defRPr lang="en-US"/>
      </a:defPPr>
      <a:lvl1pPr marL="0" algn="l" defTabSz="913906" rtl="0" eaLnBrk="1" latinLnBrk="0" hangingPunct="1">
        <a:defRPr sz="1763" kern="1200">
          <a:solidFill>
            <a:schemeClr val="tx1"/>
          </a:solidFill>
          <a:latin typeface="+mn-lt"/>
          <a:ea typeface="+mn-ea"/>
          <a:cs typeface="+mn-cs"/>
        </a:defRPr>
      </a:lvl1pPr>
      <a:lvl2pPr marL="456953" algn="l" defTabSz="913906" rtl="0" eaLnBrk="1" latinLnBrk="0" hangingPunct="1">
        <a:defRPr sz="1763" kern="1200">
          <a:solidFill>
            <a:schemeClr val="tx1"/>
          </a:solidFill>
          <a:latin typeface="+mn-lt"/>
          <a:ea typeface="+mn-ea"/>
          <a:cs typeface="+mn-cs"/>
        </a:defRPr>
      </a:lvl2pPr>
      <a:lvl3pPr marL="913906" algn="l" defTabSz="913906" rtl="0" eaLnBrk="1" latinLnBrk="0" hangingPunct="1">
        <a:defRPr sz="1763" kern="1200">
          <a:solidFill>
            <a:schemeClr val="tx1"/>
          </a:solidFill>
          <a:latin typeface="+mn-lt"/>
          <a:ea typeface="+mn-ea"/>
          <a:cs typeface="+mn-cs"/>
        </a:defRPr>
      </a:lvl3pPr>
      <a:lvl4pPr marL="1370860" algn="l" defTabSz="913906" rtl="0" eaLnBrk="1" latinLnBrk="0" hangingPunct="1">
        <a:defRPr sz="1763" kern="1200">
          <a:solidFill>
            <a:schemeClr val="tx1"/>
          </a:solidFill>
          <a:latin typeface="+mn-lt"/>
          <a:ea typeface="+mn-ea"/>
          <a:cs typeface="+mn-cs"/>
        </a:defRPr>
      </a:lvl4pPr>
      <a:lvl5pPr marL="1827812" algn="l" defTabSz="913906" rtl="0" eaLnBrk="1" latinLnBrk="0" hangingPunct="1">
        <a:defRPr sz="1763" kern="1200">
          <a:solidFill>
            <a:schemeClr val="tx1"/>
          </a:solidFill>
          <a:latin typeface="+mn-lt"/>
          <a:ea typeface="+mn-ea"/>
          <a:cs typeface="+mn-cs"/>
        </a:defRPr>
      </a:lvl5pPr>
      <a:lvl6pPr marL="2284766" algn="l" defTabSz="913906" rtl="0" eaLnBrk="1" latinLnBrk="0" hangingPunct="1">
        <a:defRPr sz="1763" kern="1200">
          <a:solidFill>
            <a:schemeClr val="tx1"/>
          </a:solidFill>
          <a:latin typeface="+mn-lt"/>
          <a:ea typeface="+mn-ea"/>
          <a:cs typeface="+mn-cs"/>
        </a:defRPr>
      </a:lvl6pPr>
      <a:lvl7pPr marL="2741718" algn="l" defTabSz="913906" rtl="0" eaLnBrk="1" latinLnBrk="0" hangingPunct="1">
        <a:defRPr sz="1763" kern="1200">
          <a:solidFill>
            <a:schemeClr val="tx1"/>
          </a:solidFill>
          <a:latin typeface="+mn-lt"/>
          <a:ea typeface="+mn-ea"/>
          <a:cs typeface="+mn-cs"/>
        </a:defRPr>
      </a:lvl7pPr>
      <a:lvl8pPr marL="3198672" algn="l" defTabSz="913906" rtl="0" eaLnBrk="1" latinLnBrk="0" hangingPunct="1">
        <a:defRPr sz="1763" kern="1200">
          <a:solidFill>
            <a:schemeClr val="tx1"/>
          </a:solidFill>
          <a:latin typeface="+mn-lt"/>
          <a:ea typeface="+mn-ea"/>
          <a:cs typeface="+mn-cs"/>
        </a:defRPr>
      </a:lvl8pPr>
      <a:lvl9pPr marL="3655626" algn="l" defTabSz="913906" rtl="0" eaLnBrk="1" latinLnBrk="0" hangingPunct="1">
        <a:defRPr sz="17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171" y="1189178"/>
            <a:ext cx="11650486"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6"/>
          <a:stretch>
            <a:fillRect/>
          </a:stretch>
        </p:blipFill>
        <p:spPr>
          <a:xfrm rot="5400000">
            <a:off x="9205457" y="2991147"/>
            <a:ext cx="6858623" cy="876329"/>
          </a:xfrm>
          <a:prstGeom prst="rect">
            <a:avLst/>
          </a:prstGeom>
        </p:spPr>
      </p:pic>
    </p:spTree>
    <p:extLst>
      <p:ext uri="{BB962C8B-B14F-4D97-AF65-F5344CB8AC3E}">
        <p14:creationId xmlns:p14="http://schemas.microsoft.com/office/powerpoint/2010/main" val="2075233276"/>
      </p:ext>
    </p:extLst>
  </p:cSld>
  <p:clrMap bg1="dk1" tx1="lt1" bg2="dk2" tx2="lt2" accent1="accent1" accent2="accent2" accent3="accent3" accent4="accent4" accent5="accent5" accent6="accent6" hlink="hlink" folHlink="folHlink"/>
  <p:sldLayoutIdLst>
    <p:sldLayoutId id="2147485307" r:id="rId1"/>
    <p:sldLayoutId id="2147485308" r:id="rId2"/>
    <p:sldLayoutId id="2147485309" r:id="rId3"/>
    <p:sldLayoutId id="2147485310" r:id="rId4"/>
    <p:sldLayoutId id="2147485311" r:id="rId5"/>
    <p:sldLayoutId id="2147485312" r:id="rId6"/>
    <p:sldLayoutId id="2147485313" r:id="rId7"/>
    <p:sldLayoutId id="2147485314" r:id="rId8"/>
    <p:sldLayoutId id="2147485315" r:id="rId9"/>
    <p:sldLayoutId id="2147485316" r:id="rId10"/>
    <p:sldLayoutId id="2147485317" r:id="rId11"/>
    <p:sldLayoutId id="2147485318" r:id="rId12"/>
    <p:sldLayoutId id="2147485319" r:id="rId13"/>
    <p:sldLayoutId id="2147485320" r:id="rId14"/>
    <p:sldLayoutId id="2147485321" r:id="rId15"/>
    <p:sldLayoutId id="2147485322" r:id="rId16"/>
    <p:sldLayoutId id="2147485323" r:id="rId17"/>
    <p:sldLayoutId id="2147485324" r:id="rId18"/>
    <p:sldLayoutId id="2147485325" r:id="rId19"/>
    <p:sldLayoutId id="2147485326" r:id="rId20"/>
    <p:sldLayoutId id="2147485327" r:id="rId21"/>
    <p:sldLayoutId id="2147485328" r:id="rId22"/>
    <p:sldLayoutId id="2147485329" r:id="rId23"/>
    <p:sldLayoutId id="2147485330" r:id="rId24"/>
    <p:sldLayoutId id="2147485331" r:id="rId25"/>
    <p:sldLayoutId id="2147485332" r:id="rId26"/>
    <p:sldLayoutId id="2147485333" r:id="rId27"/>
    <p:sldLayoutId id="2147485334" r:id="rId28"/>
    <p:sldLayoutId id="2147485335" r:id="rId29"/>
    <p:sldLayoutId id="2147485336" r:id="rId30"/>
    <p:sldLayoutId id="2147485337" r:id="rId31"/>
    <p:sldLayoutId id="2147485338" r:id="rId32"/>
    <p:sldLayoutId id="2147485339" r:id="rId33"/>
    <p:sldLayoutId id="2147485340" r:id="rId34"/>
  </p:sldLayoutIdLst>
  <p:transition>
    <p:fade/>
  </p:transition>
  <p:txStyles>
    <p:titleStyle>
      <a:lvl1pPr algn="l" defTabSz="91418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bwMode="auto">
      <p:bgPr>
        <a:solidFill>
          <a:srgbClr val="21212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171" y="1189178"/>
            <a:ext cx="11650486"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69849616"/>
      </p:ext>
    </p:extLst>
  </p:cSld>
  <p:clrMap bg1="dk1" tx1="lt1" bg2="dk2" tx2="lt2" accent1="accent1" accent2="accent2" accent3="accent3" accent4="accent4" accent5="accent5" accent6="accent6" hlink="hlink" folHlink="folHlink"/>
  <p:sldLayoutIdLst>
    <p:sldLayoutId id="2147485378" r:id="rId1"/>
    <p:sldLayoutId id="2147485379" r:id="rId2"/>
    <p:sldLayoutId id="2147485380" r:id="rId3"/>
    <p:sldLayoutId id="2147485381" r:id="rId4"/>
    <p:sldLayoutId id="2147485382" r:id="rId5"/>
    <p:sldLayoutId id="2147485383" r:id="rId6"/>
    <p:sldLayoutId id="2147485384" r:id="rId7"/>
    <p:sldLayoutId id="2147485385" r:id="rId8"/>
    <p:sldLayoutId id="2147485386" r:id="rId9"/>
    <p:sldLayoutId id="2147485387" r:id="rId10"/>
    <p:sldLayoutId id="2147485388" r:id="rId11"/>
    <p:sldLayoutId id="2147485389" r:id="rId12"/>
    <p:sldLayoutId id="2147485390" r:id="rId13"/>
    <p:sldLayoutId id="2147485391" r:id="rId14"/>
    <p:sldLayoutId id="2147485393" r:id="rId15"/>
    <p:sldLayoutId id="2147485394" r:id="rId16"/>
    <p:sldLayoutId id="2147485395" r:id="rId17"/>
    <p:sldLayoutId id="2147485396" r:id="rId18"/>
  </p:sldLayoutIdLst>
  <p:transition>
    <p:fade/>
  </p:transition>
  <p:txStyles>
    <p:titleStyle>
      <a:lvl1pPr algn="l" defTabSz="91418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7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171" y="1189178"/>
            <a:ext cx="11650486"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3"/>
          <a:stretch>
            <a:fillRect/>
          </a:stretch>
        </p:blipFill>
        <p:spPr>
          <a:xfrm rot="5400000">
            <a:off x="9205457" y="2991147"/>
            <a:ext cx="6858623" cy="876329"/>
          </a:xfrm>
          <a:prstGeom prst="rect">
            <a:avLst/>
          </a:prstGeom>
        </p:spPr>
      </p:pic>
    </p:spTree>
    <p:extLst>
      <p:ext uri="{BB962C8B-B14F-4D97-AF65-F5344CB8AC3E}">
        <p14:creationId xmlns:p14="http://schemas.microsoft.com/office/powerpoint/2010/main" val="624017278"/>
      </p:ext>
    </p:extLst>
  </p:cSld>
  <p:clrMap bg1="dk1" tx1="lt1" bg2="dk2" tx2="lt2" accent1="accent1" accent2="accent2" accent3="accent3" accent4="accent4" accent5="accent5" accent6="accent6" hlink="hlink" folHlink="folHlink"/>
  <p:sldLayoutIdLst>
    <p:sldLayoutId id="2147485398" r:id="rId1"/>
    <p:sldLayoutId id="2147485399" r:id="rId2"/>
    <p:sldLayoutId id="2147485400" r:id="rId3"/>
    <p:sldLayoutId id="2147485401" r:id="rId4"/>
    <p:sldLayoutId id="2147485402" r:id="rId5"/>
    <p:sldLayoutId id="2147485403" r:id="rId6"/>
    <p:sldLayoutId id="2147485404" r:id="rId7"/>
    <p:sldLayoutId id="2147485405" r:id="rId8"/>
    <p:sldLayoutId id="2147485406" r:id="rId9"/>
    <p:sldLayoutId id="2147485407" r:id="rId10"/>
    <p:sldLayoutId id="2147485408" r:id="rId11"/>
    <p:sldLayoutId id="2147485409" r:id="rId12"/>
    <p:sldLayoutId id="2147485410" r:id="rId13"/>
    <p:sldLayoutId id="2147485411" r:id="rId14"/>
    <p:sldLayoutId id="2147485412" r:id="rId15"/>
    <p:sldLayoutId id="2147485413" r:id="rId16"/>
    <p:sldLayoutId id="2147485414" r:id="rId17"/>
    <p:sldLayoutId id="2147485415" r:id="rId18"/>
    <p:sldLayoutId id="2147485416" r:id="rId19"/>
    <p:sldLayoutId id="2147485417" r:id="rId20"/>
    <p:sldLayoutId id="2147485418" r:id="rId21"/>
  </p:sldLayoutIdLst>
  <p:transition>
    <p:fade/>
  </p:transition>
  <p:txStyles>
    <p:titleStyle>
      <a:lvl1pPr algn="l" defTabSz="91418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rot="5400000">
            <a:off x="10321814" y="1906466"/>
            <a:ext cx="4214127" cy="401200"/>
          </a:xfrm>
          <a:prstGeom prst="rect">
            <a:avLst/>
          </a:prstGeom>
        </p:spPr>
      </p:pic>
      <p:pic>
        <p:nvPicPr>
          <p:cNvPr id="8" name="Logo" descr="MS Logo White.png"/>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563105866"/>
      </p:ext>
    </p:extLst>
  </p:cSld>
  <p:clrMap bg1="lt1" tx1="dk1" bg2="lt2" tx2="dk2" accent1="accent1" accent2="accent2" accent3="accent3" accent4="accent4" accent5="accent5" accent6="accent6" hlink="hlink" folHlink="folHlink"/>
  <p:sldLayoutIdLst>
    <p:sldLayoutId id="2147485442" r:id="rId1"/>
    <p:sldLayoutId id="2147485443" r:id="rId2"/>
    <p:sldLayoutId id="2147485444" r:id="rId3"/>
    <p:sldLayoutId id="2147485445" r:id="rId4"/>
    <p:sldLayoutId id="2147485446" r:id="rId5"/>
    <p:sldLayoutId id="2147485447" r:id="rId6"/>
    <p:sldLayoutId id="2147485448" r:id="rId7"/>
    <p:sldLayoutId id="2147485449" r:id="rId8"/>
    <p:sldLayoutId id="2147485450" r:id="rId9"/>
    <p:sldLayoutId id="2147485451" r:id="rId10"/>
    <p:sldLayoutId id="2147485452" r:id="rId11"/>
    <p:sldLayoutId id="2147485453" r:id="rId12"/>
    <p:sldLayoutId id="2147485454" r:id="rId13"/>
    <p:sldLayoutId id="2147485455" r:id="rId14"/>
    <p:sldLayoutId id="2147485456" r:id="rId15"/>
    <p:sldLayoutId id="2147485457" r:id="rId16"/>
    <p:sldLayoutId id="2147485458" r:id="rId17"/>
    <p:sldLayoutId id="2147485459" r:id="rId18"/>
    <p:sldLayoutId id="2147485460" r:id="rId19"/>
    <p:sldLayoutId id="2147485461" r:id="rId20"/>
    <p:sldLayoutId id="2147485462" r:id="rId21"/>
    <p:sldLayoutId id="2147485463" r:id="rId22"/>
    <p:sldLayoutId id="2147485464" r:id="rId23"/>
    <p:sldLayoutId id="2147485465" r:id="rId24"/>
    <p:sldLayoutId id="2147485466" r:id="rId25"/>
    <p:sldLayoutId id="2147485467" r:id="rId26"/>
    <p:sldLayoutId id="2147485468" r:id="rId27"/>
    <p:sldLayoutId id="2147485469" r:id="rId28"/>
    <p:sldLayoutId id="2147485470" r:id="rId29"/>
    <p:sldLayoutId id="2147485471" r:id="rId30"/>
    <p:sldLayoutId id="2147485472" r:id="rId31"/>
    <p:sldLayoutId id="2147485473" r:id="rId32"/>
  </p:sldLayoutIdLst>
  <p:transition>
    <p:fade/>
  </p:transition>
  <p:hf hdr="0" ftr="0" dt="0"/>
  <p:txStyles>
    <p:titleStyle>
      <a:lvl1pPr algn="l" defTabSz="913906" rtl="0" eaLnBrk="1" latinLnBrk="0" hangingPunct="1">
        <a:lnSpc>
          <a:spcPct val="90000"/>
        </a:lnSpc>
        <a:spcBef>
          <a:spcPct val="0"/>
        </a:spcBef>
        <a:buNone/>
        <a:defRPr lang="en-US" sz="5291" b="0" kern="1200" cap="none" spc="-100" baseline="0" dirty="0" smtClean="0">
          <a:ln w="3175">
            <a:noFill/>
          </a:ln>
          <a:solidFill>
            <a:schemeClr val="bg1"/>
          </a:solidFill>
          <a:effectLst/>
          <a:latin typeface="+mj-lt"/>
          <a:ea typeface="+mn-ea"/>
          <a:cs typeface="Segoe UI" pitchFamily="34" charset="0"/>
        </a:defRPr>
      </a:lvl1pPr>
    </p:titleStyle>
    <p:bodyStyle>
      <a:lvl1pPr marL="335975" marR="0" indent="-335975"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19" kern="1200" spc="0" baseline="0">
          <a:solidFill>
            <a:schemeClr val="bg1"/>
          </a:solidFill>
          <a:latin typeface="+mj-lt"/>
          <a:ea typeface="+mn-ea"/>
          <a:cs typeface="+mn-cs"/>
        </a:defRPr>
      </a:lvl1pPr>
      <a:lvl2pPr marL="572402" marR="0" indent="-236427"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1" kern="1200" spc="0" baseline="0">
          <a:solidFill>
            <a:schemeClr val="bg1"/>
          </a:solidFill>
          <a:latin typeface="+mn-lt"/>
          <a:ea typeface="+mn-ea"/>
          <a:cs typeface="+mn-cs"/>
        </a:defRPr>
      </a:lvl2pPr>
      <a:lvl3pPr marL="783943" marR="0" indent="-223984"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1" kern="1200" spc="0" baseline="0">
          <a:solidFill>
            <a:schemeClr val="bg1"/>
          </a:solidFill>
          <a:latin typeface="+mn-lt"/>
          <a:ea typeface="+mn-ea"/>
          <a:cs typeface="+mn-cs"/>
        </a:defRPr>
      </a:lvl3pPr>
      <a:lvl4pPr marL="1007927" marR="0" indent="-223984"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59" kern="1200" spc="0" baseline="0">
          <a:solidFill>
            <a:schemeClr val="bg1"/>
          </a:solidFill>
          <a:latin typeface="+mn-lt"/>
          <a:ea typeface="+mn-ea"/>
          <a:cs typeface="+mn-cs"/>
        </a:defRPr>
      </a:lvl4pPr>
      <a:lvl5pPr marL="1231910" marR="0" indent="-223984"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59" kern="1200" spc="0" baseline="0">
          <a:solidFill>
            <a:schemeClr val="bg1"/>
          </a:solidFill>
          <a:latin typeface="+mn-lt"/>
          <a:ea typeface="+mn-ea"/>
          <a:cs typeface="+mn-cs"/>
        </a:defRPr>
      </a:lvl5pPr>
      <a:lvl6pPr marL="2513242"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6pPr>
      <a:lvl7pPr marL="2970196"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7pPr>
      <a:lvl8pPr marL="3427149"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8pPr>
      <a:lvl9pPr marL="3884102"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9pPr>
    </p:bodyStyle>
    <p:otherStyle>
      <a:defPPr>
        <a:defRPr lang="en-US"/>
      </a:defPPr>
      <a:lvl1pPr marL="0" algn="l" defTabSz="913906" rtl="0" eaLnBrk="1" latinLnBrk="0" hangingPunct="1">
        <a:defRPr sz="1763" kern="1200">
          <a:solidFill>
            <a:schemeClr val="tx1"/>
          </a:solidFill>
          <a:latin typeface="+mn-lt"/>
          <a:ea typeface="+mn-ea"/>
          <a:cs typeface="+mn-cs"/>
        </a:defRPr>
      </a:lvl1pPr>
      <a:lvl2pPr marL="456953" algn="l" defTabSz="913906" rtl="0" eaLnBrk="1" latinLnBrk="0" hangingPunct="1">
        <a:defRPr sz="1763" kern="1200">
          <a:solidFill>
            <a:schemeClr val="tx1"/>
          </a:solidFill>
          <a:latin typeface="+mn-lt"/>
          <a:ea typeface="+mn-ea"/>
          <a:cs typeface="+mn-cs"/>
        </a:defRPr>
      </a:lvl2pPr>
      <a:lvl3pPr marL="913906" algn="l" defTabSz="913906" rtl="0" eaLnBrk="1" latinLnBrk="0" hangingPunct="1">
        <a:defRPr sz="1763" kern="1200">
          <a:solidFill>
            <a:schemeClr val="tx1"/>
          </a:solidFill>
          <a:latin typeface="+mn-lt"/>
          <a:ea typeface="+mn-ea"/>
          <a:cs typeface="+mn-cs"/>
        </a:defRPr>
      </a:lvl3pPr>
      <a:lvl4pPr marL="1370860" algn="l" defTabSz="913906" rtl="0" eaLnBrk="1" latinLnBrk="0" hangingPunct="1">
        <a:defRPr sz="1763" kern="1200">
          <a:solidFill>
            <a:schemeClr val="tx1"/>
          </a:solidFill>
          <a:latin typeface="+mn-lt"/>
          <a:ea typeface="+mn-ea"/>
          <a:cs typeface="+mn-cs"/>
        </a:defRPr>
      </a:lvl4pPr>
      <a:lvl5pPr marL="1827812" algn="l" defTabSz="913906" rtl="0" eaLnBrk="1" latinLnBrk="0" hangingPunct="1">
        <a:defRPr sz="1763" kern="1200">
          <a:solidFill>
            <a:schemeClr val="tx1"/>
          </a:solidFill>
          <a:latin typeface="+mn-lt"/>
          <a:ea typeface="+mn-ea"/>
          <a:cs typeface="+mn-cs"/>
        </a:defRPr>
      </a:lvl5pPr>
      <a:lvl6pPr marL="2284766" algn="l" defTabSz="913906" rtl="0" eaLnBrk="1" latinLnBrk="0" hangingPunct="1">
        <a:defRPr sz="1763" kern="1200">
          <a:solidFill>
            <a:schemeClr val="tx1"/>
          </a:solidFill>
          <a:latin typeface="+mn-lt"/>
          <a:ea typeface="+mn-ea"/>
          <a:cs typeface="+mn-cs"/>
        </a:defRPr>
      </a:lvl6pPr>
      <a:lvl7pPr marL="2741718" algn="l" defTabSz="913906" rtl="0" eaLnBrk="1" latinLnBrk="0" hangingPunct="1">
        <a:defRPr sz="1763" kern="1200">
          <a:solidFill>
            <a:schemeClr val="tx1"/>
          </a:solidFill>
          <a:latin typeface="+mn-lt"/>
          <a:ea typeface="+mn-ea"/>
          <a:cs typeface="+mn-cs"/>
        </a:defRPr>
      </a:lvl7pPr>
      <a:lvl8pPr marL="3198672" algn="l" defTabSz="913906" rtl="0" eaLnBrk="1" latinLnBrk="0" hangingPunct="1">
        <a:defRPr sz="1763" kern="1200">
          <a:solidFill>
            <a:schemeClr val="tx1"/>
          </a:solidFill>
          <a:latin typeface="+mn-lt"/>
          <a:ea typeface="+mn-ea"/>
          <a:cs typeface="+mn-cs"/>
        </a:defRPr>
      </a:lvl8pPr>
      <a:lvl9pPr marL="3655626" algn="l" defTabSz="913906" rtl="0" eaLnBrk="1" latinLnBrk="0" hangingPunct="1">
        <a:defRPr sz="17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1" y="289513"/>
            <a:ext cx="11652805"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171" y="1189178"/>
            <a:ext cx="11650486"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30"/>
          <a:stretch>
            <a:fillRect/>
          </a:stretch>
        </p:blipFill>
        <p:spPr>
          <a:xfrm rot="5400000">
            <a:off x="9298811" y="2991149"/>
            <a:ext cx="6858623" cy="876329"/>
          </a:xfrm>
          <a:prstGeom prst="rect">
            <a:avLst/>
          </a:prstGeom>
        </p:spPr>
      </p:pic>
    </p:spTree>
    <p:extLst>
      <p:ext uri="{BB962C8B-B14F-4D97-AF65-F5344CB8AC3E}">
        <p14:creationId xmlns:p14="http://schemas.microsoft.com/office/powerpoint/2010/main" val="804239081"/>
      </p:ext>
    </p:extLst>
  </p:cSld>
  <p:clrMap bg1="dk1" tx1="lt1" bg2="dk2" tx2="lt2" accent1="accent1" accent2="accent2" accent3="accent3" accent4="accent4" accent5="accent5" accent6="accent6" hlink="hlink" folHlink="folHlink"/>
  <p:sldLayoutIdLst>
    <p:sldLayoutId id="2147485475" r:id="rId1"/>
    <p:sldLayoutId id="2147485476" r:id="rId2"/>
    <p:sldLayoutId id="2147485477" r:id="rId3"/>
    <p:sldLayoutId id="2147485478" r:id="rId4"/>
    <p:sldLayoutId id="2147485479" r:id="rId5"/>
    <p:sldLayoutId id="2147485480" r:id="rId6"/>
    <p:sldLayoutId id="2147485481" r:id="rId7"/>
    <p:sldLayoutId id="2147485482" r:id="rId8"/>
    <p:sldLayoutId id="2147485483" r:id="rId9"/>
    <p:sldLayoutId id="2147485484" r:id="rId10"/>
    <p:sldLayoutId id="2147485485" r:id="rId11"/>
    <p:sldLayoutId id="2147485486" r:id="rId12"/>
    <p:sldLayoutId id="2147485487" r:id="rId13"/>
    <p:sldLayoutId id="2147485488" r:id="rId14"/>
    <p:sldLayoutId id="2147485489" r:id="rId15"/>
    <p:sldLayoutId id="2147485490" r:id="rId16"/>
    <p:sldLayoutId id="2147485491" r:id="rId17"/>
    <p:sldLayoutId id="2147485492" r:id="rId18"/>
    <p:sldLayoutId id="2147485493" r:id="rId19"/>
    <p:sldLayoutId id="2147485494" r:id="rId20"/>
    <p:sldLayoutId id="2147485495" r:id="rId21"/>
    <p:sldLayoutId id="2147485496" r:id="rId22"/>
    <p:sldLayoutId id="2147485497" r:id="rId23"/>
    <p:sldLayoutId id="2147485498" r:id="rId24"/>
    <p:sldLayoutId id="2147485499" r:id="rId25"/>
    <p:sldLayoutId id="2147485500" r:id="rId26"/>
    <p:sldLayoutId id="2147485501" r:id="rId27"/>
    <p:sldLayoutId id="2147485502" r:id="rId28"/>
  </p:sldLayoutIdLst>
  <p:transition>
    <p:fade/>
  </p:transition>
  <p:txStyles>
    <p:titleStyle>
      <a:lvl1pPr algn="l" defTabSz="913906" rtl="0" eaLnBrk="1" latinLnBrk="0" hangingPunct="1">
        <a:lnSpc>
          <a:spcPct val="90000"/>
        </a:lnSpc>
        <a:spcBef>
          <a:spcPct val="0"/>
        </a:spcBef>
        <a:buNone/>
        <a:defRPr lang="en-US" sz="5291"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975" marR="0" indent="-335975" algn="l" defTabSz="91390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19" kern="1200" spc="0" baseline="0">
          <a:gradFill>
            <a:gsLst>
              <a:gs pos="1250">
                <a:schemeClr val="tx1"/>
              </a:gs>
              <a:gs pos="100000">
                <a:schemeClr val="tx1"/>
              </a:gs>
            </a:gsLst>
            <a:lin ang="5400000" scaled="0"/>
          </a:gradFill>
          <a:latin typeface="+mj-lt"/>
          <a:ea typeface="+mn-ea"/>
          <a:cs typeface="+mn-cs"/>
        </a:defRPr>
      </a:lvl1pPr>
      <a:lvl2pPr marL="572402" marR="0" indent="-236427" algn="l" defTabSz="91390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1" kern="1200" spc="0" baseline="0">
          <a:gradFill>
            <a:gsLst>
              <a:gs pos="1250">
                <a:schemeClr val="tx1"/>
              </a:gs>
              <a:gs pos="100000">
                <a:schemeClr val="tx1"/>
              </a:gs>
            </a:gsLst>
            <a:lin ang="5400000" scaled="0"/>
          </a:gradFill>
          <a:latin typeface="+mn-lt"/>
          <a:ea typeface="+mn-ea"/>
          <a:cs typeface="+mn-cs"/>
        </a:defRPr>
      </a:lvl2pPr>
      <a:lvl3pPr marL="783943" marR="0" indent="-223984" algn="l" defTabSz="91390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1" kern="1200" spc="0" baseline="0">
          <a:gradFill>
            <a:gsLst>
              <a:gs pos="1250">
                <a:schemeClr val="tx1"/>
              </a:gs>
              <a:gs pos="100000">
                <a:schemeClr val="tx1"/>
              </a:gs>
            </a:gsLst>
            <a:lin ang="5400000" scaled="0"/>
          </a:gradFill>
          <a:latin typeface="+mn-lt"/>
          <a:ea typeface="+mn-ea"/>
          <a:cs typeface="+mn-cs"/>
        </a:defRPr>
      </a:lvl3pPr>
      <a:lvl4pPr marL="1007927" marR="0" indent="-223984" algn="l" defTabSz="91390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59" kern="1200" spc="0" baseline="0">
          <a:gradFill>
            <a:gsLst>
              <a:gs pos="1250">
                <a:schemeClr val="tx1"/>
              </a:gs>
              <a:gs pos="100000">
                <a:schemeClr val="tx1"/>
              </a:gs>
            </a:gsLst>
            <a:lin ang="5400000" scaled="0"/>
          </a:gradFill>
          <a:latin typeface="+mn-lt"/>
          <a:ea typeface="+mn-ea"/>
          <a:cs typeface="+mn-cs"/>
        </a:defRPr>
      </a:lvl4pPr>
      <a:lvl5pPr marL="1231910" marR="0" indent="-223984" algn="l" defTabSz="91390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59" kern="1200" spc="0" baseline="0">
          <a:gradFill>
            <a:gsLst>
              <a:gs pos="1250">
                <a:schemeClr val="tx1"/>
              </a:gs>
              <a:gs pos="100000">
                <a:schemeClr val="tx1"/>
              </a:gs>
            </a:gsLst>
            <a:lin ang="5400000" scaled="0"/>
          </a:gradFill>
          <a:latin typeface="+mn-lt"/>
          <a:ea typeface="+mn-ea"/>
          <a:cs typeface="+mn-cs"/>
        </a:defRPr>
      </a:lvl5pPr>
      <a:lvl6pPr marL="2513242"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6pPr>
      <a:lvl7pPr marL="2970196"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7pPr>
      <a:lvl8pPr marL="3427149"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8pPr>
      <a:lvl9pPr marL="3884102"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9pPr>
    </p:bodyStyle>
    <p:otherStyle>
      <a:defPPr>
        <a:defRPr lang="en-US"/>
      </a:defPPr>
      <a:lvl1pPr marL="0" algn="l" defTabSz="913906" rtl="0" eaLnBrk="1" latinLnBrk="0" hangingPunct="1">
        <a:defRPr sz="1763" kern="1200">
          <a:solidFill>
            <a:schemeClr val="tx1"/>
          </a:solidFill>
          <a:latin typeface="+mn-lt"/>
          <a:ea typeface="+mn-ea"/>
          <a:cs typeface="+mn-cs"/>
        </a:defRPr>
      </a:lvl1pPr>
      <a:lvl2pPr marL="456953" algn="l" defTabSz="913906" rtl="0" eaLnBrk="1" latinLnBrk="0" hangingPunct="1">
        <a:defRPr sz="1763" kern="1200">
          <a:solidFill>
            <a:schemeClr val="tx1"/>
          </a:solidFill>
          <a:latin typeface="+mn-lt"/>
          <a:ea typeface="+mn-ea"/>
          <a:cs typeface="+mn-cs"/>
        </a:defRPr>
      </a:lvl2pPr>
      <a:lvl3pPr marL="913906" algn="l" defTabSz="913906" rtl="0" eaLnBrk="1" latinLnBrk="0" hangingPunct="1">
        <a:defRPr sz="1763" kern="1200">
          <a:solidFill>
            <a:schemeClr val="tx1"/>
          </a:solidFill>
          <a:latin typeface="+mn-lt"/>
          <a:ea typeface="+mn-ea"/>
          <a:cs typeface="+mn-cs"/>
        </a:defRPr>
      </a:lvl3pPr>
      <a:lvl4pPr marL="1370860" algn="l" defTabSz="913906" rtl="0" eaLnBrk="1" latinLnBrk="0" hangingPunct="1">
        <a:defRPr sz="1763" kern="1200">
          <a:solidFill>
            <a:schemeClr val="tx1"/>
          </a:solidFill>
          <a:latin typeface="+mn-lt"/>
          <a:ea typeface="+mn-ea"/>
          <a:cs typeface="+mn-cs"/>
        </a:defRPr>
      </a:lvl4pPr>
      <a:lvl5pPr marL="1827812" algn="l" defTabSz="913906" rtl="0" eaLnBrk="1" latinLnBrk="0" hangingPunct="1">
        <a:defRPr sz="1763" kern="1200">
          <a:solidFill>
            <a:schemeClr val="tx1"/>
          </a:solidFill>
          <a:latin typeface="+mn-lt"/>
          <a:ea typeface="+mn-ea"/>
          <a:cs typeface="+mn-cs"/>
        </a:defRPr>
      </a:lvl5pPr>
      <a:lvl6pPr marL="2284766" algn="l" defTabSz="913906" rtl="0" eaLnBrk="1" latinLnBrk="0" hangingPunct="1">
        <a:defRPr sz="1763" kern="1200">
          <a:solidFill>
            <a:schemeClr val="tx1"/>
          </a:solidFill>
          <a:latin typeface="+mn-lt"/>
          <a:ea typeface="+mn-ea"/>
          <a:cs typeface="+mn-cs"/>
        </a:defRPr>
      </a:lvl6pPr>
      <a:lvl7pPr marL="2741718" algn="l" defTabSz="913906" rtl="0" eaLnBrk="1" latinLnBrk="0" hangingPunct="1">
        <a:defRPr sz="1763" kern="1200">
          <a:solidFill>
            <a:schemeClr val="tx1"/>
          </a:solidFill>
          <a:latin typeface="+mn-lt"/>
          <a:ea typeface="+mn-ea"/>
          <a:cs typeface="+mn-cs"/>
        </a:defRPr>
      </a:lvl7pPr>
      <a:lvl8pPr marL="3198672" algn="l" defTabSz="913906" rtl="0" eaLnBrk="1" latinLnBrk="0" hangingPunct="1">
        <a:defRPr sz="1763" kern="1200">
          <a:solidFill>
            <a:schemeClr val="tx1"/>
          </a:solidFill>
          <a:latin typeface="+mn-lt"/>
          <a:ea typeface="+mn-ea"/>
          <a:cs typeface="+mn-cs"/>
        </a:defRPr>
      </a:lvl8pPr>
      <a:lvl9pPr marL="3655626" algn="l" defTabSz="913906" rtl="0" eaLnBrk="1" latinLnBrk="0" hangingPunct="1">
        <a:defRPr sz="17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1" y="289513"/>
            <a:ext cx="11652805"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171" y="1189178"/>
            <a:ext cx="11650486"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31"/>
          <a:stretch>
            <a:fillRect/>
          </a:stretch>
        </p:blipFill>
        <p:spPr>
          <a:xfrm rot="5400000">
            <a:off x="9298811" y="2991149"/>
            <a:ext cx="6858623" cy="876329"/>
          </a:xfrm>
          <a:prstGeom prst="rect">
            <a:avLst/>
          </a:prstGeom>
        </p:spPr>
      </p:pic>
    </p:spTree>
    <p:extLst>
      <p:ext uri="{BB962C8B-B14F-4D97-AF65-F5344CB8AC3E}">
        <p14:creationId xmlns:p14="http://schemas.microsoft.com/office/powerpoint/2010/main" val="1790942142"/>
      </p:ext>
    </p:extLst>
  </p:cSld>
  <p:clrMap bg1="dk1" tx1="lt1" bg2="dk2" tx2="lt2" accent1="accent1" accent2="accent2" accent3="accent3" accent4="accent4" accent5="accent5" accent6="accent6" hlink="hlink" folHlink="folHlink"/>
  <p:sldLayoutIdLst>
    <p:sldLayoutId id="2147485504" r:id="rId1"/>
    <p:sldLayoutId id="2147485505" r:id="rId2"/>
    <p:sldLayoutId id="2147485506" r:id="rId3"/>
    <p:sldLayoutId id="2147485507" r:id="rId4"/>
    <p:sldLayoutId id="2147485508" r:id="rId5"/>
    <p:sldLayoutId id="2147485509" r:id="rId6"/>
    <p:sldLayoutId id="2147485510" r:id="rId7"/>
    <p:sldLayoutId id="2147485511" r:id="rId8"/>
    <p:sldLayoutId id="2147485512" r:id="rId9"/>
    <p:sldLayoutId id="2147485513" r:id="rId10"/>
    <p:sldLayoutId id="2147485514" r:id="rId11"/>
    <p:sldLayoutId id="2147485515" r:id="rId12"/>
    <p:sldLayoutId id="2147485516" r:id="rId13"/>
    <p:sldLayoutId id="2147485517" r:id="rId14"/>
    <p:sldLayoutId id="2147485518" r:id="rId15"/>
    <p:sldLayoutId id="2147485519" r:id="rId16"/>
    <p:sldLayoutId id="2147485520" r:id="rId17"/>
    <p:sldLayoutId id="2147485521" r:id="rId18"/>
    <p:sldLayoutId id="2147485522" r:id="rId19"/>
    <p:sldLayoutId id="2147485523" r:id="rId20"/>
    <p:sldLayoutId id="2147485524" r:id="rId21"/>
    <p:sldLayoutId id="2147485525" r:id="rId22"/>
    <p:sldLayoutId id="2147485526" r:id="rId23"/>
    <p:sldLayoutId id="2147485527" r:id="rId24"/>
    <p:sldLayoutId id="2147485528" r:id="rId25"/>
    <p:sldLayoutId id="2147485529" r:id="rId26"/>
    <p:sldLayoutId id="2147485530" r:id="rId27"/>
    <p:sldLayoutId id="2147485532" r:id="rId28"/>
    <p:sldLayoutId id="2147485533" r:id="rId29"/>
  </p:sldLayoutIdLst>
  <p:transition>
    <p:fade/>
  </p:transition>
  <p:txStyles>
    <p:titleStyle>
      <a:lvl1pPr algn="l" defTabSz="913906" rtl="0" eaLnBrk="1" latinLnBrk="0" hangingPunct="1">
        <a:lnSpc>
          <a:spcPct val="90000"/>
        </a:lnSpc>
        <a:spcBef>
          <a:spcPct val="0"/>
        </a:spcBef>
        <a:buNone/>
        <a:defRPr lang="en-US" sz="5291"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975" marR="0" indent="-335975" algn="l" defTabSz="91390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19" kern="1200" spc="0" baseline="0">
          <a:gradFill>
            <a:gsLst>
              <a:gs pos="1250">
                <a:schemeClr val="tx1"/>
              </a:gs>
              <a:gs pos="100000">
                <a:schemeClr val="tx1"/>
              </a:gs>
            </a:gsLst>
            <a:lin ang="5400000" scaled="0"/>
          </a:gradFill>
          <a:latin typeface="+mj-lt"/>
          <a:ea typeface="+mn-ea"/>
          <a:cs typeface="+mn-cs"/>
        </a:defRPr>
      </a:lvl1pPr>
      <a:lvl2pPr marL="572402" marR="0" indent="-236427" algn="l" defTabSz="91390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1" kern="1200" spc="0" baseline="0">
          <a:gradFill>
            <a:gsLst>
              <a:gs pos="1250">
                <a:schemeClr val="tx1"/>
              </a:gs>
              <a:gs pos="100000">
                <a:schemeClr val="tx1"/>
              </a:gs>
            </a:gsLst>
            <a:lin ang="5400000" scaled="0"/>
          </a:gradFill>
          <a:latin typeface="+mn-lt"/>
          <a:ea typeface="+mn-ea"/>
          <a:cs typeface="+mn-cs"/>
        </a:defRPr>
      </a:lvl2pPr>
      <a:lvl3pPr marL="783943" marR="0" indent="-223984" algn="l" defTabSz="91390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1" kern="1200" spc="0" baseline="0">
          <a:gradFill>
            <a:gsLst>
              <a:gs pos="1250">
                <a:schemeClr val="tx1"/>
              </a:gs>
              <a:gs pos="100000">
                <a:schemeClr val="tx1"/>
              </a:gs>
            </a:gsLst>
            <a:lin ang="5400000" scaled="0"/>
          </a:gradFill>
          <a:latin typeface="+mn-lt"/>
          <a:ea typeface="+mn-ea"/>
          <a:cs typeface="+mn-cs"/>
        </a:defRPr>
      </a:lvl3pPr>
      <a:lvl4pPr marL="1007927" marR="0" indent="-223984" algn="l" defTabSz="91390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59" kern="1200" spc="0" baseline="0">
          <a:gradFill>
            <a:gsLst>
              <a:gs pos="1250">
                <a:schemeClr val="tx1"/>
              </a:gs>
              <a:gs pos="100000">
                <a:schemeClr val="tx1"/>
              </a:gs>
            </a:gsLst>
            <a:lin ang="5400000" scaled="0"/>
          </a:gradFill>
          <a:latin typeface="+mn-lt"/>
          <a:ea typeface="+mn-ea"/>
          <a:cs typeface="+mn-cs"/>
        </a:defRPr>
      </a:lvl4pPr>
      <a:lvl5pPr marL="1231910" marR="0" indent="-223984" algn="l" defTabSz="91390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59" kern="1200" spc="0" baseline="0">
          <a:gradFill>
            <a:gsLst>
              <a:gs pos="1250">
                <a:schemeClr val="tx1"/>
              </a:gs>
              <a:gs pos="100000">
                <a:schemeClr val="tx1"/>
              </a:gs>
            </a:gsLst>
            <a:lin ang="5400000" scaled="0"/>
          </a:gradFill>
          <a:latin typeface="+mn-lt"/>
          <a:ea typeface="+mn-ea"/>
          <a:cs typeface="+mn-cs"/>
        </a:defRPr>
      </a:lvl5pPr>
      <a:lvl6pPr marL="2513242"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6pPr>
      <a:lvl7pPr marL="2970196"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7pPr>
      <a:lvl8pPr marL="3427149"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8pPr>
      <a:lvl9pPr marL="3884102"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9pPr>
    </p:bodyStyle>
    <p:otherStyle>
      <a:defPPr>
        <a:defRPr lang="en-US"/>
      </a:defPPr>
      <a:lvl1pPr marL="0" algn="l" defTabSz="913906" rtl="0" eaLnBrk="1" latinLnBrk="0" hangingPunct="1">
        <a:defRPr sz="1763" kern="1200">
          <a:solidFill>
            <a:schemeClr val="tx1"/>
          </a:solidFill>
          <a:latin typeface="+mn-lt"/>
          <a:ea typeface="+mn-ea"/>
          <a:cs typeface="+mn-cs"/>
        </a:defRPr>
      </a:lvl1pPr>
      <a:lvl2pPr marL="456953" algn="l" defTabSz="913906" rtl="0" eaLnBrk="1" latinLnBrk="0" hangingPunct="1">
        <a:defRPr sz="1763" kern="1200">
          <a:solidFill>
            <a:schemeClr val="tx1"/>
          </a:solidFill>
          <a:latin typeface="+mn-lt"/>
          <a:ea typeface="+mn-ea"/>
          <a:cs typeface="+mn-cs"/>
        </a:defRPr>
      </a:lvl2pPr>
      <a:lvl3pPr marL="913906" algn="l" defTabSz="913906" rtl="0" eaLnBrk="1" latinLnBrk="0" hangingPunct="1">
        <a:defRPr sz="1763" kern="1200">
          <a:solidFill>
            <a:schemeClr val="tx1"/>
          </a:solidFill>
          <a:latin typeface="+mn-lt"/>
          <a:ea typeface="+mn-ea"/>
          <a:cs typeface="+mn-cs"/>
        </a:defRPr>
      </a:lvl3pPr>
      <a:lvl4pPr marL="1370860" algn="l" defTabSz="913906" rtl="0" eaLnBrk="1" latinLnBrk="0" hangingPunct="1">
        <a:defRPr sz="1763" kern="1200">
          <a:solidFill>
            <a:schemeClr val="tx1"/>
          </a:solidFill>
          <a:latin typeface="+mn-lt"/>
          <a:ea typeface="+mn-ea"/>
          <a:cs typeface="+mn-cs"/>
        </a:defRPr>
      </a:lvl4pPr>
      <a:lvl5pPr marL="1827812" algn="l" defTabSz="913906" rtl="0" eaLnBrk="1" latinLnBrk="0" hangingPunct="1">
        <a:defRPr sz="1763" kern="1200">
          <a:solidFill>
            <a:schemeClr val="tx1"/>
          </a:solidFill>
          <a:latin typeface="+mn-lt"/>
          <a:ea typeface="+mn-ea"/>
          <a:cs typeface="+mn-cs"/>
        </a:defRPr>
      </a:lvl5pPr>
      <a:lvl6pPr marL="2284766" algn="l" defTabSz="913906" rtl="0" eaLnBrk="1" latinLnBrk="0" hangingPunct="1">
        <a:defRPr sz="1763" kern="1200">
          <a:solidFill>
            <a:schemeClr val="tx1"/>
          </a:solidFill>
          <a:latin typeface="+mn-lt"/>
          <a:ea typeface="+mn-ea"/>
          <a:cs typeface="+mn-cs"/>
        </a:defRPr>
      </a:lvl6pPr>
      <a:lvl7pPr marL="2741718" algn="l" defTabSz="913906" rtl="0" eaLnBrk="1" latinLnBrk="0" hangingPunct="1">
        <a:defRPr sz="1763" kern="1200">
          <a:solidFill>
            <a:schemeClr val="tx1"/>
          </a:solidFill>
          <a:latin typeface="+mn-lt"/>
          <a:ea typeface="+mn-ea"/>
          <a:cs typeface="+mn-cs"/>
        </a:defRPr>
      </a:lvl7pPr>
      <a:lvl8pPr marL="3198672" algn="l" defTabSz="913906" rtl="0" eaLnBrk="1" latinLnBrk="0" hangingPunct="1">
        <a:defRPr sz="1763" kern="1200">
          <a:solidFill>
            <a:schemeClr val="tx1"/>
          </a:solidFill>
          <a:latin typeface="+mn-lt"/>
          <a:ea typeface="+mn-ea"/>
          <a:cs typeface="+mn-cs"/>
        </a:defRPr>
      </a:lvl8pPr>
      <a:lvl9pPr marL="3655626" algn="l" defTabSz="913906" rtl="0" eaLnBrk="1" latinLnBrk="0" hangingPunct="1">
        <a:defRPr sz="17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171" y="1189178"/>
            <a:ext cx="11650486"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6"/>
          <a:stretch>
            <a:fillRect/>
          </a:stretch>
        </p:blipFill>
        <p:spPr>
          <a:xfrm rot="5400000">
            <a:off x="9205457" y="2991147"/>
            <a:ext cx="6858623" cy="876329"/>
          </a:xfrm>
          <a:prstGeom prst="rect">
            <a:avLst/>
          </a:prstGeom>
        </p:spPr>
      </p:pic>
    </p:spTree>
    <p:extLst>
      <p:ext uri="{BB962C8B-B14F-4D97-AF65-F5344CB8AC3E}">
        <p14:creationId xmlns:p14="http://schemas.microsoft.com/office/powerpoint/2010/main" val="2632658193"/>
      </p:ext>
    </p:extLst>
  </p:cSld>
  <p:clrMap bg1="dk1" tx1="lt1" bg2="dk2" tx2="lt2" accent1="accent1" accent2="accent2" accent3="accent3" accent4="accent4" accent5="accent5" accent6="accent6" hlink="hlink" folHlink="folHlink"/>
  <p:sldLayoutIdLst>
    <p:sldLayoutId id="2147485003" r:id="rId1"/>
    <p:sldLayoutId id="2147485004" r:id="rId2"/>
    <p:sldLayoutId id="2147485005" r:id="rId3"/>
    <p:sldLayoutId id="2147485006" r:id="rId4"/>
    <p:sldLayoutId id="2147485007" r:id="rId5"/>
    <p:sldLayoutId id="2147485008" r:id="rId6"/>
    <p:sldLayoutId id="2147485009" r:id="rId7"/>
    <p:sldLayoutId id="2147485010" r:id="rId8"/>
    <p:sldLayoutId id="2147485011" r:id="rId9"/>
    <p:sldLayoutId id="2147485012" r:id="rId10"/>
    <p:sldLayoutId id="2147485013" r:id="rId11"/>
    <p:sldLayoutId id="2147485014" r:id="rId12"/>
    <p:sldLayoutId id="2147485015" r:id="rId13"/>
    <p:sldLayoutId id="2147485016" r:id="rId14"/>
  </p:sldLayoutIdLst>
  <p:transition>
    <p:fade/>
  </p:transition>
  <p:txStyles>
    <p:titleStyle>
      <a:lvl1pPr algn="l" defTabSz="91418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805"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171" y="1189178"/>
            <a:ext cx="11650486"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userDrawn="1"/>
        </p:nvGrpSpPr>
        <p:grpSpPr>
          <a:xfrm>
            <a:off x="12367685" y="-217"/>
            <a:ext cx="935233" cy="5654618"/>
            <a:chOff x="12618967" y="-221"/>
            <a:chExt cx="954235" cy="5767186"/>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28"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3828"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828" fontAlgn="base">
                  <a:lnSpc>
                    <a:spcPct val="100000"/>
                  </a:lnSpc>
                  <a:spcBef>
                    <a:spcPct val="0"/>
                  </a:spcBef>
                  <a:spcAft>
                    <a:spcPct val="0"/>
                  </a:spcAft>
                </a:pPr>
                <a:r>
                  <a:rPr lang="en-US" sz="490" b="1" kern="1200" baseline="0" dirty="0">
                    <a:gradFill>
                      <a:gsLst>
                        <a:gs pos="7965">
                          <a:srgbClr val="000000"/>
                        </a:gs>
                        <a:gs pos="28319">
                          <a:srgbClr val="000000"/>
                        </a:gs>
                      </a:gsLst>
                      <a:lin ang="5400000" scaled="0"/>
                    </a:gradFill>
                    <a:latin typeface="+mn-lt"/>
                    <a:ea typeface="Segoe UI" pitchFamily="34" charset="0"/>
                    <a:cs typeface="Segoe UI" pitchFamily="34" charset="0"/>
                  </a:rPr>
                  <a:t>Cyan</a:t>
                </a:r>
              </a:p>
              <a:p>
                <a:pPr algn="l" defTabSz="913828" fontAlgn="base">
                  <a:lnSpc>
                    <a:spcPct val="100000"/>
                  </a:lnSpc>
                  <a:spcBef>
                    <a:spcPct val="0"/>
                  </a:spcBef>
                  <a:spcAft>
                    <a:spcPct val="0"/>
                  </a:spcAft>
                </a:pPr>
                <a:r>
                  <a:rPr lang="en-US" sz="490" dirty="0">
                    <a:gradFill>
                      <a:gsLst>
                        <a:gs pos="7965">
                          <a:srgbClr val="000000"/>
                        </a:gs>
                        <a:gs pos="28319">
                          <a:srgbClr val="000000"/>
                        </a:gs>
                      </a:gsLst>
                      <a:lin ang="5400000" scaled="0"/>
                    </a:gradFill>
                    <a:ea typeface="Segoe UI" pitchFamily="34" charset="0"/>
                    <a:cs typeface="Segoe UI" pitchFamily="34" charset="0"/>
                  </a:rPr>
                  <a:t>R:</a:t>
                </a:r>
                <a:r>
                  <a:rPr lang="en-US" sz="490" baseline="0" dirty="0">
                    <a:gradFill>
                      <a:gsLst>
                        <a:gs pos="7965">
                          <a:srgbClr val="000000"/>
                        </a:gs>
                        <a:gs pos="28319">
                          <a:srgbClr val="000000"/>
                        </a:gs>
                      </a:gsLst>
                      <a:lin ang="5400000" scaled="0"/>
                    </a:gradFill>
                    <a:ea typeface="Segoe UI" pitchFamily="34" charset="0"/>
                    <a:cs typeface="Segoe UI" pitchFamily="34" charset="0"/>
                  </a:rPr>
                  <a:t>0 G:188 B:242</a:t>
                </a:r>
                <a:endParaRPr lang="en-US" sz="490" dirty="0">
                  <a:gradFill>
                    <a:gsLst>
                      <a:gs pos="7965">
                        <a:srgbClr val="000000"/>
                      </a:gs>
                      <a:gs pos="28319">
                        <a:srgbClr val="000000"/>
                      </a:gs>
                    </a:gsLst>
                    <a:lin ang="5400000" scaled="0"/>
                  </a:gradFill>
                  <a:ea typeface="Segoe UI" pitchFamily="34" charset="0"/>
                  <a:cs typeface="Segoe UI" pitchFamily="34" charset="0"/>
                </a:endParaRPr>
              </a:p>
            </p:txBody>
          </p:sp>
          <p:sp>
            <p:nvSpPr>
              <p:cNvPr id="41" name="Rectangle 40"/>
              <p:cNvSpPr/>
              <p:nvPr userDrawn="1"/>
            </p:nvSpPr>
            <p:spPr bwMode="auto">
              <a:xfrm>
                <a:off x="158673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828" fontAlgn="base">
                  <a:lnSpc>
                    <a:spcPct val="100000"/>
                  </a:lnSpc>
                  <a:spcBef>
                    <a:spcPct val="0"/>
                  </a:spcBef>
                  <a:spcAft>
                    <a:spcPct val="0"/>
                  </a:spcAft>
                </a:pPr>
                <a:r>
                  <a:rPr lang="en-US" sz="490" b="1" kern="1200" baseline="0" dirty="0">
                    <a:gradFill>
                      <a:gsLst>
                        <a:gs pos="92035">
                          <a:srgbClr val="505050"/>
                        </a:gs>
                        <a:gs pos="27000">
                          <a:srgbClr val="505050"/>
                        </a:gs>
                      </a:gsLst>
                      <a:lin ang="5400000" scaled="0"/>
                    </a:gradFill>
                    <a:latin typeface="+mn-lt"/>
                    <a:ea typeface="Segoe UI" pitchFamily="34" charset="0"/>
                    <a:cs typeface="Segoe UI" pitchFamily="34" charset="0"/>
                  </a:rPr>
                  <a:t>Light Gray</a:t>
                </a:r>
              </a:p>
              <a:p>
                <a:pPr algn="l" defTabSz="913828" fontAlgn="base">
                  <a:lnSpc>
                    <a:spcPct val="100000"/>
                  </a:lnSpc>
                  <a:spcBef>
                    <a:spcPct val="0"/>
                  </a:spcBef>
                  <a:spcAft>
                    <a:spcPct val="0"/>
                  </a:spcAft>
                </a:pPr>
                <a:r>
                  <a:rPr lang="en-US" sz="490" dirty="0">
                    <a:gradFill>
                      <a:gsLst>
                        <a:gs pos="92035">
                          <a:srgbClr val="505050"/>
                        </a:gs>
                        <a:gs pos="27000">
                          <a:srgbClr val="505050"/>
                        </a:gs>
                      </a:gsLst>
                      <a:lin ang="5400000" scaled="0"/>
                    </a:gradFill>
                    <a:ea typeface="Segoe UI" pitchFamily="34" charset="0"/>
                    <a:cs typeface="Segoe UI" pitchFamily="34" charset="0"/>
                  </a:rPr>
                  <a:t>R:</a:t>
                </a:r>
                <a:r>
                  <a:rPr lang="en-US" sz="490" baseline="0" dirty="0">
                    <a:gradFill>
                      <a:gsLst>
                        <a:gs pos="92035">
                          <a:srgbClr val="505050"/>
                        </a:gs>
                        <a:gs pos="27000">
                          <a:srgbClr val="505050"/>
                        </a:gs>
                      </a:gsLst>
                      <a:lin ang="5400000" scaled="0"/>
                    </a:gradFill>
                    <a:ea typeface="Segoe UI" pitchFamily="34" charset="0"/>
                    <a:cs typeface="Segoe UI" pitchFamily="34" charset="0"/>
                  </a:rPr>
                  <a:t>210 G:210 B:210</a:t>
                </a:r>
                <a:endParaRPr lang="en-US" sz="490" dirty="0">
                  <a:gradFill>
                    <a:gsLst>
                      <a:gs pos="92035">
                        <a:srgbClr val="505050"/>
                      </a:gs>
                      <a:gs pos="27000">
                        <a:srgbClr val="505050"/>
                      </a:gs>
                    </a:gsLst>
                    <a:lin ang="5400000" scaled="0"/>
                  </a:gradFill>
                  <a:ea typeface="Segoe UI" pitchFamily="34" charset="0"/>
                  <a:cs typeface="Segoe UI" pitchFamily="34" charset="0"/>
                </a:endParaRPr>
              </a:p>
            </p:txBody>
          </p:sp>
          <p:sp>
            <p:nvSpPr>
              <p:cNvPr id="42" name="Rectangle 41"/>
              <p:cNvSpPr/>
              <p:nvPr userDrawn="1"/>
            </p:nvSpPr>
            <p:spPr bwMode="auto">
              <a:xfrm>
                <a:off x="2505456" y="4543426"/>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28"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3828"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32 B:80</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28"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3828"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28"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ay</a:t>
                </a:r>
              </a:p>
              <a:p>
                <a:pPr algn="l" defTabSz="913828"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28"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marL="0" algn="l" defTabSz="913828"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92 G:45 B:145</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28"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3828"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28"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3828"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6 G:124 B:16</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2044963792"/>
      </p:ext>
    </p:extLst>
  </p:cSld>
  <p:clrMap bg1="lt1" tx1="dk1" bg2="lt2" tx2="dk2" accent1="accent1" accent2="accent2" accent3="accent3" accent4="accent4" accent5="accent5" accent6="accent6" hlink="hlink" folHlink="folHlink"/>
  <p:sldLayoutIdLst>
    <p:sldLayoutId id="2147485535" r:id="rId1"/>
    <p:sldLayoutId id="2147485536" r:id="rId2"/>
    <p:sldLayoutId id="2147485537" r:id="rId3"/>
    <p:sldLayoutId id="2147485538" r:id="rId4"/>
    <p:sldLayoutId id="2147485539" r:id="rId5"/>
    <p:sldLayoutId id="2147485540" r:id="rId6"/>
    <p:sldLayoutId id="2147485541" r:id="rId7"/>
    <p:sldLayoutId id="2147485542" r:id="rId8"/>
    <p:sldLayoutId id="2147485543" r:id="rId9"/>
    <p:sldLayoutId id="2147485544" r:id="rId10"/>
    <p:sldLayoutId id="2147485545" r:id="rId11"/>
    <p:sldLayoutId id="2147485546" r:id="rId12"/>
    <p:sldLayoutId id="2147485547" r:id="rId13"/>
    <p:sldLayoutId id="2147485548" r:id="rId14"/>
    <p:sldLayoutId id="2147485549" r:id="rId15"/>
    <p:sldLayoutId id="2147485550" r:id="rId16"/>
    <p:sldLayoutId id="2147485551" r:id="rId17"/>
    <p:sldLayoutId id="2147485552" r:id="rId18"/>
    <p:sldLayoutId id="2147485553" r:id="rId19"/>
    <p:sldLayoutId id="2147485554" r:id="rId20"/>
    <p:sldLayoutId id="2147485555" r:id="rId21"/>
    <p:sldLayoutId id="2147485556" r:id="rId22"/>
    <p:sldLayoutId id="2147485557" r:id="rId23"/>
    <p:sldLayoutId id="2147485558" r:id="rId24"/>
    <p:sldLayoutId id="2147485559" r:id="rId25"/>
  </p:sldLayoutIdLst>
  <p:transition>
    <p:fade/>
  </p:transition>
  <p:txStyles>
    <p:titleStyle>
      <a:lvl1pPr algn="l" defTabSz="914093"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44" marR="0" indent="-336044" algn="l" defTabSz="914093"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19" marR="0" indent="-236475" algn="l" defTabSz="914093"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103" marR="0" indent="-224030" algn="l" defTabSz="914093"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132" marR="0" indent="-224030" algn="l" defTabSz="914093"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161" marR="0" indent="-224030" algn="l" defTabSz="914093"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75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801"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848"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89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93" rtl="0" eaLnBrk="1" latinLnBrk="0" hangingPunct="1">
        <a:defRPr sz="1764" kern="1200">
          <a:solidFill>
            <a:schemeClr val="tx1"/>
          </a:solidFill>
          <a:latin typeface="+mn-lt"/>
          <a:ea typeface="+mn-ea"/>
          <a:cs typeface="+mn-cs"/>
        </a:defRPr>
      </a:lvl1pPr>
      <a:lvl2pPr marL="457046" algn="l" defTabSz="914093" rtl="0" eaLnBrk="1" latinLnBrk="0" hangingPunct="1">
        <a:defRPr sz="1764" kern="1200">
          <a:solidFill>
            <a:schemeClr val="tx1"/>
          </a:solidFill>
          <a:latin typeface="+mn-lt"/>
          <a:ea typeface="+mn-ea"/>
          <a:cs typeface="+mn-cs"/>
        </a:defRPr>
      </a:lvl2pPr>
      <a:lvl3pPr marL="914093" algn="l" defTabSz="914093" rtl="0" eaLnBrk="1" latinLnBrk="0" hangingPunct="1">
        <a:defRPr sz="1764" kern="1200">
          <a:solidFill>
            <a:schemeClr val="tx1"/>
          </a:solidFill>
          <a:latin typeface="+mn-lt"/>
          <a:ea typeface="+mn-ea"/>
          <a:cs typeface="+mn-cs"/>
        </a:defRPr>
      </a:lvl3pPr>
      <a:lvl4pPr marL="1371139" algn="l" defTabSz="914093" rtl="0" eaLnBrk="1" latinLnBrk="0" hangingPunct="1">
        <a:defRPr sz="1764" kern="1200">
          <a:solidFill>
            <a:schemeClr val="tx1"/>
          </a:solidFill>
          <a:latin typeface="+mn-lt"/>
          <a:ea typeface="+mn-ea"/>
          <a:cs typeface="+mn-cs"/>
        </a:defRPr>
      </a:lvl4pPr>
      <a:lvl5pPr marL="1828185" algn="l" defTabSz="914093" rtl="0" eaLnBrk="1" latinLnBrk="0" hangingPunct="1">
        <a:defRPr sz="1764" kern="1200">
          <a:solidFill>
            <a:schemeClr val="tx1"/>
          </a:solidFill>
          <a:latin typeface="+mn-lt"/>
          <a:ea typeface="+mn-ea"/>
          <a:cs typeface="+mn-cs"/>
        </a:defRPr>
      </a:lvl5pPr>
      <a:lvl6pPr marL="2285232" algn="l" defTabSz="914093" rtl="0" eaLnBrk="1" latinLnBrk="0" hangingPunct="1">
        <a:defRPr sz="1764" kern="1200">
          <a:solidFill>
            <a:schemeClr val="tx1"/>
          </a:solidFill>
          <a:latin typeface="+mn-lt"/>
          <a:ea typeface="+mn-ea"/>
          <a:cs typeface="+mn-cs"/>
        </a:defRPr>
      </a:lvl6pPr>
      <a:lvl7pPr marL="2742278" algn="l" defTabSz="914093" rtl="0" eaLnBrk="1" latinLnBrk="0" hangingPunct="1">
        <a:defRPr sz="1764" kern="1200">
          <a:solidFill>
            <a:schemeClr val="tx1"/>
          </a:solidFill>
          <a:latin typeface="+mn-lt"/>
          <a:ea typeface="+mn-ea"/>
          <a:cs typeface="+mn-cs"/>
        </a:defRPr>
      </a:lvl7pPr>
      <a:lvl8pPr marL="3199324" algn="l" defTabSz="914093" rtl="0" eaLnBrk="1" latinLnBrk="0" hangingPunct="1">
        <a:defRPr sz="1764" kern="1200">
          <a:solidFill>
            <a:schemeClr val="tx1"/>
          </a:solidFill>
          <a:latin typeface="+mn-lt"/>
          <a:ea typeface="+mn-ea"/>
          <a:cs typeface="+mn-cs"/>
        </a:defRPr>
      </a:lvl8pPr>
      <a:lvl9pPr marL="3656372" algn="l" defTabSz="914093"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805"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172" y="1189178"/>
            <a:ext cx="11650486"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6"/>
          <a:stretch>
            <a:fillRect/>
          </a:stretch>
        </p:blipFill>
        <p:spPr>
          <a:xfrm rot="5400000">
            <a:off x="9205457" y="2991148"/>
            <a:ext cx="6858623" cy="876329"/>
          </a:xfrm>
          <a:prstGeom prst="rect">
            <a:avLst/>
          </a:prstGeom>
        </p:spPr>
      </p:pic>
    </p:spTree>
    <p:extLst>
      <p:ext uri="{BB962C8B-B14F-4D97-AF65-F5344CB8AC3E}">
        <p14:creationId xmlns:p14="http://schemas.microsoft.com/office/powerpoint/2010/main" val="4253664618"/>
      </p:ext>
    </p:extLst>
  </p:cSld>
  <p:clrMap bg1="dk1" tx1="lt1" bg2="dk2" tx2="lt2" accent1="accent1" accent2="accent2" accent3="accent3" accent4="accent4" accent5="accent5" accent6="accent6" hlink="hlink" folHlink="folHlink"/>
  <p:sldLayoutIdLst>
    <p:sldLayoutId id="2147485561" r:id="rId1"/>
    <p:sldLayoutId id="2147485562" r:id="rId2"/>
    <p:sldLayoutId id="2147485563" r:id="rId3"/>
    <p:sldLayoutId id="2147485564" r:id="rId4"/>
  </p:sldLayoutIdLst>
  <p:transition>
    <p:fade/>
  </p:transition>
  <p:txStyles>
    <p:titleStyle>
      <a:lvl1pPr algn="l" defTabSz="914005"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2" marR="0" indent="-336012" algn="l" defTabSz="914005"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65" marR="0" indent="-236452" algn="l" defTabSz="914005"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027" marR="0" indent="-224009" algn="l" defTabSz="914005"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036" marR="0" indent="-224009" algn="l" defTabSz="914005"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043" marR="0" indent="-224009" algn="l" defTabSz="914005"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513" indent="-228501" algn="l" defTabSz="914005"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516" indent="-228501" algn="l" defTabSz="914005"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519" indent="-228501" algn="l" defTabSz="914005"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522" indent="-228501" algn="l" defTabSz="914005"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05" rtl="0" eaLnBrk="1" latinLnBrk="0" hangingPunct="1">
        <a:defRPr sz="1764" kern="1200">
          <a:solidFill>
            <a:schemeClr val="tx1"/>
          </a:solidFill>
          <a:latin typeface="+mn-lt"/>
          <a:ea typeface="+mn-ea"/>
          <a:cs typeface="+mn-cs"/>
        </a:defRPr>
      </a:lvl1pPr>
      <a:lvl2pPr marL="457002" algn="l" defTabSz="914005" rtl="0" eaLnBrk="1" latinLnBrk="0" hangingPunct="1">
        <a:defRPr sz="1764" kern="1200">
          <a:solidFill>
            <a:schemeClr val="tx1"/>
          </a:solidFill>
          <a:latin typeface="+mn-lt"/>
          <a:ea typeface="+mn-ea"/>
          <a:cs typeface="+mn-cs"/>
        </a:defRPr>
      </a:lvl2pPr>
      <a:lvl3pPr marL="914005" algn="l" defTabSz="914005" rtl="0" eaLnBrk="1" latinLnBrk="0" hangingPunct="1">
        <a:defRPr sz="1764" kern="1200">
          <a:solidFill>
            <a:schemeClr val="tx1"/>
          </a:solidFill>
          <a:latin typeface="+mn-lt"/>
          <a:ea typeface="+mn-ea"/>
          <a:cs typeface="+mn-cs"/>
        </a:defRPr>
      </a:lvl3pPr>
      <a:lvl4pPr marL="1371007" algn="l" defTabSz="914005" rtl="0" eaLnBrk="1" latinLnBrk="0" hangingPunct="1">
        <a:defRPr sz="1764" kern="1200">
          <a:solidFill>
            <a:schemeClr val="tx1"/>
          </a:solidFill>
          <a:latin typeface="+mn-lt"/>
          <a:ea typeface="+mn-ea"/>
          <a:cs typeface="+mn-cs"/>
        </a:defRPr>
      </a:lvl4pPr>
      <a:lvl5pPr marL="1828010" algn="l" defTabSz="914005" rtl="0" eaLnBrk="1" latinLnBrk="0" hangingPunct="1">
        <a:defRPr sz="1764" kern="1200">
          <a:solidFill>
            <a:schemeClr val="tx1"/>
          </a:solidFill>
          <a:latin typeface="+mn-lt"/>
          <a:ea typeface="+mn-ea"/>
          <a:cs typeface="+mn-cs"/>
        </a:defRPr>
      </a:lvl5pPr>
      <a:lvl6pPr marL="2285013" algn="l" defTabSz="914005" rtl="0" eaLnBrk="1" latinLnBrk="0" hangingPunct="1">
        <a:defRPr sz="1764" kern="1200">
          <a:solidFill>
            <a:schemeClr val="tx1"/>
          </a:solidFill>
          <a:latin typeface="+mn-lt"/>
          <a:ea typeface="+mn-ea"/>
          <a:cs typeface="+mn-cs"/>
        </a:defRPr>
      </a:lvl6pPr>
      <a:lvl7pPr marL="2742015" algn="l" defTabSz="914005" rtl="0" eaLnBrk="1" latinLnBrk="0" hangingPunct="1">
        <a:defRPr sz="1764" kern="1200">
          <a:solidFill>
            <a:schemeClr val="tx1"/>
          </a:solidFill>
          <a:latin typeface="+mn-lt"/>
          <a:ea typeface="+mn-ea"/>
          <a:cs typeface="+mn-cs"/>
        </a:defRPr>
      </a:lvl7pPr>
      <a:lvl8pPr marL="3199017" algn="l" defTabSz="914005" rtl="0" eaLnBrk="1" latinLnBrk="0" hangingPunct="1">
        <a:defRPr sz="1764" kern="1200">
          <a:solidFill>
            <a:schemeClr val="tx1"/>
          </a:solidFill>
          <a:latin typeface="+mn-lt"/>
          <a:ea typeface="+mn-ea"/>
          <a:cs typeface="+mn-cs"/>
        </a:defRPr>
      </a:lvl8pPr>
      <a:lvl9pPr marL="3656021" algn="l" defTabSz="914005"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solidFill>
          <a:srgbClr val="F2F2F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805"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172" y="1189178"/>
            <a:ext cx="11650486"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
          <a:stretch>
            <a:fillRect/>
          </a:stretch>
        </p:blipFill>
        <p:spPr>
          <a:xfrm rot="5400000">
            <a:off x="9205457" y="2991148"/>
            <a:ext cx="6858623" cy="876329"/>
          </a:xfrm>
          <a:prstGeom prst="rect">
            <a:avLst/>
          </a:prstGeom>
        </p:spPr>
      </p:pic>
    </p:spTree>
    <p:extLst>
      <p:ext uri="{BB962C8B-B14F-4D97-AF65-F5344CB8AC3E}">
        <p14:creationId xmlns:p14="http://schemas.microsoft.com/office/powerpoint/2010/main" val="3902017652"/>
      </p:ext>
    </p:extLst>
  </p:cSld>
  <p:clrMap bg1="lt1" tx1="dk1" bg2="lt2" tx2="dk2" accent1="accent1" accent2="accent2" accent3="accent3" accent4="accent4" accent5="accent5" accent6="accent6" hlink="hlink" folHlink="folHlink"/>
  <p:transition>
    <p:fade/>
  </p:transition>
  <p:txStyles>
    <p:titleStyle>
      <a:lvl1pPr algn="l" defTabSz="914005"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2" marR="0" indent="-336012" algn="l" defTabSz="914005"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65" marR="0" indent="-236452" algn="l" defTabSz="914005"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27" marR="0" indent="-224009" algn="l" defTabSz="914005"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36" marR="0" indent="-224009" algn="l" defTabSz="914005"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43" marR="0" indent="-224009" algn="l" defTabSz="914005"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13" indent="-228501" algn="l" defTabSz="914005"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516" indent="-228501" algn="l" defTabSz="914005"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519" indent="-228501" algn="l" defTabSz="914005"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522" indent="-228501" algn="l" defTabSz="914005"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05" rtl="0" eaLnBrk="1" latinLnBrk="0" hangingPunct="1">
        <a:defRPr sz="1764" kern="1200">
          <a:solidFill>
            <a:schemeClr val="tx1"/>
          </a:solidFill>
          <a:latin typeface="+mn-lt"/>
          <a:ea typeface="+mn-ea"/>
          <a:cs typeface="+mn-cs"/>
        </a:defRPr>
      </a:lvl1pPr>
      <a:lvl2pPr marL="457002" algn="l" defTabSz="914005" rtl="0" eaLnBrk="1" latinLnBrk="0" hangingPunct="1">
        <a:defRPr sz="1764" kern="1200">
          <a:solidFill>
            <a:schemeClr val="tx1"/>
          </a:solidFill>
          <a:latin typeface="+mn-lt"/>
          <a:ea typeface="+mn-ea"/>
          <a:cs typeface="+mn-cs"/>
        </a:defRPr>
      </a:lvl2pPr>
      <a:lvl3pPr marL="914005" algn="l" defTabSz="914005" rtl="0" eaLnBrk="1" latinLnBrk="0" hangingPunct="1">
        <a:defRPr sz="1764" kern="1200">
          <a:solidFill>
            <a:schemeClr val="tx1"/>
          </a:solidFill>
          <a:latin typeface="+mn-lt"/>
          <a:ea typeface="+mn-ea"/>
          <a:cs typeface="+mn-cs"/>
        </a:defRPr>
      </a:lvl3pPr>
      <a:lvl4pPr marL="1371007" algn="l" defTabSz="914005" rtl="0" eaLnBrk="1" latinLnBrk="0" hangingPunct="1">
        <a:defRPr sz="1764" kern="1200">
          <a:solidFill>
            <a:schemeClr val="tx1"/>
          </a:solidFill>
          <a:latin typeface="+mn-lt"/>
          <a:ea typeface="+mn-ea"/>
          <a:cs typeface="+mn-cs"/>
        </a:defRPr>
      </a:lvl4pPr>
      <a:lvl5pPr marL="1828010" algn="l" defTabSz="914005" rtl="0" eaLnBrk="1" latinLnBrk="0" hangingPunct="1">
        <a:defRPr sz="1764" kern="1200">
          <a:solidFill>
            <a:schemeClr val="tx1"/>
          </a:solidFill>
          <a:latin typeface="+mn-lt"/>
          <a:ea typeface="+mn-ea"/>
          <a:cs typeface="+mn-cs"/>
        </a:defRPr>
      </a:lvl5pPr>
      <a:lvl6pPr marL="2285013" algn="l" defTabSz="914005" rtl="0" eaLnBrk="1" latinLnBrk="0" hangingPunct="1">
        <a:defRPr sz="1764" kern="1200">
          <a:solidFill>
            <a:schemeClr val="tx1"/>
          </a:solidFill>
          <a:latin typeface="+mn-lt"/>
          <a:ea typeface="+mn-ea"/>
          <a:cs typeface="+mn-cs"/>
        </a:defRPr>
      </a:lvl6pPr>
      <a:lvl7pPr marL="2742015" algn="l" defTabSz="914005" rtl="0" eaLnBrk="1" latinLnBrk="0" hangingPunct="1">
        <a:defRPr sz="1764" kern="1200">
          <a:solidFill>
            <a:schemeClr val="tx1"/>
          </a:solidFill>
          <a:latin typeface="+mn-lt"/>
          <a:ea typeface="+mn-ea"/>
          <a:cs typeface="+mn-cs"/>
        </a:defRPr>
      </a:lvl7pPr>
      <a:lvl8pPr marL="3199017" algn="l" defTabSz="914005" rtl="0" eaLnBrk="1" latinLnBrk="0" hangingPunct="1">
        <a:defRPr sz="1764" kern="1200">
          <a:solidFill>
            <a:schemeClr val="tx1"/>
          </a:solidFill>
          <a:latin typeface="+mn-lt"/>
          <a:ea typeface="+mn-ea"/>
          <a:cs typeface="+mn-cs"/>
        </a:defRPr>
      </a:lvl8pPr>
      <a:lvl9pPr marL="3656021" algn="l" defTabSz="914005"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043"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169" y="1189177"/>
            <a:ext cx="11650488" cy="2051485"/>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2052" name="Picture 6"/>
          <p:cNvPicPr>
            <a:picLocks noChangeAspect="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2196605" y="0"/>
            <a:ext cx="87596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98348555"/>
      </p:ext>
    </p:extLst>
  </p:cSld>
  <p:clrMap bg1="dk1" tx1="lt1" bg2="dk2" tx2="lt2" accent1="accent1" accent2="accent2" accent3="accent3" accent4="accent4" accent5="accent5" accent6="accent6" hlink="hlink" folHlink="folHlink"/>
  <p:sldLayoutIdLst>
    <p:sldLayoutId id="2147485568" r:id="rId1"/>
    <p:sldLayoutId id="2147485569" r:id="rId2"/>
    <p:sldLayoutId id="2147485570" r:id="rId3"/>
  </p:sldLayoutIdLst>
  <p:transition>
    <p:fade/>
  </p:transition>
  <p:txStyles>
    <p:titleStyle>
      <a:lvl1pPr algn="l" defTabSz="913319" rtl="0" eaLnBrk="0" fontAlgn="base" hangingPunct="0">
        <a:lnSpc>
          <a:spcPct val="90000"/>
        </a:lnSpc>
        <a:spcBef>
          <a:spcPct val="0"/>
        </a:spcBef>
        <a:spcAft>
          <a:spcPct val="0"/>
        </a:spcAft>
        <a:defRPr lang="en-US" sz="4704" kern="1200" spc="-100" dirty="0">
          <a:ln w="3175">
            <a:noFill/>
          </a:ln>
          <a:gradFill>
            <a:gsLst>
              <a:gs pos="1250">
                <a:schemeClr val="tx1"/>
              </a:gs>
              <a:gs pos="100000">
                <a:schemeClr val="tx1"/>
              </a:gs>
            </a:gsLst>
            <a:lin ang="5400000" scaled="0"/>
          </a:gradFill>
          <a:latin typeface="+mj-lt"/>
          <a:ea typeface="MS PGothic" panose="020B0600070205080204" pitchFamily="34" charset="-128"/>
          <a:cs typeface="Segoe UI" pitchFamily="34" charset="0"/>
        </a:defRPr>
      </a:lvl1pPr>
      <a:lvl2pPr algn="l" defTabSz="913319" rtl="0" eaLnBrk="0" fontAlgn="base" hangingPunct="0">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2pPr>
      <a:lvl3pPr algn="l" defTabSz="913319" rtl="0" eaLnBrk="0" fontAlgn="base" hangingPunct="0">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3pPr>
      <a:lvl4pPr algn="l" defTabSz="913319" rtl="0" eaLnBrk="0" fontAlgn="base" hangingPunct="0">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4pPr>
      <a:lvl5pPr algn="l" defTabSz="913319" rtl="0" eaLnBrk="0" fontAlgn="base" hangingPunct="0">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5pPr>
      <a:lvl6pPr marL="448102" algn="l" defTabSz="913319" rtl="0" fontAlgn="base">
        <a:lnSpc>
          <a:spcPct val="90000"/>
        </a:lnSpc>
        <a:spcBef>
          <a:spcPct val="0"/>
        </a:spcBef>
        <a:spcAft>
          <a:spcPct val="0"/>
        </a:spcAft>
        <a:defRPr sz="4704">
          <a:solidFill>
            <a:schemeClr val="tx1"/>
          </a:solidFill>
          <a:latin typeface="Segoe UI Light" charset="0"/>
          <a:ea typeface="ＭＳ Ｐゴシック" charset="0"/>
        </a:defRPr>
      </a:lvl6pPr>
      <a:lvl7pPr marL="896203" algn="l" defTabSz="913319" rtl="0" fontAlgn="base">
        <a:lnSpc>
          <a:spcPct val="90000"/>
        </a:lnSpc>
        <a:spcBef>
          <a:spcPct val="0"/>
        </a:spcBef>
        <a:spcAft>
          <a:spcPct val="0"/>
        </a:spcAft>
        <a:defRPr sz="4704">
          <a:solidFill>
            <a:schemeClr val="tx1"/>
          </a:solidFill>
          <a:latin typeface="Segoe UI Light" charset="0"/>
          <a:ea typeface="ＭＳ Ｐゴシック" charset="0"/>
        </a:defRPr>
      </a:lvl7pPr>
      <a:lvl8pPr marL="1344305" algn="l" defTabSz="913319" rtl="0" fontAlgn="base">
        <a:lnSpc>
          <a:spcPct val="90000"/>
        </a:lnSpc>
        <a:spcBef>
          <a:spcPct val="0"/>
        </a:spcBef>
        <a:spcAft>
          <a:spcPct val="0"/>
        </a:spcAft>
        <a:defRPr sz="4704">
          <a:solidFill>
            <a:schemeClr val="tx1"/>
          </a:solidFill>
          <a:latin typeface="Segoe UI Light" charset="0"/>
          <a:ea typeface="ＭＳ Ｐゴシック" charset="0"/>
        </a:defRPr>
      </a:lvl8pPr>
      <a:lvl9pPr marL="1792407" algn="l" defTabSz="913319" rtl="0" fontAlgn="base">
        <a:lnSpc>
          <a:spcPct val="90000"/>
        </a:lnSpc>
        <a:spcBef>
          <a:spcPct val="0"/>
        </a:spcBef>
        <a:spcAft>
          <a:spcPct val="0"/>
        </a:spcAft>
        <a:defRPr sz="4704">
          <a:solidFill>
            <a:schemeClr val="tx1"/>
          </a:solidFill>
          <a:latin typeface="Segoe UI Light" charset="0"/>
          <a:ea typeface="ＭＳ Ｐゴシック" charset="0"/>
        </a:defRPr>
      </a:lvl9pPr>
    </p:titleStyle>
    <p:bodyStyle>
      <a:lvl1pPr marL="336076" indent="-336076" algn="l" defTabSz="913319" rtl="0" eaLnBrk="0" fontAlgn="base" hangingPunct="0">
        <a:lnSpc>
          <a:spcPct val="90000"/>
        </a:lnSpc>
        <a:spcBef>
          <a:spcPct val="20000"/>
        </a:spcBef>
        <a:spcAft>
          <a:spcPct val="0"/>
        </a:spcAft>
        <a:buSzPct val="90000"/>
        <a:buFont typeface="Arial" panose="020B0604020202020204" pitchFamily="34" charset="0"/>
        <a:buChar char="•"/>
        <a:defRPr sz="3920" kern="1200">
          <a:gradFill>
            <a:gsLst>
              <a:gs pos="1250">
                <a:schemeClr val="tx1"/>
              </a:gs>
              <a:gs pos="100000">
                <a:schemeClr val="tx1"/>
              </a:gs>
            </a:gsLst>
            <a:lin ang="5400000" scaled="0"/>
          </a:gradFill>
          <a:latin typeface="+mj-lt"/>
          <a:ea typeface="MS PGothic" panose="020B0600070205080204" pitchFamily="34" charset="-128"/>
          <a:cs typeface="ＭＳ Ｐゴシック" charset="0"/>
        </a:defRPr>
      </a:lvl1pPr>
      <a:lvl2pPr marL="572574" indent="-236498" algn="l" defTabSz="913319" rtl="0" eaLnBrk="0" fontAlgn="base" hangingPunct="0">
        <a:lnSpc>
          <a:spcPct val="90000"/>
        </a:lnSpc>
        <a:spcBef>
          <a:spcPct val="20000"/>
        </a:spcBef>
        <a:spcAft>
          <a:spcPct val="0"/>
        </a:spcAft>
        <a:buSzPct val="90000"/>
        <a:buFont typeface="Arial" panose="020B0604020202020204" pitchFamily="34" charset="0"/>
        <a:buChar char="•"/>
        <a:defRPr sz="2352" kern="1200">
          <a:gradFill>
            <a:gsLst>
              <a:gs pos="1250">
                <a:schemeClr val="tx1"/>
              </a:gs>
              <a:gs pos="100000">
                <a:schemeClr val="tx1"/>
              </a:gs>
            </a:gsLst>
            <a:lin ang="5400000" scaled="0"/>
          </a:gradFill>
          <a:latin typeface="+mn-lt"/>
          <a:ea typeface="MS PGothic" panose="020B0600070205080204" pitchFamily="34" charset="-128"/>
          <a:cs typeface="+mn-cs"/>
        </a:defRPr>
      </a:lvl2pPr>
      <a:lvl3pPr marL="784178" indent="-224051" algn="l" defTabSz="913319" rtl="0" eaLnBrk="0" fontAlgn="base" hangingPunct="0">
        <a:lnSpc>
          <a:spcPct val="90000"/>
        </a:lnSpc>
        <a:spcBef>
          <a:spcPct val="20000"/>
        </a:spcBef>
        <a:spcAft>
          <a:spcPct val="0"/>
        </a:spcAft>
        <a:buSzPct val="90000"/>
        <a:buFont typeface="Arial" panose="020B0604020202020204" pitchFamily="34" charset="0"/>
        <a:buChar char="•"/>
        <a:defRPr sz="1960" kern="1200">
          <a:gradFill>
            <a:gsLst>
              <a:gs pos="1250">
                <a:schemeClr val="tx1"/>
              </a:gs>
              <a:gs pos="100000">
                <a:schemeClr val="tx1"/>
              </a:gs>
            </a:gsLst>
            <a:lin ang="5400000" scaled="0"/>
          </a:gradFill>
          <a:latin typeface="+mn-lt"/>
          <a:ea typeface="MS PGothic" panose="020B0600070205080204" pitchFamily="34" charset="-128"/>
          <a:cs typeface="+mn-cs"/>
        </a:defRPr>
      </a:lvl3pPr>
      <a:lvl4pPr marL="1008229" indent="-224051" algn="l" defTabSz="913319"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4pPr>
      <a:lvl5pPr marL="1232280" indent="-224051" algn="l" defTabSz="913319"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bwMode="ltGray">
      <p:bgPr>
        <a:solidFill>
          <a:srgbClr val="21212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171" y="1189178"/>
            <a:ext cx="11650486"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
          <a:stretch>
            <a:fillRect/>
          </a:stretch>
        </p:blipFill>
        <p:spPr>
          <a:xfrm rot="5400000">
            <a:off x="9205457" y="2991147"/>
            <a:ext cx="6858623" cy="876329"/>
          </a:xfrm>
          <a:prstGeom prst="rect">
            <a:avLst/>
          </a:prstGeom>
        </p:spPr>
      </p:pic>
    </p:spTree>
    <p:extLst>
      <p:ext uri="{BB962C8B-B14F-4D97-AF65-F5344CB8AC3E}">
        <p14:creationId xmlns:p14="http://schemas.microsoft.com/office/powerpoint/2010/main" val="2641966839"/>
      </p:ext>
    </p:extLst>
  </p:cSld>
  <p:clrMap bg1="dk1" tx1="lt1" bg2="dk2" tx2="lt2" accent1="accent1" accent2="accent2" accent3="accent3" accent4="accent4" accent5="accent5" accent6="accent6" hlink="hlink" folHlink="folHlink"/>
  <p:sldLayoutIdLst>
    <p:sldLayoutId id="2147485572" r:id="rId1"/>
  </p:sldLayoutIdLst>
  <p:transition>
    <p:fade/>
  </p:transition>
  <p:txStyles>
    <p:titleStyle>
      <a:lvl1pPr algn="l" defTabSz="914180" rtl="0" eaLnBrk="1" latinLnBrk="0" hangingPunct="1">
        <a:lnSpc>
          <a:spcPct val="90000"/>
        </a:lnSpc>
        <a:spcBef>
          <a:spcPct val="0"/>
        </a:spcBef>
        <a:buNone/>
        <a:defRPr lang="en-US" sz="5881" b="0" kern="1200" cap="none" spc="-100" baseline="0" dirty="0" smtClean="0">
          <a:ln w="3175">
            <a:noFill/>
          </a:ln>
          <a:gradFill>
            <a:gsLst>
              <a:gs pos="1250">
                <a:schemeClr val="tx1"/>
              </a:gs>
              <a:gs pos="100000">
                <a:schemeClr val="tx1"/>
              </a:gs>
            </a:gsLst>
            <a:lin ang="5400000" scaled="0"/>
          </a:gradFill>
          <a:effectLst/>
          <a:latin typeface="DIN" pitchFamily="50" charset="0"/>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724" kern="1200" spc="0" baseline="0">
          <a:gradFill>
            <a:gsLst>
              <a:gs pos="1250">
                <a:schemeClr val="tx1"/>
              </a:gs>
              <a:gs pos="100000">
                <a:schemeClr val="tx1"/>
              </a:gs>
            </a:gsLst>
            <a:lin ang="5400000" scaled="0"/>
          </a:gradFill>
          <a:latin typeface="DIN" pitchFamily="50" charset="0"/>
          <a:ea typeface="+mn-ea"/>
          <a:cs typeface="Segoe UI Semilight" panose="020B0402040204020203" pitchFamily="34" charset="0"/>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DIN" pitchFamily="50" charset="0"/>
          <a:ea typeface="+mn-ea"/>
          <a:cs typeface="Segoe UI Semilight" panose="020B0402040204020203" pitchFamily="34" charset="0"/>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DIN" pitchFamily="50" charset="0"/>
          <a:ea typeface="+mn-ea"/>
          <a:cs typeface="Segoe UI Semilight" panose="020B0402040204020203" pitchFamily="34" charset="0"/>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DIN" pitchFamily="50" charset="0"/>
          <a:ea typeface="+mn-ea"/>
          <a:cs typeface="Segoe UI Semilight" panose="020B0402040204020203" pitchFamily="34" charset="0"/>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DIN" pitchFamily="50" charset="0"/>
          <a:ea typeface="+mn-ea"/>
          <a:cs typeface="Segoe UI Semilight" panose="020B0402040204020203" pitchFamily="34" charset="0"/>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Pr>
        <a:solidFill>
          <a:srgbClr val="F2F2F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171" y="1189178"/>
            <a:ext cx="11650486"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4492929"/>
      </p:ext>
    </p:extLst>
  </p:cSld>
  <p:clrMap bg1="lt1" tx1="dk1" bg2="lt2" tx2="dk2" accent1="accent1" accent2="accent2" accent3="accent3" accent4="accent4" accent5="accent5" accent6="accent6" hlink="hlink" folHlink="folHlink"/>
  <p:sldLayoutIdLst>
    <p:sldLayoutId id="2147485574" r:id="rId1"/>
  </p:sldLayoutIdLst>
  <p:transition>
    <p:fade/>
  </p:transition>
  <p:txStyles>
    <p:titleStyle>
      <a:lvl1pPr algn="l" defTabSz="91418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7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3"/>
            <a:ext cx="11652805"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172" y="1189179"/>
            <a:ext cx="11650486" cy="186820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5" cstate="email">
            <a:extLst>
              <a:ext uri="{28A0092B-C50C-407E-A947-70E740481C1C}">
                <a14:useLocalDpi xmlns:a14="http://schemas.microsoft.com/office/drawing/2010/main"/>
              </a:ext>
            </a:extLst>
          </a:blip>
          <a:stretch>
            <a:fillRect/>
          </a:stretch>
        </p:blipFill>
        <p:spPr>
          <a:xfrm rot="5400000">
            <a:off x="9205457" y="2991149"/>
            <a:ext cx="6858623" cy="876329"/>
          </a:xfrm>
          <a:prstGeom prst="rect">
            <a:avLst/>
          </a:prstGeom>
        </p:spPr>
      </p:pic>
    </p:spTree>
    <p:extLst>
      <p:ext uri="{BB962C8B-B14F-4D97-AF65-F5344CB8AC3E}">
        <p14:creationId xmlns:p14="http://schemas.microsoft.com/office/powerpoint/2010/main" val="1227126720"/>
      </p:ext>
    </p:extLst>
  </p:cSld>
  <p:clrMap bg1="dk1" tx1="lt1" bg2="dk2" tx2="lt2" accent1="accent1" accent2="accent2" accent3="accent3" accent4="accent4" accent5="accent5" accent6="accent6" hlink="hlink" folHlink="folHlink"/>
  <p:sldLayoutIdLst>
    <p:sldLayoutId id="2147485591" r:id="rId1"/>
    <p:sldLayoutId id="2147485592" r:id="rId2"/>
    <p:sldLayoutId id="2147485593" r:id="rId3"/>
    <p:sldLayoutId id="2147485594" r:id="rId4"/>
    <p:sldLayoutId id="2147485595" r:id="rId5"/>
    <p:sldLayoutId id="2147485596" r:id="rId6"/>
    <p:sldLayoutId id="2147485597" r:id="rId7"/>
    <p:sldLayoutId id="2147485598" r:id="rId8"/>
    <p:sldLayoutId id="2147485599" r:id="rId9"/>
    <p:sldLayoutId id="2147485600" r:id="rId10"/>
    <p:sldLayoutId id="2147485601" r:id="rId11"/>
    <p:sldLayoutId id="2147485602" r:id="rId12"/>
    <p:sldLayoutId id="2147485603" r:id="rId13"/>
    <p:sldLayoutId id="2147485604" r:id="rId14"/>
    <p:sldLayoutId id="2147485605" r:id="rId15"/>
    <p:sldLayoutId id="2147485606" r:id="rId16"/>
    <p:sldLayoutId id="2147485607" r:id="rId17"/>
    <p:sldLayoutId id="2147485608" r:id="rId18"/>
    <p:sldLayoutId id="2147485609" r:id="rId19"/>
    <p:sldLayoutId id="2147485610" r:id="rId20"/>
    <p:sldLayoutId id="2147485611" r:id="rId21"/>
    <p:sldLayoutId id="2147485612" r:id="rId22"/>
    <p:sldLayoutId id="2147485613" r:id="rId23"/>
  </p:sldLayoutIdLst>
  <p:transition>
    <p:fade/>
  </p:transition>
  <p:txStyles>
    <p:titleStyle>
      <a:lvl1pPr algn="l" defTabSz="913918" rtl="0" eaLnBrk="1" latinLnBrk="0" hangingPunct="1">
        <a:lnSpc>
          <a:spcPct val="90000"/>
        </a:lnSpc>
        <a:spcBef>
          <a:spcPct val="0"/>
        </a:spcBef>
        <a:buNone/>
        <a:defRPr lang="en-US" sz="3528"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979" marR="0" indent="-335979" algn="l" defTabSz="913918" rtl="0" eaLnBrk="1" fontAlgn="auto" latinLnBrk="0" hangingPunct="1">
        <a:lnSpc>
          <a:spcPct val="90000"/>
        </a:lnSpc>
        <a:spcBef>
          <a:spcPct val="20000"/>
        </a:spcBef>
        <a:spcAft>
          <a:spcPts val="0"/>
        </a:spcAft>
        <a:buClrTx/>
        <a:buSzPct val="90000"/>
        <a:buFont typeface="Arial" pitchFamily="34" charset="0"/>
        <a:buChar char="•"/>
        <a:tabLst/>
        <a:defRPr sz="3599" kern="1200" spc="0" baseline="0">
          <a:gradFill>
            <a:gsLst>
              <a:gs pos="1250">
                <a:schemeClr val="tx1"/>
              </a:gs>
              <a:gs pos="100000">
                <a:schemeClr val="tx1"/>
              </a:gs>
            </a:gsLst>
            <a:lin ang="5400000" scaled="0"/>
          </a:gradFill>
          <a:latin typeface="+mj-lt"/>
          <a:ea typeface="+mn-ea"/>
          <a:cs typeface="+mn-cs"/>
        </a:defRPr>
      </a:lvl1pPr>
      <a:lvl2pPr marL="572409" marR="0" indent="-236429" algn="l" defTabSz="913918" rtl="0" eaLnBrk="1" fontAlgn="auto" latinLnBrk="0" hangingPunct="1">
        <a:lnSpc>
          <a:spcPct val="90000"/>
        </a:lnSpc>
        <a:spcBef>
          <a:spcPct val="20000"/>
        </a:spcBef>
        <a:spcAft>
          <a:spcPts val="0"/>
        </a:spcAft>
        <a:buClrTx/>
        <a:buSzPct val="90000"/>
        <a:buFont typeface="Arial" pitchFamily="34" charset="0"/>
        <a:buChar char="•"/>
        <a:tabLst/>
        <a:defRPr sz="1999" kern="1200" spc="0" baseline="0">
          <a:gradFill>
            <a:gsLst>
              <a:gs pos="1250">
                <a:schemeClr val="tx1"/>
              </a:gs>
              <a:gs pos="100000">
                <a:schemeClr val="tx1"/>
              </a:gs>
            </a:gsLst>
            <a:lin ang="5400000" scaled="0"/>
          </a:gradFill>
          <a:latin typeface="+mn-lt"/>
          <a:ea typeface="+mn-ea"/>
          <a:cs typeface="+mn-cs"/>
        </a:defRPr>
      </a:lvl2pPr>
      <a:lvl3pPr marL="783952" marR="0" indent="-223987" algn="l" defTabSz="913918" rtl="0" eaLnBrk="1" fontAlgn="auto" latinLnBrk="0" hangingPunct="1">
        <a:lnSpc>
          <a:spcPct val="90000"/>
        </a:lnSpc>
        <a:spcBef>
          <a:spcPct val="20000"/>
        </a:spcBef>
        <a:spcAft>
          <a:spcPts val="0"/>
        </a:spcAft>
        <a:buClrTx/>
        <a:buSzPct val="90000"/>
        <a:buFont typeface="Arial" pitchFamily="34" charset="0"/>
        <a:buChar char="•"/>
        <a:tabLst/>
        <a:defRPr sz="1799" kern="1200" spc="0" baseline="0">
          <a:gradFill>
            <a:gsLst>
              <a:gs pos="1250">
                <a:schemeClr val="tx1"/>
              </a:gs>
              <a:gs pos="100000">
                <a:schemeClr val="tx1"/>
              </a:gs>
            </a:gsLst>
            <a:lin ang="5400000" scaled="0"/>
          </a:gradFill>
          <a:latin typeface="+mn-lt"/>
          <a:ea typeface="+mn-ea"/>
          <a:cs typeface="+mn-cs"/>
        </a:defRPr>
      </a:lvl3pPr>
      <a:lvl4pPr marL="1007939" marR="0" indent="-223987" algn="l" defTabSz="913918"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31924" marR="0" indent="-223987" algn="l" defTabSz="913918"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13272" indent="-228479" algn="l" defTabSz="913918"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232" indent="-228479" algn="l" defTabSz="913918"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191" indent="-228479" algn="l" defTabSz="913918"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149" indent="-228479" algn="l" defTabSz="913918"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3918" rtl="0" eaLnBrk="1" latinLnBrk="0" hangingPunct="1">
        <a:defRPr sz="1764" kern="1200">
          <a:solidFill>
            <a:schemeClr val="tx1"/>
          </a:solidFill>
          <a:latin typeface="+mn-lt"/>
          <a:ea typeface="+mn-ea"/>
          <a:cs typeface="+mn-cs"/>
        </a:defRPr>
      </a:lvl1pPr>
      <a:lvl2pPr marL="456958" algn="l" defTabSz="913918" rtl="0" eaLnBrk="1" latinLnBrk="0" hangingPunct="1">
        <a:defRPr sz="1764" kern="1200">
          <a:solidFill>
            <a:schemeClr val="tx1"/>
          </a:solidFill>
          <a:latin typeface="+mn-lt"/>
          <a:ea typeface="+mn-ea"/>
          <a:cs typeface="+mn-cs"/>
        </a:defRPr>
      </a:lvl2pPr>
      <a:lvl3pPr marL="913918" algn="l" defTabSz="913918" rtl="0" eaLnBrk="1" latinLnBrk="0" hangingPunct="1">
        <a:defRPr sz="1764" kern="1200">
          <a:solidFill>
            <a:schemeClr val="tx1"/>
          </a:solidFill>
          <a:latin typeface="+mn-lt"/>
          <a:ea typeface="+mn-ea"/>
          <a:cs typeface="+mn-cs"/>
        </a:defRPr>
      </a:lvl3pPr>
      <a:lvl4pPr marL="1370876" algn="l" defTabSz="913918" rtl="0" eaLnBrk="1" latinLnBrk="0" hangingPunct="1">
        <a:defRPr sz="1764" kern="1200">
          <a:solidFill>
            <a:schemeClr val="tx1"/>
          </a:solidFill>
          <a:latin typeface="+mn-lt"/>
          <a:ea typeface="+mn-ea"/>
          <a:cs typeface="+mn-cs"/>
        </a:defRPr>
      </a:lvl4pPr>
      <a:lvl5pPr marL="1827834" algn="l" defTabSz="913918" rtl="0" eaLnBrk="1" latinLnBrk="0" hangingPunct="1">
        <a:defRPr sz="1764" kern="1200">
          <a:solidFill>
            <a:schemeClr val="tx1"/>
          </a:solidFill>
          <a:latin typeface="+mn-lt"/>
          <a:ea typeface="+mn-ea"/>
          <a:cs typeface="+mn-cs"/>
        </a:defRPr>
      </a:lvl5pPr>
      <a:lvl6pPr marL="2284793" algn="l" defTabSz="913918" rtl="0" eaLnBrk="1" latinLnBrk="0" hangingPunct="1">
        <a:defRPr sz="1764" kern="1200">
          <a:solidFill>
            <a:schemeClr val="tx1"/>
          </a:solidFill>
          <a:latin typeface="+mn-lt"/>
          <a:ea typeface="+mn-ea"/>
          <a:cs typeface="+mn-cs"/>
        </a:defRPr>
      </a:lvl6pPr>
      <a:lvl7pPr marL="2741752" algn="l" defTabSz="913918" rtl="0" eaLnBrk="1" latinLnBrk="0" hangingPunct="1">
        <a:defRPr sz="1764" kern="1200">
          <a:solidFill>
            <a:schemeClr val="tx1"/>
          </a:solidFill>
          <a:latin typeface="+mn-lt"/>
          <a:ea typeface="+mn-ea"/>
          <a:cs typeface="+mn-cs"/>
        </a:defRPr>
      </a:lvl7pPr>
      <a:lvl8pPr marL="3198710" algn="l" defTabSz="913918" rtl="0" eaLnBrk="1" latinLnBrk="0" hangingPunct="1">
        <a:defRPr sz="1764" kern="1200">
          <a:solidFill>
            <a:schemeClr val="tx1"/>
          </a:solidFill>
          <a:latin typeface="+mn-lt"/>
          <a:ea typeface="+mn-ea"/>
          <a:cs typeface="+mn-cs"/>
        </a:defRPr>
      </a:lvl8pPr>
      <a:lvl9pPr marL="3655670" algn="l" defTabSz="913918"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79">
          <p15:clr>
            <a:srgbClr val="C35EA4"/>
          </p15:clr>
        </p15:guide>
        <p15:guide id="17" pos="7400">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805"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172" y="1189178"/>
            <a:ext cx="11650486"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5" cstate="email">
            <a:extLst>
              <a:ext uri="{28A0092B-C50C-407E-A947-70E740481C1C}">
                <a14:useLocalDpi xmlns:a14="http://schemas.microsoft.com/office/drawing/2010/main"/>
              </a:ext>
            </a:extLst>
          </a:blip>
          <a:stretch>
            <a:fillRect/>
          </a:stretch>
        </p:blipFill>
        <p:spPr>
          <a:xfrm rot="5400000">
            <a:off x="9205457" y="2991148"/>
            <a:ext cx="6858623" cy="876329"/>
          </a:xfrm>
          <a:prstGeom prst="rect">
            <a:avLst/>
          </a:prstGeom>
        </p:spPr>
      </p:pic>
    </p:spTree>
    <p:extLst>
      <p:ext uri="{BB962C8B-B14F-4D97-AF65-F5344CB8AC3E}">
        <p14:creationId xmlns:p14="http://schemas.microsoft.com/office/powerpoint/2010/main" val="3273667832"/>
      </p:ext>
    </p:extLst>
  </p:cSld>
  <p:clrMap bg1="dk1" tx1="lt1" bg2="dk2" tx2="lt2" accent1="accent1" accent2="accent2" accent3="accent3" accent4="accent4" accent5="accent5" accent6="accent6" hlink="hlink" folHlink="folHlink"/>
  <p:sldLayoutIdLst>
    <p:sldLayoutId id="2147485615" r:id="rId1"/>
    <p:sldLayoutId id="2147485616" r:id="rId2"/>
    <p:sldLayoutId id="2147485617" r:id="rId3"/>
    <p:sldLayoutId id="2147485618" r:id="rId4"/>
    <p:sldLayoutId id="2147485619" r:id="rId5"/>
    <p:sldLayoutId id="2147485620" r:id="rId6"/>
    <p:sldLayoutId id="2147485621" r:id="rId7"/>
    <p:sldLayoutId id="2147485622" r:id="rId8"/>
    <p:sldLayoutId id="2147485623" r:id="rId9"/>
    <p:sldLayoutId id="2147485624" r:id="rId10"/>
    <p:sldLayoutId id="2147485625" r:id="rId11"/>
    <p:sldLayoutId id="2147485626" r:id="rId12"/>
    <p:sldLayoutId id="2147485627" r:id="rId13"/>
    <p:sldLayoutId id="2147485628" r:id="rId14"/>
    <p:sldLayoutId id="2147485629" r:id="rId15"/>
    <p:sldLayoutId id="2147485630" r:id="rId16"/>
    <p:sldLayoutId id="2147485631" r:id="rId17"/>
    <p:sldLayoutId id="2147485632" r:id="rId18"/>
    <p:sldLayoutId id="2147485633" r:id="rId19"/>
    <p:sldLayoutId id="2147485634" r:id="rId20"/>
    <p:sldLayoutId id="2147485635" r:id="rId21"/>
    <p:sldLayoutId id="2147485636" r:id="rId22"/>
    <p:sldLayoutId id="2147485637" r:id="rId23"/>
  </p:sldLayoutIdLst>
  <p:transition>
    <p:fade/>
  </p:transition>
  <p:txStyles>
    <p:titleStyle>
      <a:lvl1pPr algn="l" defTabSz="914005" rtl="0" eaLnBrk="1" latinLnBrk="0" hangingPunct="1">
        <a:lnSpc>
          <a:spcPct val="90000"/>
        </a:lnSpc>
        <a:spcBef>
          <a:spcPct val="0"/>
        </a:spcBef>
        <a:buNone/>
        <a:defRPr lang="en-US" sz="3528"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2" marR="0" indent="-336012" algn="l" defTabSz="914005"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65" marR="0" indent="-236452" algn="l" defTabSz="914005"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027" marR="0" indent="-224009" algn="l" defTabSz="914005"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036" marR="0" indent="-224009" algn="l" defTabSz="914005"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043" marR="0" indent="-224009" algn="l" defTabSz="914005"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513" indent="-228501" algn="l" defTabSz="914005"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516" indent="-228501" algn="l" defTabSz="914005"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519" indent="-228501" algn="l" defTabSz="914005"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522" indent="-228501" algn="l" defTabSz="914005"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05" rtl="0" eaLnBrk="1" latinLnBrk="0" hangingPunct="1">
        <a:defRPr sz="1764" kern="1200">
          <a:solidFill>
            <a:schemeClr val="tx1"/>
          </a:solidFill>
          <a:latin typeface="+mn-lt"/>
          <a:ea typeface="+mn-ea"/>
          <a:cs typeface="+mn-cs"/>
        </a:defRPr>
      </a:lvl1pPr>
      <a:lvl2pPr marL="457002" algn="l" defTabSz="914005" rtl="0" eaLnBrk="1" latinLnBrk="0" hangingPunct="1">
        <a:defRPr sz="1764" kern="1200">
          <a:solidFill>
            <a:schemeClr val="tx1"/>
          </a:solidFill>
          <a:latin typeface="+mn-lt"/>
          <a:ea typeface="+mn-ea"/>
          <a:cs typeface="+mn-cs"/>
        </a:defRPr>
      </a:lvl2pPr>
      <a:lvl3pPr marL="914005" algn="l" defTabSz="914005" rtl="0" eaLnBrk="1" latinLnBrk="0" hangingPunct="1">
        <a:defRPr sz="1764" kern="1200">
          <a:solidFill>
            <a:schemeClr val="tx1"/>
          </a:solidFill>
          <a:latin typeface="+mn-lt"/>
          <a:ea typeface="+mn-ea"/>
          <a:cs typeface="+mn-cs"/>
        </a:defRPr>
      </a:lvl3pPr>
      <a:lvl4pPr marL="1371007" algn="l" defTabSz="914005" rtl="0" eaLnBrk="1" latinLnBrk="0" hangingPunct="1">
        <a:defRPr sz="1764" kern="1200">
          <a:solidFill>
            <a:schemeClr val="tx1"/>
          </a:solidFill>
          <a:latin typeface="+mn-lt"/>
          <a:ea typeface="+mn-ea"/>
          <a:cs typeface="+mn-cs"/>
        </a:defRPr>
      </a:lvl4pPr>
      <a:lvl5pPr marL="1828010" algn="l" defTabSz="914005" rtl="0" eaLnBrk="1" latinLnBrk="0" hangingPunct="1">
        <a:defRPr sz="1764" kern="1200">
          <a:solidFill>
            <a:schemeClr val="tx1"/>
          </a:solidFill>
          <a:latin typeface="+mn-lt"/>
          <a:ea typeface="+mn-ea"/>
          <a:cs typeface="+mn-cs"/>
        </a:defRPr>
      </a:lvl5pPr>
      <a:lvl6pPr marL="2285013" algn="l" defTabSz="914005" rtl="0" eaLnBrk="1" latinLnBrk="0" hangingPunct="1">
        <a:defRPr sz="1764" kern="1200">
          <a:solidFill>
            <a:schemeClr val="tx1"/>
          </a:solidFill>
          <a:latin typeface="+mn-lt"/>
          <a:ea typeface="+mn-ea"/>
          <a:cs typeface="+mn-cs"/>
        </a:defRPr>
      </a:lvl6pPr>
      <a:lvl7pPr marL="2742015" algn="l" defTabSz="914005" rtl="0" eaLnBrk="1" latinLnBrk="0" hangingPunct="1">
        <a:defRPr sz="1764" kern="1200">
          <a:solidFill>
            <a:schemeClr val="tx1"/>
          </a:solidFill>
          <a:latin typeface="+mn-lt"/>
          <a:ea typeface="+mn-ea"/>
          <a:cs typeface="+mn-cs"/>
        </a:defRPr>
      </a:lvl7pPr>
      <a:lvl8pPr marL="3199017" algn="l" defTabSz="914005" rtl="0" eaLnBrk="1" latinLnBrk="0" hangingPunct="1">
        <a:defRPr sz="1764" kern="1200">
          <a:solidFill>
            <a:schemeClr val="tx1"/>
          </a:solidFill>
          <a:latin typeface="+mn-lt"/>
          <a:ea typeface="+mn-ea"/>
          <a:cs typeface="+mn-cs"/>
        </a:defRPr>
      </a:lvl8pPr>
      <a:lvl9pPr marL="3656021" algn="l" defTabSz="914005"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805"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172" y="1189179"/>
            <a:ext cx="11650486" cy="186820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5" cstate="email">
            <a:extLst>
              <a:ext uri="{28A0092B-C50C-407E-A947-70E740481C1C}">
                <a14:useLocalDpi xmlns:a14="http://schemas.microsoft.com/office/drawing/2010/main"/>
              </a:ext>
            </a:extLst>
          </a:blip>
          <a:stretch>
            <a:fillRect/>
          </a:stretch>
        </p:blipFill>
        <p:spPr>
          <a:xfrm rot="5400000">
            <a:off x="9205457" y="2991148"/>
            <a:ext cx="6858623" cy="876329"/>
          </a:xfrm>
          <a:prstGeom prst="rect">
            <a:avLst/>
          </a:prstGeom>
        </p:spPr>
      </p:pic>
    </p:spTree>
    <p:extLst>
      <p:ext uri="{BB962C8B-B14F-4D97-AF65-F5344CB8AC3E}">
        <p14:creationId xmlns:p14="http://schemas.microsoft.com/office/powerpoint/2010/main" val="2573034433"/>
      </p:ext>
    </p:extLst>
  </p:cSld>
  <p:clrMap bg1="dk1" tx1="lt1" bg2="dk2" tx2="lt2" accent1="accent1" accent2="accent2" accent3="accent3" accent4="accent4" accent5="accent5" accent6="accent6" hlink="hlink" folHlink="folHlink"/>
  <p:sldLayoutIdLst>
    <p:sldLayoutId id="2147485639" r:id="rId1"/>
    <p:sldLayoutId id="2147485640" r:id="rId2"/>
    <p:sldLayoutId id="2147485641" r:id="rId3"/>
    <p:sldLayoutId id="2147485642" r:id="rId4"/>
    <p:sldLayoutId id="2147485643" r:id="rId5"/>
    <p:sldLayoutId id="2147485644" r:id="rId6"/>
    <p:sldLayoutId id="2147485645" r:id="rId7"/>
    <p:sldLayoutId id="2147485646" r:id="rId8"/>
    <p:sldLayoutId id="2147485647" r:id="rId9"/>
    <p:sldLayoutId id="2147485648" r:id="rId10"/>
    <p:sldLayoutId id="2147485649" r:id="rId11"/>
    <p:sldLayoutId id="2147485650" r:id="rId12"/>
    <p:sldLayoutId id="2147485651" r:id="rId13"/>
    <p:sldLayoutId id="2147485652" r:id="rId14"/>
    <p:sldLayoutId id="2147485653" r:id="rId15"/>
    <p:sldLayoutId id="2147485654" r:id="rId16"/>
    <p:sldLayoutId id="2147485655" r:id="rId17"/>
    <p:sldLayoutId id="2147485656" r:id="rId18"/>
    <p:sldLayoutId id="2147485657" r:id="rId19"/>
    <p:sldLayoutId id="2147485658" r:id="rId20"/>
    <p:sldLayoutId id="2147485659" r:id="rId21"/>
    <p:sldLayoutId id="2147485660" r:id="rId22"/>
    <p:sldLayoutId id="2147485661" r:id="rId23"/>
  </p:sldLayoutIdLst>
  <p:transition>
    <p:fade/>
  </p:transition>
  <p:txStyles>
    <p:titleStyle>
      <a:lvl1pPr algn="l" defTabSz="914005" rtl="0" eaLnBrk="1" latinLnBrk="0" hangingPunct="1">
        <a:lnSpc>
          <a:spcPct val="90000"/>
        </a:lnSpc>
        <a:spcBef>
          <a:spcPct val="0"/>
        </a:spcBef>
        <a:buNone/>
        <a:defRPr lang="en-US" sz="3528"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2" marR="0" indent="-336012" algn="l" defTabSz="914005" rtl="0" eaLnBrk="1" fontAlgn="auto" latinLnBrk="0" hangingPunct="1">
        <a:lnSpc>
          <a:spcPct val="90000"/>
        </a:lnSpc>
        <a:spcBef>
          <a:spcPct val="20000"/>
        </a:spcBef>
        <a:spcAft>
          <a:spcPts val="0"/>
        </a:spcAft>
        <a:buClrTx/>
        <a:buSzPct val="90000"/>
        <a:buFont typeface="Arial" pitchFamily="34" charset="0"/>
        <a:buChar char="•"/>
        <a:tabLst/>
        <a:defRPr sz="3599" kern="1200" spc="0" baseline="0">
          <a:gradFill>
            <a:gsLst>
              <a:gs pos="1250">
                <a:schemeClr val="tx1"/>
              </a:gs>
              <a:gs pos="100000">
                <a:schemeClr val="tx1"/>
              </a:gs>
            </a:gsLst>
            <a:lin ang="5400000" scaled="0"/>
          </a:gradFill>
          <a:latin typeface="+mj-lt"/>
          <a:ea typeface="+mn-ea"/>
          <a:cs typeface="+mn-cs"/>
        </a:defRPr>
      </a:lvl1pPr>
      <a:lvl2pPr marL="572465" marR="0" indent="-236452" algn="l" defTabSz="914005" rtl="0" eaLnBrk="1" fontAlgn="auto" latinLnBrk="0" hangingPunct="1">
        <a:lnSpc>
          <a:spcPct val="90000"/>
        </a:lnSpc>
        <a:spcBef>
          <a:spcPct val="20000"/>
        </a:spcBef>
        <a:spcAft>
          <a:spcPts val="0"/>
        </a:spcAft>
        <a:buClrTx/>
        <a:buSzPct val="90000"/>
        <a:buFont typeface="Arial" pitchFamily="34" charset="0"/>
        <a:buChar char="•"/>
        <a:tabLst/>
        <a:defRPr sz="1999" kern="1200" spc="0" baseline="0">
          <a:gradFill>
            <a:gsLst>
              <a:gs pos="1250">
                <a:schemeClr val="tx1"/>
              </a:gs>
              <a:gs pos="100000">
                <a:schemeClr val="tx1"/>
              </a:gs>
            </a:gsLst>
            <a:lin ang="5400000" scaled="0"/>
          </a:gradFill>
          <a:latin typeface="+mn-lt"/>
          <a:ea typeface="+mn-ea"/>
          <a:cs typeface="+mn-cs"/>
        </a:defRPr>
      </a:lvl2pPr>
      <a:lvl3pPr marL="784027" marR="0" indent="-224009" algn="l" defTabSz="914005" rtl="0" eaLnBrk="1" fontAlgn="auto" latinLnBrk="0" hangingPunct="1">
        <a:lnSpc>
          <a:spcPct val="90000"/>
        </a:lnSpc>
        <a:spcBef>
          <a:spcPct val="20000"/>
        </a:spcBef>
        <a:spcAft>
          <a:spcPts val="0"/>
        </a:spcAft>
        <a:buClrTx/>
        <a:buSzPct val="90000"/>
        <a:buFont typeface="Arial" pitchFamily="34" charset="0"/>
        <a:buChar char="•"/>
        <a:tabLst/>
        <a:defRPr sz="1799" kern="1200" spc="0" baseline="0">
          <a:gradFill>
            <a:gsLst>
              <a:gs pos="1250">
                <a:schemeClr val="tx1"/>
              </a:gs>
              <a:gs pos="100000">
                <a:schemeClr val="tx1"/>
              </a:gs>
            </a:gsLst>
            <a:lin ang="5400000" scaled="0"/>
          </a:gradFill>
          <a:latin typeface="+mn-lt"/>
          <a:ea typeface="+mn-ea"/>
          <a:cs typeface="+mn-cs"/>
        </a:defRPr>
      </a:lvl3pPr>
      <a:lvl4pPr marL="1008036" marR="0" indent="-224009" algn="l" defTabSz="914005"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32043" marR="0" indent="-224009" algn="l" defTabSz="914005"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13513" indent="-228501" algn="l" defTabSz="914005"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516" indent="-228501" algn="l" defTabSz="914005"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519" indent="-228501" algn="l" defTabSz="914005"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522" indent="-228501" algn="l" defTabSz="914005"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05" rtl="0" eaLnBrk="1" latinLnBrk="0" hangingPunct="1">
        <a:defRPr sz="1764" kern="1200">
          <a:solidFill>
            <a:schemeClr val="tx1"/>
          </a:solidFill>
          <a:latin typeface="+mn-lt"/>
          <a:ea typeface="+mn-ea"/>
          <a:cs typeface="+mn-cs"/>
        </a:defRPr>
      </a:lvl1pPr>
      <a:lvl2pPr marL="457002" algn="l" defTabSz="914005" rtl="0" eaLnBrk="1" latinLnBrk="0" hangingPunct="1">
        <a:defRPr sz="1764" kern="1200">
          <a:solidFill>
            <a:schemeClr val="tx1"/>
          </a:solidFill>
          <a:latin typeface="+mn-lt"/>
          <a:ea typeface="+mn-ea"/>
          <a:cs typeface="+mn-cs"/>
        </a:defRPr>
      </a:lvl2pPr>
      <a:lvl3pPr marL="914005" algn="l" defTabSz="914005" rtl="0" eaLnBrk="1" latinLnBrk="0" hangingPunct="1">
        <a:defRPr sz="1764" kern="1200">
          <a:solidFill>
            <a:schemeClr val="tx1"/>
          </a:solidFill>
          <a:latin typeface="+mn-lt"/>
          <a:ea typeface="+mn-ea"/>
          <a:cs typeface="+mn-cs"/>
        </a:defRPr>
      </a:lvl3pPr>
      <a:lvl4pPr marL="1371007" algn="l" defTabSz="914005" rtl="0" eaLnBrk="1" latinLnBrk="0" hangingPunct="1">
        <a:defRPr sz="1764" kern="1200">
          <a:solidFill>
            <a:schemeClr val="tx1"/>
          </a:solidFill>
          <a:latin typeface="+mn-lt"/>
          <a:ea typeface="+mn-ea"/>
          <a:cs typeface="+mn-cs"/>
        </a:defRPr>
      </a:lvl4pPr>
      <a:lvl5pPr marL="1828010" algn="l" defTabSz="914005" rtl="0" eaLnBrk="1" latinLnBrk="0" hangingPunct="1">
        <a:defRPr sz="1764" kern="1200">
          <a:solidFill>
            <a:schemeClr val="tx1"/>
          </a:solidFill>
          <a:latin typeface="+mn-lt"/>
          <a:ea typeface="+mn-ea"/>
          <a:cs typeface="+mn-cs"/>
        </a:defRPr>
      </a:lvl5pPr>
      <a:lvl6pPr marL="2285013" algn="l" defTabSz="914005" rtl="0" eaLnBrk="1" latinLnBrk="0" hangingPunct="1">
        <a:defRPr sz="1764" kern="1200">
          <a:solidFill>
            <a:schemeClr val="tx1"/>
          </a:solidFill>
          <a:latin typeface="+mn-lt"/>
          <a:ea typeface="+mn-ea"/>
          <a:cs typeface="+mn-cs"/>
        </a:defRPr>
      </a:lvl6pPr>
      <a:lvl7pPr marL="2742015" algn="l" defTabSz="914005" rtl="0" eaLnBrk="1" latinLnBrk="0" hangingPunct="1">
        <a:defRPr sz="1764" kern="1200">
          <a:solidFill>
            <a:schemeClr val="tx1"/>
          </a:solidFill>
          <a:latin typeface="+mn-lt"/>
          <a:ea typeface="+mn-ea"/>
          <a:cs typeface="+mn-cs"/>
        </a:defRPr>
      </a:lvl7pPr>
      <a:lvl8pPr marL="3199017" algn="l" defTabSz="914005" rtl="0" eaLnBrk="1" latinLnBrk="0" hangingPunct="1">
        <a:defRPr sz="1764" kern="1200">
          <a:solidFill>
            <a:schemeClr val="tx1"/>
          </a:solidFill>
          <a:latin typeface="+mn-lt"/>
          <a:ea typeface="+mn-ea"/>
          <a:cs typeface="+mn-cs"/>
        </a:defRPr>
      </a:lvl8pPr>
      <a:lvl9pPr marL="3656021" algn="l" defTabSz="914005"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79">
          <p15:clr>
            <a:srgbClr val="C35EA4"/>
          </p15:clr>
        </p15:guide>
        <p15:guide id="17" pos="7400">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userDrawn="1"/>
        </p:nvPicPr>
        <p:blipFill>
          <a:blip r:embed="rId35">
            <a:extLst>
              <a:ext uri="{28A0092B-C50C-407E-A947-70E740481C1C}">
                <a14:useLocalDpi xmlns:a14="http://schemas.microsoft.com/office/drawing/2010/main" val="0"/>
              </a:ext>
            </a:extLst>
          </a:blip>
          <a:stretch>
            <a:fillRect/>
          </a:stretch>
        </p:blipFill>
        <p:spPr>
          <a:xfrm rot="5400000">
            <a:off x="10321813" y="1906465"/>
            <a:ext cx="4214127" cy="401200"/>
          </a:xfrm>
          <a:prstGeom prst="rect">
            <a:avLst/>
          </a:prstGeom>
        </p:spPr>
      </p:pic>
      <p:pic>
        <p:nvPicPr>
          <p:cNvPr id="8" name="Logo" descr="MS Logo White.png"/>
          <p:cNvPicPr>
            <a:picLocks noChangeAspect="1"/>
          </p:cNvPicPr>
          <p:nvPr userDrawn="1"/>
        </p:nvPicPr>
        <p:blipFill>
          <a:blip r:embed="rId36">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649572114"/>
      </p:ext>
    </p:extLst>
  </p:cSld>
  <p:clrMap bg1="lt1" tx1="dk1" bg2="lt2" tx2="dk2" accent1="accent1" accent2="accent2" accent3="accent3" accent4="accent4" accent5="accent5" accent6="accent6" hlink="hlink" folHlink="folHlink"/>
  <p:sldLayoutIdLst>
    <p:sldLayoutId id="2147485663" r:id="rId1"/>
    <p:sldLayoutId id="2147485664" r:id="rId2"/>
    <p:sldLayoutId id="2147485665" r:id="rId3"/>
    <p:sldLayoutId id="2147485666" r:id="rId4"/>
    <p:sldLayoutId id="2147485667" r:id="rId5"/>
    <p:sldLayoutId id="2147485668" r:id="rId6"/>
    <p:sldLayoutId id="2147485669" r:id="rId7"/>
    <p:sldLayoutId id="2147485670" r:id="rId8"/>
    <p:sldLayoutId id="2147485671" r:id="rId9"/>
    <p:sldLayoutId id="2147485672" r:id="rId10"/>
    <p:sldLayoutId id="2147485673" r:id="rId11"/>
    <p:sldLayoutId id="2147485674" r:id="rId12"/>
    <p:sldLayoutId id="2147485675" r:id="rId13"/>
    <p:sldLayoutId id="2147485676" r:id="rId14"/>
    <p:sldLayoutId id="2147485677" r:id="rId15"/>
    <p:sldLayoutId id="2147485678" r:id="rId16"/>
    <p:sldLayoutId id="2147485679" r:id="rId17"/>
    <p:sldLayoutId id="2147485680" r:id="rId18"/>
    <p:sldLayoutId id="2147485681" r:id="rId19"/>
    <p:sldLayoutId id="2147485682" r:id="rId20"/>
    <p:sldLayoutId id="2147485683" r:id="rId21"/>
    <p:sldLayoutId id="2147485684" r:id="rId22"/>
    <p:sldLayoutId id="2147485685" r:id="rId23"/>
    <p:sldLayoutId id="2147485686" r:id="rId24"/>
    <p:sldLayoutId id="2147485687" r:id="rId25"/>
    <p:sldLayoutId id="2147485688" r:id="rId26"/>
    <p:sldLayoutId id="2147485689" r:id="rId27"/>
    <p:sldLayoutId id="2147485690" r:id="rId28"/>
    <p:sldLayoutId id="2147485691" r:id="rId29"/>
    <p:sldLayoutId id="2147485692" r:id="rId30"/>
    <p:sldLayoutId id="2147485693" r:id="rId31"/>
    <p:sldLayoutId id="2147485694" r:id="rId32"/>
    <p:sldLayoutId id="2147485695" r:id="rId33"/>
  </p:sldLayoutIdLst>
  <p:transition>
    <p:fade/>
  </p:transition>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171" y="1189178"/>
            <a:ext cx="11650486"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8"/>
          <a:stretch>
            <a:fillRect/>
          </a:stretch>
        </p:blipFill>
        <p:spPr>
          <a:xfrm rot="5400000">
            <a:off x="9205457" y="2991147"/>
            <a:ext cx="6858623" cy="876329"/>
          </a:xfrm>
          <a:prstGeom prst="rect">
            <a:avLst/>
          </a:prstGeom>
        </p:spPr>
      </p:pic>
    </p:spTree>
    <p:extLst>
      <p:ext uri="{BB962C8B-B14F-4D97-AF65-F5344CB8AC3E}">
        <p14:creationId xmlns:p14="http://schemas.microsoft.com/office/powerpoint/2010/main" val="1777144081"/>
      </p:ext>
    </p:extLst>
  </p:cSld>
  <p:clrMap bg1="dk1" tx1="lt1" bg2="dk2" tx2="lt2" accent1="accent1" accent2="accent2" accent3="accent3" accent4="accent4" accent5="accent5" accent6="accent6" hlink="hlink" folHlink="folHlink"/>
  <p:sldLayoutIdLst>
    <p:sldLayoutId id="2147485019" r:id="rId1"/>
    <p:sldLayoutId id="2147485020" r:id="rId2"/>
    <p:sldLayoutId id="2147485021" r:id="rId3"/>
    <p:sldLayoutId id="2147485022" r:id="rId4"/>
    <p:sldLayoutId id="2147485023" r:id="rId5"/>
    <p:sldLayoutId id="2147485024" r:id="rId6"/>
    <p:sldLayoutId id="2147485025" r:id="rId7"/>
    <p:sldLayoutId id="2147485026" r:id="rId8"/>
    <p:sldLayoutId id="2147485027" r:id="rId9"/>
    <p:sldLayoutId id="2147485028" r:id="rId10"/>
    <p:sldLayoutId id="2147485029" r:id="rId11"/>
    <p:sldLayoutId id="2147485030" r:id="rId12"/>
    <p:sldLayoutId id="2147485031" r:id="rId13"/>
    <p:sldLayoutId id="2147485032" r:id="rId14"/>
    <p:sldLayoutId id="2147485033" r:id="rId15"/>
    <p:sldLayoutId id="2147485034" r:id="rId16"/>
    <p:sldLayoutId id="2147485035" r:id="rId17"/>
    <p:sldLayoutId id="2147485036" r:id="rId18"/>
    <p:sldLayoutId id="2147485037" r:id="rId19"/>
    <p:sldLayoutId id="2147485038" r:id="rId20"/>
    <p:sldLayoutId id="2147485039" r:id="rId21"/>
    <p:sldLayoutId id="2147485040" r:id="rId22"/>
    <p:sldLayoutId id="2147485041" r:id="rId23"/>
    <p:sldLayoutId id="2147485042" r:id="rId24"/>
    <p:sldLayoutId id="2147485043" r:id="rId25"/>
    <p:sldLayoutId id="2147485044" r:id="rId26"/>
    <p:sldLayoutId id="2147485045" r:id="rId27"/>
    <p:sldLayoutId id="2147485046" r:id="rId28"/>
    <p:sldLayoutId id="2147485047" r:id="rId29"/>
    <p:sldLayoutId id="2147485048" r:id="rId30"/>
    <p:sldLayoutId id="2147485049" r:id="rId31"/>
    <p:sldLayoutId id="2147485050" r:id="rId32"/>
    <p:sldLayoutId id="2147485051" r:id="rId33"/>
    <p:sldLayoutId id="2147485052" r:id="rId34"/>
    <p:sldLayoutId id="2147485053" r:id="rId35"/>
    <p:sldLayoutId id="2147485054" r:id="rId36"/>
  </p:sldLayoutIdLst>
  <p:transition>
    <p:fade/>
  </p:transition>
  <p:txStyles>
    <p:titleStyle>
      <a:lvl1pPr algn="l" defTabSz="91418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805"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171" y="1189178"/>
            <a:ext cx="11650486"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p:nvGrpSpPr>
        <p:grpSpPr>
          <a:xfrm>
            <a:off x="12367685" y="-217"/>
            <a:ext cx="935233" cy="5654618"/>
            <a:chOff x="12618967" y="-221"/>
            <a:chExt cx="954235" cy="5767186"/>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28"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3828"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828" fontAlgn="base">
                  <a:lnSpc>
                    <a:spcPct val="100000"/>
                  </a:lnSpc>
                  <a:spcBef>
                    <a:spcPct val="0"/>
                  </a:spcBef>
                  <a:spcAft>
                    <a:spcPct val="0"/>
                  </a:spcAft>
                </a:pPr>
                <a:r>
                  <a:rPr lang="en-US" sz="490" b="1" kern="1200" baseline="0" dirty="0">
                    <a:gradFill>
                      <a:gsLst>
                        <a:gs pos="7965">
                          <a:srgbClr val="000000"/>
                        </a:gs>
                        <a:gs pos="28319">
                          <a:srgbClr val="000000"/>
                        </a:gs>
                      </a:gsLst>
                      <a:lin ang="5400000" scaled="0"/>
                    </a:gradFill>
                    <a:latin typeface="+mn-lt"/>
                    <a:ea typeface="Segoe UI" pitchFamily="34" charset="0"/>
                    <a:cs typeface="Segoe UI" pitchFamily="34" charset="0"/>
                  </a:rPr>
                  <a:t>Cyan</a:t>
                </a:r>
              </a:p>
              <a:p>
                <a:pPr algn="l" defTabSz="913828" fontAlgn="base">
                  <a:lnSpc>
                    <a:spcPct val="100000"/>
                  </a:lnSpc>
                  <a:spcBef>
                    <a:spcPct val="0"/>
                  </a:spcBef>
                  <a:spcAft>
                    <a:spcPct val="0"/>
                  </a:spcAft>
                </a:pPr>
                <a:r>
                  <a:rPr lang="en-US" sz="490" dirty="0">
                    <a:gradFill>
                      <a:gsLst>
                        <a:gs pos="7965">
                          <a:srgbClr val="000000"/>
                        </a:gs>
                        <a:gs pos="28319">
                          <a:srgbClr val="000000"/>
                        </a:gs>
                      </a:gsLst>
                      <a:lin ang="5400000" scaled="0"/>
                    </a:gradFill>
                    <a:ea typeface="Segoe UI" pitchFamily="34" charset="0"/>
                    <a:cs typeface="Segoe UI" pitchFamily="34" charset="0"/>
                  </a:rPr>
                  <a:t>R:</a:t>
                </a:r>
                <a:r>
                  <a:rPr lang="en-US" sz="490" baseline="0" dirty="0">
                    <a:gradFill>
                      <a:gsLst>
                        <a:gs pos="7965">
                          <a:srgbClr val="000000"/>
                        </a:gs>
                        <a:gs pos="28319">
                          <a:srgbClr val="000000"/>
                        </a:gs>
                      </a:gsLst>
                      <a:lin ang="5400000" scaled="0"/>
                    </a:gradFill>
                    <a:ea typeface="Segoe UI" pitchFamily="34" charset="0"/>
                    <a:cs typeface="Segoe UI" pitchFamily="34" charset="0"/>
                  </a:rPr>
                  <a:t>0 G:188 B:242</a:t>
                </a:r>
                <a:endParaRPr lang="en-US" sz="490" dirty="0">
                  <a:gradFill>
                    <a:gsLst>
                      <a:gs pos="7965">
                        <a:srgbClr val="000000"/>
                      </a:gs>
                      <a:gs pos="28319">
                        <a:srgbClr val="000000"/>
                      </a:gs>
                    </a:gsLst>
                    <a:lin ang="5400000" scaled="0"/>
                  </a:gradFill>
                  <a:ea typeface="Segoe UI" pitchFamily="34" charset="0"/>
                  <a:cs typeface="Segoe UI" pitchFamily="34" charset="0"/>
                </a:endParaRPr>
              </a:p>
            </p:txBody>
          </p:sp>
          <p:sp>
            <p:nvSpPr>
              <p:cNvPr id="41" name="Rectangle 40"/>
              <p:cNvSpPr/>
              <p:nvPr userDrawn="1"/>
            </p:nvSpPr>
            <p:spPr bwMode="auto">
              <a:xfrm>
                <a:off x="158673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828" fontAlgn="base">
                  <a:lnSpc>
                    <a:spcPct val="100000"/>
                  </a:lnSpc>
                  <a:spcBef>
                    <a:spcPct val="0"/>
                  </a:spcBef>
                  <a:spcAft>
                    <a:spcPct val="0"/>
                  </a:spcAft>
                </a:pPr>
                <a:r>
                  <a:rPr lang="en-US" sz="490" b="1" kern="1200" baseline="0" dirty="0">
                    <a:gradFill>
                      <a:gsLst>
                        <a:gs pos="92035">
                          <a:srgbClr val="505050"/>
                        </a:gs>
                        <a:gs pos="27000">
                          <a:srgbClr val="505050"/>
                        </a:gs>
                      </a:gsLst>
                      <a:lin ang="5400000" scaled="0"/>
                    </a:gradFill>
                    <a:latin typeface="+mn-lt"/>
                    <a:ea typeface="Segoe UI" pitchFamily="34" charset="0"/>
                    <a:cs typeface="Segoe UI" pitchFamily="34" charset="0"/>
                  </a:rPr>
                  <a:t>Light Gray</a:t>
                </a:r>
              </a:p>
              <a:p>
                <a:pPr algn="l" defTabSz="913828" fontAlgn="base">
                  <a:lnSpc>
                    <a:spcPct val="100000"/>
                  </a:lnSpc>
                  <a:spcBef>
                    <a:spcPct val="0"/>
                  </a:spcBef>
                  <a:spcAft>
                    <a:spcPct val="0"/>
                  </a:spcAft>
                </a:pPr>
                <a:r>
                  <a:rPr lang="en-US" sz="490" dirty="0">
                    <a:gradFill>
                      <a:gsLst>
                        <a:gs pos="92035">
                          <a:srgbClr val="505050"/>
                        </a:gs>
                        <a:gs pos="27000">
                          <a:srgbClr val="505050"/>
                        </a:gs>
                      </a:gsLst>
                      <a:lin ang="5400000" scaled="0"/>
                    </a:gradFill>
                    <a:ea typeface="Segoe UI" pitchFamily="34" charset="0"/>
                    <a:cs typeface="Segoe UI" pitchFamily="34" charset="0"/>
                  </a:rPr>
                  <a:t>R:</a:t>
                </a:r>
                <a:r>
                  <a:rPr lang="en-US" sz="490" baseline="0" dirty="0">
                    <a:gradFill>
                      <a:gsLst>
                        <a:gs pos="92035">
                          <a:srgbClr val="505050"/>
                        </a:gs>
                        <a:gs pos="27000">
                          <a:srgbClr val="505050"/>
                        </a:gs>
                      </a:gsLst>
                      <a:lin ang="5400000" scaled="0"/>
                    </a:gradFill>
                    <a:ea typeface="Segoe UI" pitchFamily="34" charset="0"/>
                    <a:cs typeface="Segoe UI" pitchFamily="34" charset="0"/>
                  </a:rPr>
                  <a:t>210 G:210 B:210</a:t>
                </a:r>
                <a:endParaRPr lang="en-US" sz="490" dirty="0">
                  <a:gradFill>
                    <a:gsLst>
                      <a:gs pos="92035">
                        <a:srgbClr val="505050"/>
                      </a:gs>
                      <a:gs pos="27000">
                        <a:srgbClr val="505050"/>
                      </a:gs>
                    </a:gsLst>
                    <a:lin ang="5400000" scaled="0"/>
                  </a:gradFill>
                  <a:ea typeface="Segoe UI" pitchFamily="34" charset="0"/>
                  <a:cs typeface="Segoe UI" pitchFamily="34" charset="0"/>
                </a:endParaRPr>
              </a:p>
            </p:txBody>
          </p:sp>
          <p:sp>
            <p:nvSpPr>
              <p:cNvPr id="42" name="Rectangle 41"/>
              <p:cNvSpPr/>
              <p:nvPr userDrawn="1"/>
            </p:nvSpPr>
            <p:spPr bwMode="auto">
              <a:xfrm>
                <a:off x="2505456" y="4543426"/>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28"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3828"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32 B:80</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28"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3828"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28"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ay</a:t>
                </a:r>
              </a:p>
              <a:p>
                <a:pPr algn="l" defTabSz="913828"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28"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marL="0" algn="l" defTabSz="913828"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92 G:45 B:145</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28"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3828"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28"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3828"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6 G:124 B:16</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2110164242"/>
      </p:ext>
    </p:extLst>
  </p:cSld>
  <p:clrMap bg1="lt1" tx1="dk1" bg2="lt2" tx2="dk2" accent1="accent1" accent2="accent2" accent3="accent3" accent4="accent4" accent5="accent5" accent6="accent6" hlink="hlink" folHlink="folHlink"/>
  <p:sldLayoutIdLst>
    <p:sldLayoutId id="2147485697" r:id="rId1"/>
    <p:sldLayoutId id="2147485698" r:id="rId2"/>
    <p:sldLayoutId id="2147485699" r:id="rId3"/>
    <p:sldLayoutId id="2147485700" r:id="rId4"/>
    <p:sldLayoutId id="2147485701" r:id="rId5"/>
    <p:sldLayoutId id="2147485702" r:id="rId6"/>
    <p:sldLayoutId id="2147485703" r:id="rId7"/>
    <p:sldLayoutId id="2147485704" r:id="rId8"/>
    <p:sldLayoutId id="2147485705" r:id="rId9"/>
    <p:sldLayoutId id="2147485706" r:id="rId10"/>
    <p:sldLayoutId id="2147485707" r:id="rId11"/>
    <p:sldLayoutId id="2147485708" r:id="rId12"/>
    <p:sldLayoutId id="2147485709" r:id="rId13"/>
    <p:sldLayoutId id="2147485710" r:id="rId14"/>
    <p:sldLayoutId id="2147485711" r:id="rId15"/>
    <p:sldLayoutId id="2147485712" r:id="rId16"/>
    <p:sldLayoutId id="2147485713" r:id="rId17"/>
    <p:sldLayoutId id="2147485714" r:id="rId18"/>
    <p:sldLayoutId id="2147485715" r:id="rId19"/>
    <p:sldLayoutId id="2147485716" r:id="rId20"/>
    <p:sldLayoutId id="2147485717" r:id="rId21"/>
    <p:sldLayoutId id="2147485718" r:id="rId22"/>
    <p:sldLayoutId id="2147485719" r:id="rId23"/>
    <p:sldLayoutId id="2147485720" r:id="rId24"/>
  </p:sldLayoutIdLst>
  <p:transition>
    <p:fade/>
  </p:transition>
  <p:txStyles>
    <p:titleStyle>
      <a:lvl1pPr algn="l" defTabSz="914093"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44" marR="0" indent="-336044" algn="l" defTabSz="914093"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19" marR="0" indent="-236475" algn="l" defTabSz="914093"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103" marR="0" indent="-224030" algn="l" defTabSz="914093"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132" marR="0" indent="-224030" algn="l" defTabSz="914093"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161" marR="0" indent="-224030" algn="l" defTabSz="914093"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75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801"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848"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89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93" rtl="0" eaLnBrk="1" latinLnBrk="0" hangingPunct="1">
        <a:defRPr sz="1764" kern="1200">
          <a:solidFill>
            <a:schemeClr val="tx1"/>
          </a:solidFill>
          <a:latin typeface="+mn-lt"/>
          <a:ea typeface="+mn-ea"/>
          <a:cs typeface="+mn-cs"/>
        </a:defRPr>
      </a:lvl1pPr>
      <a:lvl2pPr marL="457046" algn="l" defTabSz="914093" rtl="0" eaLnBrk="1" latinLnBrk="0" hangingPunct="1">
        <a:defRPr sz="1764" kern="1200">
          <a:solidFill>
            <a:schemeClr val="tx1"/>
          </a:solidFill>
          <a:latin typeface="+mn-lt"/>
          <a:ea typeface="+mn-ea"/>
          <a:cs typeface="+mn-cs"/>
        </a:defRPr>
      </a:lvl2pPr>
      <a:lvl3pPr marL="914093" algn="l" defTabSz="914093" rtl="0" eaLnBrk="1" latinLnBrk="0" hangingPunct="1">
        <a:defRPr sz="1764" kern="1200">
          <a:solidFill>
            <a:schemeClr val="tx1"/>
          </a:solidFill>
          <a:latin typeface="+mn-lt"/>
          <a:ea typeface="+mn-ea"/>
          <a:cs typeface="+mn-cs"/>
        </a:defRPr>
      </a:lvl3pPr>
      <a:lvl4pPr marL="1371139" algn="l" defTabSz="914093" rtl="0" eaLnBrk="1" latinLnBrk="0" hangingPunct="1">
        <a:defRPr sz="1764" kern="1200">
          <a:solidFill>
            <a:schemeClr val="tx1"/>
          </a:solidFill>
          <a:latin typeface="+mn-lt"/>
          <a:ea typeface="+mn-ea"/>
          <a:cs typeface="+mn-cs"/>
        </a:defRPr>
      </a:lvl4pPr>
      <a:lvl5pPr marL="1828185" algn="l" defTabSz="914093" rtl="0" eaLnBrk="1" latinLnBrk="0" hangingPunct="1">
        <a:defRPr sz="1764" kern="1200">
          <a:solidFill>
            <a:schemeClr val="tx1"/>
          </a:solidFill>
          <a:latin typeface="+mn-lt"/>
          <a:ea typeface="+mn-ea"/>
          <a:cs typeface="+mn-cs"/>
        </a:defRPr>
      </a:lvl5pPr>
      <a:lvl6pPr marL="2285232" algn="l" defTabSz="914093" rtl="0" eaLnBrk="1" latinLnBrk="0" hangingPunct="1">
        <a:defRPr sz="1764" kern="1200">
          <a:solidFill>
            <a:schemeClr val="tx1"/>
          </a:solidFill>
          <a:latin typeface="+mn-lt"/>
          <a:ea typeface="+mn-ea"/>
          <a:cs typeface="+mn-cs"/>
        </a:defRPr>
      </a:lvl6pPr>
      <a:lvl7pPr marL="2742278" algn="l" defTabSz="914093" rtl="0" eaLnBrk="1" latinLnBrk="0" hangingPunct="1">
        <a:defRPr sz="1764" kern="1200">
          <a:solidFill>
            <a:schemeClr val="tx1"/>
          </a:solidFill>
          <a:latin typeface="+mn-lt"/>
          <a:ea typeface="+mn-ea"/>
          <a:cs typeface="+mn-cs"/>
        </a:defRPr>
      </a:lvl7pPr>
      <a:lvl8pPr marL="3199324" algn="l" defTabSz="914093" rtl="0" eaLnBrk="1" latinLnBrk="0" hangingPunct="1">
        <a:defRPr sz="1764" kern="1200">
          <a:solidFill>
            <a:schemeClr val="tx1"/>
          </a:solidFill>
          <a:latin typeface="+mn-lt"/>
          <a:ea typeface="+mn-ea"/>
          <a:cs typeface="+mn-cs"/>
        </a:defRPr>
      </a:lvl8pPr>
      <a:lvl9pPr marL="3656372" algn="l" defTabSz="914093"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rot="5400000">
            <a:off x="10321814" y="1906466"/>
            <a:ext cx="4214127" cy="401200"/>
          </a:xfrm>
          <a:prstGeom prst="rect">
            <a:avLst/>
          </a:prstGeom>
        </p:spPr>
      </p:pic>
      <p:pic>
        <p:nvPicPr>
          <p:cNvPr id="8" name="Logo" descr="MS Logo White.png"/>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1006343352"/>
      </p:ext>
    </p:extLst>
  </p:cSld>
  <p:clrMap bg1="lt1" tx1="dk1" bg2="lt2" tx2="dk2" accent1="accent1" accent2="accent2" accent3="accent3" accent4="accent4" accent5="accent5" accent6="accent6" hlink="hlink" folHlink="folHlink"/>
  <p:sldLayoutIdLst>
    <p:sldLayoutId id="2147485722" r:id="rId1"/>
    <p:sldLayoutId id="2147485723" r:id="rId2"/>
    <p:sldLayoutId id="2147485724" r:id="rId3"/>
    <p:sldLayoutId id="2147485725" r:id="rId4"/>
    <p:sldLayoutId id="2147485726" r:id="rId5"/>
    <p:sldLayoutId id="2147485727" r:id="rId6"/>
    <p:sldLayoutId id="2147485728" r:id="rId7"/>
    <p:sldLayoutId id="2147485729" r:id="rId8"/>
    <p:sldLayoutId id="2147485730" r:id="rId9"/>
    <p:sldLayoutId id="2147485731" r:id="rId10"/>
    <p:sldLayoutId id="2147485732" r:id="rId11"/>
    <p:sldLayoutId id="2147485733" r:id="rId12"/>
    <p:sldLayoutId id="2147485734" r:id="rId13"/>
    <p:sldLayoutId id="2147485735" r:id="rId14"/>
    <p:sldLayoutId id="2147485736" r:id="rId15"/>
    <p:sldLayoutId id="2147485737" r:id="rId16"/>
    <p:sldLayoutId id="2147485738" r:id="rId17"/>
    <p:sldLayoutId id="2147485739" r:id="rId18"/>
    <p:sldLayoutId id="2147485740" r:id="rId19"/>
    <p:sldLayoutId id="2147485741" r:id="rId20"/>
    <p:sldLayoutId id="2147485742" r:id="rId21"/>
    <p:sldLayoutId id="2147485743" r:id="rId22"/>
    <p:sldLayoutId id="2147485744" r:id="rId23"/>
    <p:sldLayoutId id="2147485745" r:id="rId24"/>
    <p:sldLayoutId id="2147485746" r:id="rId25"/>
    <p:sldLayoutId id="2147485747" r:id="rId26"/>
    <p:sldLayoutId id="2147485748" r:id="rId27"/>
    <p:sldLayoutId id="2147485749" r:id="rId28"/>
    <p:sldLayoutId id="2147485750" r:id="rId29"/>
    <p:sldLayoutId id="2147485751" r:id="rId30"/>
    <p:sldLayoutId id="2147485752" r:id="rId31"/>
    <p:sldLayoutId id="2147485753" r:id="rId32"/>
    <p:sldLayoutId id="2147485754" r:id="rId33"/>
  </p:sldLayoutIdLst>
  <p:transition>
    <p:fade/>
  </p:transition>
  <p:hf hdr="0" ftr="0" dt="0"/>
  <p:txStyles>
    <p:titleStyle>
      <a:lvl1pPr algn="l" defTabSz="913906" rtl="0" eaLnBrk="1" latinLnBrk="0" hangingPunct="1">
        <a:lnSpc>
          <a:spcPct val="90000"/>
        </a:lnSpc>
        <a:spcBef>
          <a:spcPct val="0"/>
        </a:spcBef>
        <a:buNone/>
        <a:defRPr lang="en-US" sz="5291" b="0" kern="1200" cap="none" spc="-100" baseline="0" dirty="0" smtClean="0">
          <a:ln w="3175">
            <a:noFill/>
          </a:ln>
          <a:solidFill>
            <a:schemeClr val="bg1"/>
          </a:solidFill>
          <a:effectLst/>
          <a:latin typeface="+mj-lt"/>
          <a:ea typeface="+mn-ea"/>
          <a:cs typeface="Segoe UI" pitchFamily="34" charset="0"/>
        </a:defRPr>
      </a:lvl1pPr>
    </p:titleStyle>
    <p:bodyStyle>
      <a:lvl1pPr marL="335975" marR="0" indent="-335975"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19" kern="1200" spc="0" baseline="0">
          <a:solidFill>
            <a:schemeClr val="bg1"/>
          </a:solidFill>
          <a:latin typeface="+mj-lt"/>
          <a:ea typeface="+mn-ea"/>
          <a:cs typeface="+mn-cs"/>
        </a:defRPr>
      </a:lvl1pPr>
      <a:lvl2pPr marL="572402" marR="0" indent="-236427"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1" kern="1200" spc="0" baseline="0">
          <a:solidFill>
            <a:schemeClr val="bg1"/>
          </a:solidFill>
          <a:latin typeface="+mn-lt"/>
          <a:ea typeface="+mn-ea"/>
          <a:cs typeface="+mn-cs"/>
        </a:defRPr>
      </a:lvl2pPr>
      <a:lvl3pPr marL="783943" marR="0" indent="-223984"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1" kern="1200" spc="0" baseline="0">
          <a:solidFill>
            <a:schemeClr val="bg1"/>
          </a:solidFill>
          <a:latin typeface="+mn-lt"/>
          <a:ea typeface="+mn-ea"/>
          <a:cs typeface="+mn-cs"/>
        </a:defRPr>
      </a:lvl3pPr>
      <a:lvl4pPr marL="1007927" marR="0" indent="-223984"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59" kern="1200" spc="0" baseline="0">
          <a:solidFill>
            <a:schemeClr val="bg1"/>
          </a:solidFill>
          <a:latin typeface="+mn-lt"/>
          <a:ea typeface="+mn-ea"/>
          <a:cs typeface="+mn-cs"/>
        </a:defRPr>
      </a:lvl4pPr>
      <a:lvl5pPr marL="1231910" marR="0" indent="-223984"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59" kern="1200" spc="0" baseline="0">
          <a:solidFill>
            <a:schemeClr val="bg1"/>
          </a:solidFill>
          <a:latin typeface="+mn-lt"/>
          <a:ea typeface="+mn-ea"/>
          <a:cs typeface="+mn-cs"/>
        </a:defRPr>
      </a:lvl5pPr>
      <a:lvl6pPr marL="2513242"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6pPr>
      <a:lvl7pPr marL="2970196"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7pPr>
      <a:lvl8pPr marL="3427149"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8pPr>
      <a:lvl9pPr marL="3884102"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9pPr>
    </p:bodyStyle>
    <p:otherStyle>
      <a:defPPr>
        <a:defRPr lang="en-US"/>
      </a:defPPr>
      <a:lvl1pPr marL="0" algn="l" defTabSz="913906" rtl="0" eaLnBrk="1" latinLnBrk="0" hangingPunct="1">
        <a:defRPr sz="1763" kern="1200">
          <a:solidFill>
            <a:schemeClr val="tx1"/>
          </a:solidFill>
          <a:latin typeface="+mn-lt"/>
          <a:ea typeface="+mn-ea"/>
          <a:cs typeface="+mn-cs"/>
        </a:defRPr>
      </a:lvl1pPr>
      <a:lvl2pPr marL="456953" algn="l" defTabSz="913906" rtl="0" eaLnBrk="1" latinLnBrk="0" hangingPunct="1">
        <a:defRPr sz="1763" kern="1200">
          <a:solidFill>
            <a:schemeClr val="tx1"/>
          </a:solidFill>
          <a:latin typeface="+mn-lt"/>
          <a:ea typeface="+mn-ea"/>
          <a:cs typeface="+mn-cs"/>
        </a:defRPr>
      </a:lvl2pPr>
      <a:lvl3pPr marL="913906" algn="l" defTabSz="913906" rtl="0" eaLnBrk="1" latinLnBrk="0" hangingPunct="1">
        <a:defRPr sz="1763" kern="1200">
          <a:solidFill>
            <a:schemeClr val="tx1"/>
          </a:solidFill>
          <a:latin typeface="+mn-lt"/>
          <a:ea typeface="+mn-ea"/>
          <a:cs typeface="+mn-cs"/>
        </a:defRPr>
      </a:lvl3pPr>
      <a:lvl4pPr marL="1370860" algn="l" defTabSz="913906" rtl="0" eaLnBrk="1" latinLnBrk="0" hangingPunct="1">
        <a:defRPr sz="1763" kern="1200">
          <a:solidFill>
            <a:schemeClr val="tx1"/>
          </a:solidFill>
          <a:latin typeface="+mn-lt"/>
          <a:ea typeface="+mn-ea"/>
          <a:cs typeface="+mn-cs"/>
        </a:defRPr>
      </a:lvl4pPr>
      <a:lvl5pPr marL="1827812" algn="l" defTabSz="913906" rtl="0" eaLnBrk="1" latinLnBrk="0" hangingPunct="1">
        <a:defRPr sz="1763" kern="1200">
          <a:solidFill>
            <a:schemeClr val="tx1"/>
          </a:solidFill>
          <a:latin typeface="+mn-lt"/>
          <a:ea typeface="+mn-ea"/>
          <a:cs typeface="+mn-cs"/>
        </a:defRPr>
      </a:lvl5pPr>
      <a:lvl6pPr marL="2284766" algn="l" defTabSz="913906" rtl="0" eaLnBrk="1" latinLnBrk="0" hangingPunct="1">
        <a:defRPr sz="1763" kern="1200">
          <a:solidFill>
            <a:schemeClr val="tx1"/>
          </a:solidFill>
          <a:latin typeface="+mn-lt"/>
          <a:ea typeface="+mn-ea"/>
          <a:cs typeface="+mn-cs"/>
        </a:defRPr>
      </a:lvl6pPr>
      <a:lvl7pPr marL="2741718" algn="l" defTabSz="913906" rtl="0" eaLnBrk="1" latinLnBrk="0" hangingPunct="1">
        <a:defRPr sz="1763" kern="1200">
          <a:solidFill>
            <a:schemeClr val="tx1"/>
          </a:solidFill>
          <a:latin typeface="+mn-lt"/>
          <a:ea typeface="+mn-ea"/>
          <a:cs typeface="+mn-cs"/>
        </a:defRPr>
      </a:lvl7pPr>
      <a:lvl8pPr marL="3198672" algn="l" defTabSz="913906" rtl="0" eaLnBrk="1" latinLnBrk="0" hangingPunct="1">
        <a:defRPr sz="1763" kern="1200">
          <a:solidFill>
            <a:schemeClr val="tx1"/>
          </a:solidFill>
          <a:latin typeface="+mn-lt"/>
          <a:ea typeface="+mn-ea"/>
          <a:cs typeface="+mn-cs"/>
        </a:defRPr>
      </a:lvl8pPr>
      <a:lvl9pPr marL="3655626" algn="l" defTabSz="913906" rtl="0" eaLnBrk="1" latinLnBrk="0" hangingPunct="1">
        <a:defRPr sz="17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805"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172" y="1189179"/>
            <a:ext cx="11650486" cy="186820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rot="5400000">
            <a:off x="9205457" y="2991148"/>
            <a:ext cx="6858623" cy="876329"/>
          </a:xfrm>
          <a:prstGeom prst="rect">
            <a:avLst/>
          </a:prstGeom>
        </p:spPr>
      </p:pic>
    </p:spTree>
    <p:extLst>
      <p:ext uri="{BB962C8B-B14F-4D97-AF65-F5344CB8AC3E}">
        <p14:creationId xmlns:p14="http://schemas.microsoft.com/office/powerpoint/2010/main" val="1322887737"/>
      </p:ext>
    </p:extLst>
  </p:cSld>
  <p:clrMap bg1="dk1" tx1="lt1" bg2="dk2" tx2="lt2" accent1="accent1" accent2="accent2" accent3="accent3" accent4="accent4" accent5="accent5" accent6="accent6" hlink="hlink" folHlink="folHlink"/>
  <p:sldLayoutIdLst>
    <p:sldLayoutId id="2147485756" r:id="rId1"/>
    <p:sldLayoutId id="2147485757" r:id="rId2"/>
    <p:sldLayoutId id="2147485758" r:id="rId3"/>
    <p:sldLayoutId id="2147485759" r:id="rId4"/>
    <p:sldLayoutId id="2147485760" r:id="rId5"/>
    <p:sldLayoutId id="2147485761" r:id="rId6"/>
    <p:sldLayoutId id="2147485762" r:id="rId7"/>
    <p:sldLayoutId id="2147485763" r:id="rId8"/>
    <p:sldLayoutId id="2147485764" r:id="rId9"/>
    <p:sldLayoutId id="2147485765" r:id="rId10"/>
    <p:sldLayoutId id="2147485766" r:id="rId11"/>
    <p:sldLayoutId id="2147485767" r:id="rId12"/>
    <p:sldLayoutId id="2147485768" r:id="rId13"/>
    <p:sldLayoutId id="2147485769" r:id="rId14"/>
    <p:sldLayoutId id="2147485770" r:id="rId15"/>
    <p:sldLayoutId id="2147485771" r:id="rId16"/>
    <p:sldLayoutId id="2147485772" r:id="rId17"/>
    <p:sldLayoutId id="2147485773" r:id="rId18"/>
    <p:sldLayoutId id="2147485774" r:id="rId19"/>
    <p:sldLayoutId id="2147485775" r:id="rId20"/>
    <p:sldLayoutId id="2147485776" r:id="rId21"/>
    <p:sldLayoutId id="2147485777" r:id="rId22"/>
    <p:sldLayoutId id="2147485778" r:id="rId23"/>
    <p:sldLayoutId id="2147485779" r:id="rId24"/>
  </p:sldLayoutIdLst>
  <p:transition>
    <p:fade/>
  </p:transition>
  <p:txStyles>
    <p:titleStyle>
      <a:lvl1pPr algn="l" defTabSz="914005" rtl="0" eaLnBrk="1" latinLnBrk="0" hangingPunct="1">
        <a:lnSpc>
          <a:spcPct val="90000"/>
        </a:lnSpc>
        <a:spcBef>
          <a:spcPct val="0"/>
        </a:spcBef>
        <a:buNone/>
        <a:defRPr lang="en-US" sz="3528"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2" marR="0" indent="-336012" algn="l" defTabSz="914005" rtl="0" eaLnBrk="1" fontAlgn="auto" latinLnBrk="0" hangingPunct="1">
        <a:lnSpc>
          <a:spcPct val="90000"/>
        </a:lnSpc>
        <a:spcBef>
          <a:spcPct val="20000"/>
        </a:spcBef>
        <a:spcAft>
          <a:spcPts val="0"/>
        </a:spcAft>
        <a:buClrTx/>
        <a:buSzPct val="90000"/>
        <a:buFont typeface="Arial" pitchFamily="34" charset="0"/>
        <a:buChar char="•"/>
        <a:tabLst/>
        <a:defRPr sz="3599" kern="1200" spc="0" baseline="0">
          <a:gradFill>
            <a:gsLst>
              <a:gs pos="1250">
                <a:schemeClr val="tx1"/>
              </a:gs>
              <a:gs pos="100000">
                <a:schemeClr val="tx1"/>
              </a:gs>
            </a:gsLst>
            <a:lin ang="5400000" scaled="0"/>
          </a:gradFill>
          <a:latin typeface="+mj-lt"/>
          <a:ea typeface="+mn-ea"/>
          <a:cs typeface="+mn-cs"/>
        </a:defRPr>
      </a:lvl1pPr>
      <a:lvl2pPr marL="572465" marR="0" indent="-236452" algn="l" defTabSz="914005" rtl="0" eaLnBrk="1" fontAlgn="auto" latinLnBrk="0" hangingPunct="1">
        <a:lnSpc>
          <a:spcPct val="90000"/>
        </a:lnSpc>
        <a:spcBef>
          <a:spcPct val="20000"/>
        </a:spcBef>
        <a:spcAft>
          <a:spcPts val="0"/>
        </a:spcAft>
        <a:buClrTx/>
        <a:buSzPct val="90000"/>
        <a:buFont typeface="Arial" pitchFamily="34" charset="0"/>
        <a:buChar char="•"/>
        <a:tabLst/>
        <a:defRPr sz="1999" kern="1200" spc="0" baseline="0">
          <a:gradFill>
            <a:gsLst>
              <a:gs pos="1250">
                <a:schemeClr val="tx1"/>
              </a:gs>
              <a:gs pos="100000">
                <a:schemeClr val="tx1"/>
              </a:gs>
            </a:gsLst>
            <a:lin ang="5400000" scaled="0"/>
          </a:gradFill>
          <a:latin typeface="+mn-lt"/>
          <a:ea typeface="+mn-ea"/>
          <a:cs typeface="+mn-cs"/>
        </a:defRPr>
      </a:lvl2pPr>
      <a:lvl3pPr marL="784027" marR="0" indent="-224009" algn="l" defTabSz="914005" rtl="0" eaLnBrk="1" fontAlgn="auto" latinLnBrk="0" hangingPunct="1">
        <a:lnSpc>
          <a:spcPct val="90000"/>
        </a:lnSpc>
        <a:spcBef>
          <a:spcPct val="20000"/>
        </a:spcBef>
        <a:spcAft>
          <a:spcPts val="0"/>
        </a:spcAft>
        <a:buClrTx/>
        <a:buSzPct val="90000"/>
        <a:buFont typeface="Arial" pitchFamily="34" charset="0"/>
        <a:buChar char="•"/>
        <a:tabLst/>
        <a:defRPr sz="1799" kern="1200" spc="0" baseline="0">
          <a:gradFill>
            <a:gsLst>
              <a:gs pos="1250">
                <a:schemeClr val="tx1"/>
              </a:gs>
              <a:gs pos="100000">
                <a:schemeClr val="tx1"/>
              </a:gs>
            </a:gsLst>
            <a:lin ang="5400000" scaled="0"/>
          </a:gradFill>
          <a:latin typeface="+mn-lt"/>
          <a:ea typeface="+mn-ea"/>
          <a:cs typeface="+mn-cs"/>
        </a:defRPr>
      </a:lvl3pPr>
      <a:lvl4pPr marL="1008036" marR="0" indent="-224009" algn="l" defTabSz="914005"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32043" marR="0" indent="-224009" algn="l" defTabSz="914005"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13513" indent="-228501" algn="l" defTabSz="914005"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516" indent="-228501" algn="l" defTabSz="914005"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519" indent="-228501" algn="l" defTabSz="914005"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522" indent="-228501" algn="l" defTabSz="914005"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05" rtl="0" eaLnBrk="1" latinLnBrk="0" hangingPunct="1">
        <a:defRPr sz="1764" kern="1200">
          <a:solidFill>
            <a:schemeClr val="tx1"/>
          </a:solidFill>
          <a:latin typeface="+mn-lt"/>
          <a:ea typeface="+mn-ea"/>
          <a:cs typeface="+mn-cs"/>
        </a:defRPr>
      </a:lvl1pPr>
      <a:lvl2pPr marL="457002" algn="l" defTabSz="914005" rtl="0" eaLnBrk="1" latinLnBrk="0" hangingPunct="1">
        <a:defRPr sz="1764" kern="1200">
          <a:solidFill>
            <a:schemeClr val="tx1"/>
          </a:solidFill>
          <a:latin typeface="+mn-lt"/>
          <a:ea typeface="+mn-ea"/>
          <a:cs typeface="+mn-cs"/>
        </a:defRPr>
      </a:lvl2pPr>
      <a:lvl3pPr marL="914005" algn="l" defTabSz="914005" rtl="0" eaLnBrk="1" latinLnBrk="0" hangingPunct="1">
        <a:defRPr sz="1764" kern="1200">
          <a:solidFill>
            <a:schemeClr val="tx1"/>
          </a:solidFill>
          <a:latin typeface="+mn-lt"/>
          <a:ea typeface="+mn-ea"/>
          <a:cs typeface="+mn-cs"/>
        </a:defRPr>
      </a:lvl3pPr>
      <a:lvl4pPr marL="1371007" algn="l" defTabSz="914005" rtl="0" eaLnBrk="1" latinLnBrk="0" hangingPunct="1">
        <a:defRPr sz="1764" kern="1200">
          <a:solidFill>
            <a:schemeClr val="tx1"/>
          </a:solidFill>
          <a:latin typeface="+mn-lt"/>
          <a:ea typeface="+mn-ea"/>
          <a:cs typeface="+mn-cs"/>
        </a:defRPr>
      </a:lvl4pPr>
      <a:lvl5pPr marL="1828010" algn="l" defTabSz="914005" rtl="0" eaLnBrk="1" latinLnBrk="0" hangingPunct="1">
        <a:defRPr sz="1764" kern="1200">
          <a:solidFill>
            <a:schemeClr val="tx1"/>
          </a:solidFill>
          <a:latin typeface="+mn-lt"/>
          <a:ea typeface="+mn-ea"/>
          <a:cs typeface="+mn-cs"/>
        </a:defRPr>
      </a:lvl5pPr>
      <a:lvl6pPr marL="2285013" algn="l" defTabSz="914005" rtl="0" eaLnBrk="1" latinLnBrk="0" hangingPunct="1">
        <a:defRPr sz="1764" kern="1200">
          <a:solidFill>
            <a:schemeClr val="tx1"/>
          </a:solidFill>
          <a:latin typeface="+mn-lt"/>
          <a:ea typeface="+mn-ea"/>
          <a:cs typeface="+mn-cs"/>
        </a:defRPr>
      </a:lvl6pPr>
      <a:lvl7pPr marL="2742015" algn="l" defTabSz="914005" rtl="0" eaLnBrk="1" latinLnBrk="0" hangingPunct="1">
        <a:defRPr sz="1764" kern="1200">
          <a:solidFill>
            <a:schemeClr val="tx1"/>
          </a:solidFill>
          <a:latin typeface="+mn-lt"/>
          <a:ea typeface="+mn-ea"/>
          <a:cs typeface="+mn-cs"/>
        </a:defRPr>
      </a:lvl7pPr>
      <a:lvl8pPr marL="3199017" algn="l" defTabSz="914005" rtl="0" eaLnBrk="1" latinLnBrk="0" hangingPunct="1">
        <a:defRPr sz="1764" kern="1200">
          <a:solidFill>
            <a:schemeClr val="tx1"/>
          </a:solidFill>
          <a:latin typeface="+mn-lt"/>
          <a:ea typeface="+mn-ea"/>
          <a:cs typeface="+mn-cs"/>
        </a:defRPr>
      </a:lvl8pPr>
      <a:lvl9pPr marL="3656021" algn="l" defTabSz="914005"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79">
          <p15:clr>
            <a:srgbClr val="C35EA4"/>
          </p15:clr>
        </p15:guide>
        <p15:guide id="17" pos="7400">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805"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171" y="1189178"/>
            <a:ext cx="11650485" cy="211733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9" cstate="screen">
            <a:extLst>
              <a:ext uri="{28A0092B-C50C-407E-A947-70E740481C1C}">
                <a14:useLocalDpi xmlns:a14="http://schemas.microsoft.com/office/drawing/2010/main"/>
              </a:ext>
            </a:extLst>
          </a:blip>
          <a:stretch>
            <a:fillRect/>
          </a:stretch>
        </p:blipFill>
        <p:spPr>
          <a:xfrm rot="5400000">
            <a:off x="9205457" y="2991146"/>
            <a:ext cx="6858623" cy="876329"/>
          </a:xfrm>
          <a:prstGeom prst="rect">
            <a:avLst/>
          </a:prstGeom>
        </p:spPr>
      </p:pic>
    </p:spTree>
    <p:extLst>
      <p:ext uri="{BB962C8B-B14F-4D97-AF65-F5344CB8AC3E}">
        <p14:creationId xmlns:p14="http://schemas.microsoft.com/office/powerpoint/2010/main" val="987528849"/>
      </p:ext>
    </p:extLst>
  </p:cSld>
  <p:clrMap bg1="dk1" tx1="lt1" bg2="dk2" tx2="lt2" accent1="accent1" accent2="accent2" accent3="accent3" accent4="accent4" accent5="accent5" accent6="accent6" hlink="hlink" folHlink="folHlink"/>
  <p:sldLayoutIdLst>
    <p:sldLayoutId id="2147485056" r:id="rId1"/>
    <p:sldLayoutId id="2147485057" r:id="rId2"/>
    <p:sldLayoutId id="2147485058" r:id="rId3"/>
    <p:sldLayoutId id="2147485059" r:id="rId4"/>
    <p:sldLayoutId id="2147485060" r:id="rId5"/>
    <p:sldLayoutId id="2147485061" r:id="rId6"/>
    <p:sldLayoutId id="2147485062" r:id="rId7"/>
    <p:sldLayoutId id="2147485063" r:id="rId8"/>
    <p:sldLayoutId id="2147485064" r:id="rId9"/>
    <p:sldLayoutId id="2147485065" r:id="rId10"/>
    <p:sldLayoutId id="2147485066" r:id="rId11"/>
    <p:sldLayoutId id="2147485067" r:id="rId12"/>
    <p:sldLayoutId id="2147485068" r:id="rId13"/>
    <p:sldLayoutId id="2147485069" r:id="rId14"/>
    <p:sldLayoutId id="2147485070" r:id="rId15"/>
    <p:sldLayoutId id="2147485071" r:id="rId16"/>
    <p:sldLayoutId id="2147485072" r:id="rId17"/>
    <p:sldLayoutId id="2147485073" r:id="rId18"/>
    <p:sldLayoutId id="2147485074" r:id="rId19"/>
    <p:sldLayoutId id="2147485075" r:id="rId20"/>
    <p:sldLayoutId id="2147485076" r:id="rId21"/>
    <p:sldLayoutId id="2147485077" r:id="rId22"/>
    <p:sldLayoutId id="2147485078" r:id="rId23"/>
    <p:sldLayoutId id="2147485079" r:id="rId24"/>
    <p:sldLayoutId id="2147485080" r:id="rId25"/>
    <p:sldLayoutId id="2147485081" r:id="rId26"/>
    <p:sldLayoutId id="2147485082" r:id="rId27"/>
  </p:sldLayoutIdLst>
  <p:transition>
    <p:fade/>
  </p:transition>
  <p:txStyles>
    <p:titleStyle>
      <a:lvl1pPr algn="l" defTabSz="914121"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54" marR="0" indent="-336054" algn="l" defTabSz="914121"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536" marR="0" indent="-236482" algn="l" defTabSz="914121"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127" marR="0" indent="-224037" algn="l" defTabSz="914121"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162" marR="0" indent="-224037" algn="l" defTabSz="91412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199" marR="0" indent="-224037" algn="l" defTabSz="91412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831" indent="-228531" algn="l" defTabSz="914121"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892" indent="-228531" algn="l" defTabSz="914121"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953" indent="-228531" algn="l" defTabSz="914121"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013" indent="-228531" algn="l" defTabSz="914121"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21" rtl="0" eaLnBrk="1" latinLnBrk="0" hangingPunct="1">
        <a:defRPr sz="1765" kern="1200">
          <a:solidFill>
            <a:schemeClr val="tx1"/>
          </a:solidFill>
          <a:latin typeface="+mn-lt"/>
          <a:ea typeface="+mn-ea"/>
          <a:cs typeface="+mn-cs"/>
        </a:defRPr>
      </a:lvl1pPr>
      <a:lvl2pPr marL="457061" algn="l" defTabSz="914121" rtl="0" eaLnBrk="1" latinLnBrk="0" hangingPunct="1">
        <a:defRPr sz="1765" kern="1200">
          <a:solidFill>
            <a:schemeClr val="tx1"/>
          </a:solidFill>
          <a:latin typeface="+mn-lt"/>
          <a:ea typeface="+mn-ea"/>
          <a:cs typeface="+mn-cs"/>
        </a:defRPr>
      </a:lvl2pPr>
      <a:lvl3pPr marL="914121" algn="l" defTabSz="914121" rtl="0" eaLnBrk="1" latinLnBrk="0" hangingPunct="1">
        <a:defRPr sz="1765" kern="1200">
          <a:solidFill>
            <a:schemeClr val="tx1"/>
          </a:solidFill>
          <a:latin typeface="+mn-lt"/>
          <a:ea typeface="+mn-ea"/>
          <a:cs typeface="+mn-cs"/>
        </a:defRPr>
      </a:lvl3pPr>
      <a:lvl4pPr marL="1371181" algn="l" defTabSz="914121" rtl="0" eaLnBrk="1" latinLnBrk="0" hangingPunct="1">
        <a:defRPr sz="1765" kern="1200">
          <a:solidFill>
            <a:schemeClr val="tx1"/>
          </a:solidFill>
          <a:latin typeface="+mn-lt"/>
          <a:ea typeface="+mn-ea"/>
          <a:cs typeface="+mn-cs"/>
        </a:defRPr>
      </a:lvl4pPr>
      <a:lvl5pPr marL="1828240" algn="l" defTabSz="914121" rtl="0" eaLnBrk="1" latinLnBrk="0" hangingPunct="1">
        <a:defRPr sz="1765" kern="1200">
          <a:solidFill>
            <a:schemeClr val="tx1"/>
          </a:solidFill>
          <a:latin typeface="+mn-lt"/>
          <a:ea typeface="+mn-ea"/>
          <a:cs typeface="+mn-cs"/>
        </a:defRPr>
      </a:lvl5pPr>
      <a:lvl6pPr marL="2285303" algn="l" defTabSz="914121" rtl="0" eaLnBrk="1" latinLnBrk="0" hangingPunct="1">
        <a:defRPr sz="1765" kern="1200">
          <a:solidFill>
            <a:schemeClr val="tx1"/>
          </a:solidFill>
          <a:latin typeface="+mn-lt"/>
          <a:ea typeface="+mn-ea"/>
          <a:cs typeface="+mn-cs"/>
        </a:defRPr>
      </a:lvl6pPr>
      <a:lvl7pPr marL="2742362" algn="l" defTabSz="914121" rtl="0" eaLnBrk="1" latinLnBrk="0" hangingPunct="1">
        <a:defRPr sz="1765" kern="1200">
          <a:solidFill>
            <a:schemeClr val="tx1"/>
          </a:solidFill>
          <a:latin typeface="+mn-lt"/>
          <a:ea typeface="+mn-ea"/>
          <a:cs typeface="+mn-cs"/>
        </a:defRPr>
      </a:lvl7pPr>
      <a:lvl8pPr marL="3199422" algn="l" defTabSz="914121" rtl="0" eaLnBrk="1" latinLnBrk="0" hangingPunct="1">
        <a:defRPr sz="1765" kern="1200">
          <a:solidFill>
            <a:schemeClr val="tx1"/>
          </a:solidFill>
          <a:latin typeface="+mn-lt"/>
          <a:ea typeface="+mn-ea"/>
          <a:cs typeface="+mn-cs"/>
        </a:defRPr>
      </a:lvl8pPr>
      <a:lvl9pPr marL="3656484" algn="l" defTabSz="914121"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userDrawn="1"/>
        </p:nvPicPr>
        <p:blipFill>
          <a:blip r:embed="rId34">
            <a:extLst>
              <a:ext uri="{28A0092B-C50C-407E-A947-70E740481C1C}">
                <a14:useLocalDpi xmlns:a14="http://schemas.microsoft.com/office/drawing/2010/main" val="0"/>
              </a:ext>
            </a:extLst>
          </a:blip>
          <a:stretch>
            <a:fillRect/>
          </a:stretch>
        </p:blipFill>
        <p:spPr>
          <a:xfrm rot="5400000">
            <a:off x="10321814" y="1906466"/>
            <a:ext cx="4214127" cy="401200"/>
          </a:xfrm>
          <a:prstGeom prst="rect">
            <a:avLst/>
          </a:prstGeom>
        </p:spPr>
      </p:pic>
      <p:pic>
        <p:nvPicPr>
          <p:cNvPr id="8" name="Logo" descr="MS Logo White.png"/>
          <p:cNvPicPr>
            <a:picLocks noChangeAspect="1"/>
          </p:cNvPicPr>
          <p:nvPr userDrawn="1"/>
        </p:nvPicPr>
        <p:blipFill>
          <a:blip r:embed="rId35">
            <a:extLst>
              <a:ext uri="{28A0092B-C50C-407E-A947-70E740481C1C}">
                <a14:useLocalDpi xmlns:a14="http://schemas.microsoft.com/office/drawing/2010/main" val="0"/>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2292817857"/>
      </p:ext>
    </p:extLst>
  </p:cSld>
  <p:clrMap bg1="lt1" tx1="dk1" bg2="lt2" tx2="dk2" accent1="accent1" accent2="accent2" accent3="accent3" accent4="accent4" accent5="accent5" accent6="accent6" hlink="hlink" folHlink="folHlink"/>
  <p:sldLayoutIdLst>
    <p:sldLayoutId id="2147485084" r:id="rId1"/>
    <p:sldLayoutId id="2147485085" r:id="rId2"/>
    <p:sldLayoutId id="2147485086" r:id="rId3"/>
    <p:sldLayoutId id="2147485087" r:id="rId4"/>
    <p:sldLayoutId id="2147485088" r:id="rId5"/>
    <p:sldLayoutId id="2147485089" r:id="rId6"/>
    <p:sldLayoutId id="2147485090" r:id="rId7"/>
    <p:sldLayoutId id="2147485091" r:id="rId8"/>
    <p:sldLayoutId id="2147485092" r:id="rId9"/>
    <p:sldLayoutId id="2147485093" r:id="rId10"/>
    <p:sldLayoutId id="2147485094" r:id="rId11"/>
    <p:sldLayoutId id="2147485095" r:id="rId12"/>
    <p:sldLayoutId id="2147485096" r:id="rId13"/>
    <p:sldLayoutId id="2147485097" r:id="rId14"/>
    <p:sldLayoutId id="2147485098" r:id="rId15"/>
    <p:sldLayoutId id="2147485099" r:id="rId16"/>
    <p:sldLayoutId id="2147485100" r:id="rId17"/>
    <p:sldLayoutId id="2147485101" r:id="rId18"/>
    <p:sldLayoutId id="2147485102" r:id="rId19"/>
    <p:sldLayoutId id="2147485103" r:id="rId20"/>
    <p:sldLayoutId id="2147485104" r:id="rId21"/>
    <p:sldLayoutId id="2147485105" r:id="rId22"/>
    <p:sldLayoutId id="2147485106" r:id="rId23"/>
    <p:sldLayoutId id="2147485107" r:id="rId24"/>
    <p:sldLayoutId id="2147485108" r:id="rId25"/>
    <p:sldLayoutId id="2147485109" r:id="rId26"/>
    <p:sldLayoutId id="2147485110" r:id="rId27"/>
    <p:sldLayoutId id="2147485111" r:id="rId28"/>
    <p:sldLayoutId id="2147485112" r:id="rId29"/>
    <p:sldLayoutId id="2147485113" r:id="rId30"/>
    <p:sldLayoutId id="2147485114" r:id="rId31"/>
    <p:sldLayoutId id="2147485115" r:id="rId32"/>
  </p:sldLayoutIdLst>
  <p:transition>
    <p:fade/>
  </p:transition>
  <p:txStyles>
    <p:titleStyle>
      <a:lvl1pPr algn="l" defTabSz="913818" rtl="0" eaLnBrk="1" latinLnBrk="0" hangingPunct="1">
        <a:lnSpc>
          <a:spcPct val="90000"/>
        </a:lnSpc>
        <a:spcBef>
          <a:spcPct val="0"/>
        </a:spcBef>
        <a:buNone/>
        <a:defRPr lang="en-US" sz="5291" b="0" kern="1200" cap="none" spc="-100" baseline="0" dirty="0" smtClean="0">
          <a:ln w="3175">
            <a:noFill/>
          </a:ln>
          <a:solidFill>
            <a:schemeClr val="bg1"/>
          </a:solidFill>
          <a:effectLst/>
          <a:latin typeface="+mj-lt"/>
          <a:ea typeface="+mn-ea"/>
          <a:cs typeface="Segoe UI" pitchFamily="34" charset="0"/>
        </a:defRPr>
      </a:lvl1pPr>
    </p:titleStyle>
    <p:bodyStyle>
      <a:lvl1pPr marL="335943" marR="0" indent="-335943" algn="l" defTabSz="913818"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18" kern="1200" spc="0" baseline="0">
          <a:solidFill>
            <a:schemeClr val="bg1"/>
          </a:solidFill>
          <a:latin typeface="+mj-lt"/>
          <a:ea typeface="+mn-ea"/>
          <a:cs typeface="+mn-cs"/>
        </a:defRPr>
      </a:lvl1pPr>
      <a:lvl2pPr marL="572347" marR="0" indent="-236404" algn="l" defTabSz="913818"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1" kern="1200" spc="0" baseline="0">
          <a:solidFill>
            <a:schemeClr val="bg1"/>
          </a:solidFill>
          <a:latin typeface="+mn-lt"/>
          <a:ea typeface="+mn-ea"/>
          <a:cs typeface="+mn-cs"/>
        </a:defRPr>
      </a:lvl2pPr>
      <a:lvl3pPr marL="783867" marR="0" indent="-223963" algn="l" defTabSz="913818"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1" kern="1200" spc="0" baseline="0">
          <a:solidFill>
            <a:schemeClr val="bg1"/>
          </a:solidFill>
          <a:latin typeface="+mn-lt"/>
          <a:ea typeface="+mn-ea"/>
          <a:cs typeface="+mn-cs"/>
        </a:defRPr>
      </a:lvl3pPr>
      <a:lvl4pPr marL="1007830" marR="0" indent="-223963" algn="l" defTabSz="913818"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59" kern="1200" spc="0" baseline="0">
          <a:solidFill>
            <a:schemeClr val="bg1"/>
          </a:solidFill>
          <a:latin typeface="+mn-lt"/>
          <a:ea typeface="+mn-ea"/>
          <a:cs typeface="+mn-cs"/>
        </a:defRPr>
      </a:lvl4pPr>
      <a:lvl5pPr marL="1231792" marR="0" indent="-223963" algn="l" defTabSz="913818"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59" kern="1200" spc="0" baseline="0">
          <a:solidFill>
            <a:schemeClr val="bg1"/>
          </a:solidFill>
          <a:latin typeface="+mn-lt"/>
          <a:ea typeface="+mn-ea"/>
          <a:cs typeface="+mn-cs"/>
        </a:defRPr>
      </a:lvl5pPr>
      <a:lvl6pPr marL="2513001" indent="-228455" algn="l" defTabSz="913818" rtl="0" eaLnBrk="1" latinLnBrk="0" hangingPunct="1">
        <a:spcBef>
          <a:spcPct val="20000"/>
        </a:spcBef>
        <a:buFont typeface="Arial" pitchFamily="34" charset="0"/>
        <a:buChar char="•"/>
        <a:defRPr sz="1959" kern="1200">
          <a:solidFill>
            <a:schemeClr val="tx1"/>
          </a:solidFill>
          <a:latin typeface="+mn-lt"/>
          <a:ea typeface="+mn-ea"/>
          <a:cs typeface="+mn-cs"/>
        </a:defRPr>
      </a:lvl6pPr>
      <a:lvl7pPr marL="2969911" indent="-228455" algn="l" defTabSz="913818" rtl="0" eaLnBrk="1" latinLnBrk="0" hangingPunct="1">
        <a:spcBef>
          <a:spcPct val="20000"/>
        </a:spcBef>
        <a:buFont typeface="Arial" pitchFamily="34" charset="0"/>
        <a:buChar char="•"/>
        <a:defRPr sz="1959" kern="1200">
          <a:solidFill>
            <a:schemeClr val="tx1"/>
          </a:solidFill>
          <a:latin typeface="+mn-lt"/>
          <a:ea typeface="+mn-ea"/>
          <a:cs typeface="+mn-cs"/>
        </a:defRPr>
      </a:lvl7pPr>
      <a:lvl8pPr marL="3426820" indent="-228455" algn="l" defTabSz="913818" rtl="0" eaLnBrk="1" latinLnBrk="0" hangingPunct="1">
        <a:spcBef>
          <a:spcPct val="20000"/>
        </a:spcBef>
        <a:buFont typeface="Arial" pitchFamily="34" charset="0"/>
        <a:buChar char="•"/>
        <a:defRPr sz="1959" kern="1200">
          <a:solidFill>
            <a:schemeClr val="tx1"/>
          </a:solidFill>
          <a:latin typeface="+mn-lt"/>
          <a:ea typeface="+mn-ea"/>
          <a:cs typeface="+mn-cs"/>
        </a:defRPr>
      </a:lvl8pPr>
      <a:lvl9pPr marL="3883730" indent="-228455" algn="l" defTabSz="913818" rtl="0" eaLnBrk="1" latinLnBrk="0" hangingPunct="1">
        <a:spcBef>
          <a:spcPct val="20000"/>
        </a:spcBef>
        <a:buFont typeface="Arial" pitchFamily="34" charset="0"/>
        <a:buChar char="•"/>
        <a:defRPr sz="1959" kern="1200">
          <a:solidFill>
            <a:schemeClr val="tx1"/>
          </a:solidFill>
          <a:latin typeface="+mn-lt"/>
          <a:ea typeface="+mn-ea"/>
          <a:cs typeface="+mn-cs"/>
        </a:defRPr>
      </a:lvl9pPr>
    </p:bodyStyle>
    <p:otherStyle>
      <a:defPPr>
        <a:defRPr lang="en-US"/>
      </a:defPPr>
      <a:lvl1pPr marL="0" algn="l" defTabSz="913818" rtl="0" eaLnBrk="1" latinLnBrk="0" hangingPunct="1">
        <a:defRPr sz="1763" kern="1200">
          <a:solidFill>
            <a:schemeClr val="tx1"/>
          </a:solidFill>
          <a:latin typeface="+mn-lt"/>
          <a:ea typeface="+mn-ea"/>
          <a:cs typeface="+mn-cs"/>
        </a:defRPr>
      </a:lvl1pPr>
      <a:lvl2pPr marL="456909" algn="l" defTabSz="913818" rtl="0" eaLnBrk="1" latinLnBrk="0" hangingPunct="1">
        <a:defRPr sz="1763" kern="1200">
          <a:solidFill>
            <a:schemeClr val="tx1"/>
          </a:solidFill>
          <a:latin typeface="+mn-lt"/>
          <a:ea typeface="+mn-ea"/>
          <a:cs typeface="+mn-cs"/>
        </a:defRPr>
      </a:lvl2pPr>
      <a:lvl3pPr marL="913818" algn="l" defTabSz="913818" rtl="0" eaLnBrk="1" latinLnBrk="0" hangingPunct="1">
        <a:defRPr sz="1763" kern="1200">
          <a:solidFill>
            <a:schemeClr val="tx1"/>
          </a:solidFill>
          <a:latin typeface="+mn-lt"/>
          <a:ea typeface="+mn-ea"/>
          <a:cs typeface="+mn-cs"/>
        </a:defRPr>
      </a:lvl3pPr>
      <a:lvl4pPr marL="1370728" algn="l" defTabSz="913818" rtl="0" eaLnBrk="1" latinLnBrk="0" hangingPunct="1">
        <a:defRPr sz="1763" kern="1200">
          <a:solidFill>
            <a:schemeClr val="tx1"/>
          </a:solidFill>
          <a:latin typeface="+mn-lt"/>
          <a:ea typeface="+mn-ea"/>
          <a:cs typeface="+mn-cs"/>
        </a:defRPr>
      </a:lvl4pPr>
      <a:lvl5pPr marL="1827637" algn="l" defTabSz="913818" rtl="0" eaLnBrk="1" latinLnBrk="0" hangingPunct="1">
        <a:defRPr sz="1763" kern="1200">
          <a:solidFill>
            <a:schemeClr val="tx1"/>
          </a:solidFill>
          <a:latin typeface="+mn-lt"/>
          <a:ea typeface="+mn-ea"/>
          <a:cs typeface="+mn-cs"/>
        </a:defRPr>
      </a:lvl5pPr>
      <a:lvl6pPr marL="2284546" algn="l" defTabSz="913818" rtl="0" eaLnBrk="1" latinLnBrk="0" hangingPunct="1">
        <a:defRPr sz="1763" kern="1200">
          <a:solidFill>
            <a:schemeClr val="tx1"/>
          </a:solidFill>
          <a:latin typeface="+mn-lt"/>
          <a:ea typeface="+mn-ea"/>
          <a:cs typeface="+mn-cs"/>
        </a:defRPr>
      </a:lvl6pPr>
      <a:lvl7pPr marL="2741455" algn="l" defTabSz="913818" rtl="0" eaLnBrk="1" latinLnBrk="0" hangingPunct="1">
        <a:defRPr sz="1763" kern="1200">
          <a:solidFill>
            <a:schemeClr val="tx1"/>
          </a:solidFill>
          <a:latin typeface="+mn-lt"/>
          <a:ea typeface="+mn-ea"/>
          <a:cs typeface="+mn-cs"/>
        </a:defRPr>
      </a:lvl7pPr>
      <a:lvl8pPr marL="3198365" algn="l" defTabSz="913818" rtl="0" eaLnBrk="1" latinLnBrk="0" hangingPunct="1">
        <a:defRPr sz="1763" kern="1200">
          <a:solidFill>
            <a:schemeClr val="tx1"/>
          </a:solidFill>
          <a:latin typeface="+mn-lt"/>
          <a:ea typeface="+mn-ea"/>
          <a:cs typeface="+mn-cs"/>
        </a:defRPr>
      </a:lvl8pPr>
      <a:lvl9pPr marL="3655275" algn="l" defTabSz="913818" rtl="0" eaLnBrk="1" latinLnBrk="0" hangingPunct="1">
        <a:defRPr sz="17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auto">
      <p:bgPr>
        <a:solidFill>
          <a:srgbClr val="21212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171" y="1189178"/>
            <a:ext cx="11650486"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23448994"/>
      </p:ext>
    </p:extLst>
  </p:cSld>
  <p:clrMap bg1="dk1" tx1="lt1" bg2="dk2" tx2="lt2" accent1="accent1" accent2="accent2" accent3="accent3" accent4="accent4" accent5="accent5" accent6="accent6" hlink="hlink" folHlink="folHlink"/>
  <p:sldLayoutIdLst>
    <p:sldLayoutId id="2147485117" r:id="rId1"/>
    <p:sldLayoutId id="2147485118" r:id="rId2"/>
    <p:sldLayoutId id="2147485119" r:id="rId3"/>
    <p:sldLayoutId id="2147485120" r:id="rId4"/>
    <p:sldLayoutId id="2147485121" r:id="rId5"/>
    <p:sldLayoutId id="2147485122" r:id="rId6"/>
    <p:sldLayoutId id="2147485123" r:id="rId7"/>
    <p:sldLayoutId id="2147485124" r:id="rId8"/>
    <p:sldLayoutId id="2147485125" r:id="rId9"/>
    <p:sldLayoutId id="2147485126" r:id="rId10"/>
    <p:sldLayoutId id="2147485127" r:id="rId11"/>
    <p:sldLayoutId id="2147485128" r:id="rId12"/>
    <p:sldLayoutId id="2147485129" r:id="rId13"/>
    <p:sldLayoutId id="2147485130" r:id="rId14"/>
  </p:sldLayoutIdLst>
  <p:transition>
    <p:fade/>
  </p:transition>
  <p:txStyles>
    <p:titleStyle>
      <a:lvl1pPr algn="l" defTabSz="91418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7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ltGray">
      <p:bgPr>
        <a:solidFill>
          <a:srgbClr val="00000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171" y="1189178"/>
            <a:ext cx="11650486"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0"/>
          <a:stretch>
            <a:fillRect/>
          </a:stretch>
        </p:blipFill>
        <p:spPr>
          <a:xfrm rot="5400000">
            <a:off x="9205457" y="2991147"/>
            <a:ext cx="6858623" cy="876329"/>
          </a:xfrm>
          <a:prstGeom prst="rect">
            <a:avLst/>
          </a:prstGeom>
        </p:spPr>
      </p:pic>
    </p:spTree>
    <p:extLst>
      <p:ext uri="{BB962C8B-B14F-4D97-AF65-F5344CB8AC3E}">
        <p14:creationId xmlns:p14="http://schemas.microsoft.com/office/powerpoint/2010/main" val="3211851434"/>
      </p:ext>
    </p:extLst>
  </p:cSld>
  <p:clrMap bg1="dk1" tx1="lt1" bg2="dk2" tx2="lt2" accent1="accent1" accent2="accent2" accent3="accent3" accent4="accent4" accent5="accent5" accent6="accent6" hlink="hlink" folHlink="folHlink"/>
  <p:sldLayoutIdLst>
    <p:sldLayoutId id="2147485132" r:id="rId1"/>
    <p:sldLayoutId id="2147485133" r:id="rId2"/>
    <p:sldLayoutId id="2147485134" r:id="rId3"/>
    <p:sldLayoutId id="2147485135" r:id="rId4"/>
    <p:sldLayoutId id="2147485136" r:id="rId5"/>
    <p:sldLayoutId id="2147485137" r:id="rId6"/>
    <p:sldLayoutId id="2147485138" r:id="rId7"/>
    <p:sldLayoutId id="2147485139" r:id="rId8"/>
    <p:sldLayoutId id="2147485140" r:id="rId9"/>
    <p:sldLayoutId id="2147485141" r:id="rId10"/>
    <p:sldLayoutId id="2147485142" r:id="rId11"/>
    <p:sldLayoutId id="2147485143" r:id="rId12"/>
    <p:sldLayoutId id="2147485144" r:id="rId13"/>
    <p:sldLayoutId id="2147485145" r:id="rId14"/>
    <p:sldLayoutId id="2147485146" r:id="rId15"/>
    <p:sldLayoutId id="2147485147" r:id="rId16"/>
    <p:sldLayoutId id="2147485148" r:id="rId17"/>
    <p:sldLayoutId id="2147485149" r:id="rId18"/>
  </p:sldLayoutIdLst>
  <p:transition>
    <p:fade/>
  </p:transition>
  <p:txStyles>
    <p:titleStyle>
      <a:lvl1pPr algn="l" defTabSz="91418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7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2F2F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171" y="1189178"/>
            <a:ext cx="11650486"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
          <a:stretch>
            <a:fillRect/>
          </a:stretch>
        </p:blipFill>
        <p:spPr>
          <a:xfrm rot="5400000">
            <a:off x="9205457" y="2991147"/>
            <a:ext cx="6858623" cy="876329"/>
          </a:xfrm>
          <a:prstGeom prst="rect">
            <a:avLst/>
          </a:prstGeom>
        </p:spPr>
      </p:pic>
    </p:spTree>
    <p:extLst>
      <p:ext uri="{BB962C8B-B14F-4D97-AF65-F5344CB8AC3E}">
        <p14:creationId xmlns:p14="http://schemas.microsoft.com/office/powerpoint/2010/main" val="2863588501"/>
      </p:ext>
    </p:extLst>
  </p:cSld>
  <p:clrMap bg1="lt1" tx1="dk1" bg2="lt2" tx2="dk2" accent1="accent1" accent2="accent2" accent3="accent3" accent4="accent4" accent5="accent5" accent6="accent6" hlink="hlink" folHlink="folHlink"/>
  <p:transition>
    <p:fade/>
  </p:transition>
  <p:txStyles>
    <p:titleStyle>
      <a:lvl1pPr algn="l" defTabSz="91418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7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userDrawn="1"/>
        </p:nvPicPr>
        <p:blipFill>
          <a:blip r:embed="rId34">
            <a:extLst>
              <a:ext uri="{28A0092B-C50C-407E-A947-70E740481C1C}">
                <a14:useLocalDpi xmlns:a14="http://schemas.microsoft.com/office/drawing/2010/main" val="0"/>
              </a:ext>
            </a:extLst>
          </a:blip>
          <a:stretch>
            <a:fillRect/>
          </a:stretch>
        </p:blipFill>
        <p:spPr>
          <a:xfrm rot="5400000">
            <a:off x="10321813" y="1906465"/>
            <a:ext cx="4214127" cy="401200"/>
          </a:xfrm>
          <a:prstGeom prst="rect">
            <a:avLst/>
          </a:prstGeom>
        </p:spPr>
      </p:pic>
      <p:pic>
        <p:nvPicPr>
          <p:cNvPr id="8" name="Logo" descr="MS Logo White.png"/>
          <p:cNvPicPr>
            <a:picLocks noChangeAspect="1"/>
          </p:cNvPicPr>
          <p:nvPr userDrawn="1"/>
        </p:nvPicPr>
        <p:blipFill>
          <a:blip r:embed="rId35">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944548997"/>
      </p:ext>
    </p:extLst>
  </p:cSld>
  <p:clrMap bg1="lt1" tx1="dk1" bg2="lt2" tx2="dk2" accent1="accent1" accent2="accent2" accent3="accent3" accent4="accent4" accent5="accent5" accent6="accent6" hlink="hlink" folHlink="folHlink"/>
  <p:sldLayoutIdLst>
    <p:sldLayoutId id="2147485153" r:id="rId1"/>
    <p:sldLayoutId id="2147485154" r:id="rId2"/>
    <p:sldLayoutId id="2147485155" r:id="rId3"/>
    <p:sldLayoutId id="2147485156" r:id="rId4"/>
    <p:sldLayoutId id="2147485157" r:id="rId5"/>
    <p:sldLayoutId id="2147485158" r:id="rId6"/>
    <p:sldLayoutId id="2147485159" r:id="rId7"/>
    <p:sldLayoutId id="2147485160" r:id="rId8"/>
    <p:sldLayoutId id="2147485161" r:id="rId9"/>
    <p:sldLayoutId id="2147485162" r:id="rId10"/>
    <p:sldLayoutId id="2147485163" r:id="rId11"/>
    <p:sldLayoutId id="2147485164" r:id="rId12"/>
    <p:sldLayoutId id="2147485165" r:id="rId13"/>
    <p:sldLayoutId id="2147485166" r:id="rId14"/>
    <p:sldLayoutId id="2147485167" r:id="rId15"/>
    <p:sldLayoutId id="2147485168" r:id="rId16"/>
    <p:sldLayoutId id="2147485169" r:id="rId17"/>
    <p:sldLayoutId id="2147485170" r:id="rId18"/>
    <p:sldLayoutId id="2147485171" r:id="rId19"/>
    <p:sldLayoutId id="2147485172" r:id="rId20"/>
    <p:sldLayoutId id="2147485173" r:id="rId21"/>
    <p:sldLayoutId id="2147485174" r:id="rId22"/>
    <p:sldLayoutId id="2147485175" r:id="rId23"/>
    <p:sldLayoutId id="2147485176" r:id="rId24"/>
    <p:sldLayoutId id="2147485177" r:id="rId25"/>
    <p:sldLayoutId id="2147485178" r:id="rId26"/>
    <p:sldLayoutId id="2147485179" r:id="rId27"/>
    <p:sldLayoutId id="2147485180" r:id="rId28"/>
    <p:sldLayoutId id="2147485181" r:id="rId29"/>
    <p:sldLayoutId id="2147485182" r:id="rId30"/>
    <p:sldLayoutId id="2147485183" r:id="rId31"/>
    <p:sldLayoutId id="2147485185" r:id="rId32"/>
  </p:sldLayoutIdLst>
  <p:transition>
    <p:fade/>
  </p:transition>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7.xml"/></Relationships>
</file>

<file path=ppt/slides/_rels/slide10.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121.png"/><Relationship Id="rId1" Type="http://schemas.openxmlformats.org/officeDocument/2006/relationships/slideLayout" Target="../slideLayouts/slideLayout72.xml"/><Relationship Id="rId4" Type="http://schemas.openxmlformats.org/officeDocument/2006/relationships/image" Target="../media/image122.emf"/></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3.xml"/></Relationships>
</file>

<file path=ppt/slides/_rels/slide12.xml.rels><?xml version="1.0" encoding="UTF-8" standalone="yes"?>
<Relationships xmlns="http://schemas.openxmlformats.org/package/2006/relationships"><Relationship Id="rId8" Type="http://schemas.openxmlformats.org/officeDocument/2006/relationships/image" Target="../media/image129.png"/><Relationship Id="rId13" Type="http://schemas.openxmlformats.org/officeDocument/2006/relationships/image" Target="../media/image134.png"/><Relationship Id="rId18" Type="http://schemas.openxmlformats.org/officeDocument/2006/relationships/image" Target="../media/image139.png"/><Relationship Id="rId26" Type="http://schemas.openxmlformats.org/officeDocument/2006/relationships/image" Target="../media/image147.jpeg"/><Relationship Id="rId3" Type="http://schemas.openxmlformats.org/officeDocument/2006/relationships/image" Target="../media/image124.png"/><Relationship Id="rId21" Type="http://schemas.openxmlformats.org/officeDocument/2006/relationships/image" Target="../media/image142.png"/><Relationship Id="rId34" Type="http://schemas.openxmlformats.org/officeDocument/2006/relationships/image" Target="../media/image155.png"/><Relationship Id="rId7" Type="http://schemas.openxmlformats.org/officeDocument/2006/relationships/image" Target="../media/image128.png"/><Relationship Id="rId12" Type="http://schemas.openxmlformats.org/officeDocument/2006/relationships/image" Target="../media/image133.jpeg"/><Relationship Id="rId17" Type="http://schemas.openxmlformats.org/officeDocument/2006/relationships/image" Target="../media/image138.png"/><Relationship Id="rId25" Type="http://schemas.openxmlformats.org/officeDocument/2006/relationships/image" Target="../media/image146.png"/><Relationship Id="rId33" Type="http://schemas.openxmlformats.org/officeDocument/2006/relationships/image" Target="../media/image154.png"/><Relationship Id="rId2" Type="http://schemas.openxmlformats.org/officeDocument/2006/relationships/image" Target="../media/image123.png"/><Relationship Id="rId16" Type="http://schemas.openxmlformats.org/officeDocument/2006/relationships/image" Target="../media/image137.png"/><Relationship Id="rId20" Type="http://schemas.openxmlformats.org/officeDocument/2006/relationships/image" Target="../media/image141.jpg"/><Relationship Id="rId29" Type="http://schemas.openxmlformats.org/officeDocument/2006/relationships/image" Target="../media/image150.png"/><Relationship Id="rId1" Type="http://schemas.openxmlformats.org/officeDocument/2006/relationships/slideLayout" Target="../slideLayouts/slideLayout73.xml"/><Relationship Id="rId6" Type="http://schemas.openxmlformats.org/officeDocument/2006/relationships/image" Target="../media/image127.png"/><Relationship Id="rId11" Type="http://schemas.openxmlformats.org/officeDocument/2006/relationships/image" Target="../media/image132.png"/><Relationship Id="rId24" Type="http://schemas.openxmlformats.org/officeDocument/2006/relationships/image" Target="../media/image145.png"/><Relationship Id="rId32" Type="http://schemas.openxmlformats.org/officeDocument/2006/relationships/image" Target="../media/image153.png"/><Relationship Id="rId5" Type="http://schemas.openxmlformats.org/officeDocument/2006/relationships/image" Target="../media/image126.png"/><Relationship Id="rId15" Type="http://schemas.openxmlformats.org/officeDocument/2006/relationships/image" Target="../media/image136.png"/><Relationship Id="rId23" Type="http://schemas.openxmlformats.org/officeDocument/2006/relationships/image" Target="../media/image144.png"/><Relationship Id="rId28" Type="http://schemas.openxmlformats.org/officeDocument/2006/relationships/image" Target="../media/image149.png"/><Relationship Id="rId10" Type="http://schemas.openxmlformats.org/officeDocument/2006/relationships/image" Target="../media/image131.png"/><Relationship Id="rId19" Type="http://schemas.openxmlformats.org/officeDocument/2006/relationships/image" Target="../media/image140.png"/><Relationship Id="rId31" Type="http://schemas.openxmlformats.org/officeDocument/2006/relationships/image" Target="../media/image152.png"/><Relationship Id="rId4" Type="http://schemas.openxmlformats.org/officeDocument/2006/relationships/image" Target="../media/image125.png"/><Relationship Id="rId9" Type="http://schemas.openxmlformats.org/officeDocument/2006/relationships/image" Target="../media/image130.png"/><Relationship Id="rId14" Type="http://schemas.openxmlformats.org/officeDocument/2006/relationships/image" Target="../media/image135.png"/><Relationship Id="rId22" Type="http://schemas.openxmlformats.org/officeDocument/2006/relationships/image" Target="../media/image143.png"/><Relationship Id="rId27" Type="http://schemas.openxmlformats.org/officeDocument/2006/relationships/image" Target="../media/image148.png"/><Relationship Id="rId30" Type="http://schemas.openxmlformats.org/officeDocument/2006/relationships/image" Target="../media/image151.png"/></Relationships>
</file>

<file path=ppt/slides/_rels/slide13.xml.rels><?xml version="1.0" encoding="UTF-8" standalone="yes"?>
<Relationships xmlns="http://schemas.openxmlformats.org/package/2006/relationships"><Relationship Id="rId3" Type="http://schemas.openxmlformats.org/officeDocument/2006/relationships/image" Target="../media/image157.emf"/><Relationship Id="rId2" Type="http://schemas.openxmlformats.org/officeDocument/2006/relationships/image" Target="../media/image156.emf"/><Relationship Id="rId1" Type="http://schemas.openxmlformats.org/officeDocument/2006/relationships/slideLayout" Target="../slideLayouts/slideLayout510.xml"/><Relationship Id="rId4" Type="http://schemas.openxmlformats.org/officeDocument/2006/relationships/image" Target="../media/image158.emf"/></Relationships>
</file>

<file path=ppt/slides/_rels/slide14.xml.rels><?xml version="1.0" encoding="UTF-8" standalone="yes"?>
<Relationships xmlns="http://schemas.openxmlformats.org/package/2006/relationships"><Relationship Id="rId3" Type="http://schemas.openxmlformats.org/officeDocument/2006/relationships/image" Target="../media/image159.emf"/><Relationship Id="rId2" Type="http://schemas.openxmlformats.org/officeDocument/2006/relationships/notesSlide" Target="../notesSlides/notesSlide8.xml"/><Relationship Id="rId1" Type="http://schemas.openxmlformats.org/officeDocument/2006/relationships/slideLayout" Target="../slideLayouts/slideLayout148.xml"/><Relationship Id="rId4" Type="http://schemas.openxmlformats.org/officeDocument/2006/relationships/image" Target="../media/image160.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1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2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16.xml"/></Relationships>
</file>

<file path=ppt/slides/_rels/slide18.xml.rels><?xml version="1.0" encoding="UTF-8" standalone="yes"?>
<Relationships xmlns="http://schemas.openxmlformats.org/package/2006/relationships"><Relationship Id="rId3" Type="http://schemas.openxmlformats.org/officeDocument/2006/relationships/image" Target="../media/image161.jpg"/><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8" Type="http://schemas.openxmlformats.org/officeDocument/2006/relationships/image" Target="../media/image162.emf"/><Relationship Id="rId13" Type="http://schemas.openxmlformats.org/officeDocument/2006/relationships/image" Target="../media/image49.png"/><Relationship Id="rId3" Type="http://schemas.openxmlformats.org/officeDocument/2006/relationships/image" Target="../media/image159.emf"/><Relationship Id="rId7" Type="http://schemas.openxmlformats.org/officeDocument/2006/relationships/image" Target="../media/image44.png"/><Relationship Id="rId12" Type="http://schemas.openxmlformats.org/officeDocument/2006/relationships/image" Target="../media/image36.png"/><Relationship Id="rId17" Type="http://schemas.openxmlformats.org/officeDocument/2006/relationships/image" Target="../media/image27.png"/><Relationship Id="rId2" Type="http://schemas.openxmlformats.org/officeDocument/2006/relationships/notesSlide" Target="../notesSlides/notesSlide12.xml"/><Relationship Id="rId16" Type="http://schemas.openxmlformats.org/officeDocument/2006/relationships/image" Target="../media/image26.png"/><Relationship Id="rId1" Type="http://schemas.openxmlformats.org/officeDocument/2006/relationships/slideLayout" Target="../slideLayouts/slideLayout148.xml"/><Relationship Id="rId6" Type="http://schemas.openxmlformats.org/officeDocument/2006/relationships/image" Target="../media/image22.png"/><Relationship Id="rId11" Type="http://schemas.openxmlformats.org/officeDocument/2006/relationships/image" Target="../media/image35.png"/><Relationship Id="rId5" Type="http://schemas.openxmlformats.org/officeDocument/2006/relationships/image" Target="../media/image25.png"/><Relationship Id="rId15" Type="http://schemas.openxmlformats.org/officeDocument/2006/relationships/image" Target="../media/image47.png"/><Relationship Id="rId10" Type="http://schemas.openxmlformats.org/officeDocument/2006/relationships/image" Target="../media/image37.png"/><Relationship Id="rId4" Type="http://schemas.openxmlformats.org/officeDocument/2006/relationships/image" Target="../media/image160.png"/><Relationship Id="rId9" Type="http://schemas.openxmlformats.org/officeDocument/2006/relationships/image" Target="../media/image34.png"/><Relationship Id="rId14" Type="http://schemas.openxmlformats.org/officeDocument/2006/relationships/image" Target="../media/image48.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20.xml.rels><?xml version="1.0" encoding="UTF-8" standalone="yes"?>
<Relationships xmlns="http://schemas.openxmlformats.org/package/2006/relationships"><Relationship Id="rId8" Type="http://schemas.openxmlformats.org/officeDocument/2006/relationships/image" Target="../media/image168.emf"/><Relationship Id="rId3" Type="http://schemas.openxmlformats.org/officeDocument/2006/relationships/image" Target="../media/image163.png"/><Relationship Id="rId7" Type="http://schemas.openxmlformats.org/officeDocument/2006/relationships/image" Target="../media/image167.emf"/><Relationship Id="rId2" Type="http://schemas.openxmlformats.org/officeDocument/2006/relationships/notesSlide" Target="../notesSlides/notesSlide13.xml"/><Relationship Id="rId1" Type="http://schemas.openxmlformats.org/officeDocument/2006/relationships/slideLayout" Target="../slideLayouts/slideLayout502.xml"/><Relationship Id="rId6" Type="http://schemas.openxmlformats.org/officeDocument/2006/relationships/image" Target="../media/image166.emf"/><Relationship Id="rId5" Type="http://schemas.openxmlformats.org/officeDocument/2006/relationships/image" Target="../media/image165.emf"/><Relationship Id="rId4" Type="http://schemas.openxmlformats.org/officeDocument/2006/relationships/image" Target="../media/image164.png"/></Relationships>
</file>

<file path=ppt/slides/_rels/slide21.xml.rels><?xml version="1.0" encoding="UTF-8" standalone="yes"?>
<Relationships xmlns="http://schemas.openxmlformats.org/package/2006/relationships"><Relationship Id="rId8" Type="http://schemas.openxmlformats.org/officeDocument/2006/relationships/image" Target="../media/image175.emf"/><Relationship Id="rId3" Type="http://schemas.openxmlformats.org/officeDocument/2006/relationships/image" Target="../media/image170.emf"/><Relationship Id="rId7" Type="http://schemas.openxmlformats.org/officeDocument/2006/relationships/image" Target="../media/image174.emf"/><Relationship Id="rId2" Type="http://schemas.openxmlformats.org/officeDocument/2006/relationships/image" Target="../media/image169.emf"/><Relationship Id="rId1" Type="http://schemas.openxmlformats.org/officeDocument/2006/relationships/slideLayout" Target="../slideLayouts/slideLayout420.xml"/><Relationship Id="rId6" Type="http://schemas.openxmlformats.org/officeDocument/2006/relationships/image" Target="../media/image173.emf"/><Relationship Id="rId11" Type="http://schemas.openxmlformats.org/officeDocument/2006/relationships/image" Target="../media/image178.emf"/><Relationship Id="rId5" Type="http://schemas.openxmlformats.org/officeDocument/2006/relationships/image" Target="../media/image172.emf"/><Relationship Id="rId10" Type="http://schemas.openxmlformats.org/officeDocument/2006/relationships/image" Target="../media/image177.emf"/><Relationship Id="rId4" Type="http://schemas.openxmlformats.org/officeDocument/2006/relationships/image" Target="../media/image171.emf"/><Relationship Id="rId9" Type="http://schemas.openxmlformats.org/officeDocument/2006/relationships/image" Target="../media/image176.emf"/></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12.xml"/></Relationships>
</file>

<file path=ppt/slides/_rels/slide23.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image" Target="../media/image179.png"/><Relationship Id="rId1" Type="http://schemas.openxmlformats.org/officeDocument/2006/relationships/slideLayout" Target="../slideLayouts/slideLayout631.xml"/><Relationship Id="rId5" Type="http://schemas.openxmlformats.org/officeDocument/2006/relationships/comments" Target="../comments/comment1.xml"/><Relationship Id="rId4" Type="http://schemas.openxmlformats.org/officeDocument/2006/relationships/image" Target="../media/image181.png"/></Relationships>
</file>

<file path=ppt/slides/_rels/slide24.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notesSlide" Target="../notesSlides/notesSlide14.xml"/><Relationship Id="rId1" Type="http://schemas.openxmlformats.org/officeDocument/2006/relationships/slideLayout" Target="../slideLayouts/slideLayout495.xml"/></Relationships>
</file>

<file path=ppt/slides/_rels/slide25.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182.emf"/><Relationship Id="rId3" Type="http://schemas.openxmlformats.org/officeDocument/2006/relationships/image" Target="../media/image159.emf"/><Relationship Id="rId7" Type="http://schemas.openxmlformats.org/officeDocument/2006/relationships/image" Target="../media/image41.png"/><Relationship Id="rId12" Type="http://schemas.openxmlformats.org/officeDocument/2006/relationships/image" Target="../media/image42.png"/><Relationship Id="rId2" Type="http://schemas.openxmlformats.org/officeDocument/2006/relationships/notesSlide" Target="../notesSlides/notesSlide15.xml"/><Relationship Id="rId1" Type="http://schemas.openxmlformats.org/officeDocument/2006/relationships/slideLayout" Target="../slideLayouts/slideLayout148.xml"/><Relationship Id="rId6" Type="http://schemas.openxmlformats.org/officeDocument/2006/relationships/image" Target="../media/image29.png"/><Relationship Id="rId11" Type="http://schemas.openxmlformats.org/officeDocument/2006/relationships/image" Target="../media/image43.png"/><Relationship Id="rId5" Type="http://schemas.openxmlformats.org/officeDocument/2006/relationships/image" Target="../media/image28.png"/><Relationship Id="rId15" Type="http://schemas.openxmlformats.org/officeDocument/2006/relationships/image" Target="../media/image33.png"/><Relationship Id="rId10" Type="http://schemas.openxmlformats.org/officeDocument/2006/relationships/image" Target="../media/image40.png"/><Relationship Id="rId4" Type="http://schemas.openxmlformats.org/officeDocument/2006/relationships/image" Target="../media/image160.png"/><Relationship Id="rId9" Type="http://schemas.openxmlformats.org/officeDocument/2006/relationships/image" Target="../media/image38.png"/><Relationship Id="rId14" Type="http://schemas.openxmlformats.org/officeDocument/2006/relationships/image" Target="../media/image31.png"/></Relationships>
</file>

<file path=ppt/slides/_rels/slide26.xml.rels><?xml version="1.0" encoding="UTF-8" standalone="yes"?>
<Relationships xmlns="http://schemas.openxmlformats.org/package/2006/relationships"><Relationship Id="rId8" Type="http://schemas.openxmlformats.org/officeDocument/2006/relationships/image" Target="../media/image189.emf"/><Relationship Id="rId3" Type="http://schemas.openxmlformats.org/officeDocument/2006/relationships/image" Target="../media/image184.emf"/><Relationship Id="rId7" Type="http://schemas.openxmlformats.org/officeDocument/2006/relationships/image" Target="../media/image188.emf"/><Relationship Id="rId2" Type="http://schemas.openxmlformats.org/officeDocument/2006/relationships/image" Target="../media/image183.emf"/><Relationship Id="rId1" Type="http://schemas.openxmlformats.org/officeDocument/2006/relationships/slideLayout" Target="../slideLayouts/slideLayout152.xml"/><Relationship Id="rId6" Type="http://schemas.openxmlformats.org/officeDocument/2006/relationships/image" Target="../media/image187.emf"/><Relationship Id="rId5" Type="http://schemas.openxmlformats.org/officeDocument/2006/relationships/image" Target="../media/image186.emf"/><Relationship Id="rId10" Type="http://schemas.openxmlformats.org/officeDocument/2006/relationships/image" Target="../media/image191.emf"/><Relationship Id="rId4" Type="http://schemas.openxmlformats.org/officeDocument/2006/relationships/image" Target="../media/image185.emf"/><Relationship Id="rId9" Type="http://schemas.openxmlformats.org/officeDocument/2006/relationships/image" Target="../media/image190.emf"/></Relationships>
</file>

<file path=ppt/slides/_rels/slide27.xml.rels><?xml version="1.0" encoding="UTF-8" standalone="yes"?>
<Relationships xmlns="http://schemas.openxmlformats.org/package/2006/relationships"><Relationship Id="rId3" Type="http://schemas.openxmlformats.org/officeDocument/2006/relationships/image" Target="../media/image185.emf"/><Relationship Id="rId2" Type="http://schemas.openxmlformats.org/officeDocument/2006/relationships/image" Target="../media/image184.emf"/><Relationship Id="rId1" Type="http://schemas.openxmlformats.org/officeDocument/2006/relationships/slideLayout" Target="../slideLayouts/slideLayout152.xml"/><Relationship Id="rId6" Type="http://schemas.openxmlformats.org/officeDocument/2006/relationships/image" Target="../media/image183.emf"/><Relationship Id="rId5" Type="http://schemas.openxmlformats.org/officeDocument/2006/relationships/image" Target="../media/image187.emf"/><Relationship Id="rId4" Type="http://schemas.openxmlformats.org/officeDocument/2006/relationships/image" Target="../media/image186.emf"/></Relationships>
</file>

<file path=ppt/slides/_rels/slide28.xml.rels><?xml version="1.0" encoding="UTF-8" standalone="yes"?>
<Relationships xmlns="http://schemas.openxmlformats.org/package/2006/relationships"><Relationship Id="rId3" Type="http://schemas.openxmlformats.org/officeDocument/2006/relationships/image" Target="../media/image193.png"/><Relationship Id="rId2" Type="http://schemas.openxmlformats.org/officeDocument/2006/relationships/image" Target="../media/image192.emf"/><Relationship Id="rId1" Type="http://schemas.openxmlformats.org/officeDocument/2006/relationships/slideLayout" Target="../slideLayouts/slideLayout73.xml"/></Relationships>
</file>

<file path=ppt/slides/_rels/slide29.xml.rels><?xml version="1.0" encoding="UTF-8" standalone="yes"?>
<Relationships xmlns="http://schemas.openxmlformats.org/package/2006/relationships"><Relationship Id="rId8" Type="http://schemas.openxmlformats.org/officeDocument/2006/relationships/image" Target="../media/image199.png"/><Relationship Id="rId3" Type="http://schemas.openxmlformats.org/officeDocument/2006/relationships/image" Target="../media/image194.png"/><Relationship Id="rId7" Type="http://schemas.openxmlformats.org/officeDocument/2006/relationships/image" Target="../media/image198.emf"/><Relationship Id="rId2" Type="http://schemas.openxmlformats.org/officeDocument/2006/relationships/notesSlide" Target="../notesSlides/notesSlide16.xml"/><Relationship Id="rId1" Type="http://schemas.openxmlformats.org/officeDocument/2006/relationships/slideLayout" Target="../slideLayouts/slideLayout380.xml"/><Relationship Id="rId6" Type="http://schemas.openxmlformats.org/officeDocument/2006/relationships/image" Target="../media/image197.png"/><Relationship Id="rId5" Type="http://schemas.openxmlformats.org/officeDocument/2006/relationships/image" Target="../media/image196.png"/><Relationship Id="rId4" Type="http://schemas.openxmlformats.org/officeDocument/2006/relationships/image" Target="../media/image195.png"/><Relationship Id="rId9" Type="http://schemas.openxmlformats.org/officeDocument/2006/relationships/image" Target="../media/image200.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30.xml.rels><?xml version="1.0" encoding="UTF-8" standalone="yes"?>
<Relationships xmlns="http://schemas.openxmlformats.org/package/2006/relationships"><Relationship Id="rId3" Type="http://schemas.openxmlformats.org/officeDocument/2006/relationships/image" Target="../media/image201.emf"/><Relationship Id="rId2" Type="http://schemas.openxmlformats.org/officeDocument/2006/relationships/notesSlide" Target="../notesSlides/notesSlide17.xml"/><Relationship Id="rId1" Type="http://schemas.openxmlformats.org/officeDocument/2006/relationships/slideLayout" Target="../slideLayouts/slideLayout82.xml"/></Relationships>
</file>

<file path=ppt/slides/_rels/slide31.xml.rels><?xml version="1.0" encoding="UTF-8" standalone="yes"?>
<Relationships xmlns="http://schemas.openxmlformats.org/package/2006/relationships"><Relationship Id="rId3" Type="http://schemas.openxmlformats.org/officeDocument/2006/relationships/image" Target="../media/image159.emf"/><Relationship Id="rId7" Type="http://schemas.openxmlformats.org/officeDocument/2006/relationships/image" Target="../media/image202.emf"/><Relationship Id="rId2" Type="http://schemas.openxmlformats.org/officeDocument/2006/relationships/notesSlide" Target="../notesSlides/notesSlide18.xml"/><Relationship Id="rId1" Type="http://schemas.openxmlformats.org/officeDocument/2006/relationships/slideLayout" Target="../slideLayouts/slideLayout148.xml"/><Relationship Id="rId6" Type="http://schemas.openxmlformats.org/officeDocument/2006/relationships/image" Target="../media/image166.emf"/><Relationship Id="rId5" Type="http://schemas.openxmlformats.org/officeDocument/2006/relationships/image" Target="../media/image30.png"/><Relationship Id="rId4" Type="http://schemas.openxmlformats.org/officeDocument/2006/relationships/image" Target="../media/image160.png"/></Relationships>
</file>

<file path=ppt/slides/_rels/slide32.xml.rels><?xml version="1.0" encoding="UTF-8" standalone="yes"?>
<Relationships xmlns="http://schemas.openxmlformats.org/package/2006/relationships"><Relationship Id="rId8" Type="http://schemas.openxmlformats.org/officeDocument/2006/relationships/image" Target="../media/image207.emf"/><Relationship Id="rId3" Type="http://schemas.openxmlformats.org/officeDocument/2006/relationships/image" Target="../media/image192.emf"/><Relationship Id="rId7" Type="http://schemas.openxmlformats.org/officeDocument/2006/relationships/image" Target="../media/image206.emf"/><Relationship Id="rId2" Type="http://schemas.openxmlformats.org/officeDocument/2006/relationships/notesSlide" Target="../notesSlides/notesSlide19.xml"/><Relationship Id="rId1" Type="http://schemas.openxmlformats.org/officeDocument/2006/relationships/slideLayout" Target="../slideLayouts/slideLayout73.xml"/><Relationship Id="rId6" Type="http://schemas.openxmlformats.org/officeDocument/2006/relationships/image" Target="../media/image205.emf"/><Relationship Id="rId5" Type="http://schemas.openxmlformats.org/officeDocument/2006/relationships/image" Target="../media/image204.emf"/><Relationship Id="rId4" Type="http://schemas.openxmlformats.org/officeDocument/2006/relationships/image" Target="../media/image203.emf"/></Relationships>
</file>

<file path=ppt/slides/_rels/slide33.xml.rels><?xml version="1.0" encoding="UTF-8" standalone="yes"?>
<Relationships xmlns="http://schemas.openxmlformats.org/package/2006/relationships"><Relationship Id="rId3" Type="http://schemas.openxmlformats.org/officeDocument/2006/relationships/image" Target="../media/image208.png"/><Relationship Id="rId2" Type="http://schemas.openxmlformats.org/officeDocument/2006/relationships/notesSlide" Target="../notesSlides/notesSlide20.xml"/><Relationship Id="rId1" Type="http://schemas.openxmlformats.org/officeDocument/2006/relationships/slideLayout" Target="../slideLayouts/slideLayout256.xml"/></Relationships>
</file>

<file path=ppt/slides/_rels/slide34.xml.rels><?xml version="1.0" encoding="UTF-8" standalone="yes"?>
<Relationships xmlns="http://schemas.openxmlformats.org/package/2006/relationships"><Relationship Id="rId3" Type="http://schemas.openxmlformats.org/officeDocument/2006/relationships/image" Target="../media/image209.png"/><Relationship Id="rId2" Type="http://schemas.openxmlformats.org/officeDocument/2006/relationships/notesSlide" Target="../notesSlides/notesSlide21.xml"/><Relationship Id="rId1" Type="http://schemas.openxmlformats.org/officeDocument/2006/relationships/slideLayout" Target="../slideLayouts/slideLayout256.xml"/></Relationships>
</file>

<file path=ppt/slides/_rels/slide35.xml.rels><?xml version="1.0" encoding="UTF-8" standalone="yes"?>
<Relationships xmlns="http://schemas.openxmlformats.org/package/2006/relationships"><Relationship Id="rId8" Type="http://schemas.openxmlformats.org/officeDocument/2006/relationships/image" Target="../media/image215.jpg"/><Relationship Id="rId13" Type="http://schemas.openxmlformats.org/officeDocument/2006/relationships/image" Target="../media/image220.png"/><Relationship Id="rId18" Type="http://schemas.openxmlformats.org/officeDocument/2006/relationships/image" Target="../media/image225.jpg"/><Relationship Id="rId26" Type="http://schemas.openxmlformats.org/officeDocument/2006/relationships/image" Target="../media/image233.png"/><Relationship Id="rId3" Type="http://schemas.openxmlformats.org/officeDocument/2006/relationships/image" Target="../media/image210.jpg"/><Relationship Id="rId21" Type="http://schemas.openxmlformats.org/officeDocument/2006/relationships/image" Target="../media/image228.jpg"/><Relationship Id="rId7" Type="http://schemas.openxmlformats.org/officeDocument/2006/relationships/image" Target="../media/image214.png"/><Relationship Id="rId12" Type="http://schemas.openxmlformats.org/officeDocument/2006/relationships/image" Target="../media/image219.png"/><Relationship Id="rId17" Type="http://schemas.openxmlformats.org/officeDocument/2006/relationships/image" Target="../media/image224.png"/><Relationship Id="rId25" Type="http://schemas.openxmlformats.org/officeDocument/2006/relationships/image" Target="../media/image232.png"/><Relationship Id="rId2" Type="http://schemas.openxmlformats.org/officeDocument/2006/relationships/notesSlide" Target="../notesSlides/notesSlide22.xml"/><Relationship Id="rId16" Type="http://schemas.openxmlformats.org/officeDocument/2006/relationships/image" Target="../media/image223.png"/><Relationship Id="rId20" Type="http://schemas.openxmlformats.org/officeDocument/2006/relationships/image" Target="../media/image227.png"/><Relationship Id="rId29" Type="http://schemas.openxmlformats.org/officeDocument/2006/relationships/image" Target="../media/image236.jpeg"/><Relationship Id="rId1" Type="http://schemas.openxmlformats.org/officeDocument/2006/relationships/slideLayout" Target="../slideLayouts/slideLayout62.xml"/><Relationship Id="rId6" Type="http://schemas.openxmlformats.org/officeDocument/2006/relationships/image" Target="../media/image213.jpg"/><Relationship Id="rId11" Type="http://schemas.openxmlformats.org/officeDocument/2006/relationships/image" Target="../media/image218.jpg"/><Relationship Id="rId24" Type="http://schemas.openxmlformats.org/officeDocument/2006/relationships/image" Target="../media/image231.png"/><Relationship Id="rId5" Type="http://schemas.openxmlformats.org/officeDocument/2006/relationships/image" Target="../media/image212.png"/><Relationship Id="rId15" Type="http://schemas.openxmlformats.org/officeDocument/2006/relationships/image" Target="../media/image222.png"/><Relationship Id="rId23" Type="http://schemas.openxmlformats.org/officeDocument/2006/relationships/image" Target="../media/image230.png"/><Relationship Id="rId28" Type="http://schemas.openxmlformats.org/officeDocument/2006/relationships/image" Target="../media/image235.jpeg"/><Relationship Id="rId10" Type="http://schemas.openxmlformats.org/officeDocument/2006/relationships/image" Target="../media/image217.jpg"/><Relationship Id="rId19" Type="http://schemas.openxmlformats.org/officeDocument/2006/relationships/image" Target="../media/image226.png"/><Relationship Id="rId4" Type="http://schemas.openxmlformats.org/officeDocument/2006/relationships/image" Target="../media/image211.jpg"/><Relationship Id="rId9" Type="http://schemas.openxmlformats.org/officeDocument/2006/relationships/image" Target="../media/image216.png"/><Relationship Id="rId14" Type="http://schemas.openxmlformats.org/officeDocument/2006/relationships/image" Target="../media/image221.jpg"/><Relationship Id="rId22" Type="http://schemas.openxmlformats.org/officeDocument/2006/relationships/image" Target="../media/image229.png"/><Relationship Id="rId27" Type="http://schemas.openxmlformats.org/officeDocument/2006/relationships/image" Target="../media/image234.png"/><Relationship Id="rId30" Type="http://schemas.openxmlformats.org/officeDocument/2006/relationships/image" Target="../media/image237.png"/></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256.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238.png"/><Relationship Id="rId4" Type="http://schemas.openxmlformats.org/officeDocument/2006/relationships/hyperlink" Target="file:///\\localhost\%3ciframe%20src=%22https\::channel9.msdn.com:Blogs:Windows-Azure:Azure-Premium-Storage-5-Minute-Overview:player%22%20width=%22960%22%20height=%22540%22%20allowFullScreen%20frameBorder=%220%22%3e%3c:iframe%3e" TargetMode="Externa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77.xml"/></Relationships>
</file>

<file path=ppt/slides/_rels/slide38.xml.rels><?xml version="1.0" encoding="UTF-8" standalone="yes"?>
<Relationships xmlns="http://schemas.openxmlformats.org/package/2006/relationships"><Relationship Id="rId3" Type="http://schemas.openxmlformats.org/officeDocument/2006/relationships/image" Target="../media/image239.emf"/><Relationship Id="rId2" Type="http://schemas.openxmlformats.org/officeDocument/2006/relationships/notesSlide" Target="../notesSlides/notesSlide23.xml"/><Relationship Id="rId1" Type="http://schemas.openxmlformats.org/officeDocument/2006/relationships/slideLayout" Target="../slideLayouts/slideLayout647.xml"/></Relationships>
</file>

<file path=ppt/slides/_rels/slide39.xml.rels><?xml version="1.0" encoding="UTF-8" standalone="yes"?>
<Relationships xmlns="http://schemas.openxmlformats.org/package/2006/relationships"><Relationship Id="rId3" Type="http://schemas.openxmlformats.org/officeDocument/2006/relationships/image" Target="../media/image240.png"/><Relationship Id="rId2" Type="http://schemas.openxmlformats.org/officeDocument/2006/relationships/notesSlide" Target="../notesSlides/notesSlide24.xml"/><Relationship Id="rId1" Type="http://schemas.openxmlformats.org/officeDocument/2006/relationships/slideLayout" Target="../slideLayouts/slideLayout652.xml"/><Relationship Id="rId4" Type="http://schemas.openxmlformats.org/officeDocument/2006/relationships/image" Target="../media/image239.emf"/></Relationships>
</file>

<file path=ppt/slides/_rels/slide4.xml.rels><?xml version="1.0" encoding="UTF-8" standalone="yes"?>
<Relationships xmlns="http://schemas.openxmlformats.org/package/2006/relationships"><Relationship Id="rId8" Type="http://schemas.microsoft.com/office/2007/relationships/hdphoto" Target="../media/hdphoto5.wdp"/><Relationship Id="rId3" Type="http://schemas.openxmlformats.org/officeDocument/2006/relationships/image" Target="../media/image115.png"/><Relationship Id="rId7" Type="http://schemas.openxmlformats.org/officeDocument/2006/relationships/image" Target="../media/image117.png"/><Relationship Id="rId2" Type="http://schemas.openxmlformats.org/officeDocument/2006/relationships/notesSlide" Target="../notesSlides/notesSlide3.xml"/><Relationship Id="rId1" Type="http://schemas.openxmlformats.org/officeDocument/2006/relationships/slideLayout" Target="../slideLayouts/slideLayout618.xml"/><Relationship Id="rId6" Type="http://schemas.microsoft.com/office/2007/relationships/hdphoto" Target="../media/hdphoto4.wdp"/><Relationship Id="rId5" Type="http://schemas.openxmlformats.org/officeDocument/2006/relationships/image" Target="../media/image116.png"/><Relationship Id="rId4" Type="http://schemas.microsoft.com/office/2007/relationships/hdphoto" Target="../media/hdphoto3.wdp"/></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55.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65.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61.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61.xml"/></Relationships>
</file>

<file path=ppt/slides/_rels/slide44.xml.rels><?xml version="1.0" encoding="UTF-8" standalone="yes"?>
<Relationships xmlns="http://schemas.openxmlformats.org/package/2006/relationships"><Relationship Id="rId3" Type="http://schemas.openxmlformats.org/officeDocument/2006/relationships/image" Target="../media/image241.emf"/><Relationship Id="rId2" Type="http://schemas.openxmlformats.org/officeDocument/2006/relationships/notesSlide" Target="../notesSlides/notesSlide29.xml"/><Relationship Id="rId1" Type="http://schemas.openxmlformats.org/officeDocument/2006/relationships/slideLayout" Target="../slideLayouts/slideLayout647.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647.xml"/></Relationships>
</file>

<file path=ppt/slides/_rels/slide46.xml.rels><?xml version="1.0" encoding="UTF-8" standalone="yes"?>
<Relationships xmlns="http://schemas.openxmlformats.org/package/2006/relationships"><Relationship Id="rId3" Type="http://schemas.openxmlformats.org/officeDocument/2006/relationships/image" Target="../media/image243.png"/><Relationship Id="rId2" Type="http://schemas.openxmlformats.org/officeDocument/2006/relationships/image" Target="../media/image242.wmf"/><Relationship Id="rId1" Type="http://schemas.openxmlformats.org/officeDocument/2006/relationships/slideLayout" Target="../slideLayouts/slideLayout650.xml"/><Relationship Id="rId6" Type="http://schemas.microsoft.com/office/2007/relationships/hdphoto" Target="../media/hdphoto9.wdp"/><Relationship Id="rId5" Type="http://schemas.openxmlformats.org/officeDocument/2006/relationships/image" Target="../media/image244.png"/><Relationship Id="rId4" Type="http://schemas.microsoft.com/office/2007/relationships/hdphoto" Target="../media/hdphoto8.wdp"/></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563.xml"/></Relationships>
</file>

<file path=ppt/slides/_rels/slide48.xml.rels><?xml version="1.0" encoding="UTF-8" standalone="yes"?>
<Relationships xmlns="http://schemas.openxmlformats.org/package/2006/relationships"><Relationship Id="rId3" Type="http://schemas.openxmlformats.org/officeDocument/2006/relationships/image" Target="../media/image245.png"/><Relationship Id="rId2" Type="http://schemas.openxmlformats.org/officeDocument/2006/relationships/notesSlide" Target="../notesSlides/notesSlide31.xml"/><Relationship Id="rId1" Type="http://schemas.openxmlformats.org/officeDocument/2006/relationships/slideLayout" Target="../slideLayouts/slideLayout586.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58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86.xml"/></Relationships>
</file>

<file path=ppt/slides/_rels/slide50.xml.rels><?xml version="1.0" encoding="UTF-8" standalone="yes"?>
<Relationships xmlns="http://schemas.openxmlformats.org/package/2006/relationships"><Relationship Id="rId3" Type="http://schemas.openxmlformats.org/officeDocument/2006/relationships/image" Target="../media/image246.png"/><Relationship Id="rId2" Type="http://schemas.openxmlformats.org/officeDocument/2006/relationships/notesSlide" Target="../notesSlides/notesSlide33.xml"/><Relationship Id="rId1" Type="http://schemas.openxmlformats.org/officeDocument/2006/relationships/slideLayout" Target="../slideLayouts/slideLayout586.xml"/><Relationship Id="rId5" Type="http://schemas.openxmlformats.org/officeDocument/2006/relationships/image" Target="../media/image248.png"/><Relationship Id="rId4" Type="http://schemas.openxmlformats.org/officeDocument/2006/relationships/image" Target="../media/image247.png"/></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586.xml"/></Relationships>
</file>

<file path=ppt/slides/_rels/slide52.xml.rels><?xml version="1.0" encoding="UTF-8" standalone="yes"?>
<Relationships xmlns="http://schemas.openxmlformats.org/package/2006/relationships"><Relationship Id="rId3" Type="http://schemas.openxmlformats.org/officeDocument/2006/relationships/image" Target="../media/image249.png"/><Relationship Id="rId2" Type="http://schemas.openxmlformats.org/officeDocument/2006/relationships/notesSlide" Target="../notesSlides/notesSlide35.xml"/><Relationship Id="rId1" Type="http://schemas.openxmlformats.org/officeDocument/2006/relationships/slideLayout" Target="../slideLayouts/slideLayout540.xml"/><Relationship Id="rId5" Type="http://schemas.openxmlformats.org/officeDocument/2006/relationships/image" Target="../media/image251.png"/><Relationship Id="rId4" Type="http://schemas.openxmlformats.org/officeDocument/2006/relationships/image" Target="../media/image250.png"/></Relationships>
</file>

<file path=ppt/slides/_rels/slide53.xml.rels><?xml version="1.0" encoding="UTF-8" standalone="yes"?>
<Relationships xmlns="http://schemas.openxmlformats.org/package/2006/relationships"><Relationship Id="rId3" Type="http://schemas.openxmlformats.org/officeDocument/2006/relationships/image" Target="../media/image246.png"/><Relationship Id="rId2" Type="http://schemas.openxmlformats.org/officeDocument/2006/relationships/notesSlide" Target="../notesSlides/notesSlide36.xml"/><Relationship Id="rId1" Type="http://schemas.openxmlformats.org/officeDocument/2006/relationships/slideLayout" Target="../slideLayouts/slideLayout586.xml"/><Relationship Id="rId5" Type="http://schemas.openxmlformats.org/officeDocument/2006/relationships/image" Target="../media/image248.png"/><Relationship Id="rId4" Type="http://schemas.openxmlformats.org/officeDocument/2006/relationships/image" Target="../media/image252.png"/></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586.xml"/></Relationships>
</file>

<file path=ppt/slides/_rels/slide55.xml.rels><?xml version="1.0" encoding="UTF-8" standalone="yes"?>
<Relationships xmlns="http://schemas.openxmlformats.org/package/2006/relationships"><Relationship Id="rId3" Type="http://schemas.openxmlformats.org/officeDocument/2006/relationships/image" Target="../media/image253.png"/><Relationship Id="rId2" Type="http://schemas.openxmlformats.org/officeDocument/2006/relationships/notesSlide" Target="../notesSlides/notesSlide38.xml"/><Relationship Id="rId1" Type="http://schemas.openxmlformats.org/officeDocument/2006/relationships/slideLayout" Target="../slideLayouts/slideLayout586.xml"/><Relationship Id="rId4" Type="http://schemas.openxmlformats.org/officeDocument/2006/relationships/image" Target="../media/image254.png"/></Relationships>
</file>

<file path=ppt/slides/_rels/slide56.xml.rels><?xml version="1.0" encoding="UTF-8" standalone="yes"?>
<Relationships xmlns="http://schemas.openxmlformats.org/package/2006/relationships"><Relationship Id="rId3" Type="http://schemas.openxmlformats.org/officeDocument/2006/relationships/image" Target="../media/image246.png"/><Relationship Id="rId2" Type="http://schemas.openxmlformats.org/officeDocument/2006/relationships/notesSlide" Target="../notesSlides/notesSlide39.xml"/><Relationship Id="rId1" Type="http://schemas.openxmlformats.org/officeDocument/2006/relationships/slideLayout" Target="../slideLayouts/slideLayout586.xml"/><Relationship Id="rId5" Type="http://schemas.openxmlformats.org/officeDocument/2006/relationships/image" Target="../media/image248.png"/><Relationship Id="rId4" Type="http://schemas.openxmlformats.org/officeDocument/2006/relationships/image" Target="../media/image247.png"/></Relationships>
</file>

<file path=ppt/slides/_rels/slide57.xml.rels><?xml version="1.0" encoding="UTF-8" standalone="yes"?>
<Relationships xmlns="http://schemas.openxmlformats.org/package/2006/relationships"><Relationship Id="rId3" Type="http://schemas.openxmlformats.org/officeDocument/2006/relationships/image" Target="../media/image246.png"/><Relationship Id="rId2" Type="http://schemas.openxmlformats.org/officeDocument/2006/relationships/notesSlide" Target="../notesSlides/notesSlide40.xml"/><Relationship Id="rId1" Type="http://schemas.openxmlformats.org/officeDocument/2006/relationships/slideLayout" Target="../slideLayouts/slideLayout586.xml"/><Relationship Id="rId5" Type="http://schemas.openxmlformats.org/officeDocument/2006/relationships/image" Target="../media/image248.png"/><Relationship Id="rId4" Type="http://schemas.openxmlformats.org/officeDocument/2006/relationships/image" Target="../media/image252.png"/></Relationships>
</file>

<file path=ppt/slides/_rels/slide58.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257.pn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image" Target="../media/image256.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255.png"/><Relationship Id="rId5" Type="http://schemas.openxmlformats.org/officeDocument/2006/relationships/tags" Target="../tags/tag5.xml"/><Relationship Id="rId10" Type="http://schemas.openxmlformats.org/officeDocument/2006/relationships/notesSlide" Target="../notesSlides/notesSlide41.xml"/><Relationship Id="rId4" Type="http://schemas.openxmlformats.org/officeDocument/2006/relationships/tags" Target="../tags/tag4.xml"/><Relationship Id="rId9" Type="http://schemas.openxmlformats.org/officeDocument/2006/relationships/slideLayout" Target="../slideLayouts/slideLayout586.xml"/><Relationship Id="rId14" Type="http://schemas.microsoft.com/office/2007/relationships/hdphoto" Target="../media/hdphoto10.wdp"/></Relationships>
</file>

<file path=ppt/slides/_rels/slide59.xml.rels><?xml version="1.0" encoding="UTF-8" standalone="yes"?>
<Relationships xmlns="http://schemas.openxmlformats.org/package/2006/relationships"><Relationship Id="rId3" Type="http://schemas.openxmlformats.org/officeDocument/2006/relationships/image" Target="../media/image258.jpeg"/><Relationship Id="rId2" Type="http://schemas.openxmlformats.org/officeDocument/2006/relationships/notesSlide" Target="../notesSlides/notesSlide42.xml"/><Relationship Id="rId1" Type="http://schemas.openxmlformats.org/officeDocument/2006/relationships/slideLayout" Target="../slideLayouts/slideLayout58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48.xml"/></Relationships>
</file>

<file path=ppt/slides/_rels/slide60.xml.rels><?xml version="1.0" encoding="UTF-8" standalone="yes"?>
<Relationships xmlns="http://schemas.openxmlformats.org/package/2006/relationships"><Relationship Id="rId3" Type="http://schemas.openxmlformats.org/officeDocument/2006/relationships/image" Target="../media/image246.png"/><Relationship Id="rId2" Type="http://schemas.openxmlformats.org/officeDocument/2006/relationships/notesSlide" Target="../notesSlides/notesSlide43.xml"/><Relationship Id="rId1" Type="http://schemas.openxmlformats.org/officeDocument/2006/relationships/slideLayout" Target="../slideLayouts/slideLayout586.xml"/><Relationship Id="rId5" Type="http://schemas.openxmlformats.org/officeDocument/2006/relationships/image" Target="../media/image248.png"/><Relationship Id="rId4" Type="http://schemas.openxmlformats.org/officeDocument/2006/relationships/image" Target="../media/image252.png"/></Relationships>
</file>

<file path=ppt/slides/_rels/slide61.xml.rels><?xml version="1.0" encoding="UTF-8" standalone="yes"?>
<Relationships xmlns="http://schemas.openxmlformats.org/package/2006/relationships"><Relationship Id="rId3" Type="http://schemas.openxmlformats.org/officeDocument/2006/relationships/image" Target="../media/image259.png"/><Relationship Id="rId2" Type="http://schemas.openxmlformats.org/officeDocument/2006/relationships/notesSlide" Target="../notesSlides/notesSlide44.xml"/><Relationship Id="rId1" Type="http://schemas.openxmlformats.org/officeDocument/2006/relationships/slideLayout" Target="../slideLayouts/slideLayout586.xml"/><Relationship Id="rId4" Type="http://schemas.openxmlformats.org/officeDocument/2006/relationships/image" Target="../media/image260.png"/></Relationships>
</file>

<file path=ppt/slides/_rels/slide62.xml.rels><?xml version="1.0" encoding="UTF-8" standalone="yes"?>
<Relationships xmlns="http://schemas.openxmlformats.org/package/2006/relationships"><Relationship Id="rId3" Type="http://schemas.openxmlformats.org/officeDocument/2006/relationships/image" Target="../media/image261.png"/><Relationship Id="rId2" Type="http://schemas.openxmlformats.org/officeDocument/2006/relationships/notesSlide" Target="../notesSlides/notesSlide45.xml"/><Relationship Id="rId1" Type="http://schemas.openxmlformats.org/officeDocument/2006/relationships/slideLayout" Target="../slideLayouts/slideLayout586.xml"/><Relationship Id="rId5" Type="http://schemas.openxmlformats.org/officeDocument/2006/relationships/image" Target="../media/image38.png"/><Relationship Id="rId4" Type="http://schemas.openxmlformats.org/officeDocument/2006/relationships/image" Target="../media/image12.png"/></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586.xml"/></Relationships>
</file>

<file path=ppt/slides/_rels/slide6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47.xml"/><Relationship Id="rId1" Type="http://schemas.openxmlformats.org/officeDocument/2006/relationships/slideLayout" Target="../slideLayouts/slideLayout586.xml"/><Relationship Id="rId4" Type="http://schemas.openxmlformats.org/officeDocument/2006/relationships/image" Target="../media/image12.png"/></Relationships>
</file>

<file path=ppt/slides/_rels/slide65.xml.rels><?xml version="1.0" encoding="UTF-8" standalone="yes"?>
<Relationships xmlns="http://schemas.openxmlformats.org/package/2006/relationships"><Relationship Id="rId3" Type="http://schemas.openxmlformats.org/officeDocument/2006/relationships/image" Target="../media/image246.png"/><Relationship Id="rId2" Type="http://schemas.openxmlformats.org/officeDocument/2006/relationships/notesSlide" Target="../notesSlides/notesSlide48.xml"/><Relationship Id="rId1" Type="http://schemas.openxmlformats.org/officeDocument/2006/relationships/slideLayout" Target="../slideLayouts/slideLayout586.xml"/><Relationship Id="rId5" Type="http://schemas.openxmlformats.org/officeDocument/2006/relationships/image" Target="../media/image248.png"/><Relationship Id="rId4" Type="http://schemas.openxmlformats.org/officeDocument/2006/relationships/image" Target="../media/image252.png"/></Relationships>
</file>

<file path=ppt/slides/_rels/slide66.xml.rels><?xml version="1.0" encoding="UTF-8" standalone="yes"?>
<Relationships xmlns="http://schemas.openxmlformats.org/package/2006/relationships"><Relationship Id="rId3" Type="http://schemas.openxmlformats.org/officeDocument/2006/relationships/image" Target="../media/image262.png"/><Relationship Id="rId7" Type="http://schemas.microsoft.com/office/2007/relationships/hdphoto" Target="../media/hdphoto11.wdp"/><Relationship Id="rId2" Type="http://schemas.openxmlformats.org/officeDocument/2006/relationships/notesSlide" Target="../notesSlides/notesSlide49.xml"/><Relationship Id="rId1" Type="http://schemas.openxmlformats.org/officeDocument/2006/relationships/slideLayout" Target="../slideLayouts/slideLayout586.xml"/><Relationship Id="rId6" Type="http://schemas.openxmlformats.org/officeDocument/2006/relationships/image" Target="../media/image265.png"/><Relationship Id="rId5" Type="http://schemas.openxmlformats.org/officeDocument/2006/relationships/image" Target="../media/image264.png"/><Relationship Id="rId4" Type="http://schemas.openxmlformats.org/officeDocument/2006/relationships/image" Target="../media/image263.png"/></Relationships>
</file>

<file path=ppt/slides/_rels/slide67.xml.rels><?xml version="1.0" encoding="UTF-8" standalone="yes"?>
<Relationships xmlns="http://schemas.openxmlformats.org/package/2006/relationships"><Relationship Id="rId3" Type="http://schemas.openxmlformats.org/officeDocument/2006/relationships/image" Target="../media/image266.png"/><Relationship Id="rId2" Type="http://schemas.openxmlformats.org/officeDocument/2006/relationships/notesSlide" Target="../notesSlides/notesSlide50.xml"/><Relationship Id="rId1" Type="http://schemas.openxmlformats.org/officeDocument/2006/relationships/slideLayout" Target="../slideLayouts/slideLayout586.xml"/></Relationships>
</file>

<file path=ppt/slides/_rels/slide68.xml.rels><?xml version="1.0" encoding="UTF-8" standalone="yes"?>
<Relationships xmlns="http://schemas.openxmlformats.org/package/2006/relationships"><Relationship Id="rId3" Type="http://schemas.openxmlformats.org/officeDocument/2006/relationships/image" Target="../media/image267.png"/><Relationship Id="rId2" Type="http://schemas.openxmlformats.org/officeDocument/2006/relationships/notesSlide" Target="../notesSlides/notesSlide51.xml"/><Relationship Id="rId1" Type="http://schemas.openxmlformats.org/officeDocument/2006/relationships/slideLayout" Target="../slideLayouts/slideLayout586.xml"/><Relationship Id="rId4" Type="http://schemas.microsoft.com/office/2007/relationships/hdphoto" Target="../media/hdphoto12.wdp"/></Relationships>
</file>

<file path=ppt/slides/_rels/slide69.xml.rels><?xml version="1.0" encoding="UTF-8" standalone="yes"?>
<Relationships xmlns="http://schemas.openxmlformats.org/package/2006/relationships"><Relationship Id="rId3" Type="http://schemas.openxmlformats.org/officeDocument/2006/relationships/image" Target="../media/image268.png"/><Relationship Id="rId2" Type="http://schemas.openxmlformats.org/officeDocument/2006/relationships/notesSlide" Target="../notesSlides/notesSlide52.xml"/><Relationship Id="rId1" Type="http://schemas.openxmlformats.org/officeDocument/2006/relationships/slideLayout" Target="../slideLayouts/slideLayout586.xml"/><Relationship Id="rId5" Type="http://schemas.openxmlformats.org/officeDocument/2006/relationships/image" Target="../media/image270.png"/><Relationship Id="rId4" Type="http://schemas.openxmlformats.org/officeDocument/2006/relationships/image" Target="../media/image269.png"/></Relationships>
</file>

<file path=ppt/slides/_rels/slide7.xml.rels><?xml version="1.0" encoding="UTF-8" standalone="yes"?>
<Relationships xmlns="http://schemas.openxmlformats.org/package/2006/relationships"><Relationship Id="rId3" Type="http://schemas.openxmlformats.org/officeDocument/2006/relationships/image" Target="../media/image118.emf"/><Relationship Id="rId2" Type="http://schemas.openxmlformats.org/officeDocument/2006/relationships/notesSlide" Target="../notesSlides/notesSlide6.xml"/><Relationship Id="rId1" Type="http://schemas.openxmlformats.org/officeDocument/2006/relationships/slideLayout" Target="../slideLayouts/slideLayout168.xml"/></Relationships>
</file>

<file path=ppt/slides/_rels/slide70.xml.rels><?xml version="1.0" encoding="UTF-8" standalone="yes"?>
<Relationships xmlns="http://schemas.openxmlformats.org/package/2006/relationships"><Relationship Id="rId3" Type="http://schemas.openxmlformats.org/officeDocument/2006/relationships/image" Target="../media/image271.jpeg"/><Relationship Id="rId2" Type="http://schemas.openxmlformats.org/officeDocument/2006/relationships/notesSlide" Target="../notesSlides/notesSlide53.xml"/><Relationship Id="rId1" Type="http://schemas.openxmlformats.org/officeDocument/2006/relationships/slideLayout" Target="../slideLayouts/slideLayout586.xml"/></Relationships>
</file>

<file path=ppt/slides/_rels/slide71.xml.rels><?xml version="1.0" encoding="UTF-8" standalone="yes"?>
<Relationships xmlns="http://schemas.openxmlformats.org/package/2006/relationships"><Relationship Id="rId3" Type="http://schemas.openxmlformats.org/officeDocument/2006/relationships/image" Target="../media/image268.png"/><Relationship Id="rId2" Type="http://schemas.openxmlformats.org/officeDocument/2006/relationships/notesSlide" Target="../notesSlides/notesSlide54.xml"/><Relationship Id="rId1" Type="http://schemas.openxmlformats.org/officeDocument/2006/relationships/slideLayout" Target="../slideLayouts/slideLayout586.xml"/><Relationship Id="rId5" Type="http://schemas.openxmlformats.org/officeDocument/2006/relationships/image" Target="../media/image270.png"/><Relationship Id="rId4" Type="http://schemas.openxmlformats.org/officeDocument/2006/relationships/image" Target="../media/image269.png"/></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700.xml"/></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700.xml"/><Relationship Id="rId1" Type="http://schemas.openxmlformats.org/officeDocument/2006/relationships/tags" Target="../tags/tag9.xml"/><Relationship Id="rId4" Type="http://schemas.openxmlformats.org/officeDocument/2006/relationships/image" Target="../media/image12.png"/></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700.xml"/></Relationships>
</file>

<file path=ppt/slides/_rels/slide75.xml.rels><?xml version="1.0" encoding="UTF-8" standalone="yes"?>
<Relationships xmlns="http://schemas.openxmlformats.org/package/2006/relationships"><Relationship Id="rId8" Type="http://schemas.openxmlformats.org/officeDocument/2006/relationships/hyperlink" Target="https://azure.microsoft.com/en-us/solutions/cortana-analytics-suite/" TargetMode="External"/><Relationship Id="rId3" Type="http://schemas.openxmlformats.org/officeDocument/2006/relationships/hyperlink" Target="https://azure.microsoft.com/en-us/blog/tag/cortana-analytics-suite/" TargetMode="External"/><Relationship Id="rId7" Type="http://schemas.openxmlformats.org/officeDocument/2006/relationships/hyperlink" Target="http://cortanaanalyticspartners.azurewebsites.net/" TargetMode="External"/><Relationship Id="rId2" Type="http://schemas.openxmlformats.org/officeDocument/2006/relationships/notesSlide" Target="../notesSlides/notesSlide58.xml"/><Relationship Id="rId1" Type="http://schemas.openxmlformats.org/officeDocument/2006/relationships/slideLayout" Target="../slideLayouts/slideLayout586.xml"/><Relationship Id="rId6" Type="http://schemas.openxmlformats.org/officeDocument/2006/relationships/hyperlink" Target="https://partner.microsoft.com/en-US/Solutions/Cortana-Analytics#get-introduced" TargetMode="External"/><Relationship Id="rId5" Type="http://schemas.openxmlformats.org/officeDocument/2006/relationships/hyperlink" Target="https://channel9.msdn.com/Events/Cortana-Analytics-Suite" TargetMode="External"/><Relationship Id="rId4" Type="http://schemas.openxmlformats.org/officeDocument/2006/relationships/hyperlink" Target="https://www.edx.org/course/data-science-machine-learning-essentials-microsoft-dat203x-0" TargetMode="Externa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8.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7.xml"/><Relationship Id="rId1" Type="http://schemas.openxmlformats.org/officeDocument/2006/relationships/slideLayout" Target="../slideLayouts/slideLayout72.xml"/></Relationships>
</file>

<file path=ppt/slides/_rels/slide9.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120.png"/><Relationship Id="rId1" Type="http://schemas.openxmlformats.org/officeDocument/2006/relationships/slideLayout" Target="../slideLayouts/slideLayout7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0812" y="1219200"/>
            <a:ext cx="11311580" cy="2342962"/>
          </a:xfrm>
        </p:spPr>
        <p:txBody>
          <a:bodyPr/>
          <a:lstStyle/>
          <a:p>
            <a:r>
              <a:rPr lang="en-NZ" sz="6600" dirty="0"/>
              <a:t>Azure Data </a:t>
            </a:r>
            <a:r>
              <a:rPr lang="en-NZ" sz="6600" dirty="0" err="1"/>
              <a:t>DevCamps</a:t>
            </a:r>
            <a:endParaRPr lang="en-US" sz="6600" dirty="0"/>
          </a:p>
        </p:txBody>
      </p:sp>
      <p:sp>
        <p:nvSpPr>
          <p:cNvPr id="7" name="Subtitle 2"/>
          <p:cNvSpPr txBox="1">
            <a:spLocks/>
          </p:cNvSpPr>
          <p:nvPr/>
        </p:nvSpPr>
        <p:spPr>
          <a:xfrm>
            <a:off x="227012" y="5181600"/>
            <a:ext cx="5448915" cy="1600200"/>
          </a:xfrm>
          <a:prstGeom prst="rect">
            <a:avLst/>
          </a:prstGeom>
        </p:spPr>
        <p:txBody>
          <a:bodyPr>
            <a:normAutofit/>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0" marR="0" lvl="0" indent="0" algn="l" defTabSz="914180" rtl="0" eaLnBrk="1" fontAlgn="auto" latinLnBrk="0" hangingPunct="1">
              <a:lnSpc>
                <a:spcPct val="90000"/>
              </a:lnSpc>
              <a:spcBef>
                <a:spcPct val="20000"/>
              </a:spcBef>
              <a:spcAft>
                <a:spcPts val="0"/>
              </a:spcAft>
              <a:buClr>
                <a:srgbClr val="FFFFFF"/>
              </a:buClr>
              <a:buSzPct val="90000"/>
              <a:buFont typeface="Wingdings" panose="05000000000000000000" pitchFamily="2" charset="2"/>
              <a:buNone/>
              <a:tabLst/>
              <a:defRPr/>
            </a:pPr>
            <a:r>
              <a:rPr kumimoji="0" lang="en-US" sz="4399" b="1" i="0" u="none" strike="noStrike" kern="1200" cap="none" spc="0" normalizeH="0" baseline="0" noProof="0" dirty="0">
                <a:ln>
                  <a:noFill/>
                </a:ln>
                <a:solidFill>
                  <a:srgbClr val="00B0F0"/>
                </a:solidFill>
                <a:effectLst/>
                <a:uLnTx/>
                <a:uFillTx/>
                <a:latin typeface="Segoe UI Light"/>
                <a:ea typeface="+mn-ea"/>
                <a:cs typeface="+mn-cs"/>
              </a:rPr>
              <a:t>Vishesh Oberoi</a:t>
            </a:r>
          </a:p>
          <a:p>
            <a:pPr marL="0" marR="0" lvl="0" indent="0" algn="l" defTabSz="914180" rtl="0" eaLnBrk="1" fontAlgn="auto" latinLnBrk="0" hangingPunct="1">
              <a:lnSpc>
                <a:spcPct val="90000"/>
              </a:lnSpc>
              <a:spcBef>
                <a:spcPct val="20000"/>
              </a:spcBef>
              <a:spcAft>
                <a:spcPts val="0"/>
              </a:spcAft>
              <a:buClr>
                <a:srgbClr val="FFFFFF"/>
              </a:buClr>
              <a:buSzPct val="90000"/>
              <a:buFont typeface="Wingdings" panose="05000000000000000000" pitchFamily="2" charset="2"/>
              <a:buNone/>
              <a:tabLst/>
              <a:defRPr/>
            </a:pPr>
            <a:r>
              <a:rPr kumimoji="0" lang="en-US" sz="2799" b="0" i="0" u="none" strike="noStrike" kern="1200" cap="none" spc="0" normalizeH="0" baseline="0" noProof="0" dirty="0">
                <a:ln>
                  <a:noFill/>
                </a:ln>
                <a:solidFill>
                  <a:srgbClr val="FFFFFF"/>
                </a:solidFill>
                <a:effectLst/>
                <a:uLnTx/>
                <a:uFillTx/>
                <a:latin typeface="Segoe UI Light"/>
                <a:ea typeface="+mn-ea"/>
                <a:cs typeface="+mn-cs"/>
              </a:rPr>
              <a:t>Technical Evangelist, Microsoft</a:t>
            </a:r>
          </a:p>
          <a:p>
            <a:pPr marL="0" marR="0" lvl="0" indent="0" algn="l" defTabSz="914180" rtl="0" eaLnBrk="1" fontAlgn="auto" latinLnBrk="0" hangingPunct="1">
              <a:lnSpc>
                <a:spcPct val="90000"/>
              </a:lnSpc>
              <a:spcBef>
                <a:spcPct val="20000"/>
              </a:spcBef>
              <a:spcAft>
                <a:spcPts val="0"/>
              </a:spcAft>
              <a:buClr>
                <a:srgbClr val="FFFFFF"/>
              </a:buClr>
              <a:buSzPct val="90000"/>
              <a:buFont typeface="Wingdings" panose="05000000000000000000" pitchFamily="2" charset="2"/>
              <a:buNone/>
              <a:tabLst/>
              <a:defRPr/>
            </a:pPr>
            <a:r>
              <a:rPr kumimoji="0" lang="en-US" sz="2199" b="1" i="0" u="none" strike="noStrike" kern="1200" cap="none" spc="0" normalizeH="0" baseline="0" noProof="0" dirty="0">
                <a:ln>
                  <a:noFill/>
                </a:ln>
                <a:solidFill>
                  <a:srgbClr val="92D050"/>
                </a:solidFill>
                <a:effectLst/>
                <a:uLnTx/>
                <a:uFillTx/>
                <a:latin typeface="Segoe UI Light"/>
                <a:ea typeface="+mn-ea"/>
                <a:cs typeface="+mn-cs"/>
              </a:rPr>
              <a:t>@</a:t>
            </a:r>
            <a:r>
              <a:rPr kumimoji="0" lang="en-US" sz="2199" b="1" i="0" u="none" strike="noStrike" kern="1200" cap="none" spc="0" normalizeH="0" baseline="0" noProof="0" dirty="0" err="1">
                <a:ln>
                  <a:noFill/>
                </a:ln>
                <a:solidFill>
                  <a:srgbClr val="92D050"/>
                </a:solidFill>
                <a:effectLst/>
                <a:uLnTx/>
                <a:uFillTx/>
                <a:latin typeface="Segoe UI Light"/>
                <a:ea typeface="+mn-ea"/>
                <a:cs typeface="+mn-cs"/>
              </a:rPr>
              <a:t>ovishesh</a:t>
            </a:r>
            <a:endParaRPr kumimoji="0" lang="en-US" sz="2199" b="1" i="0" u="none" strike="noStrike" kern="1200" cap="none" spc="0" normalizeH="0" baseline="0" noProof="0" dirty="0">
              <a:ln>
                <a:noFill/>
              </a:ln>
              <a:solidFill>
                <a:srgbClr val="92D050"/>
              </a:solidFill>
              <a:effectLst/>
              <a:uLnTx/>
              <a:uFillTx/>
              <a:latin typeface="Segoe UI Light"/>
              <a:ea typeface="+mn-ea"/>
              <a:cs typeface="+mn-cs"/>
            </a:endParaRPr>
          </a:p>
        </p:txBody>
      </p:sp>
      <p:sp>
        <p:nvSpPr>
          <p:cNvPr id="3" name="TextBox 2"/>
          <p:cNvSpPr txBox="1"/>
          <p:nvPr/>
        </p:nvSpPr>
        <p:spPr>
          <a:xfrm>
            <a:off x="10014592" y="6230136"/>
            <a:ext cx="2895600"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a:t>
            </a:r>
            <a:r>
              <a:rPr lang="en-US" sz="2400" dirty="0" err="1">
                <a:gradFill>
                  <a:gsLst>
                    <a:gs pos="2917">
                      <a:schemeClr val="tx1"/>
                    </a:gs>
                    <a:gs pos="30000">
                      <a:schemeClr val="tx1"/>
                    </a:gs>
                  </a:gsLst>
                  <a:lin ang="5400000" scaled="0"/>
                </a:gradFill>
              </a:rPr>
              <a:t>DataComp</a:t>
            </a: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3629588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a:extLst>
              <a:ext uri="{BEBA8EAE-BF5A-486C-A8C5-ECC9F3942E4B}">
                <a14:imgProps xmlns:a14="http://schemas.microsoft.com/office/drawing/2010/main">
                  <a14:imgLayer r:embed="rId3">
                    <a14:imgEffect>
                      <a14:colorTemperature colorTemp="6502"/>
                    </a14:imgEffect>
                    <a14:imgEffect>
                      <a14:saturation sat="107000"/>
                    </a14:imgEffect>
                    <a14:imgEffect>
                      <a14:brightnessContrast bright="-5000" contrast="10000"/>
                    </a14:imgEffect>
                  </a14:imgLayer>
                </a14:imgProps>
              </a:ext>
              <a:ext uri="{28A0092B-C50C-407E-A947-70E740481C1C}">
                <a14:useLocalDpi xmlns:a14="http://schemas.microsoft.com/office/drawing/2010/main" val="0"/>
              </a:ext>
            </a:extLst>
          </a:blip>
          <a:srcRect t="11000" b="4658"/>
          <a:stretch/>
        </p:blipFill>
        <p:spPr>
          <a:xfrm>
            <a:off x="0" y="-6401"/>
            <a:ext cx="12265307" cy="6870801"/>
          </a:xfrm>
          <a:prstGeom prst="rect">
            <a:avLst/>
          </a:prstGeom>
        </p:spPr>
      </p:pic>
      <p:pic>
        <p:nvPicPr>
          <p:cNvPr id="5" name="Picture 4"/>
          <p:cNvPicPr>
            <a:picLocks noChangeAspect="1"/>
          </p:cNvPicPr>
          <p:nvPr/>
        </p:nvPicPr>
        <p:blipFill>
          <a:blip r:embed="rId4"/>
          <a:stretch>
            <a:fillRect/>
          </a:stretch>
        </p:blipFill>
        <p:spPr>
          <a:xfrm>
            <a:off x="1986868" y="1263205"/>
            <a:ext cx="10604198" cy="5184676"/>
          </a:xfrm>
          <a:prstGeom prst="rect">
            <a:avLst/>
          </a:prstGeom>
        </p:spPr>
      </p:pic>
    </p:spTree>
    <p:extLst>
      <p:ext uri="{BB962C8B-B14F-4D97-AF65-F5344CB8AC3E}">
        <p14:creationId xmlns:p14="http://schemas.microsoft.com/office/powerpoint/2010/main" val="3779373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25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323232"/>
        </a:solidFill>
        <a:effectLst/>
      </p:bgPr>
    </p:bg>
    <p:spTree>
      <p:nvGrpSpPr>
        <p:cNvPr id="1" name=""/>
        <p:cNvGrpSpPr/>
        <p:nvPr/>
      </p:nvGrpSpPr>
      <p:grpSpPr>
        <a:xfrm>
          <a:off x="0" y="0"/>
          <a:ext cx="0" cy="0"/>
          <a:chOff x="0" y="0"/>
          <a:chExt cx="0" cy="0"/>
        </a:xfrm>
      </p:grpSpPr>
      <p:sp>
        <p:nvSpPr>
          <p:cNvPr id="2" name="TextBox 1"/>
          <p:cNvSpPr txBox="1"/>
          <p:nvPr/>
        </p:nvSpPr>
        <p:spPr>
          <a:xfrm>
            <a:off x="522045" y="3017236"/>
            <a:ext cx="4245127" cy="941141"/>
          </a:xfrm>
          <a:prstGeom prst="rect">
            <a:avLst/>
          </a:prstGeom>
          <a:noFill/>
        </p:spPr>
        <p:txBody>
          <a:bodyPr wrap="none" lIns="179238" tIns="143391" rIns="179238" bIns="143391" rtlCol="0">
            <a:spAutoFit/>
          </a:bodyPr>
          <a:lstStyle/>
          <a:p>
            <a:pPr defTabSz="896203">
              <a:lnSpc>
                <a:spcPct val="90000"/>
              </a:lnSpc>
              <a:spcAft>
                <a:spcPts val="588"/>
              </a:spcAft>
            </a:pPr>
            <a:r>
              <a:rPr lang="en-US" sz="4704" kern="0" spc="-49" dirty="0">
                <a:gradFill>
                  <a:gsLst>
                    <a:gs pos="2917">
                      <a:schemeClr val="tx1"/>
                    </a:gs>
                    <a:gs pos="30000">
                      <a:schemeClr val="tx1"/>
                    </a:gs>
                  </a:gsLst>
                  <a:lin ang="5400000" scaled="0"/>
                </a:gradFill>
                <a:latin typeface="+mj-lt"/>
                <a:cs typeface="Segoe UI" panose="020B0502040204020203" pitchFamily="34" charset="0"/>
              </a:rPr>
              <a:t>Microsoft Azure</a:t>
            </a:r>
          </a:p>
        </p:txBody>
      </p:sp>
      <p:sp>
        <p:nvSpPr>
          <p:cNvPr id="6" name="Oval 5"/>
          <p:cNvSpPr/>
          <p:nvPr/>
        </p:nvSpPr>
        <p:spPr bwMode="auto">
          <a:xfrm>
            <a:off x="7187764" y="776631"/>
            <a:ext cx="3043885" cy="3043885"/>
          </a:xfrm>
          <a:prstGeom prst="ellipse">
            <a:avLst/>
          </a:prstGeom>
          <a:solidFill>
            <a:srgbClr val="0B7DD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7" name="Oval 6"/>
          <p:cNvSpPr/>
          <p:nvPr/>
        </p:nvSpPr>
        <p:spPr bwMode="auto">
          <a:xfrm>
            <a:off x="5822708" y="3017235"/>
            <a:ext cx="3043885" cy="3043885"/>
          </a:xfrm>
          <a:prstGeom prst="ellipse">
            <a:avLst/>
          </a:prstGeom>
          <a:solidFill>
            <a:srgbClr val="0B7DD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8" name="Oval 7"/>
          <p:cNvSpPr/>
          <p:nvPr/>
        </p:nvSpPr>
        <p:spPr bwMode="auto">
          <a:xfrm>
            <a:off x="8466155" y="3017235"/>
            <a:ext cx="3043885" cy="3043885"/>
          </a:xfrm>
          <a:prstGeom prst="ellipse">
            <a:avLst/>
          </a:prstGeom>
          <a:solidFill>
            <a:srgbClr val="0B7DD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3" name="Oval 2"/>
          <p:cNvSpPr/>
          <p:nvPr/>
        </p:nvSpPr>
        <p:spPr bwMode="auto">
          <a:xfrm>
            <a:off x="7187764" y="776631"/>
            <a:ext cx="3043885" cy="3043885"/>
          </a:xfrm>
          <a:prstGeom prst="ellipse">
            <a:avLst/>
          </a:prstGeom>
          <a:solidFill>
            <a:srgbClr val="00B0F0">
              <a:alpha val="3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pPr>
            <a:r>
              <a:rPr lang="en-US" sz="2352"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hoice + Flexibility</a:t>
            </a:r>
          </a:p>
        </p:txBody>
      </p:sp>
      <p:sp>
        <p:nvSpPr>
          <p:cNvPr id="4" name="Oval 3"/>
          <p:cNvSpPr/>
          <p:nvPr/>
        </p:nvSpPr>
        <p:spPr bwMode="auto">
          <a:xfrm>
            <a:off x="5822708" y="3017235"/>
            <a:ext cx="3043885" cy="3043885"/>
          </a:xfrm>
          <a:prstGeom prst="ellipse">
            <a:avLst/>
          </a:prstGeom>
          <a:solidFill>
            <a:srgbClr val="00B0F0">
              <a:alpha val="3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pPr>
            <a:r>
              <a:rPr lang="en-US" sz="2352"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Enterprise Ready</a:t>
            </a:r>
          </a:p>
        </p:txBody>
      </p:sp>
      <p:sp>
        <p:nvSpPr>
          <p:cNvPr id="5" name="Oval 4"/>
          <p:cNvSpPr/>
          <p:nvPr/>
        </p:nvSpPr>
        <p:spPr bwMode="auto">
          <a:xfrm>
            <a:off x="8466155" y="3017235"/>
            <a:ext cx="3043885" cy="3043885"/>
          </a:xfrm>
          <a:prstGeom prst="ellipse">
            <a:avLst/>
          </a:prstGeom>
          <a:solidFill>
            <a:srgbClr val="00B0F0">
              <a:alpha val="3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pPr>
            <a:r>
              <a:rPr lang="en-US" sz="2352"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Productivity</a:t>
            </a:r>
          </a:p>
        </p:txBody>
      </p:sp>
    </p:spTree>
    <p:extLst>
      <p:ext uri="{BB962C8B-B14F-4D97-AF65-F5344CB8AC3E}">
        <p14:creationId xmlns:p14="http://schemas.microsoft.com/office/powerpoint/2010/main" val="8651310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1000"/>
                                        <p:tgtEl>
                                          <p:spTgt spid="3"/>
                                        </p:tgtEl>
                                      </p:cBhvr>
                                    </p:animEffect>
                                  </p:childTnLst>
                                </p:cTn>
                              </p:par>
                              <p:par>
                                <p:cTn id="15" presetID="10" presetClass="entr" presetSubtype="0" fill="hold" grpId="0" nodeType="withEffect">
                                  <p:stCondLst>
                                    <p:cond delay="13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par>
                                <p:cTn id="18" presetID="10" presetClass="entr" presetSubtype="0" fill="hold" grpId="0" nodeType="withEffect">
                                  <p:stCondLst>
                                    <p:cond delay="130"/>
                                  </p:stCondLst>
                                  <p:childTnLst>
                                    <p:set>
                                      <p:cBhvr>
                                        <p:cTn id="19" dur="1" fill="hold">
                                          <p:stCondLst>
                                            <p:cond delay="0"/>
                                          </p:stCondLst>
                                        </p:cTn>
                                        <p:tgtEl>
                                          <p:spTgt spid="5"/>
                                        </p:tgtEl>
                                        <p:attrNameLst>
                                          <p:attrName>style.visibility</p:attrName>
                                        </p:attrNameLst>
                                      </p:cBhvr>
                                      <p:to>
                                        <p:strVal val="visible"/>
                                      </p:to>
                                    </p:set>
                                    <p:animEffect transition="in" filter="fade">
                                      <p:cBhvr>
                                        <p:cTn id="20" dur="1000"/>
                                        <p:tgtEl>
                                          <p:spTgt spid="5"/>
                                        </p:tgtEl>
                                      </p:cBhvr>
                                    </p:animEffect>
                                  </p:childTnLst>
                                </p:cTn>
                              </p:par>
                              <p:par>
                                <p:cTn id="21" presetID="10" presetClass="entr" presetSubtype="0" fill="hold" grpId="0" nodeType="withEffect">
                                  <p:stCondLst>
                                    <p:cond delay="250"/>
                                  </p:stCondLst>
                                  <p:childTnLst>
                                    <p:set>
                                      <p:cBhvr>
                                        <p:cTn id="22" dur="1" fill="hold">
                                          <p:stCondLst>
                                            <p:cond delay="0"/>
                                          </p:stCondLst>
                                        </p:cTn>
                                        <p:tgtEl>
                                          <p:spTgt spid="7"/>
                                        </p:tgtEl>
                                        <p:attrNameLst>
                                          <p:attrName>style.visibility</p:attrName>
                                        </p:attrNameLst>
                                      </p:cBhvr>
                                      <p:to>
                                        <p:strVal val="visible"/>
                                      </p:to>
                                    </p:set>
                                    <p:animEffect transition="in" filter="fade">
                                      <p:cBhvr>
                                        <p:cTn id="23" dur="500"/>
                                        <p:tgtEl>
                                          <p:spTgt spid="7"/>
                                        </p:tgtEl>
                                      </p:cBhvr>
                                    </p:animEffect>
                                  </p:childTnLst>
                                </p:cTn>
                              </p:par>
                              <p:par>
                                <p:cTn id="24" presetID="10" presetClass="entr" presetSubtype="0" fill="hold" grpId="0" nodeType="withEffect">
                                  <p:stCondLst>
                                    <p:cond delay="250"/>
                                  </p:stCondLst>
                                  <p:childTnLst>
                                    <p:set>
                                      <p:cBhvr>
                                        <p:cTn id="25" dur="1" fill="hold">
                                          <p:stCondLst>
                                            <p:cond delay="0"/>
                                          </p:stCondLst>
                                        </p:cTn>
                                        <p:tgtEl>
                                          <p:spTgt spid="4"/>
                                        </p:tgtEl>
                                        <p:attrNameLst>
                                          <p:attrName>style.visibility</p:attrName>
                                        </p:attrNameLst>
                                      </p:cBhvr>
                                      <p:to>
                                        <p:strVal val="visible"/>
                                      </p:to>
                                    </p:set>
                                    <p:animEffect transition="in" filter="fade">
                                      <p:cBhvr>
                                        <p:cTn id="26"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6" grpId="0" animBg="1"/>
      <p:bldP spid="7" grpId="0" animBg="1"/>
      <p:bldP spid="8" grpId="0" animBg="1"/>
      <p:bldP spid="3" grpId="0" animBg="1"/>
      <p:bldP spid="4" grpId="0" animBg="1"/>
      <p:bldP spid="5"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323232"/>
        </a:solidFill>
        <a:effectLst/>
      </p:bgPr>
    </p:bg>
    <p:spTree>
      <p:nvGrpSpPr>
        <p:cNvPr id="1" name=""/>
        <p:cNvGrpSpPr/>
        <p:nvPr/>
      </p:nvGrpSpPr>
      <p:grpSpPr>
        <a:xfrm>
          <a:off x="0" y="0"/>
          <a:ext cx="0" cy="0"/>
          <a:chOff x="0" y="0"/>
          <a:chExt cx="0" cy="0"/>
        </a:xfrm>
      </p:grpSpPr>
      <p:sp>
        <p:nvSpPr>
          <p:cNvPr id="49" name="TextBox 48"/>
          <p:cNvSpPr txBox="1"/>
          <p:nvPr/>
        </p:nvSpPr>
        <p:spPr>
          <a:xfrm>
            <a:off x="3770189" y="3040789"/>
            <a:ext cx="4671455" cy="886844"/>
          </a:xfrm>
          <a:prstGeom prst="rect">
            <a:avLst/>
          </a:prstGeom>
          <a:noFill/>
        </p:spPr>
        <p:txBody>
          <a:bodyPr wrap="none" lIns="179238" tIns="143391" rIns="179238" bIns="143391" rtlCol="0">
            <a:spAutoFit/>
          </a:bodyPr>
          <a:lstStyle/>
          <a:p>
            <a:pPr algn="ctr" defTabSz="896203">
              <a:lnSpc>
                <a:spcPct val="90000"/>
              </a:lnSpc>
              <a:spcAft>
                <a:spcPts val="588"/>
              </a:spcAft>
            </a:pPr>
            <a:r>
              <a:rPr lang="en-US" sz="4312" kern="0" dirty="0">
                <a:gradFill>
                  <a:gsLst>
                    <a:gs pos="2917">
                      <a:srgbClr val="FFFFFF"/>
                    </a:gs>
                    <a:gs pos="30000">
                      <a:srgbClr val="FFFFFF"/>
                    </a:gs>
                  </a:gsLst>
                  <a:lin ang="5400000" scaled="0"/>
                </a:gradFill>
                <a:latin typeface="Segoe UI Light" panose="020B0502040204020203" pitchFamily="34" charset="0"/>
                <a:cs typeface="Segoe UI Light" panose="020B0502040204020203" pitchFamily="34" charset="0"/>
              </a:rPr>
              <a:t>Choice </a:t>
            </a:r>
            <a:r>
              <a:rPr lang="en-US" sz="4312" kern="0" dirty="0">
                <a:solidFill>
                  <a:srgbClr val="00B0F0"/>
                </a:solidFill>
                <a:latin typeface="Segoe UI Light" panose="020B0502040204020203" pitchFamily="34" charset="0"/>
                <a:cs typeface="Segoe UI Light" panose="020B0502040204020203" pitchFamily="34" charset="0"/>
              </a:rPr>
              <a:t>+</a:t>
            </a:r>
            <a:r>
              <a:rPr lang="en-US" sz="4312" kern="0" dirty="0">
                <a:gradFill>
                  <a:gsLst>
                    <a:gs pos="2917">
                      <a:srgbClr val="FFFFFF"/>
                    </a:gs>
                    <a:gs pos="30000">
                      <a:srgbClr val="FFFFFF"/>
                    </a:gs>
                  </a:gsLst>
                  <a:lin ang="5400000" scaled="0"/>
                </a:gradFill>
                <a:latin typeface="Segoe UI Light" panose="020B0502040204020203" pitchFamily="34" charset="0"/>
                <a:cs typeface="Segoe UI Light" panose="020B0502040204020203" pitchFamily="34" charset="0"/>
              </a:rPr>
              <a:t> Flexibility</a:t>
            </a:r>
          </a:p>
        </p:txBody>
      </p:sp>
      <p:sp>
        <p:nvSpPr>
          <p:cNvPr id="63" name="Rectangle 62"/>
          <p:cNvSpPr/>
          <p:nvPr/>
        </p:nvSpPr>
        <p:spPr bwMode="auto">
          <a:xfrm rot="2700000">
            <a:off x="5658275" y="3093462"/>
            <a:ext cx="824683" cy="824683"/>
          </a:xfrm>
          <a:prstGeom prst="rect">
            <a:avLst/>
          </a:pr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Rectangle 3"/>
          <p:cNvSpPr/>
          <p:nvPr/>
        </p:nvSpPr>
        <p:spPr bwMode="auto">
          <a:xfrm>
            <a:off x="5804306" y="1380"/>
            <a:ext cx="6384520" cy="6855242"/>
          </a:xfrm>
          <a:prstGeom prst="rect">
            <a:avLst/>
          </a:prstGeom>
          <a:solidFill>
            <a:srgbClr val="F8F8F8"/>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30" name="Picture 2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38167" y="6999339"/>
            <a:ext cx="471995" cy="621360"/>
          </a:xfrm>
          <a:prstGeom prst="rect">
            <a:avLst/>
          </a:prstGeom>
        </p:spPr>
      </p:pic>
      <p:pic>
        <p:nvPicPr>
          <p:cNvPr id="54" name="Picture 5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04243" y="6925851"/>
            <a:ext cx="621360" cy="621360"/>
          </a:xfrm>
          <a:prstGeom prst="rect">
            <a:avLst/>
          </a:prstGeom>
        </p:spPr>
      </p:pic>
      <p:pic>
        <p:nvPicPr>
          <p:cNvPr id="56" name="Picture 5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207818" y="7174829"/>
            <a:ext cx="621360" cy="621360"/>
          </a:xfrm>
          <a:prstGeom prst="rect">
            <a:avLst/>
          </a:prstGeom>
        </p:spPr>
      </p:pic>
      <p:pic>
        <p:nvPicPr>
          <p:cNvPr id="57" name="Picture 5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839945" y="7116332"/>
            <a:ext cx="621360" cy="621360"/>
          </a:xfrm>
          <a:prstGeom prst="rect">
            <a:avLst/>
          </a:prstGeom>
        </p:spPr>
      </p:pic>
      <p:pic>
        <p:nvPicPr>
          <p:cNvPr id="60" name="Picture 5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673881" y="7854687"/>
            <a:ext cx="2679778" cy="750476"/>
          </a:xfrm>
          <a:prstGeom prst="rect">
            <a:avLst/>
          </a:prstGeom>
        </p:spPr>
      </p:pic>
      <p:grpSp>
        <p:nvGrpSpPr>
          <p:cNvPr id="5" name="Group 4"/>
          <p:cNvGrpSpPr/>
          <p:nvPr/>
        </p:nvGrpSpPr>
        <p:grpSpPr>
          <a:xfrm>
            <a:off x="6263540" y="591585"/>
            <a:ext cx="5831214" cy="5861454"/>
            <a:chOff x="6390801" y="602197"/>
            <a:chExt cx="5949691" cy="5980546"/>
          </a:xfrm>
        </p:grpSpPr>
        <p:pic>
          <p:nvPicPr>
            <p:cNvPr id="7" name="Picture 10" descr="https://encrypted-tbn3.gstatic.com/images?q=tbn:ANd9GcQgAB8I4GUYPGAuHqEufTpFML_JWZior9mwUJP3P5Tro4I_bcL5"/>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829575" y="2126864"/>
              <a:ext cx="545414" cy="524379"/>
            </a:xfrm>
            <a:prstGeom prst="rect">
              <a:avLst/>
            </a:prstGeom>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633137" y="2122226"/>
              <a:ext cx="748307" cy="533655"/>
            </a:xfrm>
            <a:prstGeom prst="rect">
              <a:avLst/>
            </a:prstGeom>
          </p:spPr>
        </p:pic>
        <p:grpSp>
          <p:nvGrpSpPr>
            <p:cNvPr id="9" name="Group 8"/>
            <p:cNvGrpSpPr/>
            <p:nvPr/>
          </p:nvGrpSpPr>
          <p:grpSpPr>
            <a:xfrm>
              <a:off x="10613509" y="2104558"/>
              <a:ext cx="497039" cy="568990"/>
              <a:chOff x="11352258" y="2315027"/>
              <a:chExt cx="565703" cy="647594"/>
            </a:xfrm>
          </p:grpSpPr>
          <p:pic>
            <p:nvPicPr>
              <p:cNvPr id="12" name="Picture 11"/>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11352258" y="2315027"/>
                <a:ext cx="563133" cy="485323"/>
              </a:xfrm>
              <a:prstGeom prst="rect">
                <a:avLst/>
              </a:prstGeom>
            </p:spPr>
          </p:pic>
          <p:pic>
            <p:nvPicPr>
              <p:cNvPr id="13" name="Picture 12"/>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11354827" y="2784475"/>
                <a:ext cx="563134" cy="178146"/>
              </a:xfrm>
              <a:prstGeom prst="rect">
                <a:avLst/>
              </a:prstGeom>
            </p:spPr>
          </p:pic>
        </p:grpSp>
        <p:pic>
          <p:nvPicPr>
            <p:cNvPr id="10" name="Picture 4" descr="https://tool.microsoftsca.com/Content/assets/clients/928527.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490854" y="2072258"/>
              <a:ext cx="1267182" cy="633591"/>
            </a:xfrm>
            <a:prstGeom prst="rect">
              <a:avLst/>
            </a:prstGeom>
            <a:extLst>
              <a:ext uri="{909E8E84-426E-40DD-AFC4-6F175D3DCCD1}">
                <a14:hiddenFill xmlns:a14="http://schemas.microsoft.com/office/drawing/2010/main">
                  <a:solidFill>
                    <a:srgbClr val="FFFFFF"/>
                  </a:solidFill>
                </a14:hiddenFill>
              </a:ext>
            </a:extLst>
          </p:spPr>
        </p:pic>
        <p:pic>
          <p:nvPicPr>
            <p:cNvPr id="11" name="Picture 2" descr="http://blog.cloudfoundry.com/wp-content/static/cfcom/assets/images/logocf300square.jpg"/>
            <p:cNvPicPr>
              <a:picLocks noChangeAspect="1" noChangeArrowheads="1"/>
            </p:cNvPicPr>
            <p:nvPr/>
          </p:nvPicPr>
          <p:blipFill>
            <a:blip r:embed="rId1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362895" y="2037822"/>
              <a:ext cx="702462" cy="702462"/>
            </a:xfrm>
            <a:prstGeom prst="rect">
              <a:avLst/>
            </a:prstGeom>
            <a:extLst>
              <a:ext uri="{909E8E84-426E-40DD-AFC4-6F175D3DCCD1}">
                <a14:hiddenFill xmlns:a14="http://schemas.microsoft.com/office/drawing/2010/main">
                  <a:solidFill>
                    <a:srgbClr val="FFFFFF"/>
                  </a:solidFill>
                </a14:hiddenFill>
              </a:ext>
            </a:extLst>
          </p:spPr>
        </p:pic>
        <p:sp>
          <p:nvSpPr>
            <p:cNvPr id="32" name="TextBox 31"/>
            <p:cNvSpPr txBox="1"/>
            <p:nvPr/>
          </p:nvSpPr>
          <p:spPr>
            <a:xfrm>
              <a:off x="6472945" y="1825356"/>
              <a:ext cx="1599116" cy="261610"/>
            </a:xfrm>
            <a:prstGeom prst="rect">
              <a:avLst/>
            </a:prstGeom>
            <a:noFill/>
          </p:spPr>
          <p:txBody>
            <a:bodyPr wrap="square" rtlCol="0">
              <a:spAutoFit/>
            </a:bodyPr>
            <a:lstStyle/>
            <a:p>
              <a:pPr defTabSz="913415" eaLnBrk="0" fontAlgn="base" hangingPunct="0">
                <a:spcBef>
                  <a:spcPct val="0"/>
                </a:spcBef>
                <a:spcAft>
                  <a:spcPct val="0"/>
                </a:spcAft>
                <a:defRPr/>
              </a:pPr>
              <a:r>
                <a:rPr lang="en-US" sz="1078" dirty="0">
                  <a:solidFill>
                    <a:srgbClr val="505050"/>
                  </a:solidFill>
                  <a:latin typeface="Segoe UI Semibold" panose="020B0702040204020203" pitchFamily="34" charset="0"/>
                  <a:ea typeface="MS PGothic" panose="020B0600070205080204" pitchFamily="34" charset="-128"/>
                  <a:cs typeface="Segoe UI Semibold" panose="020B0702040204020203" pitchFamily="34" charset="0"/>
                </a:rPr>
                <a:t>Applications</a:t>
              </a:r>
            </a:p>
          </p:txBody>
        </p:sp>
        <p:pic>
          <p:nvPicPr>
            <p:cNvPr id="15" name="Picture 14"/>
            <p:cNvPicPr>
              <a:picLocks noChangeAspect="1"/>
            </p:cNvPicPr>
            <p:nvPr/>
          </p:nvPicPr>
          <p:blipFill>
            <a:blip r:embed="rId13"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tretch>
              <a:fillRect/>
            </a:stretch>
          </p:blipFill>
          <p:spPr>
            <a:xfrm>
              <a:off x="6570850" y="837548"/>
              <a:ext cx="1134759" cy="529887"/>
            </a:xfrm>
            <a:prstGeom prst="rect">
              <a:avLst/>
            </a:prstGeom>
          </p:spPr>
        </p:pic>
        <p:pic>
          <p:nvPicPr>
            <p:cNvPr id="16" name="Picture 15"/>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9303751" y="835518"/>
              <a:ext cx="543368" cy="533946"/>
            </a:xfrm>
            <a:prstGeom prst="rect">
              <a:avLst/>
            </a:prstGeom>
          </p:spPr>
        </p:pic>
        <p:pic>
          <p:nvPicPr>
            <p:cNvPr id="17" name="Picture 16"/>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0146638" y="788293"/>
              <a:ext cx="794816" cy="628397"/>
            </a:xfrm>
            <a:prstGeom prst="rect">
              <a:avLst/>
            </a:prstGeom>
          </p:spPr>
        </p:pic>
        <p:pic>
          <p:nvPicPr>
            <p:cNvPr id="18" name="Picture 17"/>
            <p:cNvPicPr>
              <a:picLocks noChangeAspect="1"/>
            </p:cNvPicPr>
            <p:nvPr/>
          </p:nvPicPr>
          <p:blipFill rotWithShape="1">
            <a:blip r:embed="rId16"/>
            <a:srcRect l="5185" t="6737" r="6737" b="5183"/>
            <a:stretch/>
          </p:blipFill>
          <p:spPr>
            <a:xfrm>
              <a:off x="11370914" y="829432"/>
              <a:ext cx="548604" cy="555919"/>
            </a:xfrm>
            <a:prstGeom prst="ellipse">
              <a:avLst/>
            </a:prstGeom>
            <a:solidFill>
              <a:srgbClr val="FFFFFF">
                <a:lumMod val="75000"/>
              </a:srgbClr>
            </a:solidFill>
          </p:spPr>
        </p:pic>
        <p:sp>
          <p:nvSpPr>
            <p:cNvPr id="34" name="TextBox 33"/>
            <p:cNvSpPr txBox="1"/>
            <p:nvPr/>
          </p:nvSpPr>
          <p:spPr>
            <a:xfrm>
              <a:off x="6472945" y="602197"/>
              <a:ext cx="1330570" cy="261610"/>
            </a:xfrm>
            <a:prstGeom prst="rect">
              <a:avLst/>
            </a:prstGeom>
            <a:noFill/>
          </p:spPr>
          <p:txBody>
            <a:bodyPr wrap="square" rtlCol="0">
              <a:spAutoFit/>
            </a:bodyPr>
            <a:lstStyle/>
            <a:p>
              <a:pPr defTabSz="913415" eaLnBrk="0" fontAlgn="base" hangingPunct="0">
                <a:spcBef>
                  <a:spcPct val="0"/>
                </a:spcBef>
                <a:spcAft>
                  <a:spcPct val="0"/>
                </a:spcAft>
                <a:defRPr/>
              </a:pPr>
              <a:r>
                <a:rPr lang="en-US" sz="1078" dirty="0">
                  <a:solidFill>
                    <a:srgbClr val="505050"/>
                  </a:solidFill>
                  <a:latin typeface="Segoe UI Semibold" panose="020B0702040204020203" pitchFamily="34" charset="0"/>
                  <a:ea typeface="MS PGothic" panose="020B0600070205080204" pitchFamily="34" charset="-128"/>
                  <a:cs typeface="Segoe UI Semibold" panose="020B0702040204020203" pitchFamily="34" charset="0"/>
                </a:rPr>
                <a:t>Management</a:t>
              </a:r>
            </a:p>
          </p:txBody>
        </p:sp>
        <p:pic>
          <p:nvPicPr>
            <p:cNvPr id="20" name="Picture 4" descr="http://www.jbase.com/new/products/images/java.png"/>
            <p:cNvPicPr>
              <a:picLocks noChangeAspect="1" noChangeArrowheads="1"/>
            </p:cNvPicPr>
            <p:nvPr/>
          </p:nvPicPr>
          <p:blipFill>
            <a:blip r:embed="rId17" cstate="print">
              <a:extLst/>
            </a:blip>
            <a:srcRect/>
            <a:stretch>
              <a:fillRect/>
            </a:stretch>
          </p:blipFill>
          <p:spPr bwMode="auto">
            <a:xfrm>
              <a:off x="9940483" y="3408643"/>
              <a:ext cx="296980" cy="584976"/>
            </a:xfrm>
            <a:prstGeom prst="rect">
              <a:avLst/>
            </a:prstGeom>
          </p:spPr>
        </p:pic>
        <p:pic>
          <p:nvPicPr>
            <p:cNvPr id="21" name="Picture 20" descr="PHP.png"/>
            <p:cNvPicPr>
              <a:picLocks noChangeAspect="1"/>
            </p:cNvPicPr>
            <p:nvPr/>
          </p:nvPicPr>
          <p:blipFill>
            <a:blip r:embed="rId18" cstate="print">
              <a:extLst/>
            </a:blip>
            <a:stretch>
              <a:fillRect/>
            </a:stretch>
          </p:blipFill>
          <p:spPr>
            <a:xfrm>
              <a:off x="10613509" y="3553594"/>
              <a:ext cx="651233" cy="361584"/>
            </a:xfrm>
            <a:prstGeom prst="rect">
              <a:avLst/>
            </a:prstGeom>
          </p:spPr>
        </p:pic>
        <p:pic>
          <p:nvPicPr>
            <p:cNvPr id="22" name="Picture 21"/>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7437559" y="3586370"/>
              <a:ext cx="925885" cy="258395"/>
            </a:xfrm>
            <a:prstGeom prst="rect">
              <a:avLst/>
            </a:prstGeom>
          </p:spPr>
        </p:pic>
        <p:pic>
          <p:nvPicPr>
            <p:cNvPr id="24" name="Picture 23"/>
            <p:cNvPicPr>
              <a:picLocks noChangeAspect="1"/>
            </p:cNvPicPr>
            <p:nvPr/>
          </p:nvPicPr>
          <p:blipFill>
            <a:blip r:embed="rId20">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549413" y="3559892"/>
              <a:ext cx="1111023" cy="375198"/>
            </a:xfrm>
            <a:prstGeom prst="rect">
              <a:avLst/>
            </a:prstGeom>
          </p:spPr>
        </p:pic>
        <p:sp>
          <p:nvSpPr>
            <p:cNvPr id="36" name="TextBox 35"/>
            <p:cNvSpPr txBox="1"/>
            <p:nvPr/>
          </p:nvSpPr>
          <p:spPr>
            <a:xfrm>
              <a:off x="6472945" y="3135890"/>
              <a:ext cx="1599116" cy="261610"/>
            </a:xfrm>
            <a:prstGeom prst="rect">
              <a:avLst/>
            </a:prstGeom>
            <a:noFill/>
          </p:spPr>
          <p:txBody>
            <a:bodyPr wrap="square" rtlCol="0">
              <a:spAutoFit/>
            </a:bodyPr>
            <a:lstStyle/>
            <a:p>
              <a:pPr defTabSz="913415" eaLnBrk="0" fontAlgn="base" hangingPunct="0">
                <a:spcBef>
                  <a:spcPct val="0"/>
                </a:spcBef>
                <a:spcAft>
                  <a:spcPct val="0"/>
                </a:spcAft>
                <a:defRPr/>
              </a:pPr>
              <a:r>
                <a:rPr lang="en-US" sz="1078" dirty="0">
                  <a:solidFill>
                    <a:srgbClr val="505050"/>
                  </a:solidFill>
                  <a:latin typeface="Segoe UI Semibold" panose="020B0702040204020203" pitchFamily="34" charset="0"/>
                  <a:ea typeface="MS PGothic" panose="020B0600070205080204" pitchFamily="34" charset="-128"/>
                  <a:cs typeface="Segoe UI Semibold" panose="020B0702040204020203" pitchFamily="34" charset="0"/>
                </a:rPr>
                <a:t>App Frameworks</a:t>
              </a:r>
            </a:p>
          </p:txBody>
        </p:sp>
        <p:sp>
          <p:nvSpPr>
            <p:cNvPr id="35" name="TextBox 34"/>
            <p:cNvSpPr txBox="1"/>
            <p:nvPr/>
          </p:nvSpPr>
          <p:spPr>
            <a:xfrm>
              <a:off x="6472945" y="4286612"/>
              <a:ext cx="2924850" cy="261610"/>
            </a:xfrm>
            <a:prstGeom prst="rect">
              <a:avLst/>
            </a:prstGeom>
            <a:noFill/>
          </p:spPr>
          <p:txBody>
            <a:bodyPr wrap="square" rtlCol="0">
              <a:spAutoFit/>
            </a:bodyPr>
            <a:lstStyle/>
            <a:p>
              <a:pPr defTabSz="913415" eaLnBrk="0" fontAlgn="base" hangingPunct="0">
                <a:spcBef>
                  <a:spcPct val="0"/>
                </a:spcBef>
                <a:spcAft>
                  <a:spcPct val="0"/>
                </a:spcAft>
                <a:defRPr/>
              </a:pPr>
              <a:r>
                <a:rPr lang="en-US" sz="1078" dirty="0">
                  <a:solidFill>
                    <a:srgbClr val="505050"/>
                  </a:solidFill>
                  <a:latin typeface="Segoe UI Semibold" panose="020B0702040204020203" pitchFamily="34" charset="0"/>
                  <a:ea typeface="MS PGothic" panose="020B0600070205080204" pitchFamily="34" charset="-128"/>
                  <a:cs typeface="Segoe UI Semibold" panose="020B0702040204020203" pitchFamily="34" charset="0"/>
                </a:rPr>
                <a:t>Databases &amp; Middleware</a:t>
              </a:r>
            </a:p>
          </p:txBody>
        </p:sp>
        <p:pic>
          <p:nvPicPr>
            <p:cNvPr id="38" name="Picture 37"/>
            <p:cNvPicPr>
              <a:picLocks noChangeAspect="1"/>
            </p:cNvPicPr>
            <p:nvPr/>
          </p:nvPicPr>
          <p:blipFill>
            <a:blip r:embed="rId21">
              <a:clrChange>
                <a:clrFrom>
                  <a:srgbClr val="F9F9F9"/>
                </a:clrFrom>
                <a:clrTo>
                  <a:srgbClr val="F9F9F9">
                    <a:alpha val="0"/>
                  </a:srgbClr>
                </a:clrTo>
              </a:clrChange>
            </a:blip>
            <a:stretch>
              <a:fillRect/>
            </a:stretch>
          </p:blipFill>
          <p:spPr>
            <a:xfrm>
              <a:off x="11156210" y="4548222"/>
              <a:ext cx="916293" cy="447734"/>
            </a:xfrm>
            <a:prstGeom prst="rect">
              <a:avLst/>
            </a:prstGeom>
          </p:spPr>
        </p:pic>
        <p:pic>
          <p:nvPicPr>
            <p:cNvPr id="39" name="Picture 38"/>
            <p:cNvPicPr>
              <a:picLocks noChangeAspect="1"/>
            </p:cNvPicPr>
            <p:nvPr/>
          </p:nvPicPr>
          <p:blipFill>
            <a:blip r:embed="rId22">
              <a:clrChange>
                <a:clrFrom>
                  <a:srgbClr val="F9F9F9"/>
                </a:clrFrom>
                <a:clrTo>
                  <a:srgbClr val="F9F9F9">
                    <a:alpha val="0"/>
                  </a:srgbClr>
                </a:clrTo>
              </a:clrChange>
            </a:blip>
            <a:stretch>
              <a:fillRect/>
            </a:stretch>
          </p:blipFill>
          <p:spPr>
            <a:xfrm>
              <a:off x="9990982" y="4692704"/>
              <a:ext cx="1042561" cy="320241"/>
            </a:xfrm>
            <a:prstGeom prst="rect">
              <a:avLst/>
            </a:prstGeom>
          </p:spPr>
        </p:pic>
        <p:pic>
          <p:nvPicPr>
            <p:cNvPr id="40" name="Picture 39"/>
            <p:cNvPicPr>
              <a:picLocks noChangeAspect="1"/>
            </p:cNvPicPr>
            <p:nvPr/>
          </p:nvPicPr>
          <p:blipFill>
            <a:blip r:embed="rId23"/>
            <a:stretch>
              <a:fillRect/>
            </a:stretch>
          </p:blipFill>
          <p:spPr>
            <a:xfrm>
              <a:off x="9048115" y="4695490"/>
              <a:ext cx="748104" cy="342155"/>
            </a:xfrm>
            <a:prstGeom prst="rect">
              <a:avLst/>
            </a:prstGeom>
          </p:spPr>
        </p:pic>
        <p:pic>
          <p:nvPicPr>
            <p:cNvPr id="41" name="Picture 40"/>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7982324" y="4706448"/>
              <a:ext cx="844322" cy="319134"/>
            </a:xfrm>
            <a:prstGeom prst="rect">
              <a:avLst/>
            </a:prstGeom>
          </p:spPr>
        </p:pic>
        <p:sp>
          <p:nvSpPr>
            <p:cNvPr id="33" name="TextBox 32"/>
            <p:cNvSpPr txBox="1"/>
            <p:nvPr/>
          </p:nvSpPr>
          <p:spPr>
            <a:xfrm>
              <a:off x="6472945" y="5414891"/>
              <a:ext cx="1282827" cy="261610"/>
            </a:xfrm>
            <a:prstGeom prst="rect">
              <a:avLst/>
            </a:prstGeom>
            <a:noFill/>
          </p:spPr>
          <p:txBody>
            <a:bodyPr wrap="square" rtlCol="0">
              <a:spAutoFit/>
            </a:bodyPr>
            <a:lstStyle/>
            <a:p>
              <a:pPr defTabSz="913415" eaLnBrk="0" fontAlgn="base" hangingPunct="0">
                <a:spcBef>
                  <a:spcPct val="0"/>
                </a:spcBef>
                <a:spcAft>
                  <a:spcPct val="0"/>
                </a:spcAft>
                <a:defRPr/>
              </a:pPr>
              <a:r>
                <a:rPr lang="en-US" sz="1078" dirty="0">
                  <a:solidFill>
                    <a:srgbClr val="505050"/>
                  </a:solidFill>
                  <a:latin typeface="Segoe UI Semibold" panose="020B0702040204020203" pitchFamily="34" charset="0"/>
                  <a:ea typeface="MS PGothic" panose="020B0600070205080204" pitchFamily="34" charset="-128"/>
                  <a:cs typeface="Segoe UI Semibold" panose="020B0702040204020203" pitchFamily="34" charset="0"/>
                </a:rPr>
                <a:t>Infrastructure</a:t>
              </a:r>
            </a:p>
          </p:txBody>
        </p:sp>
        <p:pic>
          <p:nvPicPr>
            <p:cNvPr id="43" name="Picture 42"/>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10888219" y="5787436"/>
              <a:ext cx="1452273" cy="493259"/>
            </a:xfrm>
            <a:prstGeom prst="rect">
              <a:avLst/>
            </a:prstGeom>
          </p:spPr>
        </p:pic>
        <p:grpSp>
          <p:nvGrpSpPr>
            <p:cNvPr id="44" name="Group 43"/>
            <p:cNvGrpSpPr/>
            <p:nvPr/>
          </p:nvGrpSpPr>
          <p:grpSpPr>
            <a:xfrm>
              <a:off x="9972385" y="5735814"/>
              <a:ext cx="890772" cy="846929"/>
              <a:chOff x="8932263" y="5481436"/>
              <a:chExt cx="1035987" cy="925391"/>
            </a:xfrm>
          </p:grpSpPr>
          <p:sp>
            <p:nvSpPr>
              <p:cNvPr id="47" name="Freeform 6"/>
              <p:cNvSpPr>
                <a:spLocks noEditPoints="1"/>
              </p:cNvSpPr>
              <p:nvPr/>
            </p:nvSpPr>
            <p:spPr bwMode="auto">
              <a:xfrm>
                <a:off x="9179185" y="5481436"/>
                <a:ext cx="463384" cy="48897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505050">
                  <a:lumMod val="50000"/>
                </a:srgbClr>
              </a:solidFill>
              <a:ln w="10795" cap="flat" cmpd="sng" algn="ctr">
                <a:noFill/>
                <a:prstDash val="solid"/>
                <a:headEnd type="none" w="med" len="med"/>
                <a:tailEnd type="none" w="med" len="med"/>
              </a:ln>
              <a:effectLst/>
            </p:spPr>
            <p:txBody>
              <a:bodyPr rot="0" spcFirstLastPara="0" vertOverflow="overflow" horzOverflow="overflow" vert="horz" wrap="square" lIns="179115" tIns="143292" rIns="179115" bIns="143292" numCol="1" spcCol="0" rtlCol="0" fromWordArt="0" anchor="t" anchorCtr="0" forceAA="0" compatLnSpc="1">
                <a:prstTxWarp prst="textNoShape">
                  <a:avLst/>
                </a:prstTxWarp>
                <a:noAutofit/>
              </a:bodyPr>
              <a:lstStyle/>
              <a:p>
                <a:pPr algn="ctr" defTabSz="895210" eaLnBrk="0" fontAlgn="base" hangingPunct="0">
                  <a:lnSpc>
                    <a:spcPct val="90000"/>
                  </a:lnSpc>
                  <a:spcBef>
                    <a:spcPct val="0"/>
                  </a:spcBef>
                  <a:spcAft>
                    <a:spcPct val="0"/>
                  </a:spcAft>
                  <a:defRPr/>
                </a:pPr>
                <a:endParaRPr lang="en-US" sz="1959" kern="0" spc="-49" dirty="0">
                  <a:gradFill>
                    <a:gsLst>
                      <a:gs pos="1250">
                        <a:srgbClr val="EFEFEF"/>
                      </a:gs>
                      <a:gs pos="10417">
                        <a:srgbClr val="EFEFEF"/>
                      </a:gs>
                    </a:gsLst>
                    <a:lin ang="5400000" scaled="0"/>
                  </a:gradFill>
                  <a:latin typeface="Segoe UI Light"/>
                  <a:ea typeface="MS PGothic" panose="020B0600070205080204" pitchFamily="34" charset="-128"/>
                </a:endParaRPr>
              </a:p>
            </p:txBody>
          </p:sp>
          <p:sp>
            <p:nvSpPr>
              <p:cNvPr id="48" name="TextBox 47"/>
              <p:cNvSpPr txBox="1"/>
              <p:nvPr/>
            </p:nvSpPr>
            <p:spPr>
              <a:xfrm>
                <a:off x="8932263" y="5846694"/>
                <a:ext cx="1035987" cy="560133"/>
              </a:xfrm>
              <a:prstGeom prst="rect">
                <a:avLst/>
              </a:prstGeom>
              <a:noFill/>
            </p:spPr>
            <p:txBody>
              <a:bodyPr wrap="square" lIns="179238" tIns="143391" rIns="179238" bIns="143391" rtlCol="0">
                <a:spAutoFit/>
              </a:bodyPr>
              <a:lstStyle/>
              <a:p>
                <a:pPr defTabSz="913319" eaLnBrk="0" fontAlgn="base" hangingPunct="0">
                  <a:lnSpc>
                    <a:spcPct val="90000"/>
                  </a:lnSpc>
                  <a:spcBef>
                    <a:spcPct val="0"/>
                  </a:spcBef>
                  <a:spcAft>
                    <a:spcPts val="588"/>
                  </a:spcAft>
                  <a:defRPr/>
                </a:pPr>
                <a:r>
                  <a:rPr lang="en-US" sz="1568" kern="0" dirty="0">
                    <a:solidFill>
                      <a:srgbClr val="505050">
                        <a:lumMod val="50000"/>
                      </a:srgbClr>
                    </a:solidFill>
                    <a:latin typeface="Segoe UI"/>
                    <a:ea typeface="MS PGothic" panose="020B0600070205080204" pitchFamily="34" charset="-128"/>
                  </a:rPr>
                  <a:t>Linux</a:t>
                </a:r>
              </a:p>
            </p:txBody>
          </p:sp>
        </p:grpSp>
        <p:pic>
          <p:nvPicPr>
            <p:cNvPr id="46" name="Picture 2" descr="http://www.highvail.com/wp-content/uploads/2014/12/RedHat-IsoLogo.jpg"/>
            <p:cNvPicPr>
              <a:picLocks noChangeAspect="1" noChangeArrowheads="1"/>
            </p:cNvPicPr>
            <p:nvPr/>
          </p:nvPicPr>
          <p:blipFill>
            <a:blip r:embed="rId2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023400" y="5684015"/>
              <a:ext cx="806175" cy="700099"/>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8162067" y="867795"/>
              <a:ext cx="633985" cy="469393"/>
            </a:xfrm>
            <a:prstGeom prst="rect">
              <a:avLst/>
            </a:prstGeom>
          </p:spPr>
        </p:pic>
        <p:pic>
          <p:nvPicPr>
            <p:cNvPr id="31" name="Picture 30"/>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7256189" y="4706448"/>
              <a:ext cx="560761" cy="434657"/>
            </a:xfrm>
            <a:prstGeom prst="rect">
              <a:avLst/>
            </a:prstGeom>
          </p:spPr>
        </p:pic>
        <p:pic>
          <p:nvPicPr>
            <p:cNvPr id="55" name="Picture 54"/>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6593847" y="4647029"/>
              <a:ext cx="390196" cy="517760"/>
            </a:xfrm>
            <a:prstGeom prst="rect">
              <a:avLst/>
            </a:prstGeom>
          </p:spPr>
        </p:pic>
        <p:pic>
          <p:nvPicPr>
            <p:cNvPr id="58" name="Picture 57"/>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7975089" y="2137068"/>
              <a:ext cx="503971" cy="503971"/>
            </a:xfrm>
            <a:prstGeom prst="rect">
              <a:avLst/>
            </a:prstGeom>
          </p:spPr>
        </p:pic>
        <p:pic>
          <p:nvPicPr>
            <p:cNvPr id="59" name="Picture 58"/>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6390801" y="5838044"/>
              <a:ext cx="1565101" cy="399669"/>
            </a:xfrm>
            <a:prstGeom prst="rect">
              <a:avLst/>
            </a:prstGeom>
          </p:spPr>
        </p:pic>
        <p:pic>
          <p:nvPicPr>
            <p:cNvPr id="25602" name="Picture 2"/>
            <p:cNvPicPr>
              <a:picLocks noChangeAspect="1" noChangeArrowheads="1"/>
            </p:cNvPicPr>
            <p:nvPr/>
          </p:nvPicPr>
          <p:blipFill>
            <a:blip r:embed="rId32">
              <a:extLst>
                <a:ext uri="{28A0092B-C50C-407E-A947-70E740481C1C}">
                  <a14:useLocalDpi xmlns:a14="http://schemas.microsoft.com/office/drawing/2010/main" val="0"/>
                </a:ext>
              </a:extLst>
            </a:blip>
            <a:stretch>
              <a:fillRect/>
            </a:stretch>
          </p:blipFill>
          <p:spPr bwMode="auto">
            <a:xfrm>
              <a:off x="6570850" y="3454511"/>
              <a:ext cx="490158" cy="494941"/>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61"/>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11617544" y="3468062"/>
              <a:ext cx="429698" cy="493243"/>
            </a:xfrm>
            <a:prstGeom prst="rect">
              <a:avLst/>
            </a:prstGeom>
          </p:spPr>
        </p:pic>
        <p:pic>
          <p:nvPicPr>
            <p:cNvPr id="30722" name="Picture 2" descr="http://4.bp.blogspot.com/-bNfHa5G9pqk/TeDlhHQchXI/AAAAAAAACIQ/8OKNn24Mnlg/s1600/Canonical-Logo-Small-Original.png"/>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9036682" y="5701148"/>
              <a:ext cx="782355" cy="66583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2374035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5" presetClass="path" presetSubtype="0" accel="50000" decel="50000" fill="hold" grpId="0" nodeType="clickEffect">
                                  <p:stCondLst>
                                    <p:cond delay="0"/>
                                  </p:stCondLst>
                                  <p:childTnLst>
                                    <p:animMotion origin="layout" path="M -3.54098E-6 -3.71312E-6 L -0.26793 -3.71312E-6 " pathEditMode="relative" rAng="0" ptsTypes="AA">
                                      <p:cBhvr>
                                        <p:cTn id="6" dur="1000" fill="hold"/>
                                        <p:tgtEl>
                                          <p:spTgt spid="49"/>
                                        </p:tgtEl>
                                        <p:attrNameLst>
                                          <p:attrName>ppt_x</p:attrName>
                                          <p:attrName>ppt_y</p:attrName>
                                        </p:attrNameLst>
                                      </p:cBhvr>
                                      <p:rCtr x="-13403" y="0"/>
                                    </p:animMotion>
                                  </p:childTnLst>
                                </p:cTn>
                              </p:par>
                              <p:par>
                                <p:cTn id="7" presetID="12" presetClass="entr" presetSubtype="2" fill="hold" grpId="0" nodeType="withEffect">
                                  <p:stCondLst>
                                    <p:cond delay="250"/>
                                  </p:stCondLst>
                                  <p:childTnLst>
                                    <p:set>
                                      <p:cBhvr>
                                        <p:cTn id="8" dur="1" fill="hold">
                                          <p:stCondLst>
                                            <p:cond delay="0"/>
                                          </p:stCondLst>
                                        </p:cTn>
                                        <p:tgtEl>
                                          <p:spTgt spid="4"/>
                                        </p:tgtEl>
                                        <p:attrNameLst>
                                          <p:attrName>style.visibility</p:attrName>
                                        </p:attrNameLst>
                                      </p:cBhvr>
                                      <p:to>
                                        <p:strVal val="visible"/>
                                      </p:to>
                                    </p:set>
                                    <p:anim calcmode="lin" valueType="num">
                                      <p:cBhvr additive="base">
                                        <p:cTn id="9" dur="750"/>
                                        <p:tgtEl>
                                          <p:spTgt spid="4"/>
                                        </p:tgtEl>
                                        <p:attrNameLst>
                                          <p:attrName>ppt_x</p:attrName>
                                        </p:attrNameLst>
                                      </p:cBhvr>
                                      <p:tavLst>
                                        <p:tav tm="0">
                                          <p:val>
                                            <p:strVal val="#ppt_x+#ppt_w*1.125000"/>
                                          </p:val>
                                        </p:tav>
                                        <p:tav tm="100000">
                                          <p:val>
                                            <p:strVal val="#ppt_x"/>
                                          </p:val>
                                        </p:tav>
                                      </p:tavLst>
                                    </p:anim>
                                    <p:animEffect transition="in" filter="wipe(left)">
                                      <p:cBhvr>
                                        <p:cTn id="10" dur="750"/>
                                        <p:tgtEl>
                                          <p:spTgt spid="4"/>
                                        </p:tgtEl>
                                      </p:cBhvr>
                                    </p:animEffect>
                                  </p:childTnLst>
                                </p:cTn>
                              </p:par>
                            </p:childTnLst>
                          </p:cTn>
                        </p:par>
                        <p:par>
                          <p:cTn id="11" fill="hold">
                            <p:stCondLst>
                              <p:cond delay="1000"/>
                            </p:stCondLst>
                            <p:childTnLst>
                              <p:par>
                                <p:cTn id="12" presetID="12" presetClass="entr" presetSubtype="2" fill="hold" grpId="0" nodeType="afterEffect">
                                  <p:stCondLst>
                                    <p:cond delay="0"/>
                                  </p:stCondLst>
                                  <p:childTnLst>
                                    <p:set>
                                      <p:cBhvr>
                                        <p:cTn id="13" dur="1" fill="hold">
                                          <p:stCondLst>
                                            <p:cond delay="0"/>
                                          </p:stCondLst>
                                        </p:cTn>
                                        <p:tgtEl>
                                          <p:spTgt spid="63"/>
                                        </p:tgtEl>
                                        <p:attrNameLst>
                                          <p:attrName>style.visibility</p:attrName>
                                        </p:attrNameLst>
                                      </p:cBhvr>
                                      <p:to>
                                        <p:strVal val="visible"/>
                                      </p:to>
                                    </p:set>
                                    <p:anim calcmode="lin" valueType="num">
                                      <p:cBhvr additive="base">
                                        <p:cTn id="14" dur="250"/>
                                        <p:tgtEl>
                                          <p:spTgt spid="63"/>
                                        </p:tgtEl>
                                        <p:attrNameLst>
                                          <p:attrName>ppt_x</p:attrName>
                                        </p:attrNameLst>
                                      </p:cBhvr>
                                      <p:tavLst>
                                        <p:tav tm="0">
                                          <p:val>
                                            <p:strVal val="#ppt_x+#ppt_w*1.125000"/>
                                          </p:val>
                                        </p:tav>
                                        <p:tav tm="100000">
                                          <p:val>
                                            <p:strVal val="#ppt_x"/>
                                          </p:val>
                                        </p:tav>
                                      </p:tavLst>
                                    </p:anim>
                                    <p:animEffect transition="in" filter="wipe(left)">
                                      <p:cBhvr>
                                        <p:cTn id="15" dur="250"/>
                                        <p:tgtEl>
                                          <p:spTgt spid="63"/>
                                        </p:tgtEl>
                                      </p:cBhvr>
                                    </p:animEffect>
                                  </p:childTnLst>
                                </p:cTn>
                              </p:par>
                              <p:par>
                                <p:cTn id="16" presetID="10" presetClass="entr" presetSubtype="0" fill="hold" nodeType="with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p:bldP spid="63" grpId="0" animBg="1"/>
      <p:bldP spid="4"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323232"/>
        </a:solidFill>
        <a:effectLst/>
      </p:bgPr>
    </p:bg>
    <p:spTree>
      <p:nvGrpSpPr>
        <p:cNvPr id="1" name=""/>
        <p:cNvGrpSpPr/>
        <p:nvPr/>
      </p:nvGrpSpPr>
      <p:grpSpPr>
        <a:xfrm>
          <a:off x="0" y="0"/>
          <a:ext cx="0" cy="0"/>
          <a:chOff x="0" y="0"/>
          <a:chExt cx="0" cy="0"/>
        </a:xfrm>
      </p:grpSpPr>
      <p:sp>
        <p:nvSpPr>
          <p:cNvPr id="63" name="Rectangle 62"/>
          <p:cNvSpPr/>
          <p:nvPr/>
        </p:nvSpPr>
        <p:spPr bwMode="auto">
          <a:xfrm rot="2700000">
            <a:off x="5658336" y="3093509"/>
            <a:ext cx="824567" cy="824567"/>
          </a:xfrm>
          <a:prstGeom prst="rect">
            <a:avLst/>
          </a:pr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a:lnSpc>
                <a:spcPct val="90000"/>
              </a:lnSpc>
              <a:defRPr/>
            </a:pPr>
            <a:endParaRPr lang="en-US" sz="2352"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Rectangle 3"/>
          <p:cNvSpPr/>
          <p:nvPr/>
        </p:nvSpPr>
        <p:spPr bwMode="auto">
          <a:xfrm>
            <a:off x="5804348" y="1867"/>
            <a:ext cx="6383614" cy="6854269"/>
          </a:xfrm>
          <a:prstGeom prst="rect">
            <a:avLst/>
          </a:prstGeom>
          <a:solidFill>
            <a:srgbClr val="F8F8F8"/>
          </a:solidFill>
          <a:ln w="9525" cap="flat" cmpd="sng" algn="ctr">
            <a:noFill/>
            <a:prstDash val="solid"/>
            <a:headEnd type="none" w="med" len="med"/>
            <a:tailEnd type="none" w="med" len="med"/>
          </a:ln>
          <a:effectLst/>
        </p:spPr>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0" name="Freeform 5"/>
          <p:cNvSpPr>
            <a:spLocks/>
          </p:cNvSpPr>
          <p:nvPr/>
        </p:nvSpPr>
        <p:spPr bwMode="auto">
          <a:xfrm>
            <a:off x="6154714" y="-6555"/>
            <a:ext cx="5999924" cy="1986751"/>
          </a:xfrm>
          <a:custGeom>
            <a:avLst/>
            <a:gdLst>
              <a:gd name="T0" fmla="*/ 432 w 2806"/>
              <a:gd name="T1" fmla="*/ 295 h 927"/>
              <a:gd name="T2" fmla="*/ 584 w 2806"/>
              <a:gd name="T3" fmla="*/ 270 h 927"/>
              <a:gd name="T4" fmla="*/ 1038 w 2806"/>
              <a:gd name="T5" fmla="*/ 671 h 927"/>
              <a:gd name="T6" fmla="*/ 1361 w 2806"/>
              <a:gd name="T7" fmla="*/ 542 h 927"/>
              <a:gd name="T8" fmla="*/ 1813 w 2806"/>
              <a:gd name="T9" fmla="*/ 927 h 927"/>
              <a:gd name="T10" fmla="*/ 2220 w 2806"/>
              <a:gd name="T11" fmla="*/ 685 h 927"/>
              <a:gd name="T12" fmla="*/ 2220 w 2806"/>
              <a:gd name="T13" fmla="*/ 684 h 927"/>
              <a:gd name="T14" fmla="*/ 2267 w 2806"/>
              <a:gd name="T15" fmla="*/ 516 h 927"/>
              <a:gd name="T16" fmla="*/ 2806 w 2806"/>
              <a:gd name="T17" fmla="*/ 0 h 927"/>
              <a:gd name="T18" fmla="*/ 0 w 2806"/>
              <a:gd name="T19" fmla="*/ 0 h 927"/>
              <a:gd name="T20" fmla="*/ 432 w 2806"/>
              <a:gd name="T21" fmla="*/ 295 h 9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06" h="927">
                <a:moveTo>
                  <a:pt x="432" y="295"/>
                </a:moveTo>
                <a:cubicBezTo>
                  <a:pt x="485" y="295"/>
                  <a:pt x="536" y="287"/>
                  <a:pt x="584" y="270"/>
                </a:cubicBezTo>
                <a:cubicBezTo>
                  <a:pt x="603" y="495"/>
                  <a:pt x="799" y="671"/>
                  <a:pt x="1038" y="671"/>
                </a:cubicBezTo>
                <a:cubicBezTo>
                  <a:pt x="1164" y="671"/>
                  <a:pt x="1279" y="622"/>
                  <a:pt x="1361" y="542"/>
                </a:cubicBezTo>
                <a:cubicBezTo>
                  <a:pt x="1388" y="759"/>
                  <a:pt x="1579" y="927"/>
                  <a:pt x="1813" y="927"/>
                </a:cubicBezTo>
                <a:cubicBezTo>
                  <a:pt x="1991" y="927"/>
                  <a:pt x="2144" y="828"/>
                  <a:pt x="2220" y="685"/>
                </a:cubicBezTo>
                <a:cubicBezTo>
                  <a:pt x="2220" y="684"/>
                  <a:pt x="2220" y="684"/>
                  <a:pt x="2220" y="684"/>
                </a:cubicBezTo>
                <a:cubicBezTo>
                  <a:pt x="2248" y="633"/>
                  <a:pt x="2264" y="576"/>
                  <a:pt x="2267" y="516"/>
                </a:cubicBezTo>
                <a:cubicBezTo>
                  <a:pt x="2555" y="512"/>
                  <a:pt x="2790" y="284"/>
                  <a:pt x="2806" y="0"/>
                </a:cubicBezTo>
                <a:cubicBezTo>
                  <a:pt x="0" y="0"/>
                  <a:pt x="0" y="0"/>
                  <a:pt x="0" y="0"/>
                </a:cubicBezTo>
                <a:cubicBezTo>
                  <a:pt x="61" y="172"/>
                  <a:pt x="231" y="295"/>
                  <a:pt x="432" y="295"/>
                </a:cubicBezTo>
                <a:close/>
              </a:path>
            </a:pathLst>
          </a:custGeom>
          <a:solidFill>
            <a:srgbClr val="D6D7D8">
              <a:alpha val="45000"/>
            </a:srgbClr>
          </a:solidFill>
          <a:ln>
            <a:noFill/>
          </a:ln>
        </p:spPr>
        <p:txBody>
          <a:bodyPr vert="horz" wrap="square" lIns="91403" tIns="45701" rIns="91403" bIns="45701" numCol="1" anchor="t" anchorCtr="0" compatLnSpc="1">
            <a:prstTxWarp prst="textNoShape">
              <a:avLst/>
            </a:prstTxWarp>
          </a:bodyPr>
          <a:lstStyle/>
          <a:p>
            <a:pPr defTabSz="914038"/>
            <a:endParaRPr lang="en-US" sz="1799" kern="0">
              <a:solidFill>
                <a:srgbClr val="FFFFFF"/>
              </a:solidFill>
              <a:latin typeface="Segoe UI"/>
            </a:endParaRPr>
          </a:p>
        </p:txBody>
      </p:sp>
      <p:sp>
        <p:nvSpPr>
          <p:cNvPr id="51" name="TextBox 50"/>
          <p:cNvSpPr txBox="1"/>
          <p:nvPr/>
        </p:nvSpPr>
        <p:spPr>
          <a:xfrm>
            <a:off x="466329" y="3040845"/>
            <a:ext cx="4753990" cy="898565"/>
          </a:xfrm>
          <a:prstGeom prst="rect">
            <a:avLst/>
          </a:prstGeom>
          <a:noFill/>
        </p:spPr>
        <p:txBody>
          <a:bodyPr wrap="none" lIns="179213" tIns="143370" rIns="179213" bIns="143370" rtlCol="0">
            <a:spAutoFit/>
          </a:bodyPr>
          <a:lstStyle/>
          <a:p>
            <a:pPr algn="ctr" defTabSz="913143">
              <a:lnSpc>
                <a:spcPct val="90000"/>
              </a:lnSpc>
              <a:spcAft>
                <a:spcPts val="588"/>
              </a:spcAft>
            </a:pPr>
            <a:r>
              <a:rPr lang="en-US" sz="4311" kern="0" dirty="0">
                <a:gradFill>
                  <a:gsLst>
                    <a:gs pos="2917">
                      <a:srgbClr val="FFFFFF"/>
                    </a:gs>
                    <a:gs pos="30000">
                      <a:srgbClr val="FFFFFF"/>
                    </a:gs>
                  </a:gsLst>
                  <a:lin ang="5400000" scaled="0"/>
                </a:gradFill>
                <a:latin typeface="Segoe UI Light" panose="020B0502040204020203" pitchFamily="34" charset="0"/>
                <a:cs typeface="Segoe UI Light" panose="020B0502040204020203" pitchFamily="34" charset="0"/>
              </a:rPr>
              <a:t>Choice </a:t>
            </a:r>
            <a:r>
              <a:rPr lang="en-US" sz="4311" kern="0" dirty="0">
                <a:solidFill>
                  <a:srgbClr val="00B0F0"/>
                </a:solidFill>
                <a:latin typeface="Segoe UI Light" panose="020B0502040204020203" pitchFamily="34" charset="0"/>
                <a:cs typeface="Segoe UI Light" panose="020B0502040204020203" pitchFamily="34" charset="0"/>
              </a:rPr>
              <a:t>+</a:t>
            </a:r>
            <a:r>
              <a:rPr lang="en-US" sz="4311" kern="0" dirty="0">
                <a:gradFill>
                  <a:gsLst>
                    <a:gs pos="2917">
                      <a:srgbClr val="FFFFFF"/>
                    </a:gs>
                    <a:gs pos="30000">
                      <a:srgbClr val="FFFFFF"/>
                    </a:gs>
                  </a:gsLst>
                  <a:lin ang="5400000" scaled="0"/>
                </a:gradFill>
                <a:latin typeface="Segoe UI Light" panose="020B0502040204020203" pitchFamily="34" charset="0"/>
                <a:cs typeface="Segoe UI Light" panose="020B0502040204020203" pitchFamily="34" charset="0"/>
              </a:rPr>
              <a:t> Flexibility</a:t>
            </a:r>
          </a:p>
        </p:txBody>
      </p:sp>
      <p:pic>
        <p:nvPicPr>
          <p:cNvPr id="23" name="Picture 22"/>
          <p:cNvPicPr>
            <a:picLocks noChangeAspect="1"/>
          </p:cNvPicPr>
          <p:nvPr/>
        </p:nvPicPr>
        <p:blipFill>
          <a:blip r:embed="rId2"/>
          <a:stretch>
            <a:fillRect/>
          </a:stretch>
        </p:blipFill>
        <p:spPr>
          <a:xfrm>
            <a:off x="9922461" y="5816180"/>
            <a:ext cx="501967" cy="1040442"/>
          </a:xfrm>
          <a:prstGeom prst="rect">
            <a:avLst/>
          </a:prstGeom>
        </p:spPr>
      </p:pic>
      <p:pic>
        <p:nvPicPr>
          <p:cNvPr id="24" name="Picture 23"/>
          <p:cNvPicPr>
            <a:picLocks noChangeAspect="1"/>
          </p:cNvPicPr>
          <p:nvPr/>
        </p:nvPicPr>
        <p:blipFill>
          <a:blip r:embed="rId2"/>
          <a:stretch>
            <a:fillRect/>
          </a:stretch>
        </p:blipFill>
        <p:spPr>
          <a:xfrm>
            <a:off x="10447543" y="5816180"/>
            <a:ext cx="501967" cy="1040442"/>
          </a:xfrm>
          <a:prstGeom prst="rect">
            <a:avLst/>
          </a:prstGeom>
        </p:spPr>
      </p:pic>
      <p:pic>
        <p:nvPicPr>
          <p:cNvPr id="25" name="Picture 24"/>
          <p:cNvPicPr>
            <a:picLocks noChangeAspect="1"/>
          </p:cNvPicPr>
          <p:nvPr/>
        </p:nvPicPr>
        <p:blipFill>
          <a:blip r:embed="rId2"/>
          <a:stretch>
            <a:fillRect/>
          </a:stretch>
        </p:blipFill>
        <p:spPr>
          <a:xfrm>
            <a:off x="10972626" y="5816180"/>
            <a:ext cx="501967" cy="1040442"/>
          </a:xfrm>
          <a:prstGeom prst="rect">
            <a:avLst/>
          </a:prstGeom>
        </p:spPr>
      </p:pic>
      <p:pic>
        <p:nvPicPr>
          <p:cNvPr id="5" name="Picture 4"/>
          <p:cNvPicPr>
            <a:picLocks noChangeAspect="1"/>
          </p:cNvPicPr>
          <p:nvPr/>
        </p:nvPicPr>
        <p:blipFill>
          <a:blip r:embed="rId3"/>
          <a:stretch>
            <a:fillRect/>
          </a:stretch>
        </p:blipFill>
        <p:spPr>
          <a:xfrm>
            <a:off x="6408814" y="3088269"/>
            <a:ext cx="4133638" cy="2338962"/>
          </a:xfrm>
          <a:prstGeom prst="rect">
            <a:avLst/>
          </a:prstGeom>
        </p:spPr>
      </p:pic>
      <p:pic>
        <p:nvPicPr>
          <p:cNvPr id="2" name="Picture 1"/>
          <p:cNvPicPr>
            <a:picLocks noChangeAspect="1"/>
          </p:cNvPicPr>
          <p:nvPr/>
        </p:nvPicPr>
        <p:blipFill>
          <a:blip r:embed="rId4"/>
          <a:stretch>
            <a:fillRect/>
          </a:stretch>
        </p:blipFill>
        <p:spPr>
          <a:xfrm>
            <a:off x="8224623" y="4441025"/>
            <a:ext cx="1376353" cy="2425320"/>
          </a:xfrm>
          <a:prstGeom prst="rect">
            <a:avLst/>
          </a:prstGeom>
        </p:spPr>
      </p:pic>
      <p:sp>
        <p:nvSpPr>
          <p:cNvPr id="30" name="TextBox 29"/>
          <p:cNvSpPr txBox="1"/>
          <p:nvPr/>
        </p:nvSpPr>
        <p:spPr>
          <a:xfrm>
            <a:off x="6671154" y="4397290"/>
            <a:ext cx="2093899" cy="634278"/>
          </a:xfrm>
          <a:prstGeom prst="rect">
            <a:avLst/>
          </a:prstGeom>
          <a:noFill/>
        </p:spPr>
        <p:txBody>
          <a:bodyPr wrap="none" lIns="182807" tIns="146246" rIns="182807" bIns="146246" rtlCol="0">
            <a:spAutoFit/>
          </a:bodyPr>
          <a:lstStyle/>
          <a:p>
            <a:pPr defTabSz="914038">
              <a:lnSpc>
                <a:spcPct val="90000"/>
              </a:lnSpc>
              <a:spcAft>
                <a:spcPts val="600"/>
              </a:spcAft>
            </a:pPr>
            <a:r>
              <a:rPr lang="en-US" sz="2399" b="1" kern="0" dirty="0">
                <a:gradFill>
                  <a:gsLst>
                    <a:gs pos="2917">
                      <a:srgbClr val="FFFFFF"/>
                    </a:gs>
                    <a:gs pos="30000">
                      <a:srgbClr val="FFFFFF"/>
                    </a:gs>
                  </a:gsLst>
                  <a:lin ang="5400000" scaled="0"/>
                </a:gradFill>
                <a:latin typeface="Segoe UI"/>
              </a:rPr>
              <a:t>Azure Stack</a:t>
            </a:r>
          </a:p>
        </p:txBody>
      </p:sp>
      <p:sp>
        <p:nvSpPr>
          <p:cNvPr id="33" name="TextBox 32"/>
          <p:cNvSpPr txBox="1"/>
          <p:nvPr/>
        </p:nvSpPr>
        <p:spPr>
          <a:xfrm>
            <a:off x="8202042" y="124597"/>
            <a:ext cx="1934046" cy="916677"/>
          </a:xfrm>
          <a:prstGeom prst="rect">
            <a:avLst/>
          </a:prstGeom>
          <a:noFill/>
        </p:spPr>
        <p:txBody>
          <a:bodyPr wrap="none" lIns="182807" tIns="146246" rIns="182807" bIns="146246" rtlCol="0">
            <a:spAutoFit/>
          </a:bodyPr>
          <a:lstStyle/>
          <a:p>
            <a:pPr defTabSz="914038">
              <a:lnSpc>
                <a:spcPct val="90000"/>
              </a:lnSpc>
              <a:spcAft>
                <a:spcPts val="600"/>
              </a:spcAft>
            </a:pPr>
            <a:r>
              <a:rPr lang="en-US" sz="4399" b="1" kern="0" dirty="0">
                <a:solidFill>
                  <a:srgbClr val="0078D7"/>
                </a:solidFill>
                <a:latin typeface="Segoe UI"/>
              </a:rPr>
              <a:t>Azure</a:t>
            </a:r>
          </a:p>
        </p:txBody>
      </p:sp>
      <p:cxnSp>
        <p:nvCxnSpPr>
          <p:cNvPr id="11" name="Straight Connector 10"/>
          <p:cNvCxnSpPr/>
          <p:nvPr/>
        </p:nvCxnSpPr>
        <p:spPr>
          <a:xfrm>
            <a:off x="9471793" y="1479389"/>
            <a:ext cx="0" cy="2703202"/>
          </a:xfrm>
          <a:prstGeom prst="line">
            <a:avLst/>
          </a:prstGeom>
          <a:ln w="47625" cap="rnd">
            <a:solidFill>
              <a:srgbClr val="00B0F0"/>
            </a:solidFill>
            <a:prstDash val="sysDot"/>
            <a:headEnd type="oval" w="lg" len="lg"/>
            <a:tailEnd type="oval" w="lg" len="lg"/>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9160633" y="1029098"/>
            <a:ext cx="0" cy="3153494"/>
          </a:xfrm>
          <a:prstGeom prst="line">
            <a:avLst/>
          </a:prstGeom>
          <a:ln w="47625" cap="rnd">
            <a:solidFill>
              <a:srgbClr val="00B0F0"/>
            </a:solidFill>
            <a:prstDash val="sysDot"/>
            <a:headEnd type="oval" w="lg" len="lg"/>
            <a:tailEnd type="oval" w="lg" len="lg"/>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8849473" y="1479389"/>
            <a:ext cx="0" cy="2703202"/>
          </a:xfrm>
          <a:prstGeom prst="line">
            <a:avLst/>
          </a:prstGeom>
          <a:ln w="47625" cap="rnd">
            <a:solidFill>
              <a:srgbClr val="00B0F0"/>
            </a:solidFill>
            <a:prstDash val="sysDot"/>
            <a:headEnd type="oval" w="lg" len="lg"/>
            <a:tailEnd type="oval"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22712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anim calcmode="lin" valueType="num">
                                      <p:cBhvr>
                                        <p:cTn id="8" dur="500" fill="hold"/>
                                        <p:tgtEl>
                                          <p:spTgt spid="2"/>
                                        </p:tgtEl>
                                        <p:attrNameLst>
                                          <p:attrName>ppt_x</p:attrName>
                                        </p:attrNameLst>
                                      </p:cBhvr>
                                      <p:tavLst>
                                        <p:tav tm="0">
                                          <p:val>
                                            <p:strVal val="#ppt_x"/>
                                          </p:val>
                                        </p:tav>
                                        <p:tav tm="100000">
                                          <p:val>
                                            <p:strVal val="#ppt_x"/>
                                          </p:val>
                                        </p:tav>
                                      </p:tavLst>
                                    </p:anim>
                                    <p:anim calcmode="lin" valueType="num">
                                      <p:cBhvr>
                                        <p:cTn id="9" dur="500" fill="hold"/>
                                        <p:tgtEl>
                                          <p:spTgt spid="2"/>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250"/>
                                  </p:stCondLst>
                                  <p:childTnLst>
                                    <p:set>
                                      <p:cBhvr>
                                        <p:cTn id="11" dur="1" fill="hold">
                                          <p:stCondLst>
                                            <p:cond delay="0"/>
                                          </p:stCondLst>
                                        </p:cTn>
                                        <p:tgtEl>
                                          <p:spTgt spid="23"/>
                                        </p:tgtEl>
                                        <p:attrNameLst>
                                          <p:attrName>style.visibility</p:attrName>
                                        </p:attrNameLst>
                                      </p:cBhvr>
                                      <p:to>
                                        <p:strVal val="visible"/>
                                      </p:to>
                                    </p:set>
                                    <p:animEffect transition="in" filter="fade">
                                      <p:cBhvr>
                                        <p:cTn id="12" dur="250"/>
                                        <p:tgtEl>
                                          <p:spTgt spid="23"/>
                                        </p:tgtEl>
                                      </p:cBhvr>
                                    </p:animEffect>
                                    <p:anim calcmode="lin" valueType="num">
                                      <p:cBhvr>
                                        <p:cTn id="13" dur="250" fill="hold"/>
                                        <p:tgtEl>
                                          <p:spTgt spid="23"/>
                                        </p:tgtEl>
                                        <p:attrNameLst>
                                          <p:attrName>ppt_x</p:attrName>
                                        </p:attrNameLst>
                                      </p:cBhvr>
                                      <p:tavLst>
                                        <p:tav tm="0">
                                          <p:val>
                                            <p:strVal val="#ppt_x"/>
                                          </p:val>
                                        </p:tav>
                                        <p:tav tm="100000">
                                          <p:val>
                                            <p:strVal val="#ppt_x"/>
                                          </p:val>
                                        </p:tav>
                                      </p:tavLst>
                                    </p:anim>
                                    <p:anim calcmode="lin" valueType="num">
                                      <p:cBhvr>
                                        <p:cTn id="14" dur="250" fill="hold"/>
                                        <p:tgtEl>
                                          <p:spTgt spid="23"/>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500"/>
                                  </p:stCondLst>
                                  <p:childTnLst>
                                    <p:set>
                                      <p:cBhvr>
                                        <p:cTn id="16" dur="1" fill="hold">
                                          <p:stCondLst>
                                            <p:cond delay="0"/>
                                          </p:stCondLst>
                                        </p:cTn>
                                        <p:tgtEl>
                                          <p:spTgt spid="24"/>
                                        </p:tgtEl>
                                        <p:attrNameLst>
                                          <p:attrName>style.visibility</p:attrName>
                                        </p:attrNameLst>
                                      </p:cBhvr>
                                      <p:to>
                                        <p:strVal val="visible"/>
                                      </p:to>
                                    </p:set>
                                    <p:animEffect transition="in" filter="fade">
                                      <p:cBhvr>
                                        <p:cTn id="17" dur="250"/>
                                        <p:tgtEl>
                                          <p:spTgt spid="24"/>
                                        </p:tgtEl>
                                      </p:cBhvr>
                                    </p:animEffect>
                                    <p:anim calcmode="lin" valueType="num">
                                      <p:cBhvr>
                                        <p:cTn id="18" dur="250" fill="hold"/>
                                        <p:tgtEl>
                                          <p:spTgt spid="24"/>
                                        </p:tgtEl>
                                        <p:attrNameLst>
                                          <p:attrName>ppt_x</p:attrName>
                                        </p:attrNameLst>
                                      </p:cBhvr>
                                      <p:tavLst>
                                        <p:tav tm="0">
                                          <p:val>
                                            <p:strVal val="#ppt_x"/>
                                          </p:val>
                                        </p:tav>
                                        <p:tav tm="100000">
                                          <p:val>
                                            <p:strVal val="#ppt_x"/>
                                          </p:val>
                                        </p:tav>
                                      </p:tavLst>
                                    </p:anim>
                                    <p:anim calcmode="lin" valueType="num">
                                      <p:cBhvr>
                                        <p:cTn id="19" dur="250" fill="hold"/>
                                        <p:tgtEl>
                                          <p:spTgt spid="24"/>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750"/>
                                  </p:stCondLst>
                                  <p:childTnLst>
                                    <p:set>
                                      <p:cBhvr>
                                        <p:cTn id="21" dur="1" fill="hold">
                                          <p:stCondLst>
                                            <p:cond delay="0"/>
                                          </p:stCondLst>
                                        </p:cTn>
                                        <p:tgtEl>
                                          <p:spTgt spid="25"/>
                                        </p:tgtEl>
                                        <p:attrNameLst>
                                          <p:attrName>style.visibility</p:attrName>
                                        </p:attrNameLst>
                                      </p:cBhvr>
                                      <p:to>
                                        <p:strVal val="visible"/>
                                      </p:to>
                                    </p:set>
                                    <p:animEffect transition="in" filter="fade">
                                      <p:cBhvr>
                                        <p:cTn id="22" dur="250"/>
                                        <p:tgtEl>
                                          <p:spTgt spid="25"/>
                                        </p:tgtEl>
                                      </p:cBhvr>
                                    </p:animEffect>
                                    <p:anim calcmode="lin" valueType="num">
                                      <p:cBhvr>
                                        <p:cTn id="23" dur="250" fill="hold"/>
                                        <p:tgtEl>
                                          <p:spTgt spid="25"/>
                                        </p:tgtEl>
                                        <p:attrNameLst>
                                          <p:attrName>ppt_x</p:attrName>
                                        </p:attrNameLst>
                                      </p:cBhvr>
                                      <p:tavLst>
                                        <p:tav tm="0">
                                          <p:val>
                                            <p:strVal val="#ppt_x"/>
                                          </p:val>
                                        </p:tav>
                                        <p:tav tm="100000">
                                          <p:val>
                                            <p:strVal val="#ppt_x"/>
                                          </p:val>
                                        </p:tav>
                                      </p:tavLst>
                                    </p:anim>
                                    <p:anim calcmode="lin" valueType="num">
                                      <p:cBhvr>
                                        <p:cTn id="24" dur="250" fill="hold"/>
                                        <p:tgtEl>
                                          <p:spTgt spid="25"/>
                                        </p:tgtEl>
                                        <p:attrNameLst>
                                          <p:attrName>ppt_y</p:attrName>
                                        </p:attrNameLst>
                                      </p:cBhvr>
                                      <p:tavLst>
                                        <p:tav tm="0">
                                          <p:val>
                                            <p:strVal val="#ppt_y+.1"/>
                                          </p:val>
                                        </p:tav>
                                        <p:tav tm="100000">
                                          <p:val>
                                            <p:strVal val="#ppt_y"/>
                                          </p:val>
                                        </p:tav>
                                      </p:tavLst>
                                    </p:anim>
                                  </p:childTnLst>
                                </p:cTn>
                              </p:par>
                              <p:par>
                                <p:cTn id="25" presetID="47" presetClass="entr" presetSubtype="0" fill="hold" grpId="0" nodeType="withEffect">
                                  <p:stCondLst>
                                    <p:cond delay="1000"/>
                                  </p:stCondLst>
                                  <p:childTnLst>
                                    <p:set>
                                      <p:cBhvr>
                                        <p:cTn id="26" dur="1" fill="hold">
                                          <p:stCondLst>
                                            <p:cond delay="0"/>
                                          </p:stCondLst>
                                        </p:cTn>
                                        <p:tgtEl>
                                          <p:spTgt spid="40"/>
                                        </p:tgtEl>
                                        <p:attrNameLst>
                                          <p:attrName>style.visibility</p:attrName>
                                        </p:attrNameLst>
                                      </p:cBhvr>
                                      <p:to>
                                        <p:strVal val="visible"/>
                                      </p:to>
                                    </p:set>
                                    <p:animEffect transition="in" filter="fade">
                                      <p:cBhvr>
                                        <p:cTn id="27" dur="500"/>
                                        <p:tgtEl>
                                          <p:spTgt spid="40"/>
                                        </p:tgtEl>
                                      </p:cBhvr>
                                    </p:animEffect>
                                    <p:anim calcmode="lin" valueType="num">
                                      <p:cBhvr>
                                        <p:cTn id="28" dur="500" fill="hold"/>
                                        <p:tgtEl>
                                          <p:spTgt spid="40"/>
                                        </p:tgtEl>
                                        <p:attrNameLst>
                                          <p:attrName>ppt_x</p:attrName>
                                        </p:attrNameLst>
                                      </p:cBhvr>
                                      <p:tavLst>
                                        <p:tav tm="0">
                                          <p:val>
                                            <p:strVal val="#ppt_x"/>
                                          </p:val>
                                        </p:tav>
                                        <p:tav tm="100000">
                                          <p:val>
                                            <p:strVal val="#ppt_x"/>
                                          </p:val>
                                        </p:tav>
                                      </p:tavLst>
                                    </p:anim>
                                    <p:anim calcmode="lin" valueType="num">
                                      <p:cBhvr>
                                        <p:cTn id="29" dur="500" fill="hold"/>
                                        <p:tgtEl>
                                          <p:spTgt spid="40"/>
                                        </p:tgtEl>
                                        <p:attrNameLst>
                                          <p:attrName>ppt_y</p:attrName>
                                        </p:attrNameLst>
                                      </p:cBhvr>
                                      <p:tavLst>
                                        <p:tav tm="0">
                                          <p:val>
                                            <p:strVal val="#ppt_y-.1"/>
                                          </p:val>
                                        </p:tav>
                                        <p:tav tm="100000">
                                          <p:val>
                                            <p:strVal val="#ppt_y"/>
                                          </p:val>
                                        </p:tav>
                                      </p:tavLst>
                                    </p:anim>
                                  </p:childTnLst>
                                </p:cTn>
                              </p:par>
                              <p:par>
                                <p:cTn id="30" presetID="10" presetClass="entr" presetSubtype="0" fill="hold" nodeType="withEffect">
                                  <p:stCondLst>
                                    <p:cond delay="1250"/>
                                  </p:stCondLst>
                                  <p:childTnLst>
                                    <p:set>
                                      <p:cBhvr>
                                        <p:cTn id="31" dur="1" fill="hold">
                                          <p:stCondLst>
                                            <p:cond delay="0"/>
                                          </p:stCondLst>
                                        </p:cTn>
                                        <p:tgtEl>
                                          <p:spTgt spid="5"/>
                                        </p:tgtEl>
                                        <p:attrNameLst>
                                          <p:attrName>style.visibility</p:attrName>
                                        </p:attrNameLst>
                                      </p:cBhvr>
                                      <p:to>
                                        <p:strVal val="visible"/>
                                      </p:to>
                                    </p:set>
                                    <p:animEffect transition="in" filter="fade">
                                      <p:cBhvr>
                                        <p:cTn id="32" dur="250"/>
                                        <p:tgtEl>
                                          <p:spTgt spid="5"/>
                                        </p:tgtEl>
                                      </p:cBhvr>
                                    </p:animEffect>
                                  </p:childTnLst>
                                </p:cTn>
                              </p:par>
                            </p:childTnLst>
                          </p:cTn>
                        </p:par>
                        <p:par>
                          <p:cTn id="33" fill="hold">
                            <p:stCondLst>
                              <p:cond delay="1500"/>
                            </p:stCondLst>
                            <p:childTnLst>
                              <p:par>
                                <p:cTn id="34" presetID="10" presetClass="entr" presetSubtype="0" fill="hold" grpId="0" nodeType="afterEffect">
                                  <p:stCondLst>
                                    <p:cond delay="0"/>
                                  </p:stCondLst>
                                  <p:childTnLst>
                                    <p:set>
                                      <p:cBhvr>
                                        <p:cTn id="35" dur="1" fill="hold">
                                          <p:stCondLst>
                                            <p:cond delay="0"/>
                                          </p:stCondLst>
                                        </p:cTn>
                                        <p:tgtEl>
                                          <p:spTgt spid="33"/>
                                        </p:tgtEl>
                                        <p:attrNameLst>
                                          <p:attrName>style.visibility</p:attrName>
                                        </p:attrNameLst>
                                      </p:cBhvr>
                                      <p:to>
                                        <p:strVal val="visible"/>
                                      </p:to>
                                    </p:set>
                                    <p:animEffect transition="in" filter="fade">
                                      <p:cBhvr>
                                        <p:cTn id="36" dur="500"/>
                                        <p:tgtEl>
                                          <p:spTgt spid="33"/>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30"/>
                                        </p:tgtEl>
                                        <p:attrNameLst>
                                          <p:attrName>style.visibility</p:attrName>
                                        </p:attrNameLst>
                                      </p:cBhvr>
                                      <p:to>
                                        <p:strVal val="visible"/>
                                      </p:to>
                                    </p:set>
                                    <p:animEffect transition="in" filter="fade">
                                      <p:cBhvr>
                                        <p:cTn id="39" dur="500"/>
                                        <p:tgtEl>
                                          <p:spTgt spid="30"/>
                                        </p:tgtEl>
                                      </p:cBhvr>
                                    </p:animEffect>
                                  </p:childTnLst>
                                </p:cTn>
                              </p:par>
                              <p:par>
                                <p:cTn id="40" presetID="22" presetClass="entr" presetSubtype="4" fill="hold" nodeType="withEffect">
                                  <p:stCondLst>
                                    <p:cond delay="0"/>
                                  </p:stCondLst>
                                  <p:childTnLst>
                                    <p:set>
                                      <p:cBhvr>
                                        <p:cTn id="41" dur="1" fill="hold">
                                          <p:stCondLst>
                                            <p:cond delay="0"/>
                                          </p:stCondLst>
                                        </p:cTn>
                                        <p:tgtEl>
                                          <p:spTgt spid="11"/>
                                        </p:tgtEl>
                                        <p:attrNameLst>
                                          <p:attrName>style.visibility</p:attrName>
                                        </p:attrNameLst>
                                      </p:cBhvr>
                                      <p:to>
                                        <p:strVal val="visible"/>
                                      </p:to>
                                    </p:set>
                                    <p:animEffect transition="in" filter="wipe(down)">
                                      <p:cBhvr>
                                        <p:cTn id="42" dur="500"/>
                                        <p:tgtEl>
                                          <p:spTgt spid="11"/>
                                        </p:tgtEl>
                                      </p:cBhvr>
                                    </p:animEffect>
                                  </p:childTnLst>
                                </p:cTn>
                              </p:par>
                              <p:par>
                                <p:cTn id="43" presetID="22" presetClass="entr" presetSubtype="1" fill="hold" nodeType="withEffect">
                                  <p:stCondLst>
                                    <p:cond delay="0"/>
                                  </p:stCondLst>
                                  <p:childTnLst>
                                    <p:set>
                                      <p:cBhvr>
                                        <p:cTn id="44" dur="1" fill="hold">
                                          <p:stCondLst>
                                            <p:cond delay="0"/>
                                          </p:stCondLst>
                                        </p:cTn>
                                        <p:tgtEl>
                                          <p:spTgt spid="41"/>
                                        </p:tgtEl>
                                        <p:attrNameLst>
                                          <p:attrName>style.visibility</p:attrName>
                                        </p:attrNameLst>
                                      </p:cBhvr>
                                      <p:to>
                                        <p:strVal val="visible"/>
                                      </p:to>
                                    </p:set>
                                    <p:animEffect transition="in" filter="wipe(up)">
                                      <p:cBhvr>
                                        <p:cTn id="45" dur="500"/>
                                        <p:tgtEl>
                                          <p:spTgt spid="41"/>
                                        </p:tgtEl>
                                      </p:cBhvr>
                                    </p:animEffect>
                                  </p:childTnLst>
                                </p:cTn>
                              </p:par>
                              <p:par>
                                <p:cTn id="46" presetID="22" presetClass="entr" presetSubtype="4" fill="hold" nodeType="withEffect">
                                  <p:stCondLst>
                                    <p:cond delay="0"/>
                                  </p:stCondLst>
                                  <p:childTnLst>
                                    <p:set>
                                      <p:cBhvr>
                                        <p:cTn id="47" dur="1" fill="hold">
                                          <p:stCondLst>
                                            <p:cond delay="0"/>
                                          </p:stCondLst>
                                        </p:cTn>
                                        <p:tgtEl>
                                          <p:spTgt spid="42"/>
                                        </p:tgtEl>
                                        <p:attrNameLst>
                                          <p:attrName>style.visibility</p:attrName>
                                        </p:attrNameLst>
                                      </p:cBhvr>
                                      <p:to>
                                        <p:strVal val="visible"/>
                                      </p:to>
                                    </p:set>
                                    <p:animEffect transition="in" filter="wipe(down)">
                                      <p:cBhvr>
                                        <p:cTn id="48" dur="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30" grpId="0"/>
      <p:bldP spid="33" grpId="0"/>
    </p:bld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grpSp>
        <p:nvGrpSpPr>
          <p:cNvPr id="96" name="Group 95"/>
          <p:cNvGrpSpPr/>
          <p:nvPr/>
        </p:nvGrpSpPr>
        <p:grpSpPr>
          <a:xfrm>
            <a:off x="567899" y="2342684"/>
            <a:ext cx="11053027" cy="704059"/>
            <a:chOff x="579437" y="-1075563"/>
            <a:chExt cx="11277600" cy="718364"/>
          </a:xfrm>
        </p:grpSpPr>
        <p:sp>
          <p:nvSpPr>
            <p:cNvPr id="97" name="Rectangle 96"/>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98" name="Rectangle 97"/>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9" name="Rectangle 98"/>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Microsoft Enterprise Mobility Suite</a:t>
              </a:r>
            </a:p>
          </p:txBody>
        </p:sp>
        <p:sp>
          <p:nvSpPr>
            <p:cNvPr id="100" name="Rectangle 99"/>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Enterprise Mobility</a:t>
              </a:r>
            </a:p>
          </p:txBody>
        </p:sp>
      </p:grpSp>
      <p:grpSp>
        <p:nvGrpSpPr>
          <p:cNvPr id="2" name="Group 1"/>
          <p:cNvGrpSpPr/>
          <p:nvPr/>
        </p:nvGrpSpPr>
        <p:grpSpPr>
          <a:xfrm>
            <a:off x="567899" y="1632385"/>
            <a:ext cx="11053027" cy="706548"/>
            <a:chOff x="579437" y="1781105"/>
            <a:chExt cx="11277600" cy="720903"/>
          </a:xfrm>
        </p:grpSpPr>
        <p:grpSp>
          <p:nvGrpSpPr>
            <p:cNvPr id="101" name="Group 100"/>
            <p:cNvGrpSpPr/>
            <p:nvPr/>
          </p:nvGrpSpPr>
          <p:grpSpPr>
            <a:xfrm>
              <a:off x="579437" y="1781105"/>
              <a:ext cx="11277600" cy="717538"/>
              <a:chOff x="579437" y="-1074737"/>
              <a:chExt cx="11277600" cy="717538"/>
            </a:xfrm>
          </p:grpSpPr>
          <p:sp>
            <p:nvSpPr>
              <p:cNvPr id="102" name="Rectangle 101"/>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03" name="Rectangle 102"/>
              <p:cNvSpPr/>
              <p:nvPr/>
            </p:nvSpPr>
            <p:spPr bwMode="auto">
              <a:xfrm>
                <a:off x="579438" y="-1074737"/>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4" name="Rectangle 103"/>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SAAS Solutions</a:t>
                </a:r>
              </a:p>
            </p:txBody>
          </p:sp>
        </p:grpSp>
        <p:grpSp>
          <p:nvGrpSpPr>
            <p:cNvPr id="105" name="Group 104"/>
            <p:cNvGrpSpPr/>
            <p:nvPr/>
          </p:nvGrpSpPr>
          <p:grpSpPr>
            <a:xfrm>
              <a:off x="5007047" y="1810301"/>
              <a:ext cx="6274750" cy="691707"/>
              <a:chOff x="4663445" y="2099949"/>
              <a:chExt cx="6274750" cy="691707"/>
            </a:xfrm>
          </p:grpSpPr>
          <p:grpSp>
            <p:nvGrpSpPr>
              <p:cNvPr id="106" name="Group 105"/>
              <p:cNvGrpSpPr/>
              <p:nvPr/>
            </p:nvGrpSpPr>
            <p:grpSpPr>
              <a:xfrm>
                <a:off x="4663445" y="2231764"/>
                <a:ext cx="6274750" cy="391163"/>
                <a:chOff x="2275217" y="3622867"/>
                <a:chExt cx="7933779" cy="494585"/>
              </a:xfrm>
            </p:grpSpPr>
            <p:pic>
              <p:nvPicPr>
                <p:cNvPr id="108" name="Picture 107"/>
                <p:cNvPicPr>
                  <a:picLocks noChangeAspect="1"/>
                </p:cNvPicPr>
                <p:nvPr/>
              </p:nvPicPr>
              <p:blipFill>
                <a:blip r:embed="rId3">
                  <a:biLevel thresh="25000"/>
                </a:blip>
                <a:stretch>
                  <a:fillRect/>
                </a:stretch>
              </p:blipFill>
              <p:spPr>
                <a:xfrm>
                  <a:off x="2275217" y="3704039"/>
                  <a:ext cx="1869528" cy="413413"/>
                </a:xfrm>
                <a:prstGeom prst="rect">
                  <a:avLst/>
                </a:prstGeom>
              </p:spPr>
            </p:pic>
            <p:pic>
              <p:nvPicPr>
                <p:cNvPr id="109" name="Picture 10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214596" y="3622867"/>
                  <a:ext cx="1994400" cy="481206"/>
                </a:xfrm>
                <a:prstGeom prst="rect">
                  <a:avLst/>
                </a:prstGeom>
              </p:spPr>
            </p:pic>
          </p:grpSp>
          <p:sp>
            <p:nvSpPr>
              <p:cNvPr id="107" name="Rectangle 106"/>
              <p:cNvSpPr/>
              <p:nvPr/>
            </p:nvSpPr>
            <p:spPr bwMode="auto">
              <a:xfrm>
                <a:off x="6516672" y="2099949"/>
                <a:ext cx="2512092" cy="69170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Microsoft Dynamics</a:t>
                </a:r>
              </a:p>
            </p:txBody>
          </p:sp>
        </p:grpSp>
      </p:grpSp>
      <p:sp>
        <p:nvSpPr>
          <p:cNvPr id="19" name="Title 1"/>
          <p:cNvSpPr txBox="1">
            <a:spLocks/>
          </p:cNvSpPr>
          <p:nvPr/>
        </p:nvSpPr>
        <p:spPr>
          <a:xfrm>
            <a:off x="418533" y="472595"/>
            <a:ext cx="11426440" cy="899303"/>
          </a:xfrm>
          <a:prstGeom prst="rect">
            <a:avLst/>
          </a:prstGeom>
        </p:spPr>
        <p:txBody>
          <a:bodyPr vert="horz" wrap="square" lIns="143391" tIns="89619" rIns="143391" bIns="89619"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80">
              <a:defRPr/>
            </a:pPr>
            <a:r>
              <a:rPr lang="en-US" sz="4901" spc="-100" dirty="0">
                <a:solidFill>
                  <a:srgbClr val="FFFFFF"/>
                </a:solidFill>
                <a:latin typeface="Segoe UI Semibold" panose="020B0702040204020203" pitchFamily="34" charset="0"/>
                <a:cs typeface="Segoe UI Semibold" panose="020B0702040204020203" pitchFamily="34" charset="0"/>
              </a:rPr>
              <a:t>Leading</a:t>
            </a:r>
            <a:r>
              <a:rPr lang="en-US" sz="4901" spc="-100" dirty="0">
                <a:solidFill>
                  <a:srgbClr val="FFFFFF"/>
                </a:solidFill>
                <a:latin typeface="Segoe UI Light"/>
              </a:rPr>
              <a:t> the journey to the Cloud</a:t>
            </a:r>
          </a:p>
        </p:txBody>
      </p:sp>
      <p:sp>
        <p:nvSpPr>
          <p:cNvPr id="5" name="Rounded Rectangle 4"/>
          <p:cNvSpPr/>
          <p:nvPr/>
        </p:nvSpPr>
        <p:spPr bwMode="auto">
          <a:xfrm>
            <a:off x="439376" y="3173665"/>
            <a:ext cx="11297048" cy="3382213"/>
          </a:xfrm>
          <a:prstGeom prst="roundRect">
            <a:avLst>
              <a:gd name="adj" fmla="val 3048"/>
            </a:avLst>
          </a:prstGeom>
          <a:solidFill>
            <a:srgbClr val="0070C0">
              <a:alpha val="46000"/>
            </a:srgb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10" name="Group 109"/>
          <p:cNvGrpSpPr/>
          <p:nvPr/>
        </p:nvGrpSpPr>
        <p:grpSpPr>
          <a:xfrm>
            <a:off x="567899" y="5704534"/>
            <a:ext cx="11053027" cy="703250"/>
            <a:chOff x="579437" y="-1074737"/>
            <a:chExt cx="11277600" cy="717538"/>
          </a:xfrm>
        </p:grpSpPr>
        <p:sp>
          <p:nvSpPr>
            <p:cNvPr id="111" name="Rectangle 110"/>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12" name="Rectangle 111"/>
            <p:cNvSpPr/>
            <p:nvPr/>
          </p:nvSpPr>
          <p:spPr bwMode="auto">
            <a:xfrm>
              <a:off x="579438" y="-1074737"/>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3" name="Rectangle 112"/>
            <p:cNvSpPr/>
            <p:nvPr/>
          </p:nvSpPr>
          <p:spPr bwMode="auto">
            <a:xfrm>
              <a:off x="4237037" y="-1053261"/>
              <a:ext cx="762000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spc="-49" dirty="0">
                  <a:solidFill>
                    <a:srgbClr val="FFFFFF"/>
                  </a:solidFill>
                  <a:latin typeface="Segoe UI Semilight"/>
                  <a:ea typeface="Segoe UI" pitchFamily="34" charset="0"/>
                  <a:cs typeface="Segoe UI" pitchFamily="34" charset="0"/>
                </a:rPr>
                <a:t>Azure + Azure Stack + Operations Management Suite</a:t>
              </a:r>
            </a:p>
          </p:txBody>
        </p:sp>
        <p:sp>
          <p:nvSpPr>
            <p:cNvPr id="114" name="Rectangle 113"/>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Cloud Infrastructure</a:t>
              </a:r>
            </a:p>
          </p:txBody>
        </p:sp>
      </p:grpSp>
      <p:grpSp>
        <p:nvGrpSpPr>
          <p:cNvPr id="115" name="Group 114"/>
          <p:cNvGrpSpPr/>
          <p:nvPr/>
        </p:nvGrpSpPr>
        <p:grpSpPr>
          <a:xfrm>
            <a:off x="567899" y="3556158"/>
            <a:ext cx="11053027" cy="703250"/>
            <a:chOff x="579437" y="-1074737"/>
            <a:chExt cx="11277600" cy="717538"/>
          </a:xfrm>
        </p:grpSpPr>
        <p:sp>
          <p:nvSpPr>
            <p:cNvPr id="116" name="Rectangle 115"/>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17" name="Rectangle 116"/>
            <p:cNvSpPr/>
            <p:nvPr/>
          </p:nvSpPr>
          <p:spPr bwMode="auto">
            <a:xfrm>
              <a:off x="579438" y="-1074737"/>
              <a:ext cx="3657600" cy="717537"/>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8" name="Rectangle 117"/>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Visual Studio Family + Azure App Service</a:t>
              </a:r>
            </a:p>
          </p:txBody>
        </p:sp>
        <p:sp>
          <p:nvSpPr>
            <p:cNvPr id="119" name="Rectangle 118"/>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eveloper + App Platform</a:t>
              </a:r>
            </a:p>
          </p:txBody>
        </p:sp>
      </p:grpSp>
      <p:grpSp>
        <p:nvGrpSpPr>
          <p:cNvPr id="120" name="Group 119"/>
          <p:cNvGrpSpPr/>
          <p:nvPr/>
        </p:nvGrpSpPr>
        <p:grpSpPr>
          <a:xfrm>
            <a:off x="567899" y="4271174"/>
            <a:ext cx="11053027" cy="704059"/>
            <a:chOff x="579437" y="-1075563"/>
            <a:chExt cx="11277600" cy="718364"/>
          </a:xfrm>
        </p:grpSpPr>
        <p:sp>
          <p:nvSpPr>
            <p:cNvPr id="121" name="Rectangle 120"/>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22" name="Rectangle 121"/>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3" name="Rectangle 122"/>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Cortana Analytics Suite</a:t>
              </a:r>
            </a:p>
          </p:txBody>
        </p:sp>
        <p:sp>
          <p:nvSpPr>
            <p:cNvPr id="124" name="Rectangle 123"/>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ata + Analytics</a:t>
              </a:r>
            </a:p>
          </p:txBody>
        </p:sp>
      </p:grpSp>
      <p:grpSp>
        <p:nvGrpSpPr>
          <p:cNvPr id="125" name="Group 124"/>
          <p:cNvGrpSpPr/>
          <p:nvPr/>
        </p:nvGrpSpPr>
        <p:grpSpPr>
          <a:xfrm>
            <a:off x="567899" y="4982281"/>
            <a:ext cx="11053027" cy="704061"/>
            <a:chOff x="579437" y="-1075565"/>
            <a:chExt cx="11277600" cy="718366"/>
          </a:xfrm>
        </p:grpSpPr>
        <p:sp>
          <p:nvSpPr>
            <p:cNvPr id="126" name="Rectangle 125"/>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27" name="Rectangle 126"/>
            <p:cNvSpPr/>
            <p:nvPr/>
          </p:nvSpPr>
          <p:spPr bwMode="auto">
            <a:xfrm>
              <a:off x="579438" y="-1075565"/>
              <a:ext cx="3657600" cy="718365"/>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8" name="Rectangle 127"/>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Azure </a:t>
              </a:r>
              <a:r>
                <a:rPr lang="en-US" sz="1960" dirty="0" err="1">
                  <a:solidFill>
                    <a:srgbClr val="FFFFFF"/>
                  </a:solidFill>
                  <a:latin typeface="Segoe UI Semilight"/>
                  <a:ea typeface="Segoe UI" pitchFamily="34" charset="0"/>
                  <a:cs typeface="Segoe UI" pitchFamily="34" charset="0"/>
                </a:rPr>
                <a:t>IoT</a:t>
              </a:r>
              <a:r>
                <a:rPr lang="en-US" sz="1960" dirty="0">
                  <a:solidFill>
                    <a:srgbClr val="FFFFFF"/>
                  </a:solidFill>
                  <a:latin typeface="Segoe UI Semilight"/>
                  <a:ea typeface="Segoe UI" pitchFamily="34" charset="0"/>
                  <a:cs typeface="Segoe UI" pitchFamily="34" charset="0"/>
                </a:rPr>
                <a:t> Suite</a:t>
              </a:r>
            </a:p>
          </p:txBody>
        </p:sp>
        <p:sp>
          <p:nvSpPr>
            <p:cNvPr id="129" name="Rectangle 128"/>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Internet of Things</a:t>
              </a:r>
            </a:p>
          </p:txBody>
        </p:sp>
      </p:grpSp>
      <p:sp>
        <p:nvSpPr>
          <p:cNvPr id="40" name="TextBox 39"/>
          <p:cNvSpPr txBox="1"/>
          <p:nvPr/>
        </p:nvSpPr>
        <p:spPr>
          <a:xfrm>
            <a:off x="375192" y="3108222"/>
            <a:ext cx="1813217" cy="533917"/>
          </a:xfrm>
          <a:prstGeom prst="rect">
            <a:avLst/>
          </a:prstGeom>
          <a:noFill/>
        </p:spPr>
        <p:txBody>
          <a:bodyPr wrap="none" lIns="179238" tIns="143391" rIns="179238" bIns="143391" rtlCol="0">
            <a:spAutoFit/>
          </a:bodyPr>
          <a:lstStyle/>
          <a:p>
            <a:pPr defTabSz="896203">
              <a:lnSpc>
                <a:spcPct val="90000"/>
              </a:lnSpc>
              <a:spcAft>
                <a:spcPts val="588"/>
              </a:spcAft>
            </a:pPr>
            <a:r>
              <a:rPr lang="en-US" sz="1764" kern="0" spc="-98"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Microsoft Azure</a:t>
            </a:r>
          </a:p>
        </p:txBody>
      </p:sp>
    </p:spTree>
    <p:extLst>
      <p:ext uri="{BB962C8B-B14F-4D97-AF65-F5344CB8AC3E}">
        <p14:creationId xmlns:p14="http://schemas.microsoft.com/office/powerpoint/2010/main" val="1792805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500"/>
                            </p:stCondLst>
                            <p:childTnLst>
                              <p:par>
                                <p:cTn id="5" presetID="10" presetClass="entr" presetSubtype="0" fill="hold" grpId="0" nodeType="afterEffect">
                                  <p:stCondLst>
                                    <p:cond delay="0"/>
                                  </p:stCondLst>
                                  <p:childTnLst>
                                    <p:set>
                                      <p:cBhvr>
                                        <p:cTn id="6" dur="1" fill="hold">
                                          <p:stCondLst>
                                            <p:cond delay="0"/>
                                          </p:stCondLst>
                                        </p:cTn>
                                        <p:tgtEl>
                                          <p:spTgt spid="40"/>
                                        </p:tgtEl>
                                        <p:attrNameLst>
                                          <p:attrName>style.visibility</p:attrName>
                                        </p:attrNameLst>
                                      </p:cBhvr>
                                      <p:to>
                                        <p:strVal val="visible"/>
                                      </p:to>
                                    </p:set>
                                    <p:animEffect transition="in" filter="fade">
                                      <p:cBhvr>
                                        <p:cTn id="7" dur="250"/>
                                        <p:tgtEl>
                                          <p:spTgt spid="40"/>
                                        </p:tgtEl>
                                      </p:cBhvr>
                                    </p:animEffect>
                                  </p:childTnLst>
                                </p:cTn>
                              </p:par>
                            </p:childTnLst>
                          </p:cTn>
                        </p:par>
                        <p:par>
                          <p:cTn id="8" fill="hold">
                            <p:stCondLst>
                              <p:cond delay="750"/>
                            </p:stCondLst>
                            <p:childTnLst>
                              <p:par>
                                <p:cTn id="9" presetID="10" presetClass="entr" presetSubtype="0" fill="hold" nodeType="afterEffect">
                                  <p:stCondLst>
                                    <p:cond delay="0"/>
                                  </p:stCondLst>
                                  <p:childTnLst>
                                    <p:set>
                                      <p:cBhvr>
                                        <p:cTn id="10" dur="1" fill="hold">
                                          <p:stCondLst>
                                            <p:cond delay="0"/>
                                          </p:stCondLst>
                                        </p:cTn>
                                        <p:tgtEl>
                                          <p:spTgt spid="115"/>
                                        </p:tgtEl>
                                        <p:attrNameLst>
                                          <p:attrName>style.visibility</p:attrName>
                                        </p:attrNameLst>
                                      </p:cBhvr>
                                      <p:to>
                                        <p:strVal val="visible"/>
                                      </p:to>
                                    </p:set>
                                    <p:animEffect transition="in" filter="fade">
                                      <p:cBhvr>
                                        <p:cTn id="11" dur="250"/>
                                        <p:tgtEl>
                                          <p:spTgt spid="115"/>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20"/>
                                        </p:tgtEl>
                                        <p:attrNameLst>
                                          <p:attrName>style.visibility</p:attrName>
                                        </p:attrNameLst>
                                      </p:cBhvr>
                                      <p:to>
                                        <p:strVal val="visible"/>
                                      </p:to>
                                    </p:set>
                                    <p:animEffect transition="in" filter="fade">
                                      <p:cBhvr>
                                        <p:cTn id="15" dur="250"/>
                                        <p:tgtEl>
                                          <p:spTgt spid="120"/>
                                        </p:tgtEl>
                                      </p:cBhvr>
                                    </p:animEffect>
                                  </p:childTnLst>
                                </p:cTn>
                              </p:par>
                            </p:childTnLst>
                          </p:cTn>
                        </p:par>
                        <p:par>
                          <p:cTn id="16" fill="hold">
                            <p:stCondLst>
                              <p:cond delay="1250"/>
                            </p:stCondLst>
                            <p:childTnLst>
                              <p:par>
                                <p:cTn id="17" presetID="10" presetClass="entr" presetSubtype="0" fill="hold" nodeType="afterEffect">
                                  <p:stCondLst>
                                    <p:cond delay="0"/>
                                  </p:stCondLst>
                                  <p:childTnLst>
                                    <p:set>
                                      <p:cBhvr>
                                        <p:cTn id="18" dur="1" fill="hold">
                                          <p:stCondLst>
                                            <p:cond delay="0"/>
                                          </p:stCondLst>
                                        </p:cTn>
                                        <p:tgtEl>
                                          <p:spTgt spid="125"/>
                                        </p:tgtEl>
                                        <p:attrNameLst>
                                          <p:attrName>style.visibility</p:attrName>
                                        </p:attrNameLst>
                                      </p:cBhvr>
                                      <p:to>
                                        <p:strVal val="visible"/>
                                      </p:to>
                                    </p:set>
                                    <p:animEffect transition="in" filter="fade">
                                      <p:cBhvr>
                                        <p:cTn id="19" dur="250"/>
                                        <p:tgtEl>
                                          <p:spTgt spid="125"/>
                                        </p:tgtEl>
                                      </p:cBhvr>
                                    </p:animEffect>
                                  </p:childTnLst>
                                </p:cTn>
                              </p:par>
                            </p:childTnLst>
                          </p:cTn>
                        </p:par>
                        <p:par>
                          <p:cTn id="20" fill="hold">
                            <p:stCondLst>
                              <p:cond delay="1500"/>
                            </p:stCondLst>
                            <p:childTnLst>
                              <p:par>
                                <p:cTn id="21" presetID="10" presetClass="entr" presetSubtype="0" fill="hold" nodeType="afterEffect">
                                  <p:stCondLst>
                                    <p:cond delay="0"/>
                                  </p:stCondLst>
                                  <p:childTnLst>
                                    <p:set>
                                      <p:cBhvr>
                                        <p:cTn id="22" dur="1" fill="hold">
                                          <p:stCondLst>
                                            <p:cond delay="0"/>
                                          </p:stCondLst>
                                        </p:cTn>
                                        <p:tgtEl>
                                          <p:spTgt spid="110"/>
                                        </p:tgtEl>
                                        <p:attrNameLst>
                                          <p:attrName>style.visibility</p:attrName>
                                        </p:attrNameLst>
                                      </p:cBhvr>
                                      <p:to>
                                        <p:strVal val="visible"/>
                                      </p:to>
                                    </p:set>
                                    <p:animEffect transition="in" filter="fade">
                                      <p:cBhvr>
                                        <p:cTn id="23" dur="250"/>
                                        <p:tgtEl>
                                          <p:spTgt spid="110"/>
                                        </p:tgtEl>
                                      </p:cBhvr>
                                    </p:animEffect>
                                  </p:childTnLst>
                                </p:cTn>
                              </p:par>
                            </p:childTnLst>
                          </p:cTn>
                        </p:par>
                        <p:par>
                          <p:cTn id="24" fill="hold">
                            <p:stCondLst>
                              <p:cond delay="1750"/>
                            </p:stCondLst>
                            <p:childTnLst>
                              <p:par>
                                <p:cTn id="25" presetID="22" presetClass="entr" presetSubtype="1" fill="hold" grpId="0" nodeType="afterEffect">
                                  <p:stCondLst>
                                    <p:cond delay="0"/>
                                  </p:stCondLst>
                                  <p:childTnLst>
                                    <p:set>
                                      <p:cBhvr>
                                        <p:cTn id="26" dur="1" fill="hold">
                                          <p:stCondLst>
                                            <p:cond delay="0"/>
                                          </p:stCondLst>
                                        </p:cTn>
                                        <p:tgtEl>
                                          <p:spTgt spid="5"/>
                                        </p:tgtEl>
                                        <p:attrNameLst>
                                          <p:attrName>style.visibility</p:attrName>
                                        </p:attrNameLst>
                                      </p:cBhvr>
                                      <p:to>
                                        <p:strVal val="visible"/>
                                      </p:to>
                                    </p:set>
                                    <p:animEffect transition="in" filter="wipe(up)">
                                      <p:cBhvr>
                                        <p:cTn id="2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40" grpId="0"/>
    </p:bld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323232"/>
        </a:solidFill>
        <a:effectLst/>
      </p:bgPr>
    </p:bg>
    <p:spTree>
      <p:nvGrpSpPr>
        <p:cNvPr id="1" name=""/>
        <p:cNvGrpSpPr/>
        <p:nvPr/>
      </p:nvGrpSpPr>
      <p:grpSpPr>
        <a:xfrm>
          <a:off x="0" y="0"/>
          <a:ext cx="0" cy="0"/>
          <a:chOff x="0" y="0"/>
          <a:chExt cx="0" cy="0"/>
        </a:xfrm>
      </p:grpSpPr>
      <p:grpSp>
        <p:nvGrpSpPr>
          <p:cNvPr id="17" name="Group 16"/>
          <p:cNvGrpSpPr/>
          <p:nvPr/>
        </p:nvGrpSpPr>
        <p:grpSpPr>
          <a:xfrm>
            <a:off x="3630369" y="685006"/>
            <a:ext cx="8729046" cy="5620563"/>
            <a:chOff x="3704130" y="697516"/>
            <a:chExt cx="8906401" cy="5734760"/>
          </a:xfrm>
        </p:grpSpPr>
        <p:sp>
          <p:nvSpPr>
            <p:cNvPr id="80" name="Rectangle 79"/>
            <p:cNvSpPr/>
            <p:nvPr/>
          </p:nvSpPr>
          <p:spPr bwMode="auto">
            <a:xfrm>
              <a:off x="3705368" y="2104032"/>
              <a:ext cx="8359253" cy="2957741"/>
            </a:xfrm>
            <a:prstGeom prst="rect">
              <a:avLst/>
            </a:prstGeom>
            <a:solidFill>
              <a:srgbClr val="F8F8F8"/>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ctr" anchorCtr="0" forceAA="0" compatLnSpc="1">
              <a:prstTxWarp prst="textNoShape">
                <a:avLst/>
              </a:prstTxWarp>
              <a:noAutofit/>
            </a:bodyPr>
            <a:lstStyle/>
            <a:p>
              <a:pPr algn="ctr" defTabSz="913740" fontAlgn="base">
                <a:lnSpc>
                  <a:spcPct val="90000"/>
                </a:lnSpc>
                <a:spcBef>
                  <a:spcPct val="0"/>
                </a:spcBef>
                <a:spcAft>
                  <a:spcPct val="0"/>
                </a:spcAft>
                <a:defRPr/>
              </a:pPr>
              <a:endParaRPr lang="en-US" sz="1764" dirty="0">
                <a:solidFill>
                  <a:srgbClr val="FFFFFF"/>
                </a:solidFill>
                <a:latin typeface="Segoe UI"/>
              </a:endParaRPr>
            </a:p>
          </p:txBody>
        </p:sp>
        <p:grpSp>
          <p:nvGrpSpPr>
            <p:cNvPr id="16" name="Group 15"/>
            <p:cNvGrpSpPr/>
            <p:nvPr/>
          </p:nvGrpSpPr>
          <p:grpSpPr>
            <a:xfrm>
              <a:off x="3704131" y="5019049"/>
              <a:ext cx="8359253" cy="1413227"/>
              <a:chOff x="3704131" y="5114332"/>
              <a:chExt cx="8359253" cy="1413227"/>
            </a:xfrm>
          </p:grpSpPr>
          <p:sp>
            <p:nvSpPr>
              <p:cNvPr id="81" name="Rectangle 80"/>
              <p:cNvSpPr/>
              <p:nvPr/>
            </p:nvSpPr>
            <p:spPr bwMode="auto">
              <a:xfrm>
                <a:off x="3704131" y="5114332"/>
                <a:ext cx="8359253" cy="1413227"/>
              </a:xfrm>
              <a:prstGeom prst="rect">
                <a:avLst/>
              </a:prstGeom>
              <a:solidFill>
                <a:srgbClr val="0B7DD8"/>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ctr" anchorCtr="0" forceAA="0" compatLnSpc="1">
                <a:prstTxWarp prst="textNoShape">
                  <a:avLst/>
                </a:prstTxWarp>
                <a:noAutofit/>
              </a:bodyPr>
              <a:lstStyle/>
              <a:p>
                <a:pPr algn="ctr" defTabSz="913740" fontAlgn="base">
                  <a:lnSpc>
                    <a:spcPct val="90000"/>
                  </a:lnSpc>
                  <a:spcBef>
                    <a:spcPct val="0"/>
                  </a:spcBef>
                  <a:spcAft>
                    <a:spcPct val="0"/>
                  </a:spcAft>
                  <a:defRPr/>
                </a:pPr>
                <a:endParaRPr lang="en-US" sz="1764" dirty="0">
                  <a:solidFill>
                    <a:srgbClr val="FFFFFF"/>
                  </a:solidFill>
                  <a:latin typeface="Segoe UI"/>
                </a:endParaRPr>
              </a:p>
            </p:txBody>
          </p:sp>
          <p:sp>
            <p:nvSpPr>
              <p:cNvPr id="26" name="Rectangle 25"/>
              <p:cNvSpPr/>
              <p:nvPr/>
            </p:nvSpPr>
            <p:spPr bwMode="auto">
              <a:xfrm>
                <a:off x="3848670" y="5303274"/>
                <a:ext cx="6256363" cy="44617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ctr" anchorCtr="0" forceAA="0" compatLnSpc="1">
                <a:prstTxWarp prst="textNoShape">
                  <a:avLst/>
                </a:prstTxWarp>
                <a:noAutofit/>
              </a:bodyPr>
              <a:lstStyle/>
              <a:p>
                <a:pPr defTabSz="913740" fontAlgn="base">
                  <a:lnSpc>
                    <a:spcPct val="90000"/>
                  </a:lnSpc>
                  <a:spcBef>
                    <a:spcPct val="0"/>
                  </a:spcBef>
                  <a:spcAft>
                    <a:spcPct val="0"/>
                  </a:spcAft>
                  <a:defRPr/>
                </a:pPr>
                <a:r>
                  <a:rPr lang="en-US" sz="1568" cap="all" dirty="0">
                    <a:solidFill>
                      <a:srgbClr val="002050">
                        <a:lumMod val="25000"/>
                        <a:lumOff val="75000"/>
                      </a:srgbClr>
                    </a:solidFill>
                    <a:latin typeface="Segoe UI Semibold" panose="020B0702040204020203" pitchFamily="34" charset="0"/>
                    <a:ea typeface="Segoe UI" pitchFamily="34" charset="0"/>
                    <a:cs typeface="Segoe UI Semibold" panose="020B0702040204020203" pitchFamily="34" charset="0"/>
                  </a:rPr>
                  <a:t>CORE Infrastructure</a:t>
                </a:r>
              </a:p>
            </p:txBody>
          </p:sp>
          <p:sp>
            <p:nvSpPr>
              <p:cNvPr id="38" name="Rectangle 37"/>
              <p:cNvSpPr/>
              <p:nvPr/>
            </p:nvSpPr>
            <p:spPr bwMode="auto">
              <a:xfrm>
                <a:off x="3869525" y="5600890"/>
                <a:ext cx="7428952" cy="6861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ctr" anchorCtr="0" forceAA="0" compatLnSpc="1">
                <a:prstTxWarp prst="textNoShape">
                  <a:avLst/>
                </a:prstTxWarp>
                <a:noAutofit/>
              </a:bodyPr>
              <a:lstStyle/>
              <a:p>
                <a:pPr defTabSz="913740" fontAlgn="base">
                  <a:lnSpc>
                    <a:spcPct val="90000"/>
                  </a:lnSpc>
                  <a:spcBef>
                    <a:spcPct val="0"/>
                  </a:spcBef>
                  <a:spcAft>
                    <a:spcPct val="0"/>
                  </a:spcAft>
                  <a:defRPr/>
                </a:pPr>
                <a:r>
                  <a:rPr lang="en-US" sz="1568" dirty="0">
                    <a:solidFill>
                      <a:srgbClr val="FFFFFF"/>
                    </a:solidFill>
                    <a:latin typeface="Segoe UI Semilight"/>
                    <a:ea typeface="Segoe UI" pitchFamily="34" charset="0"/>
                    <a:cs typeface="Segoe UI" pitchFamily="34" charset="0"/>
                  </a:rPr>
                  <a:t>Compute   Storage   Networking   Security</a:t>
                </a:r>
              </a:p>
            </p:txBody>
          </p:sp>
        </p:grpSp>
        <p:sp>
          <p:nvSpPr>
            <p:cNvPr id="31" name="Rectangle 30"/>
            <p:cNvSpPr/>
            <p:nvPr/>
          </p:nvSpPr>
          <p:spPr bwMode="auto">
            <a:xfrm>
              <a:off x="3848670" y="2340870"/>
              <a:ext cx="6256360" cy="4064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ctr" anchorCtr="0" forceAA="0" compatLnSpc="1">
              <a:prstTxWarp prst="textNoShape">
                <a:avLst/>
              </a:prstTxWarp>
              <a:noAutofit/>
            </a:bodyPr>
            <a:lstStyle/>
            <a:p>
              <a:pPr defTabSz="913740" fontAlgn="base">
                <a:lnSpc>
                  <a:spcPct val="90000"/>
                </a:lnSpc>
                <a:spcBef>
                  <a:spcPct val="0"/>
                </a:spcBef>
                <a:spcAft>
                  <a:spcPct val="0"/>
                </a:spcAft>
                <a:defRPr/>
              </a:pPr>
              <a:r>
                <a:rPr lang="en-US" sz="1568" cap="all" dirty="0">
                  <a:solidFill>
                    <a:srgbClr val="0B7DD8"/>
                  </a:solidFill>
                  <a:latin typeface="Segoe UI Semibold" panose="020B0702040204020203" pitchFamily="34" charset="0"/>
                  <a:ea typeface="Segoe UI" pitchFamily="34" charset="0"/>
                  <a:cs typeface="Segoe UI Semibold" panose="020B0702040204020203" pitchFamily="34" charset="0"/>
                </a:rPr>
                <a:t>Advanced Workloads</a:t>
              </a:r>
            </a:p>
          </p:txBody>
        </p:sp>
        <p:sp>
          <p:nvSpPr>
            <p:cNvPr id="50" name="Rectangle 49"/>
            <p:cNvSpPr/>
            <p:nvPr/>
          </p:nvSpPr>
          <p:spPr bwMode="auto">
            <a:xfrm>
              <a:off x="3869526" y="2624231"/>
              <a:ext cx="3421684" cy="188144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defTabSz="913740" fontAlgn="base">
                <a:lnSpc>
                  <a:spcPct val="150000"/>
                </a:lnSpc>
                <a:spcBef>
                  <a:spcPct val="0"/>
                </a:spcBef>
                <a:spcAft>
                  <a:spcPct val="0"/>
                </a:spcAft>
                <a:defRPr/>
              </a:pPr>
              <a:r>
                <a:rPr lang="en-US" sz="1764" dirty="0">
                  <a:solidFill>
                    <a:srgbClr val="505050">
                      <a:lumMod val="75000"/>
                    </a:srgbClr>
                  </a:solidFill>
                  <a:latin typeface="Segoe UI Semilight"/>
                  <a:ea typeface="Segoe UI" pitchFamily="34" charset="0"/>
                  <a:cs typeface="Segoe UI" pitchFamily="34" charset="0"/>
                </a:rPr>
                <a:t>Web + Mobile</a:t>
              </a:r>
              <a:br>
                <a:rPr lang="en-US" sz="1764" dirty="0">
                  <a:solidFill>
                    <a:srgbClr val="505050">
                      <a:lumMod val="75000"/>
                    </a:srgbClr>
                  </a:solidFill>
                  <a:latin typeface="Segoe UI Semilight"/>
                  <a:ea typeface="Segoe UI" pitchFamily="34" charset="0"/>
                  <a:cs typeface="Segoe UI" pitchFamily="34" charset="0"/>
                </a:rPr>
              </a:br>
              <a:r>
                <a:rPr lang="en-US" sz="1764" dirty="0">
                  <a:solidFill>
                    <a:srgbClr val="505050">
                      <a:lumMod val="75000"/>
                    </a:srgbClr>
                  </a:solidFill>
                  <a:latin typeface="Segoe UI Semilight"/>
                  <a:ea typeface="Segoe UI" pitchFamily="34" charset="0"/>
                  <a:cs typeface="Segoe UI" pitchFamily="34" charset="0"/>
                </a:rPr>
                <a:t>Internet of Things</a:t>
              </a:r>
            </a:p>
            <a:p>
              <a:pPr defTabSz="913740" fontAlgn="base">
                <a:lnSpc>
                  <a:spcPct val="150000"/>
                </a:lnSpc>
                <a:spcBef>
                  <a:spcPct val="0"/>
                </a:spcBef>
                <a:spcAft>
                  <a:spcPct val="0"/>
                </a:spcAft>
                <a:defRPr/>
              </a:pPr>
              <a:r>
                <a:rPr lang="en-US" sz="1764" dirty="0">
                  <a:solidFill>
                    <a:srgbClr val="505050">
                      <a:lumMod val="75000"/>
                    </a:srgbClr>
                  </a:solidFill>
                  <a:latin typeface="Segoe UI Semilight"/>
                  <a:ea typeface="Segoe UI" pitchFamily="34" charset="0"/>
                  <a:cs typeface="Segoe UI" pitchFamily="34" charset="0"/>
                </a:rPr>
                <a:t>Microservices</a:t>
              </a:r>
            </a:p>
            <a:p>
              <a:pPr defTabSz="913740" fontAlgn="base">
                <a:lnSpc>
                  <a:spcPct val="150000"/>
                </a:lnSpc>
                <a:spcBef>
                  <a:spcPct val="0"/>
                </a:spcBef>
                <a:spcAft>
                  <a:spcPct val="0"/>
                </a:spcAft>
                <a:defRPr/>
              </a:pPr>
              <a:r>
                <a:rPr lang="en-US" sz="1764" dirty="0">
                  <a:solidFill>
                    <a:srgbClr val="505050">
                      <a:lumMod val="75000"/>
                    </a:srgbClr>
                  </a:solidFill>
                  <a:latin typeface="Segoe UI Semilight"/>
                  <a:ea typeface="Segoe UI" pitchFamily="34" charset="0"/>
                  <a:cs typeface="Segoe UI" pitchFamily="34" charset="0"/>
                </a:rPr>
                <a:t>Data + Analytics</a:t>
              </a:r>
            </a:p>
          </p:txBody>
        </p:sp>
        <p:sp>
          <p:nvSpPr>
            <p:cNvPr id="46" name="Rectangle 45"/>
            <p:cNvSpPr/>
            <p:nvPr/>
          </p:nvSpPr>
          <p:spPr bwMode="auto">
            <a:xfrm>
              <a:off x="7438052" y="2624231"/>
              <a:ext cx="3421684" cy="188144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defTabSz="913740" fontAlgn="base">
                <a:lnSpc>
                  <a:spcPct val="150000"/>
                </a:lnSpc>
                <a:spcBef>
                  <a:spcPct val="0"/>
                </a:spcBef>
                <a:spcAft>
                  <a:spcPct val="0"/>
                </a:spcAft>
                <a:defRPr/>
              </a:pPr>
              <a:r>
                <a:rPr lang="en-US" sz="1764" dirty="0">
                  <a:solidFill>
                    <a:srgbClr val="505050">
                      <a:lumMod val="75000"/>
                    </a:srgbClr>
                  </a:solidFill>
                  <a:latin typeface="Segoe UI Semilight"/>
                  <a:ea typeface="Segoe UI" pitchFamily="34" charset="0"/>
                  <a:cs typeface="Segoe UI" pitchFamily="34" charset="0"/>
                </a:rPr>
                <a:t>Identity Management</a:t>
              </a:r>
            </a:p>
            <a:p>
              <a:pPr defTabSz="913740" fontAlgn="base">
                <a:lnSpc>
                  <a:spcPct val="150000"/>
                </a:lnSpc>
                <a:spcBef>
                  <a:spcPct val="0"/>
                </a:spcBef>
                <a:spcAft>
                  <a:spcPct val="0"/>
                </a:spcAft>
                <a:defRPr/>
              </a:pPr>
              <a:r>
                <a:rPr lang="en-US" sz="1764" dirty="0">
                  <a:solidFill>
                    <a:srgbClr val="505050">
                      <a:lumMod val="75000"/>
                    </a:srgbClr>
                  </a:solidFill>
                  <a:latin typeface="Segoe UI Semilight"/>
                  <a:ea typeface="Segoe UI" pitchFamily="34" charset="0"/>
                  <a:cs typeface="Segoe UI" pitchFamily="34" charset="0"/>
                </a:rPr>
                <a:t>Media Streaming</a:t>
              </a:r>
            </a:p>
            <a:p>
              <a:pPr defTabSz="913740" fontAlgn="base">
                <a:lnSpc>
                  <a:spcPct val="150000"/>
                </a:lnSpc>
                <a:spcBef>
                  <a:spcPct val="0"/>
                </a:spcBef>
                <a:spcAft>
                  <a:spcPct val="0"/>
                </a:spcAft>
                <a:defRPr/>
              </a:pPr>
              <a:r>
                <a:rPr lang="en-US" sz="1764" dirty="0">
                  <a:solidFill>
                    <a:srgbClr val="505050">
                      <a:lumMod val="75000"/>
                    </a:srgbClr>
                  </a:solidFill>
                  <a:latin typeface="Segoe UI Semilight"/>
                  <a:ea typeface="Segoe UI" pitchFamily="34" charset="0"/>
                  <a:cs typeface="Segoe UI" pitchFamily="34" charset="0"/>
                </a:rPr>
                <a:t>High Performance Compute</a:t>
              </a:r>
            </a:p>
            <a:p>
              <a:pPr defTabSz="913740" fontAlgn="base">
                <a:lnSpc>
                  <a:spcPct val="150000"/>
                </a:lnSpc>
                <a:spcBef>
                  <a:spcPct val="0"/>
                </a:spcBef>
                <a:spcAft>
                  <a:spcPct val="0"/>
                </a:spcAft>
                <a:defRPr/>
              </a:pPr>
              <a:r>
                <a:rPr lang="en-US" sz="1764" dirty="0">
                  <a:solidFill>
                    <a:srgbClr val="505050">
                      <a:lumMod val="75000"/>
                    </a:srgbClr>
                  </a:solidFill>
                  <a:latin typeface="Segoe UI Semilight"/>
                  <a:ea typeface="Segoe UI" pitchFamily="34" charset="0"/>
                  <a:cs typeface="Segoe UI" pitchFamily="34" charset="0"/>
                </a:rPr>
                <a:t>Cognitive Services</a:t>
              </a:r>
            </a:p>
          </p:txBody>
        </p:sp>
        <p:grpSp>
          <p:nvGrpSpPr>
            <p:cNvPr id="15" name="Group 14"/>
            <p:cNvGrpSpPr/>
            <p:nvPr/>
          </p:nvGrpSpPr>
          <p:grpSpPr>
            <a:xfrm>
              <a:off x="3704130" y="697516"/>
              <a:ext cx="8906401" cy="1413227"/>
              <a:chOff x="3704130" y="641445"/>
              <a:chExt cx="8906401" cy="1413227"/>
            </a:xfrm>
          </p:grpSpPr>
          <p:sp>
            <p:nvSpPr>
              <p:cNvPr id="79" name="Rectangle 78"/>
              <p:cNvSpPr/>
              <p:nvPr/>
            </p:nvSpPr>
            <p:spPr bwMode="auto">
              <a:xfrm>
                <a:off x="3704130" y="641445"/>
                <a:ext cx="8359253" cy="1413227"/>
              </a:xfrm>
              <a:prstGeom prst="rect">
                <a:avLst/>
              </a:prstGeom>
              <a:solidFill>
                <a:srgbClr val="0B7DD8"/>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ctr" anchorCtr="0" forceAA="0" compatLnSpc="1">
                <a:prstTxWarp prst="textNoShape">
                  <a:avLst/>
                </a:prstTxWarp>
                <a:noAutofit/>
              </a:bodyPr>
              <a:lstStyle/>
              <a:p>
                <a:pPr algn="ctr" defTabSz="913740" fontAlgn="base">
                  <a:lnSpc>
                    <a:spcPct val="90000"/>
                  </a:lnSpc>
                  <a:spcBef>
                    <a:spcPct val="0"/>
                  </a:spcBef>
                  <a:spcAft>
                    <a:spcPct val="0"/>
                  </a:spcAft>
                  <a:defRPr/>
                </a:pPr>
                <a:endParaRPr lang="en-US" sz="1764" dirty="0">
                  <a:solidFill>
                    <a:srgbClr val="FFFFFF"/>
                  </a:solidFill>
                  <a:latin typeface="Segoe UI"/>
                </a:endParaRPr>
              </a:p>
            </p:txBody>
          </p:sp>
          <p:sp>
            <p:nvSpPr>
              <p:cNvPr id="36" name="Rectangle 35"/>
              <p:cNvSpPr/>
              <p:nvPr/>
            </p:nvSpPr>
            <p:spPr bwMode="auto">
              <a:xfrm>
                <a:off x="3848670" y="852574"/>
                <a:ext cx="6256360" cy="4064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ctr" anchorCtr="0" forceAA="0" compatLnSpc="1">
                <a:prstTxWarp prst="textNoShape">
                  <a:avLst/>
                </a:prstTxWarp>
                <a:noAutofit/>
              </a:bodyPr>
              <a:lstStyle/>
              <a:p>
                <a:pPr defTabSz="913740" fontAlgn="base">
                  <a:lnSpc>
                    <a:spcPct val="90000"/>
                  </a:lnSpc>
                  <a:spcBef>
                    <a:spcPct val="0"/>
                  </a:spcBef>
                  <a:spcAft>
                    <a:spcPct val="0"/>
                  </a:spcAft>
                  <a:defRPr/>
                </a:pPr>
                <a:r>
                  <a:rPr lang="en-US" sz="1568" cap="all" dirty="0">
                    <a:solidFill>
                      <a:srgbClr val="002050">
                        <a:lumMod val="25000"/>
                        <a:lumOff val="75000"/>
                      </a:srgbClr>
                    </a:solidFill>
                    <a:latin typeface="Segoe UI Semibold" panose="020B0702040204020203" pitchFamily="34" charset="0"/>
                    <a:ea typeface="Segoe UI" pitchFamily="34" charset="0"/>
                    <a:cs typeface="Segoe UI Semibold" panose="020B0702040204020203" pitchFamily="34" charset="0"/>
                  </a:rPr>
                  <a:t>tools</a:t>
                </a:r>
              </a:p>
            </p:txBody>
          </p:sp>
          <p:sp>
            <p:nvSpPr>
              <p:cNvPr id="78" name="Rectangle 77"/>
              <p:cNvSpPr/>
              <p:nvPr/>
            </p:nvSpPr>
            <p:spPr bwMode="auto">
              <a:xfrm>
                <a:off x="3869525" y="1140139"/>
                <a:ext cx="8741006" cy="6861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ctr" anchorCtr="0" forceAA="0" compatLnSpc="1">
                <a:prstTxWarp prst="textNoShape">
                  <a:avLst/>
                </a:prstTxWarp>
                <a:noAutofit/>
              </a:bodyPr>
              <a:lstStyle/>
              <a:p>
                <a:pPr defTabSz="913740" fontAlgn="base">
                  <a:lnSpc>
                    <a:spcPct val="90000"/>
                  </a:lnSpc>
                  <a:spcBef>
                    <a:spcPct val="0"/>
                  </a:spcBef>
                  <a:spcAft>
                    <a:spcPct val="0"/>
                  </a:spcAft>
                  <a:defRPr/>
                </a:pPr>
                <a:r>
                  <a:rPr lang="en-US" sz="1568" dirty="0">
                    <a:solidFill>
                      <a:srgbClr val="FFFFFF"/>
                    </a:solidFill>
                    <a:latin typeface="Segoe UI Semilight"/>
                    <a:ea typeface="Segoe UI" pitchFamily="34" charset="0"/>
                    <a:cs typeface="Segoe UI" pitchFamily="34" charset="0"/>
                  </a:rPr>
                  <a:t>Visual Studio + Visual Studio Code + Visual Studio Team Services + </a:t>
                </a:r>
                <a:r>
                  <a:rPr lang="en-US" sz="1568" dirty="0" err="1">
                    <a:solidFill>
                      <a:srgbClr val="FFFFFF"/>
                    </a:solidFill>
                    <a:latin typeface="Segoe UI Semilight"/>
                    <a:ea typeface="Segoe UI" pitchFamily="34" charset="0"/>
                    <a:cs typeface="Segoe UI" pitchFamily="34" charset="0"/>
                  </a:rPr>
                  <a:t>Xamarin</a:t>
                </a:r>
                <a:endParaRPr lang="en-US" sz="1568" dirty="0">
                  <a:solidFill>
                    <a:srgbClr val="FFFFFF"/>
                  </a:solidFill>
                  <a:latin typeface="Segoe UI Semilight"/>
                  <a:ea typeface="Segoe UI" pitchFamily="34" charset="0"/>
                  <a:cs typeface="Segoe UI" pitchFamily="34" charset="0"/>
                </a:endParaRPr>
              </a:p>
            </p:txBody>
          </p:sp>
        </p:grpSp>
      </p:grpSp>
      <p:sp>
        <p:nvSpPr>
          <p:cNvPr id="49" name="Title 1"/>
          <p:cNvSpPr txBox="1">
            <a:spLocks/>
          </p:cNvSpPr>
          <p:nvPr/>
        </p:nvSpPr>
        <p:spPr>
          <a:xfrm>
            <a:off x="120573" y="2573354"/>
            <a:ext cx="3118267" cy="778644"/>
          </a:xfrm>
          <a:prstGeom prst="rect">
            <a:avLst/>
          </a:prstGeom>
        </p:spPr>
        <p:txBody>
          <a:bodyPr/>
          <a:lstStyle>
            <a:lvl1pPr algn="l" defTabSz="931863" rtl="0" eaLnBrk="0" fontAlgn="base" hangingPunct="0">
              <a:lnSpc>
                <a:spcPct val="90000"/>
              </a:lnSpc>
              <a:spcBef>
                <a:spcPct val="0"/>
              </a:spcBef>
              <a:spcAft>
                <a:spcPct val="0"/>
              </a:spcAft>
              <a:defRPr lang="en-US" sz="4800" kern="1200" spc="-102" dirty="0">
                <a:ln w="3175">
                  <a:noFill/>
                </a:ln>
                <a:gradFill>
                  <a:gsLst>
                    <a:gs pos="1250">
                      <a:schemeClr val="tx1"/>
                    </a:gs>
                    <a:gs pos="100000">
                      <a:schemeClr val="tx1"/>
                    </a:gs>
                  </a:gsLst>
                  <a:lin ang="5400000" scaled="0"/>
                </a:gradFill>
                <a:latin typeface="+mj-lt"/>
                <a:ea typeface="MS PGothic" panose="020B0600070205080204" pitchFamily="34" charset="-128"/>
                <a:cs typeface="Segoe UI" pitchFamily="34" charset="0"/>
              </a:defRPr>
            </a:lvl1pPr>
            <a:lvl2pPr algn="l" defTabSz="93186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panose="020B0502040204020203" pitchFamily="34" charset="0"/>
              </a:defRPr>
            </a:lvl2pPr>
            <a:lvl3pPr algn="l" defTabSz="93186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panose="020B0502040204020203" pitchFamily="34" charset="0"/>
              </a:defRPr>
            </a:lvl3pPr>
            <a:lvl4pPr algn="l" defTabSz="93186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panose="020B0502040204020203" pitchFamily="34" charset="0"/>
              </a:defRPr>
            </a:lvl4pPr>
            <a:lvl5pPr algn="l" defTabSz="93186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panose="020B0502040204020203" pitchFamily="34" charset="0"/>
              </a:defRPr>
            </a:lvl5pPr>
            <a:lvl6pPr marL="457200" algn="l" defTabSz="931863" rtl="0" fontAlgn="base">
              <a:lnSpc>
                <a:spcPct val="90000"/>
              </a:lnSpc>
              <a:spcBef>
                <a:spcPct val="0"/>
              </a:spcBef>
              <a:spcAft>
                <a:spcPct val="0"/>
              </a:spcAft>
              <a:defRPr sz="4800">
                <a:solidFill>
                  <a:schemeClr val="tx1"/>
                </a:solidFill>
                <a:latin typeface="Segoe UI Light" charset="0"/>
                <a:ea typeface="ＭＳ Ｐゴシック" charset="0"/>
              </a:defRPr>
            </a:lvl6pPr>
            <a:lvl7pPr marL="914400" algn="l" defTabSz="931863" rtl="0" fontAlgn="base">
              <a:lnSpc>
                <a:spcPct val="90000"/>
              </a:lnSpc>
              <a:spcBef>
                <a:spcPct val="0"/>
              </a:spcBef>
              <a:spcAft>
                <a:spcPct val="0"/>
              </a:spcAft>
              <a:defRPr sz="4800">
                <a:solidFill>
                  <a:schemeClr val="tx1"/>
                </a:solidFill>
                <a:latin typeface="Segoe UI Light" charset="0"/>
                <a:ea typeface="ＭＳ Ｐゴシック" charset="0"/>
              </a:defRPr>
            </a:lvl7pPr>
            <a:lvl8pPr marL="1371600" algn="l" defTabSz="931863" rtl="0" fontAlgn="base">
              <a:lnSpc>
                <a:spcPct val="90000"/>
              </a:lnSpc>
              <a:spcBef>
                <a:spcPct val="0"/>
              </a:spcBef>
              <a:spcAft>
                <a:spcPct val="0"/>
              </a:spcAft>
              <a:defRPr sz="4800">
                <a:solidFill>
                  <a:schemeClr val="tx1"/>
                </a:solidFill>
                <a:latin typeface="Segoe UI Light" charset="0"/>
                <a:ea typeface="ＭＳ Ｐゴシック" charset="0"/>
              </a:defRPr>
            </a:lvl8pPr>
            <a:lvl9pPr marL="1828800" algn="l" defTabSz="931863" rtl="0" fontAlgn="base">
              <a:lnSpc>
                <a:spcPct val="90000"/>
              </a:lnSpc>
              <a:spcBef>
                <a:spcPct val="0"/>
              </a:spcBef>
              <a:spcAft>
                <a:spcPct val="0"/>
              </a:spcAft>
              <a:defRPr sz="4800">
                <a:solidFill>
                  <a:schemeClr val="tx1"/>
                </a:solidFill>
                <a:latin typeface="Segoe UI Light" charset="0"/>
                <a:ea typeface="ＭＳ Ｐゴシック" charset="0"/>
              </a:defRPr>
            </a:lvl9pPr>
          </a:lstStyle>
          <a:p>
            <a:pPr algn="r" defTabSz="913319">
              <a:defRPr/>
            </a:pPr>
            <a:r>
              <a:rPr lang="en-US" sz="5293" spc="-100" dirty="0">
                <a:gradFill>
                  <a:gsLst>
                    <a:gs pos="1250">
                      <a:srgbClr val="FFFFFF"/>
                    </a:gs>
                    <a:gs pos="100000">
                      <a:srgbClr val="FFFFFF"/>
                    </a:gs>
                  </a:gsLst>
                  <a:lin ang="5400000" scaled="0"/>
                </a:gradFill>
                <a:latin typeface="Segoe UI Light"/>
              </a:rPr>
              <a:t>Microsoft</a:t>
            </a:r>
            <a:br>
              <a:rPr lang="en-US" sz="5293" spc="-100" dirty="0">
                <a:gradFill>
                  <a:gsLst>
                    <a:gs pos="1250">
                      <a:srgbClr val="FFFFFF"/>
                    </a:gs>
                    <a:gs pos="100000">
                      <a:srgbClr val="FFFFFF"/>
                    </a:gs>
                  </a:gsLst>
                  <a:lin ang="5400000" scaled="0"/>
                </a:gradFill>
                <a:latin typeface="Segoe UI Light"/>
              </a:rPr>
            </a:br>
            <a:r>
              <a:rPr lang="en-US" sz="5293" spc="-100" dirty="0">
                <a:gradFill>
                  <a:gsLst>
                    <a:gs pos="1250">
                      <a:srgbClr val="FFFFFF"/>
                    </a:gs>
                    <a:gs pos="100000">
                      <a:srgbClr val="FFFFFF"/>
                    </a:gs>
                  </a:gsLst>
                  <a:lin ang="5400000" scaled="0"/>
                </a:gradFill>
                <a:latin typeface="Segoe UI Light"/>
              </a:rPr>
              <a:t>Azure</a:t>
            </a:r>
          </a:p>
        </p:txBody>
      </p:sp>
      <p:sp>
        <p:nvSpPr>
          <p:cNvPr id="2" name="Rectangle 1"/>
          <p:cNvSpPr/>
          <p:nvPr/>
        </p:nvSpPr>
        <p:spPr bwMode="auto">
          <a:xfrm>
            <a:off x="10895570" y="685006"/>
            <a:ext cx="948032" cy="5620563"/>
          </a:xfrm>
          <a:prstGeom prst="rect">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9238" tIns="143391" rIns="179238" bIns="143391" numCol="1" spcCol="0" rtlCol="0" fromWordArt="0" anchor="ctr"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r>
              <a:rPr lang="en-US" sz="1960" dirty="0">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rPr>
              <a:t>Hybrid capabilities</a:t>
            </a:r>
          </a:p>
        </p:txBody>
      </p:sp>
    </p:spTree>
    <p:extLst>
      <p:ext uri="{BB962C8B-B14F-4D97-AF65-F5344CB8AC3E}">
        <p14:creationId xmlns:p14="http://schemas.microsoft.com/office/powerpoint/2010/main" val="2155500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5354539"/>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0B7DD8"/>
        </a:solidFill>
        <a:effectLst/>
      </p:bgPr>
    </p:bg>
    <p:spTree>
      <p:nvGrpSpPr>
        <p:cNvPr id="1" name=""/>
        <p:cNvGrpSpPr/>
        <p:nvPr/>
      </p:nvGrpSpPr>
      <p:grpSpPr>
        <a:xfrm>
          <a:off x="0" y="0"/>
          <a:ext cx="0" cy="0"/>
          <a:chOff x="0" y="0"/>
          <a:chExt cx="0" cy="0"/>
        </a:xfrm>
      </p:grpSpPr>
      <p:sp>
        <p:nvSpPr>
          <p:cNvPr id="40" name="TextBox 39"/>
          <p:cNvSpPr txBox="1"/>
          <p:nvPr/>
        </p:nvSpPr>
        <p:spPr>
          <a:xfrm>
            <a:off x="436320" y="338272"/>
            <a:ext cx="4697095" cy="941141"/>
          </a:xfrm>
          <a:prstGeom prst="rect">
            <a:avLst/>
          </a:prstGeom>
          <a:noFill/>
        </p:spPr>
        <p:txBody>
          <a:bodyPr wrap="none" lIns="179238" tIns="143391" rIns="179238" bIns="143391" rtlCol="0">
            <a:spAutoFit/>
          </a:bodyPr>
          <a:lstStyle/>
          <a:p>
            <a:pPr defTabSz="914180">
              <a:lnSpc>
                <a:spcPct val="90000"/>
              </a:lnSpc>
              <a:spcAft>
                <a:spcPts val="588"/>
              </a:spcAft>
              <a:defRPr/>
            </a:pPr>
            <a:r>
              <a:rPr lang="en-US" sz="4704" spc="-147" dirty="0">
                <a:solidFill>
                  <a:srgbClr val="FFFFFF"/>
                </a:solidFill>
                <a:latin typeface="+mj-lt"/>
                <a:ea typeface="MS PGothic" panose="020B0600070205080204" pitchFamily="34" charset="-128"/>
                <a:cs typeface="Segoe UI Semibold" panose="020B0702040204020203" pitchFamily="34" charset="0"/>
              </a:rPr>
              <a:t>Azure momentum</a:t>
            </a:r>
          </a:p>
        </p:txBody>
      </p:sp>
      <p:grpSp>
        <p:nvGrpSpPr>
          <p:cNvPr id="5" name="Group 4"/>
          <p:cNvGrpSpPr/>
          <p:nvPr/>
        </p:nvGrpSpPr>
        <p:grpSpPr>
          <a:xfrm>
            <a:off x="573071" y="1387682"/>
            <a:ext cx="11037587" cy="4937154"/>
            <a:chOff x="131761" y="1589567"/>
            <a:chExt cx="12167753" cy="5037466"/>
          </a:xfrm>
        </p:grpSpPr>
        <p:sp>
          <p:nvSpPr>
            <p:cNvPr id="21" name="Rectangle 20"/>
            <p:cNvSpPr/>
            <p:nvPr/>
          </p:nvSpPr>
          <p:spPr bwMode="auto">
            <a:xfrm>
              <a:off x="4207142" y="1589567"/>
              <a:ext cx="3983359" cy="2479796"/>
            </a:xfrm>
            <a:prstGeom prst="rect">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3" name="Rectangle 22"/>
            <p:cNvSpPr/>
            <p:nvPr/>
          </p:nvSpPr>
          <p:spPr bwMode="auto">
            <a:xfrm>
              <a:off x="8282523" y="1589567"/>
              <a:ext cx="3983359" cy="2479796"/>
            </a:xfrm>
            <a:prstGeom prst="rect">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5" name="Rectangle 24"/>
            <p:cNvSpPr/>
            <p:nvPr/>
          </p:nvSpPr>
          <p:spPr bwMode="auto">
            <a:xfrm>
              <a:off x="131761" y="4147237"/>
              <a:ext cx="3983359" cy="2479796"/>
            </a:xfrm>
            <a:prstGeom prst="rect">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6" name="Rectangle 25"/>
            <p:cNvSpPr/>
            <p:nvPr/>
          </p:nvSpPr>
          <p:spPr bwMode="auto">
            <a:xfrm>
              <a:off x="4207142" y="4147237"/>
              <a:ext cx="3983359" cy="2479796"/>
            </a:xfrm>
            <a:prstGeom prst="rect">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9" name="Rectangle 28"/>
            <p:cNvSpPr/>
            <p:nvPr/>
          </p:nvSpPr>
          <p:spPr bwMode="auto">
            <a:xfrm>
              <a:off x="8282523" y="4147237"/>
              <a:ext cx="3983359" cy="2479796"/>
            </a:xfrm>
            <a:prstGeom prst="rect">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 name="Rectangle 3"/>
            <p:cNvSpPr/>
            <p:nvPr/>
          </p:nvSpPr>
          <p:spPr bwMode="auto">
            <a:xfrm>
              <a:off x="131761" y="1589567"/>
              <a:ext cx="3983359" cy="2479796"/>
            </a:xfrm>
            <a:prstGeom prst="rect">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7" name="TextBox 26"/>
            <p:cNvSpPr txBox="1"/>
            <p:nvPr/>
          </p:nvSpPr>
          <p:spPr>
            <a:xfrm>
              <a:off x="8394261" y="4314368"/>
              <a:ext cx="3715362" cy="1514218"/>
            </a:xfrm>
            <a:prstGeom prst="rect">
              <a:avLst/>
            </a:prstGeom>
            <a:noFill/>
          </p:spPr>
          <p:txBody>
            <a:bodyPr wrap="square" lIns="179213" tIns="143370" rIns="179213" bIns="143370" rtlCol="0">
              <a:spAutoFit/>
            </a:bodyPr>
            <a:lstStyle/>
            <a:p>
              <a:pPr algn="ctr" defTabSz="914180">
                <a:lnSpc>
                  <a:spcPct val="90000"/>
                </a:lnSpc>
                <a:spcAft>
                  <a:spcPts val="588"/>
                </a:spcAft>
                <a:defRPr/>
              </a:pPr>
              <a:r>
                <a:rPr lang="en-US" sz="4312" dirty="0">
                  <a:gradFill>
                    <a:gsLst>
                      <a:gs pos="0">
                        <a:srgbClr val="FFFFFF"/>
                      </a:gs>
                      <a:gs pos="100000">
                        <a:srgbClr val="FFFFFF"/>
                      </a:gs>
                    </a:gsLst>
                    <a:lin ang="5400000" scaled="0"/>
                  </a:gradFill>
                  <a:latin typeface="Segoe UI Semibold" panose="020B0702040204020203" pitchFamily="34" charset="0"/>
                  <a:ea typeface="Adobe Gothic Std B" panose="020B0800000000000000" pitchFamily="34" charset="-128"/>
                  <a:cs typeface="Segoe UI Semibold" panose="020B0702040204020203" pitchFamily="34" charset="0"/>
                </a:rPr>
                <a:t>&gt;</a:t>
              </a:r>
              <a:r>
                <a:rPr lang="en-US" sz="8625" spc="-206" dirty="0">
                  <a:gradFill>
                    <a:gsLst>
                      <a:gs pos="0">
                        <a:srgbClr val="FFFFFF"/>
                      </a:gs>
                      <a:gs pos="10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40</a:t>
              </a:r>
              <a:r>
                <a:rPr lang="en-US" sz="4704" spc="-206" dirty="0">
                  <a:solidFill>
                    <a:srgbClr val="00B0F0"/>
                  </a:solidFill>
                  <a:latin typeface="Segoe UI Semibold" panose="020B0702040204020203" pitchFamily="34" charset="0"/>
                  <a:ea typeface="MS PGothic" panose="020B0600070205080204" pitchFamily="34" charset="-128"/>
                  <a:cs typeface="Segoe UI Semibold" panose="020B0702040204020203" pitchFamily="34" charset="0"/>
                </a:rPr>
                <a:t>%</a:t>
              </a:r>
              <a:endParaRPr lang="en-US" sz="1960" dirty="0">
                <a:solidFill>
                  <a:srgbClr val="FFC000"/>
                </a:solidFill>
                <a:latin typeface="Segoe UI Semilight"/>
                <a:ea typeface="MS PGothic" panose="020B0600070205080204" pitchFamily="34" charset="-128"/>
                <a:cs typeface="Segoe UI Semibold" panose="020B0702040204020203" pitchFamily="34" charset="0"/>
              </a:endParaRPr>
            </a:p>
          </p:txBody>
        </p:sp>
        <p:sp>
          <p:nvSpPr>
            <p:cNvPr id="28" name="TextBox 27"/>
            <p:cNvSpPr txBox="1"/>
            <p:nvPr/>
          </p:nvSpPr>
          <p:spPr>
            <a:xfrm>
              <a:off x="131761" y="1744662"/>
              <a:ext cx="3851598" cy="1514218"/>
            </a:xfrm>
            <a:prstGeom prst="rect">
              <a:avLst/>
            </a:prstGeom>
            <a:noFill/>
          </p:spPr>
          <p:txBody>
            <a:bodyPr wrap="square" lIns="179213" tIns="143370" rIns="179213" bIns="143370" rtlCol="0">
              <a:spAutoFit/>
            </a:bodyPr>
            <a:lstStyle/>
            <a:p>
              <a:pPr algn="ctr" defTabSz="914180">
                <a:lnSpc>
                  <a:spcPct val="90000"/>
                </a:lnSpc>
                <a:spcAft>
                  <a:spcPts val="1176"/>
                </a:spcAft>
                <a:defRPr/>
              </a:pPr>
              <a:r>
                <a:rPr lang="en-US" sz="4312" spc="-147" dirty="0">
                  <a:gradFill>
                    <a:gsLst>
                      <a:gs pos="0">
                        <a:srgbClr val="FFFFFF"/>
                      </a:gs>
                      <a:gs pos="100000">
                        <a:srgbClr val="FFFFFF"/>
                      </a:gs>
                    </a:gsLst>
                    <a:lin ang="5400000" scaled="0"/>
                  </a:gradFill>
                  <a:latin typeface="Segoe UI Semibold" panose="020B0702040204020203" pitchFamily="34" charset="0"/>
                  <a:ea typeface="Adobe Gothic Std B" panose="020B0800000000000000" pitchFamily="34" charset="-128"/>
                  <a:cs typeface="Segoe UI Semibold" panose="020B0702040204020203" pitchFamily="34" charset="0"/>
                </a:rPr>
                <a:t>&gt;</a:t>
              </a:r>
              <a:r>
                <a:rPr lang="en-US" sz="8625" spc="-147" dirty="0">
                  <a:gradFill>
                    <a:gsLst>
                      <a:gs pos="0">
                        <a:srgbClr val="FFFFFF"/>
                      </a:gs>
                      <a:gs pos="10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120</a:t>
              </a:r>
              <a:r>
                <a:rPr lang="en-US" sz="4704" spc="-147" dirty="0">
                  <a:solidFill>
                    <a:srgbClr val="00B0F0"/>
                  </a:solidFill>
                  <a:latin typeface="Segoe UI Semibold" panose="020B0702040204020203" pitchFamily="34" charset="0"/>
                  <a:ea typeface="MS PGothic" panose="020B0600070205080204" pitchFamily="34" charset="-128"/>
                  <a:cs typeface="Segoe UI Semibold" panose="020B0702040204020203" pitchFamily="34" charset="0"/>
                </a:rPr>
                <a:t>k</a:t>
              </a:r>
              <a:endParaRPr lang="en-US" sz="3528" spc="-147" dirty="0">
                <a:solidFill>
                  <a:srgbClr val="00B0F0"/>
                </a:solidFill>
                <a:latin typeface="Segoe UI Semibold" panose="020B0702040204020203" pitchFamily="34" charset="0"/>
                <a:ea typeface="MS PGothic" panose="020B0600070205080204" pitchFamily="34" charset="-128"/>
                <a:cs typeface="Segoe UI Semibold" panose="020B0702040204020203" pitchFamily="34" charset="0"/>
              </a:endParaRPr>
            </a:p>
          </p:txBody>
        </p:sp>
        <p:sp>
          <p:nvSpPr>
            <p:cNvPr id="19" name="TextBox 18"/>
            <p:cNvSpPr txBox="1"/>
            <p:nvPr/>
          </p:nvSpPr>
          <p:spPr>
            <a:xfrm>
              <a:off x="4313237" y="1744662"/>
              <a:ext cx="3851598" cy="1514218"/>
            </a:xfrm>
            <a:prstGeom prst="rect">
              <a:avLst/>
            </a:prstGeom>
            <a:noFill/>
          </p:spPr>
          <p:txBody>
            <a:bodyPr wrap="square" lIns="179213" tIns="143370" rIns="179213" bIns="143370" rtlCol="0">
              <a:spAutoFit/>
            </a:bodyPr>
            <a:lstStyle/>
            <a:p>
              <a:pPr algn="ctr" defTabSz="914180">
                <a:lnSpc>
                  <a:spcPct val="90000"/>
                </a:lnSpc>
                <a:spcAft>
                  <a:spcPts val="588"/>
                </a:spcAft>
                <a:defRPr/>
              </a:pPr>
              <a:r>
                <a:rPr lang="en-US" sz="4312" kern="0" spc="-147" dirty="0">
                  <a:gradFill>
                    <a:gsLst>
                      <a:gs pos="0">
                        <a:srgbClr val="FFFFFF"/>
                      </a:gs>
                      <a:gs pos="100000">
                        <a:srgbClr val="FFFFFF"/>
                      </a:gs>
                    </a:gsLst>
                    <a:lin ang="5400000" scaled="0"/>
                  </a:gradFill>
                  <a:latin typeface="Segoe UI Semibold" panose="020B0702040204020203" pitchFamily="34" charset="0"/>
                  <a:ea typeface="Adobe Gothic Std B" panose="020B0800000000000000" pitchFamily="34" charset="-128"/>
                  <a:cs typeface="Segoe UI Semibold" panose="020B0702040204020203" pitchFamily="34" charset="0"/>
                </a:rPr>
                <a:t>&gt;</a:t>
              </a:r>
              <a:r>
                <a:rPr lang="en-US" sz="8625" spc="-147" dirty="0">
                  <a:gradFill>
                    <a:gsLst>
                      <a:gs pos="0">
                        <a:srgbClr val="FFFFFF"/>
                      </a:gs>
                      <a:gs pos="10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1.4</a:t>
              </a:r>
              <a:r>
                <a:rPr lang="en-US" sz="3528" dirty="0">
                  <a:solidFill>
                    <a:srgbClr val="00B0F0"/>
                  </a:solidFill>
                  <a:latin typeface="Segoe UI Semibold" panose="020B0702040204020203" pitchFamily="34" charset="0"/>
                  <a:ea typeface="MS PGothic" panose="020B0600070205080204" pitchFamily="34" charset="-128"/>
                  <a:cs typeface="Segoe UI Semibold" panose="020B0702040204020203" pitchFamily="34" charset="0"/>
                </a:rPr>
                <a:t>Million</a:t>
              </a:r>
              <a:endParaRPr lang="en-US" sz="1960" dirty="0">
                <a:solidFill>
                  <a:srgbClr val="FFC000"/>
                </a:solidFill>
                <a:latin typeface="Segoe UI Semibold" panose="020B0702040204020203" pitchFamily="34" charset="0"/>
                <a:ea typeface="MS PGothic" panose="020B0600070205080204" pitchFamily="34" charset="-128"/>
                <a:cs typeface="Segoe UI Semibold" panose="020B0702040204020203" pitchFamily="34" charset="0"/>
              </a:endParaRPr>
            </a:p>
          </p:txBody>
        </p:sp>
        <p:sp>
          <p:nvSpPr>
            <p:cNvPr id="22" name="TextBox 21"/>
            <p:cNvSpPr txBox="1"/>
            <p:nvPr/>
          </p:nvSpPr>
          <p:spPr>
            <a:xfrm>
              <a:off x="4137309" y="4314368"/>
              <a:ext cx="4185116" cy="1514218"/>
            </a:xfrm>
            <a:prstGeom prst="rect">
              <a:avLst/>
            </a:prstGeom>
            <a:noFill/>
          </p:spPr>
          <p:txBody>
            <a:bodyPr wrap="square" lIns="179213" tIns="143370" rIns="179213" bIns="143370" rtlCol="0">
              <a:spAutoFit/>
            </a:bodyPr>
            <a:lstStyle/>
            <a:p>
              <a:pPr algn="ctr" defTabSz="914180">
                <a:lnSpc>
                  <a:spcPct val="90000"/>
                </a:lnSpc>
                <a:spcAft>
                  <a:spcPts val="588"/>
                </a:spcAft>
                <a:defRPr/>
              </a:pPr>
              <a:r>
                <a:rPr lang="en-US" sz="4312" spc="-294" dirty="0">
                  <a:gradFill>
                    <a:gsLst>
                      <a:gs pos="0">
                        <a:srgbClr val="FFFFFF"/>
                      </a:gs>
                      <a:gs pos="100000">
                        <a:srgbClr val="FFFFFF"/>
                      </a:gs>
                    </a:gsLst>
                    <a:lin ang="5400000" scaled="0"/>
                  </a:gradFill>
                  <a:latin typeface="Segoe UI Semibold" panose="020B0702040204020203" pitchFamily="34" charset="0"/>
                  <a:ea typeface="Adobe Gothic Std B" panose="020B0800000000000000" pitchFamily="34" charset="-128"/>
                  <a:cs typeface="Segoe UI Semibold" panose="020B0702040204020203" pitchFamily="34" charset="0"/>
                </a:rPr>
                <a:t>&gt;</a:t>
              </a:r>
              <a:r>
                <a:rPr lang="en-US" sz="8625" spc="-294" dirty="0">
                  <a:gradFill>
                    <a:gsLst>
                      <a:gs pos="0">
                        <a:srgbClr val="FFFFFF"/>
                      </a:gs>
                      <a:gs pos="10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4</a:t>
              </a:r>
              <a:r>
                <a:rPr lang="en-US" sz="3528" dirty="0">
                  <a:solidFill>
                    <a:srgbClr val="00B0F0"/>
                  </a:solidFill>
                  <a:latin typeface="Segoe UI Semibold" panose="020B0702040204020203" pitchFamily="34" charset="0"/>
                  <a:ea typeface="MS PGothic" panose="020B0600070205080204" pitchFamily="34" charset="-128"/>
                  <a:cs typeface="Segoe UI Semibold" panose="020B0702040204020203" pitchFamily="34" charset="0"/>
                </a:rPr>
                <a:t>Million</a:t>
              </a:r>
              <a:endParaRPr lang="en-US" sz="3528" dirty="0">
                <a:gradFill>
                  <a:gsLst>
                    <a:gs pos="0">
                      <a:srgbClr val="FFFFFF"/>
                    </a:gs>
                    <a:gs pos="10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endParaRPr>
            </a:p>
          </p:txBody>
        </p:sp>
        <p:sp>
          <p:nvSpPr>
            <p:cNvPr id="24" name="TextBox 23"/>
            <p:cNvSpPr txBox="1"/>
            <p:nvPr/>
          </p:nvSpPr>
          <p:spPr>
            <a:xfrm>
              <a:off x="169049" y="4314368"/>
              <a:ext cx="3851598" cy="1514218"/>
            </a:xfrm>
            <a:prstGeom prst="rect">
              <a:avLst/>
            </a:prstGeom>
            <a:noFill/>
          </p:spPr>
          <p:txBody>
            <a:bodyPr wrap="square" lIns="179213" tIns="143370" rIns="179213" bIns="143370" rtlCol="0">
              <a:spAutoFit/>
            </a:bodyPr>
            <a:lstStyle/>
            <a:p>
              <a:pPr algn="ctr" defTabSz="914180">
                <a:lnSpc>
                  <a:spcPct val="90000"/>
                </a:lnSpc>
                <a:spcAft>
                  <a:spcPts val="588"/>
                </a:spcAft>
                <a:defRPr/>
              </a:pPr>
              <a:r>
                <a:rPr lang="en-US" sz="8625" spc="-294" dirty="0">
                  <a:gradFill>
                    <a:gsLst>
                      <a:gs pos="0">
                        <a:srgbClr val="FFFFFF"/>
                      </a:gs>
                      <a:gs pos="10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5</a:t>
              </a:r>
              <a:r>
                <a:rPr lang="en-US" sz="3528" dirty="0">
                  <a:solidFill>
                    <a:srgbClr val="00B0F0"/>
                  </a:solidFill>
                  <a:latin typeface="Segoe UI Semibold" panose="020B0702040204020203" pitchFamily="34" charset="0"/>
                  <a:ea typeface="MS PGothic" panose="020B0600070205080204" pitchFamily="34" charset="-128"/>
                  <a:cs typeface="Segoe UI Semibold" panose="020B0702040204020203" pitchFamily="34" charset="0"/>
                </a:rPr>
                <a:t>Million</a:t>
              </a:r>
              <a:endParaRPr lang="en-US" sz="3920" dirty="0">
                <a:gradFill>
                  <a:gsLst>
                    <a:gs pos="0">
                      <a:srgbClr val="FFFFFF"/>
                    </a:gs>
                    <a:gs pos="10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endParaRPr>
            </a:p>
          </p:txBody>
        </p:sp>
        <p:sp>
          <p:nvSpPr>
            <p:cNvPr id="16" name="TextBox 15"/>
            <p:cNvSpPr txBox="1"/>
            <p:nvPr/>
          </p:nvSpPr>
          <p:spPr>
            <a:xfrm>
              <a:off x="8447916" y="1744662"/>
              <a:ext cx="3851598" cy="1514218"/>
            </a:xfrm>
            <a:prstGeom prst="rect">
              <a:avLst/>
            </a:prstGeom>
            <a:noFill/>
          </p:spPr>
          <p:txBody>
            <a:bodyPr wrap="square" lIns="179213" tIns="143370" rIns="179213" bIns="143370" rtlCol="0">
              <a:spAutoFit/>
            </a:bodyPr>
            <a:lstStyle/>
            <a:p>
              <a:pPr algn="ctr" defTabSz="914180">
                <a:lnSpc>
                  <a:spcPct val="90000"/>
                </a:lnSpc>
                <a:spcAft>
                  <a:spcPts val="588"/>
                </a:spcAft>
                <a:defRPr/>
              </a:pPr>
              <a:r>
                <a:rPr lang="en-US" sz="8625" spc="-206" dirty="0">
                  <a:gradFill>
                    <a:gsLst>
                      <a:gs pos="0">
                        <a:srgbClr val="FFFFFF"/>
                      </a:gs>
                      <a:gs pos="10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2</a:t>
              </a:r>
              <a:r>
                <a:rPr lang="en-US" sz="3528" dirty="0">
                  <a:solidFill>
                    <a:srgbClr val="00B0F0"/>
                  </a:solidFill>
                  <a:latin typeface="Segoe UI Semibold" panose="020B0702040204020203" pitchFamily="34" charset="0"/>
                  <a:ea typeface="MS PGothic" panose="020B0600070205080204" pitchFamily="34" charset="-128"/>
                  <a:cs typeface="Segoe UI Semibold" panose="020B0702040204020203" pitchFamily="34" charset="0"/>
                </a:rPr>
                <a:t>Trillion</a:t>
              </a:r>
              <a:endParaRPr lang="en-US" sz="1960" dirty="0">
                <a:solidFill>
                  <a:srgbClr val="FFC000"/>
                </a:solidFill>
                <a:latin typeface="Segoe UI Semibold" panose="020B0702040204020203" pitchFamily="34" charset="0"/>
                <a:ea typeface="MS PGothic" panose="020B0600070205080204" pitchFamily="34" charset="-128"/>
                <a:cs typeface="Segoe UI Semibold" panose="020B0702040204020203" pitchFamily="34" charset="0"/>
              </a:endParaRPr>
            </a:p>
          </p:txBody>
        </p:sp>
        <p:sp>
          <p:nvSpPr>
            <p:cNvPr id="2" name="Rectangle 1"/>
            <p:cNvSpPr/>
            <p:nvPr/>
          </p:nvSpPr>
          <p:spPr>
            <a:xfrm>
              <a:off x="735567" y="3319132"/>
              <a:ext cx="2718562" cy="480131"/>
            </a:xfrm>
            <a:prstGeom prst="rect">
              <a:avLst/>
            </a:prstGeom>
          </p:spPr>
          <p:txBody>
            <a:bodyPr wrap="square">
              <a:spAutoFit/>
            </a:bodyPr>
            <a:lstStyle/>
            <a:p>
              <a:pPr algn="ctr" defTabSz="914180">
                <a:lnSpc>
                  <a:spcPct val="90000"/>
                </a:lnSpc>
                <a:spcAft>
                  <a:spcPts val="1176"/>
                </a:spcAft>
                <a:defRPr/>
              </a:pPr>
              <a:r>
                <a:rPr lang="en-US" sz="1372" dirty="0">
                  <a:solidFill>
                    <a:schemeClr val="tx1">
                      <a:lumMod val="75000"/>
                    </a:schemeClr>
                  </a:solidFill>
                  <a:latin typeface="Segoe UI Semibold" panose="020B0702040204020203" pitchFamily="34" charset="0"/>
                  <a:ea typeface="MS PGothic" panose="020B0600070205080204" pitchFamily="34" charset="-128"/>
                  <a:cs typeface="Segoe UI Semibold" panose="020B0702040204020203" pitchFamily="34" charset="0"/>
                </a:rPr>
                <a:t>NEW AZURE CUSTOMER SUBSCRIPTIONS/MONTH</a:t>
              </a:r>
            </a:p>
          </p:txBody>
        </p:sp>
        <p:sp>
          <p:nvSpPr>
            <p:cNvPr id="15" name="Rectangle 14"/>
            <p:cNvSpPr/>
            <p:nvPr/>
          </p:nvSpPr>
          <p:spPr>
            <a:xfrm>
              <a:off x="9071492" y="3319132"/>
              <a:ext cx="2718562" cy="480131"/>
            </a:xfrm>
            <a:prstGeom prst="rect">
              <a:avLst/>
            </a:prstGeom>
          </p:spPr>
          <p:txBody>
            <a:bodyPr wrap="square">
              <a:spAutoFit/>
            </a:bodyPr>
            <a:lstStyle/>
            <a:p>
              <a:pPr algn="ctr" defTabSz="914180">
                <a:lnSpc>
                  <a:spcPct val="90000"/>
                </a:lnSpc>
                <a:spcAft>
                  <a:spcPts val="588"/>
                </a:spcAft>
                <a:defRPr/>
              </a:pPr>
              <a:r>
                <a:rPr lang="en-US" sz="1372" dirty="0">
                  <a:solidFill>
                    <a:schemeClr val="tx1">
                      <a:lumMod val="75000"/>
                    </a:schemeClr>
                  </a:solidFill>
                  <a:latin typeface="Segoe UI Semibold" panose="020B0702040204020203" pitchFamily="34" charset="0"/>
                  <a:ea typeface="MS PGothic" panose="020B0600070205080204" pitchFamily="34" charset="-128"/>
                  <a:cs typeface="Segoe UI Semibold" panose="020B0702040204020203" pitchFamily="34" charset="0"/>
                </a:rPr>
                <a:t>MESSAGES PER WEEK</a:t>
              </a:r>
              <a:br>
                <a:rPr lang="en-US" sz="1372" dirty="0">
                  <a:solidFill>
                    <a:schemeClr val="tx1">
                      <a:lumMod val="75000"/>
                    </a:schemeClr>
                  </a:solidFill>
                  <a:latin typeface="Segoe UI Semibold" panose="020B0702040204020203" pitchFamily="34" charset="0"/>
                  <a:ea typeface="MS PGothic" panose="020B0600070205080204" pitchFamily="34" charset="-128"/>
                  <a:cs typeface="Segoe UI Semibold" panose="020B0702040204020203" pitchFamily="34" charset="0"/>
                </a:rPr>
              </a:br>
              <a:r>
                <a:rPr lang="en-US" sz="1372" dirty="0">
                  <a:solidFill>
                    <a:schemeClr val="tx1">
                      <a:lumMod val="75000"/>
                    </a:schemeClr>
                  </a:solidFill>
                  <a:latin typeface="Segoe UI Semibold" panose="020B0702040204020203" pitchFamily="34" charset="0"/>
                  <a:ea typeface="MS PGothic" panose="020B0600070205080204" pitchFamily="34" charset="-128"/>
                  <a:cs typeface="Segoe UI Semibold" panose="020B0702040204020203" pitchFamily="34" charset="0"/>
                </a:rPr>
                <a:t>PROCESSED BY AZURE IOT</a:t>
              </a:r>
            </a:p>
          </p:txBody>
        </p:sp>
        <p:sp>
          <p:nvSpPr>
            <p:cNvPr id="18" name="Rectangle 17"/>
            <p:cNvSpPr/>
            <p:nvPr/>
          </p:nvSpPr>
          <p:spPr>
            <a:xfrm>
              <a:off x="484249" y="5983187"/>
              <a:ext cx="3221198" cy="480131"/>
            </a:xfrm>
            <a:prstGeom prst="rect">
              <a:avLst/>
            </a:prstGeom>
          </p:spPr>
          <p:txBody>
            <a:bodyPr wrap="square">
              <a:spAutoFit/>
            </a:bodyPr>
            <a:lstStyle/>
            <a:p>
              <a:pPr algn="ctr" defTabSz="914180">
                <a:lnSpc>
                  <a:spcPct val="90000"/>
                </a:lnSpc>
                <a:spcAft>
                  <a:spcPts val="1176"/>
                </a:spcAft>
                <a:defRPr/>
              </a:pPr>
              <a:r>
                <a:rPr lang="en-US" sz="1372" dirty="0">
                  <a:solidFill>
                    <a:schemeClr val="tx1">
                      <a:lumMod val="75000"/>
                    </a:schemeClr>
                  </a:solidFill>
                  <a:latin typeface="Segoe UI Semibold" panose="020B0702040204020203" pitchFamily="34" charset="0"/>
                  <a:ea typeface="MS PGothic" panose="020B0600070205080204" pitchFamily="34" charset="-128"/>
                  <a:cs typeface="Segoe UI Semibold" panose="020B0702040204020203" pitchFamily="34" charset="0"/>
                </a:rPr>
                <a:t>ORGANIZATIONS USING </a:t>
              </a:r>
              <a:br>
                <a:rPr lang="en-US" sz="1372" dirty="0">
                  <a:solidFill>
                    <a:schemeClr val="tx1">
                      <a:lumMod val="75000"/>
                    </a:schemeClr>
                  </a:solidFill>
                  <a:latin typeface="Segoe UI Semibold" panose="020B0702040204020203" pitchFamily="34" charset="0"/>
                  <a:ea typeface="MS PGothic" panose="020B0600070205080204" pitchFamily="34" charset="-128"/>
                  <a:cs typeface="Segoe UI Semibold" panose="020B0702040204020203" pitchFamily="34" charset="0"/>
                </a:rPr>
              </a:br>
              <a:r>
                <a:rPr lang="en-US" sz="1372" dirty="0">
                  <a:solidFill>
                    <a:schemeClr val="tx1">
                      <a:lumMod val="75000"/>
                    </a:schemeClr>
                  </a:solidFill>
                  <a:latin typeface="Segoe UI Semibold" panose="020B0702040204020203" pitchFamily="34" charset="0"/>
                  <a:ea typeface="MS PGothic" panose="020B0600070205080204" pitchFamily="34" charset="-128"/>
                  <a:cs typeface="Segoe UI Semibold" panose="020B0702040204020203" pitchFamily="34" charset="0"/>
                </a:rPr>
                <a:t>AZURE ACTIVE DIRECTORY </a:t>
              </a:r>
            </a:p>
          </p:txBody>
        </p:sp>
        <p:sp>
          <p:nvSpPr>
            <p:cNvPr id="3" name="Rectangle 2"/>
            <p:cNvSpPr/>
            <p:nvPr/>
          </p:nvSpPr>
          <p:spPr>
            <a:xfrm>
              <a:off x="4694546" y="5983188"/>
              <a:ext cx="3047381" cy="480131"/>
            </a:xfrm>
            <a:prstGeom prst="rect">
              <a:avLst/>
            </a:prstGeom>
          </p:spPr>
          <p:txBody>
            <a:bodyPr wrap="square">
              <a:spAutoFit/>
            </a:bodyPr>
            <a:lstStyle/>
            <a:p>
              <a:pPr algn="ctr" defTabSz="914180">
                <a:lnSpc>
                  <a:spcPct val="90000"/>
                </a:lnSpc>
                <a:spcAft>
                  <a:spcPts val="588"/>
                </a:spcAft>
                <a:defRPr/>
              </a:pPr>
              <a:r>
                <a:rPr lang="en-US" sz="1372" dirty="0">
                  <a:solidFill>
                    <a:schemeClr val="tx1">
                      <a:lumMod val="75000"/>
                    </a:schemeClr>
                  </a:solidFill>
                  <a:latin typeface="Segoe UI Semibold" panose="020B0702040204020203" pitchFamily="34" charset="0"/>
                  <a:ea typeface="MS PGothic" panose="020B0600070205080204" pitchFamily="34" charset="-128"/>
                  <a:cs typeface="Segoe UI Semibold" panose="020B0702040204020203" pitchFamily="34" charset="0"/>
                </a:rPr>
                <a:t>DEVELOPER REGISTERED WITH </a:t>
              </a:r>
              <a:br>
                <a:rPr lang="en-US" sz="1372" dirty="0">
                  <a:solidFill>
                    <a:schemeClr val="tx1">
                      <a:lumMod val="75000"/>
                    </a:schemeClr>
                  </a:solidFill>
                  <a:latin typeface="Segoe UI Semibold" panose="020B0702040204020203" pitchFamily="34" charset="0"/>
                  <a:ea typeface="MS PGothic" panose="020B0600070205080204" pitchFamily="34" charset="-128"/>
                  <a:cs typeface="Segoe UI Semibold" panose="020B0702040204020203" pitchFamily="34" charset="0"/>
                </a:rPr>
              </a:br>
              <a:r>
                <a:rPr lang="en-US" sz="1372" dirty="0">
                  <a:solidFill>
                    <a:schemeClr val="tx1">
                      <a:lumMod val="75000"/>
                    </a:schemeClr>
                  </a:solidFill>
                  <a:latin typeface="Segoe UI Semibold" panose="020B0702040204020203" pitchFamily="34" charset="0"/>
                  <a:ea typeface="MS PGothic" panose="020B0600070205080204" pitchFamily="34" charset="-128"/>
                  <a:cs typeface="Segoe UI Semibold" panose="020B0702040204020203" pitchFamily="34" charset="0"/>
                </a:rPr>
                <a:t>VISUAL STUDIO TEAM SERVICES</a:t>
              </a:r>
            </a:p>
          </p:txBody>
        </p:sp>
        <p:sp>
          <p:nvSpPr>
            <p:cNvPr id="20" name="Rectangle 19"/>
            <p:cNvSpPr/>
            <p:nvPr/>
          </p:nvSpPr>
          <p:spPr>
            <a:xfrm>
              <a:off x="8850024" y="5983187"/>
              <a:ext cx="3047381" cy="480131"/>
            </a:xfrm>
            <a:prstGeom prst="rect">
              <a:avLst/>
            </a:prstGeom>
          </p:spPr>
          <p:txBody>
            <a:bodyPr wrap="square">
              <a:spAutoFit/>
            </a:bodyPr>
            <a:lstStyle/>
            <a:p>
              <a:pPr algn="ctr" defTabSz="914180">
                <a:lnSpc>
                  <a:spcPct val="90000"/>
                </a:lnSpc>
                <a:spcAft>
                  <a:spcPts val="588"/>
                </a:spcAft>
                <a:defRPr/>
              </a:pPr>
              <a:r>
                <a:rPr lang="en-US" sz="1372" dirty="0">
                  <a:solidFill>
                    <a:schemeClr val="tx1">
                      <a:lumMod val="75000"/>
                    </a:schemeClr>
                  </a:solidFill>
                  <a:latin typeface="Segoe UI Semibold" panose="020B0702040204020203" pitchFamily="34" charset="0"/>
                  <a:ea typeface="MS PGothic" panose="020B0600070205080204" pitchFamily="34" charset="-128"/>
                  <a:cs typeface="Segoe UI Semibold" panose="020B0702040204020203" pitchFamily="34" charset="0"/>
                </a:rPr>
                <a:t>REVENUE FROM </a:t>
              </a:r>
              <a:br>
                <a:rPr lang="en-US" sz="1372" dirty="0">
                  <a:solidFill>
                    <a:schemeClr val="tx1">
                      <a:lumMod val="75000"/>
                    </a:schemeClr>
                  </a:solidFill>
                  <a:latin typeface="Segoe UI Semibold" panose="020B0702040204020203" pitchFamily="34" charset="0"/>
                  <a:ea typeface="MS PGothic" panose="020B0600070205080204" pitchFamily="34" charset="-128"/>
                  <a:cs typeface="Segoe UI Semibold" panose="020B0702040204020203" pitchFamily="34" charset="0"/>
                </a:rPr>
              </a:br>
              <a:r>
                <a:rPr lang="en-US" sz="1372" dirty="0">
                  <a:solidFill>
                    <a:schemeClr val="tx1">
                      <a:lumMod val="75000"/>
                    </a:schemeClr>
                  </a:solidFill>
                  <a:latin typeface="Segoe UI Semibold" panose="020B0702040204020203" pitchFamily="34" charset="0"/>
                  <a:ea typeface="MS PGothic" panose="020B0600070205080204" pitchFamily="34" charset="-128"/>
                  <a:cs typeface="Segoe UI Semibold" panose="020B0702040204020203" pitchFamily="34" charset="0"/>
                </a:rPr>
                <a:t>START-UPS AND ISVS</a:t>
              </a:r>
            </a:p>
          </p:txBody>
        </p:sp>
        <p:sp>
          <p:nvSpPr>
            <p:cNvPr id="30" name="Rectangle 29"/>
            <p:cNvSpPr/>
            <p:nvPr/>
          </p:nvSpPr>
          <p:spPr>
            <a:xfrm>
              <a:off x="4544398" y="3358496"/>
              <a:ext cx="3382286" cy="313932"/>
            </a:xfrm>
            <a:prstGeom prst="rect">
              <a:avLst/>
            </a:prstGeom>
          </p:spPr>
          <p:txBody>
            <a:bodyPr wrap="square">
              <a:spAutoFit/>
            </a:bodyPr>
            <a:lstStyle/>
            <a:p>
              <a:pPr algn="ctr" defTabSz="914180">
                <a:lnSpc>
                  <a:spcPct val="90000"/>
                </a:lnSpc>
                <a:spcAft>
                  <a:spcPts val="588"/>
                </a:spcAft>
                <a:defRPr/>
              </a:pPr>
              <a:r>
                <a:rPr lang="en-US" sz="1568" kern="0" dirty="0">
                  <a:solidFill>
                    <a:srgbClr val="FFFFFF">
                      <a:lumMod val="75000"/>
                    </a:srgbClr>
                  </a:solidFill>
                  <a:latin typeface="Segoe UI Semibold" panose="020B0702040204020203" pitchFamily="34" charset="0"/>
                  <a:cs typeface="Segoe UI Semibold" panose="020B0702040204020203" pitchFamily="34" charset="0"/>
                </a:rPr>
                <a:t>SQL DATABASES IN AZURE</a:t>
              </a:r>
            </a:p>
          </p:txBody>
        </p:sp>
      </p:grpSp>
    </p:spTree>
    <p:extLst>
      <p:ext uri="{BB962C8B-B14F-4D97-AF65-F5344CB8AC3E}">
        <p14:creationId xmlns:p14="http://schemas.microsoft.com/office/powerpoint/2010/main" val="4255026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893"/>
            <a:ext cx="12188825" cy="6856214"/>
          </a:xfrm>
          <a:prstGeom prst="rect">
            <a:avLst/>
          </a:prstGeom>
        </p:spPr>
      </p:pic>
      <p:sp>
        <p:nvSpPr>
          <p:cNvPr id="11" name="Rectangle 10"/>
          <p:cNvSpPr/>
          <p:nvPr/>
        </p:nvSpPr>
        <p:spPr>
          <a:xfrm>
            <a:off x="6953812" y="3885112"/>
            <a:ext cx="5038520" cy="2758117"/>
          </a:xfrm>
          <a:prstGeom prst="rect">
            <a:avLst/>
          </a:prstGeom>
          <a:solidFill>
            <a:srgbClr val="68217A">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4249" tIns="274249" rIns="274249" rtlCol="0" anchor="t"/>
          <a:lstStyle/>
          <a:p>
            <a:pPr marL="507848" marR="0" lvl="0" indent="-507848" defTabSz="914400" eaLnBrk="1" fontAlgn="auto" latinLnBrk="0" hangingPunct="1">
              <a:lnSpc>
                <a:spcPct val="100000"/>
              </a:lnSpc>
              <a:spcBef>
                <a:spcPts val="0"/>
              </a:spcBef>
              <a:spcAft>
                <a:spcPts val="1200"/>
              </a:spcAft>
              <a:buClrTx/>
              <a:buSzTx/>
              <a:buFontTx/>
              <a:buNone/>
              <a:tabLst/>
              <a:defRPr/>
            </a:pPr>
            <a:r>
              <a:rPr kumimoji="0" lang="en-US" sz="3199" b="0" i="0" u="none" strike="noStrike" kern="0" cap="none" spc="0" normalizeH="0" baseline="0" noProof="0" dirty="0">
                <a:ln>
                  <a:noFill/>
                </a:ln>
                <a:solidFill>
                  <a:schemeClr val="bg1"/>
                </a:solidFill>
                <a:effectLst/>
                <a:uLnTx/>
                <a:uFillTx/>
                <a:latin typeface="+mj-lt"/>
                <a:sym typeface="Wingdings" panose="05000000000000000000" pitchFamily="2" charset="2"/>
              </a:rPr>
              <a:t></a:t>
            </a:r>
            <a:r>
              <a:rPr kumimoji="0" lang="en-US" sz="3199" b="0" i="0" u="none" strike="noStrike" kern="0" cap="none" spc="0" normalizeH="0" baseline="0" noProof="0" dirty="0">
                <a:ln>
                  <a:noFill/>
                </a:ln>
                <a:solidFill>
                  <a:sysClr val="windowText" lastClr="000000"/>
                </a:solidFill>
                <a:effectLst/>
                <a:uLnTx/>
                <a:uFillTx/>
                <a:latin typeface="+mj-lt"/>
                <a:sym typeface="Wingdings" panose="05000000000000000000" pitchFamily="2" charset="2"/>
              </a:rPr>
              <a:t> </a:t>
            </a:r>
            <a:r>
              <a:rPr kumimoji="0" lang="en-US" sz="3199" b="0" i="0" u="none" strike="noStrike" kern="0" cap="none" spc="0" normalizeH="0" baseline="0" noProof="0" dirty="0">
                <a:ln>
                  <a:noFill/>
                </a:ln>
                <a:solidFill>
                  <a:schemeClr val="bg1"/>
                </a:solidFill>
                <a:effectLst/>
                <a:uLnTx/>
                <a:uFillTx/>
                <a:latin typeface="Segoe UI Light" panose="020B0502040204020203" pitchFamily="34" charset="0"/>
              </a:rPr>
              <a:t>Game sessions hosted using Azure</a:t>
            </a:r>
          </a:p>
          <a:p>
            <a:pPr marL="507848" marR="0" lvl="0" indent="-507848" defTabSz="914400" eaLnBrk="1" fontAlgn="auto" latinLnBrk="0" hangingPunct="1">
              <a:lnSpc>
                <a:spcPct val="100000"/>
              </a:lnSpc>
              <a:spcBef>
                <a:spcPts val="0"/>
              </a:spcBef>
              <a:spcAft>
                <a:spcPts val="1200"/>
              </a:spcAft>
              <a:buClrTx/>
              <a:buSzTx/>
              <a:buFontTx/>
              <a:buNone/>
              <a:tabLst/>
              <a:defRPr/>
            </a:pPr>
            <a:r>
              <a:rPr kumimoji="0" lang="en-US" sz="3199" b="0" i="0" u="none" strike="noStrike" kern="0" cap="none" spc="0" normalizeH="0" baseline="0" noProof="0" dirty="0">
                <a:ln>
                  <a:noFill/>
                </a:ln>
                <a:solidFill>
                  <a:schemeClr val="bg1"/>
                </a:solidFill>
                <a:effectLst/>
                <a:uLnTx/>
                <a:uFillTx/>
                <a:latin typeface="Segoe UI Light" panose="020B0502040204020203" pitchFamily="34" charset="0"/>
                <a:sym typeface="Wingdings" panose="05000000000000000000" pitchFamily="2" charset="2"/>
              </a:rPr>
              <a:t> </a:t>
            </a:r>
            <a:r>
              <a:rPr kumimoji="0" lang="en-US" sz="3199" b="0" i="0" u="none" strike="noStrike" kern="0" cap="none" spc="0" normalizeH="0" baseline="0" noProof="0" dirty="0">
                <a:ln>
                  <a:noFill/>
                </a:ln>
                <a:solidFill>
                  <a:schemeClr val="bg1"/>
                </a:solidFill>
                <a:effectLst/>
                <a:uLnTx/>
                <a:uFillTx/>
                <a:latin typeface="Segoe UI Light" panose="020B0502040204020203" pitchFamily="34" charset="0"/>
              </a:rPr>
              <a:t>Hosted using &gt;100,000 Azure Virtual Machines</a:t>
            </a:r>
          </a:p>
        </p:txBody>
      </p:sp>
      <p:sp>
        <p:nvSpPr>
          <p:cNvPr id="3" name="Title 2"/>
          <p:cNvSpPr>
            <a:spLocks noGrp="1"/>
          </p:cNvSpPr>
          <p:nvPr>
            <p:ph type="title" idx="4294967295"/>
          </p:nvPr>
        </p:nvSpPr>
        <p:spPr>
          <a:xfrm>
            <a:off x="227012" y="1066800"/>
            <a:ext cx="9855200" cy="2698750"/>
          </a:xfrm>
          <a:prstGeom prst="rect">
            <a:avLst/>
          </a:prstGeom>
        </p:spPr>
        <p:txBody>
          <a:bodyPr/>
          <a:lstStyle/>
          <a:p>
            <a:r>
              <a:rPr lang="en-US" dirty="0" err="1"/>
              <a:t>Titanfall</a:t>
            </a:r>
            <a:endParaRPr lang="en-US" dirty="0"/>
          </a:p>
        </p:txBody>
      </p:sp>
    </p:spTree>
    <p:extLst>
      <p:ext uri="{BB962C8B-B14F-4D97-AF65-F5344CB8AC3E}">
        <p14:creationId xmlns:p14="http://schemas.microsoft.com/office/powerpoint/2010/main" val="1084033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grpSp>
        <p:nvGrpSpPr>
          <p:cNvPr id="96" name="Group 95"/>
          <p:cNvGrpSpPr/>
          <p:nvPr/>
        </p:nvGrpSpPr>
        <p:grpSpPr>
          <a:xfrm>
            <a:off x="567899" y="2342684"/>
            <a:ext cx="11053027" cy="704059"/>
            <a:chOff x="579437" y="-1075563"/>
            <a:chExt cx="11277600" cy="718364"/>
          </a:xfrm>
        </p:grpSpPr>
        <p:sp>
          <p:nvSpPr>
            <p:cNvPr id="97" name="Rectangle 96"/>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1960" b="1" i="0" u="none" strike="noStrike" kern="0" cap="all" spc="0" normalizeH="0" baseline="0" noProof="0" dirty="0">
                <a:ln>
                  <a:noFill/>
                </a:ln>
                <a:solidFill>
                  <a:srgbClr val="00B0F0"/>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98" name="Rectangle 97"/>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9" name="Rectangle 98"/>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r>
                <a:rPr kumimoji="0" lang="en-US" sz="1960" b="0" i="0" u="none" strike="noStrike" kern="0" cap="none" spc="0" normalizeH="0" baseline="0" noProof="0" dirty="0">
                  <a:ln>
                    <a:noFill/>
                  </a:ln>
                  <a:solidFill>
                    <a:srgbClr val="FFFFFF"/>
                  </a:solidFill>
                  <a:effectLst/>
                  <a:uLnTx/>
                  <a:uFillTx/>
                  <a:latin typeface="Segoe UI Semilight"/>
                  <a:ea typeface="Segoe UI" pitchFamily="34" charset="0"/>
                  <a:cs typeface="Segoe UI" pitchFamily="34" charset="0"/>
                </a:rPr>
                <a:t>Microsoft Enterprise Mobility Suite</a:t>
              </a:r>
            </a:p>
          </p:txBody>
        </p:sp>
        <p:sp>
          <p:nvSpPr>
            <p:cNvPr id="100" name="Rectangle 99"/>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marL="0" marR="0" lvl="0" indent="0" defTabSz="913916" eaLnBrk="1" fontAlgn="base" latinLnBrk="0" hangingPunct="1">
                <a:lnSpc>
                  <a:spcPct val="90000"/>
                </a:lnSpc>
                <a:spcBef>
                  <a:spcPct val="0"/>
                </a:spcBef>
                <a:spcAft>
                  <a:spcPct val="0"/>
                </a:spcAft>
                <a:buClrTx/>
                <a:buSzTx/>
                <a:buFontTx/>
                <a:buNone/>
                <a:tabLst/>
                <a:defRPr/>
              </a:pPr>
              <a:r>
                <a:rPr kumimoji="0" lang="en-US" sz="1764" b="1" i="0" u="none" strike="noStrike" kern="0" cap="all" spc="0" normalizeH="0" baseline="0" noProof="0" dirty="0">
                  <a:ln>
                    <a:noFill/>
                  </a:ln>
                  <a:solidFill>
                    <a:srgbClr val="0078D7">
                      <a:lumMod val="40000"/>
                      <a:lumOff val="60000"/>
                    </a:srgbClr>
                  </a:solidFill>
                  <a:effectLst/>
                  <a:uLnTx/>
                  <a:uFillTx/>
                  <a:latin typeface="Segoe UI Semibold" panose="020B0702040204020203" pitchFamily="34" charset="0"/>
                  <a:ea typeface="Segoe UI" pitchFamily="34" charset="0"/>
                  <a:cs typeface="Segoe UI Semibold" panose="020B0702040204020203" pitchFamily="34" charset="0"/>
                </a:rPr>
                <a:t>Enterprise Mobility</a:t>
              </a:r>
            </a:p>
          </p:txBody>
        </p:sp>
      </p:grpSp>
      <p:grpSp>
        <p:nvGrpSpPr>
          <p:cNvPr id="2" name="Group 1"/>
          <p:cNvGrpSpPr/>
          <p:nvPr/>
        </p:nvGrpSpPr>
        <p:grpSpPr>
          <a:xfrm>
            <a:off x="567899" y="1632385"/>
            <a:ext cx="11053027" cy="706548"/>
            <a:chOff x="579437" y="1781105"/>
            <a:chExt cx="11277600" cy="720903"/>
          </a:xfrm>
        </p:grpSpPr>
        <p:grpSp>
          <p:nvGrpSpPr>
            <p:cNvPr id="101" name="Group 100"/>
            <p:cNvGrpSpPr/>
            <p:nvPr/>
          </p:nvGrpSpPr>
          <p:grpSpPr>
            <a:xfrm>
              <a:off x="579437" y="1781105"/>
              <a:ext cx="11277600" cy="717538"/>
              <a:chOff x="579437" y="-1074737"/>
              <a:chExt cx="11277600" cy="717538"/>
            </a:xfrm>
          </p:grpSpPr>
          <p:sp>
            <p:nvSpPr>
              <p:cNvPr id="102" name="Rectangle 101"/>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1960" b="1" i="0" u="none" strike="noStrike" kern="0" cap="all" spc="0" normalizeH="0" baseline="0" noProof="0" dirty="0">
                  <a:ln>
                    <a:noFill/>
                  </a:ln>
                  <a:solidFill>
                    <a:srgbClr val="00B0F0"/>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03" name="Rectangle 102"/>
              <p:cNvSpPr/>
              <p:nvPr/>
            </p:nvSpPr>
            <p:spPr bwMode="auto">
              <a:xfrm>
                <a:off x="579438" y="-1074737"/>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4" name="Rectangle 103"/>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marL="0" marR="0" lvl="0" indent="0" defTabSz="913916" eaLnBrk="1" fontAlgn="base" latinLnBrk="0" hangingPunct="1">
                  <a:lnSpc>
                    <a:spcPct val="90000"/>
                  </a:lnSpc>
                  <a:spcBef>
                    <a:spcPct val="0"/>
                  </a:spcBef>
                  <a:spcAft>
                    <a:spcPct val="0"/>
                  </a:spcAft>
                  <a:buClrTx/>
                  <a:buSzTx/>
                  <a:buFontTx/>
                  <a:buNone/>
                  <a:tabLst/>
                  <a:defRPr/>
                </a:pPr>
                <a:r>
                  <a:rPr kumimoji="0" lang="en-US" sz="1764" b="1" i="0" u="none" strike="noStrike" kern="0" cap="all" spc="0" normalizeH="0" baseline="0" noProof="0" dirty="0">
                    <a:ln>
                      <a:noFill/>
                    </a:ln>
                    <a:solidFill>
                      <a:srgbClr val="0078D7">
                        <a:lumMod val="40000"/>
                        <a:lumOff val="60000"/>
                      </a:srgbClr>
                    </a:solidFill>
                    <a:effectLst/>
                    <a:uLnTx/>
                    <a:uFillTx/>
                    <a:latin typeface="Segoe UI Semibold" panose="020B0702040204020203" pitchFamily="34" charset="0"/>
                    <a:ea typeface="Segoe UI" pitchFamily="34" charset="0"/>
                    <a:cs typeface="Segoe UI Semibold" panose="020B0702040204020203" pitchFamily="34" charset="0"/>
                  </a:rPr>
                  <a:t>SAAS Solutions</a:t>
                </a:r>
              </a:p>
            </p:txBody>
          </p:sp>
        </p:grpSp>
        <p:grpSp>
          <p:nvGrpSpPr>
            <p:cNvPr id="105" name="Group 104"/>
            <p:cNvGrpSpPr/>
            <p:nvPr/>
          </p:nvGrpSpPr>
          <p:grpSpPr>
            <a:xfrm>
              <a:off x="5007047" y="1810301"/>
              <a:ext cx="6274750" cy="691707"/>
              <a:chOff x="4663445" y="2099949"/>
              <a:chExt cx="6274750" cy="691707"/>
            </a:xfrm>
          </p:grpSpPr>
          <p:grpSp>
            <p:nvGrpSpPr>
              <p:cNvPr id="106" name="Group 105"/>
              <p:cNvGrpSpPr/>
              <p:nvPr/>
            </p:nvGrpSpPr>
            <p:grpSpPr>
              <a:xfrm>
                <a:off x="4663445" y="2231764"/>
                <a:ext cx="6274750" cy="391163"/>
                <a:chOff x="2275217" y="3622867"/>
                <a:chExt cx="7933779" cy="494585"/>
              </a:xfrm>
            </p:grpSpPr>
            <p:pic>
              <p:nvPicPr>
                <p:cNvPr id="108" name="Picture 107"/>
                <p:cNvPicPr>
                  <a:picLocks noChangeAspect="1"/>
                </p:cNvPicPr>
                <p:nvPr/>
              </p:nvPicPr>
              <p:blipFill>
                <a:blip r:embed="rId3">
                  <a:biLevel thresh="25000"/>
                </a:blip>
                <a:stretch>
                  <a:fillRect/>
                </a:stretch>
              </p:blipFill>
              <p:spPr>
                <a:xfrm>
                  <a:off x="2275217" y="3704039"/>
                  <a:ext cx="1869528" cy="413413"/>
                </a:xfrm>
                <a:prstGeom prst="rect">
                  <a:avLst/>
                </a:prstGeom>
              </p:spPr>
            </p:pic>
            <p:pic>
              <p:nvPicPr>
                <p:cNvPr id="109" name="Picture 10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214596" y="3622867"/>
                  <a:ext cx="1994400" cy="481206"/>
                </a:xfrm>
                <a:prstGeom prst="rect">
                  <a:avLst/>
                </a:prstGeom>
              </p:spPr>
            </p:pic>
          </p:grpSp>
          <p:sp>
            <p:nvSpPr>
              <p:cNvPr id="107" name="Rectangle 106"/>
              <p:cNvSpPr/>
              <p:nvPr/>
            </p:nvSpPr>
            <p:spPr bwMode="auto">
              <a:xfrm>
                <a:off x="6516672" y="2099949"/>
                <a:ext cx="2512092" cy="69170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marL="0" marR="0" lvl="0" indent="0" defTabSz="913916" eaLnBrk="1" fontAlgn="base" latinLnBrk="0" hangingPunct="1">
                  <a:lnSpc>
                    <a:spcPct val="90000"/>
                  </a:lnSpc>
                  <a:spcBef>
                    <a:spcPct val="0"/>
                  </a:spcBef>
                  <a:spcAft>
                    <a:spcPct val="0"/>
                  </a:spcAft>
                  <a:buClrTx/>
                  <a:buSzTx/>
                  <a:buFontTx/>
                  <a:buNone/>
                  <a:tabLst/>
                  <a:defRPr/>
                </a:pPr>
                <a:r>
                  <a:rPr kumimoji="0" lang="en-US" sz="1960" b="0" i="0" u="none" strike="noStrike" kern="0" cap="none" spc="0" normalizeH="0" baseline="0" noProof="0" dirty="0">
                    <a:ln>
                      <a:noFill/>
                    </a:ln>
                    <a:solidFill>
                      <a:srgbClr val="FFFFFF"/>
                    </a:solidFill>
                    <a:effectLst/>
                    <a:uLnTx/>
                    <a:uFillTx/>
                    <a:latin typeface="Segoe UI Semilight"/>
                    <a:ea typeface="Segoe UI" pitchFamily="34" charset="0"/>
                    <a:cs typeface="Segoe UI" pitchFamily="34" charset="0"/>
                  </a:rPr>
                  <a:t>Microsoft Dynamics</a:t>
                </a:r>
              </a:p>
            </p:txBody>
          </p:sp>
        </p:grpSp>
      </p:grpSp>
      <p:sp>
        <p:nvSpPr>
          <p:cNvPr id="3" name="Rectangle 2"/>
          <p:cNvSpPr/>
          <p:nvPr/>
        </p:nvSpPr>
        <p:spPr bwMode="auto">
          <a:xfrm>
            <a:off x="439376" y="1632384"/>
            <a:ext cx="11297048" cy="1541281"/>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9" name="Title 1"/>
          <p:cNvSpPr txBox="1">
            <a:spLocks/>
          </p:cNvSpPr>
          <p:nvPr/>
        </p:nvSpPr>
        <p:spPr>
          <a:xfrm>
            <a:off x="418533" y="472595"/>
            <a:ext cx="11426440" cy="899303"/>
          </a:xfrm>
          <a:prstGeom prst="rect">
            <a:avLst/>
          </a:prstGeom>
        </p:spPr>
        <p:txBody>
          <a:bodyPr vert="horz" wrap="square" lIns="143391" tIns="89619" rIns="143391" bIns="89619"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180" rtl="0" eaLnBrk="1" fontAlgn="auto" latinLnBrk="0" hangingPunct="1">
              <a:lnSpc>
                <a:spcPct val="90000"/>
              </a:lnSpc>
              <a:spcBef>
                <a:spcPct val="0"/>
              </a:spcBef>
              <a:spcAft>
                <a:spcPts val="0"/>
              </a:spcAft>
              <a:buClrTx/>
              <a:buSzTx/>
              <a:buFontTx/>
              <a:buNone/>
              <a:tabLst/>
              <a:defRPr/>
            </a:pPr>
            <a:r>
              <a:rPr kumimoji="0" lang="en-US" sz="4901" b="0" i="0" u="none" strike="noStrike" kern="1200" cap="none" spc="-100" normalizeH="0" baseline="0" noProof="0" dirty="0">
                <a:ln w="3175">
                  <a:noFill/>
                </a:ln>
                <a:solidFill>
                  <a:srgbClr val="FFFFFF"/>
                </a:solidFill>
                <a:effectLst/>
                <a:uLnTx/>
                <a:uFillTx/>
                <a:latin typeface="Segoe UI Semibold" panose="020B0702040204020203" pitchFamily="34" charset="0"/>
                <a:ea typeface="+mn-ea"/>
                <a:cs typeface="Segoe UI Semibold" panose="020B0702040204020203" pitchFamily="34" charset="0"/>
              </a:rPr>
              <a:t>Leading</a:t>
            </a:r>
            <a:r>
              <a:rPr kumimoji="0" lang="en-US" sz="4901" b="0" i="0" u="none" strike="noStrike" kern="1200" cap="none" spc="-100" normalizeH="0" baseline="0" noProof="0" dirty="0">
                <a:ln w="3175">
                  <a:noFill/>
                </a:ln>
                <a:solidFill>
                  <a:srgbClr val="FFFFFF"/>
                </a:solidFill>
                <a:effectLst/>
                <a:uLnTx/>
                <a:uFillTx/>
                <a:latin typeface="Segoe UI Light"/>
                <a:ea typeface="+mn-ea"/>
                <a:cs typeface="Segoe UI" pitchFamily="34" charset="0"/>
              </a:rPr>
              <a:t> the journey to the Cloud</a:t>
            </a:r>
          </a:p>
        </p:txBody>
      </p:sp>
      <p:sp>
        <p:nvSpPr>
          <p:cNvPr id="42" name="Rounded Rectangle 41"/>
          <p:cNvSpPr/>
          <p:nvPr/>
        </p:nvSpPr>
        <p:spPr bwMode="auto">
          <a:xfrm>
            <a:off x="439376" y="1972584"/>
            <a:ext cx="11297048" cy="3382213"/>
          </a:xfrm>
          <a:prstGeom prst="roundRect">
            <a:avLst>
              <a:gd name="adj" fmla="val 3048"/>
            </a:avLst>
          </a:prstGeom>
          <a:solidFill>
            <a:srgbClr val="0070C0">
              <a:alpha val="46000"/>
            </a:srgb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6" name="Group 5"/>
          <p:cNvGrpSpPr/>
          <p:nvPr/>
        </p:nvGrpSpPr>
        <p:grpSpPr>
          <a:xfrm>
            <a:off x="567899" y="2355078"/>
            <a:ext cx="11053027" cy="2846605"/>
            <a:chOff x="579437" y="2401520"/>
            <a:chExt cx="11277600" cy="2904442"/>
          </a:xfrm>
        </p:grpSpPr>
        <p:grpSp>
          <p:nvGrpSpPr>
            <p:cNvPr id="48" name="Group 47"/>
            <p:cNvGrpSpPr/>
            <p:nvPr/>
          </p:nvGrpSpPr>
          <p:grpSpPr>
            <a:xfrm>
              <a:off x="579437" y="2401520"/>
              <a:ext cx="11277600" cy="717538"/>
              <a:chOff x="579437" y="-1074737"/>
              <a:chExt cx="11277600" cy="717538"/>
            </a:xfrm>
          </p:grpSpPr>
          <p:sp>
            <p:nvSpPr>
              <p:cNvPr id="49" name="Rectangle 48"/>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1960" b="1" i="0" u="none" strike="noStrike" kern="0" cap="all" spc="0" normalizeH="0" baseline="0" noProof="0" dirty="0">
                  <a:ln>
                    <a:noFill/>
                  </a:ln>
                  <a:solidFill>
                    <a:srgbClr val="00B0F0"/>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50" name="Rectangle 49"/>
              <p:cNvSpPr/>
              <p:nvPr/>
            </p:nvSpPr>
            <p:spPr bwMode="auto">
              <a:xfrm>
                <a:off x="579438" y="-1074737"/>
                <a:ext cx="3657600" cy="717537"/>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1" name="Rectangle 50"/>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r>
                  <a:rPr kumimoji="0" lang="en-US" sz="1960" b="0" i="0" u="none" strike="noStrike" kern="0" cap="none" spc="0" normalizeH="0" baseline="0" noProof="0" dirty="0">
                    <a:ln>
                      <a:noFill/>
                    </a:ln>
                    <a:solidFill>
                      <a:srgbClr val="FFFFFF"/>
                    </a:solidFill>
                    <a:effectLst/>
                    <a:uLnTx/>
                    <a:uFillTx/>
                    <a:latin typeface="Segoe UI Semilight"/>
                    <a:ea typeface="Segoe UI" pitchFamily="34" charset="0"/>
                    <a:cs typeface="Segoe UI" pitchFamily="34" charset="0"/>
                  </a:rPr>
                  <a:t>Visual Studio Family + Azure App Service</a:t>
                </a:r>
              </a:p>
            </p:txBody>
          </p:sp>
          <p:sp>
            <p:nvSpPr>
              <p:cNvPr id="52" name="Rectangle 51"/>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marL="0" marR="0" lvl="0" indent="0" defTabSz="913916" eaLnBrk="1" fontAlgn="base" latinLnBrk="0" hangingPunct="1">
                  <a:lnSpc>
                    <a:spcPct val="90000"/>
                  </a:lnSpc>
                  <a:spcBef>
                    <a:spcPct val="0"/>
                  </a:spcBef>
                  <a:spcAft>
                    <a:spcPct val="0"/>
                  </a:spcAft>
                  <a:buClrTx/>
                  <a:buSzTx/>
                  <a:buFontTx/>
                  <a:buNone/>
                  <a:tabLst/>
                  <a:defRPr/>
                </a:pPr>
                <a:r>
                  <a:rPr kumimoji="0" lang="en-US" sz="1764" b="1" i="0" u="none" strike="noStrike" kern="0" cap="all" spc="0" normalizeH="0" baseline="0" noProof="0" dirty="0">
                    <a:ln>
                      <a:noFill/>
                    </a:ln>
                    <a:solidFill>
                      <a:srgbClr val="0078D7">
                        <a:lumMod val="40000"/>
                        <a:lumOff val="60000"/>
                      </a:srgbClr>
                    </a:solidFill>
                    <a:effectLst/>
                    <a:uLnTx/>
                    <a:uFillTx/>
                    <a:latin typeface="Segoe UI Semibold" panose="020B0702040204020203" pitchFamily="34" charset="0"/>
                    <a:ea typeface="Segoe UI" pitchFamily="34" charset="0"/>
                    <a:cs typeface="Segoe UI Semibold" panose="020B0702040204020203" pitchFamily="34" charset="0"/>
                  </a:rPr>
                  <a:t>Developer + App Platform</a:t>
                </a:r>
              </a:p>
            </p:txBody>
          </p:sp>
        </p:grpSp>
        <p:grpSp>
          <p:nvGrpSpPr>
            <p:cNvPr id="5" name="Group 4"/>
            <p:cNvGrpSpPr/>
            <p:nvPr/>
          </p:nvGrpSpPr>
          <p:grpSpPr>
            <a:xfrm>
              <a:off x="579437" y="3131063"/>
              <a:ext cx="11277600" cy="2174899"/>
              <a:chOff x="579437" y="3131063"/>
              <a:chExt cx="11277600" cy="2174899"/>
            </a:xfrm>
          </p:grpSpPr>
          <p:grpSp>
            <p:nvGrpSpPr>
              <p:cNvPr id="43" name="Group 42"/>
              <p:cNvGrpSpPr/>
              <p:nvPr/>
            </p:nvGrpSpPr>
            <p:grpSpPr>
              <a:xfrm>
                <a:off x="579437" y="4588424"/>
                <a:ext cx="11277600" cy="717538"/>
                <a:chOff x="579437" y="-1079859"/>
                <a:chExt cx="11277600" cy="717538"/>
              </a:xfrm>
            </p:grpSpPr>
            <p:sp>
              <p:nvSpPr>
                <p:cNvPr id="44" name="Rectangle 43"/>
                <p:cNvSpPr/>
                <p:nvPr/>
              </p:nvSpPr>
              <p:spPr bwMode="auto">
                <a:xfrm>
                  <a:off x="579437" y="-1079859"/>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1960" b="1" i="0" u="none" strike="noStrike" kern="0" cap="all" spc="0" normalizeH="0" baseline="0" noProof="0" dirty="0">
                    <a:ln>
                      <a:noFill/>
                    </a:ln>
                    <a:solidFill>
                      <a:srgbClr val="00B0F0"/>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45" name="Rectangle 44"/>
                <p:cNvSpPr/>
                <p:nvPr/>
              </p:nvSpPr>
              <p:spPr bwMode="auto">
                <a:xfrm>
                  <a:off x="579438" y="-1079859"/>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6" name="Rectangle 45"/>
                <p:cNvSpPr/>
                <p:nvPr/>
              </p:nvSpPr>
              <p:spPr bwMode="auto">
                <a:xfrm>
                  <a:off x="4237037" y="-1053261"/>
                  <a:ext cx="762000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r>
                    <a:rPr kumimoji="0" lang="en-US" sz="1960" b="0" i="0" u="none" strike="noStrike" kern="0" cap="none" spc="-49" normalizeH="0" baseline="0" noProof="0" dirty="0">
                      <a:ln>
                        <a:noFill/>
                      </a:ln>
                      <a:solidFill>
                        <a:srgbClr val="FFFFFF"/>
                      </a:solidFill>
                      <a:effectLst/>
                      <a:uLnTx/>
                      <a:uFillTx/>
                      <a:latin typeface="Segoe UI Semilight"/>
                      <a:ea typeface="Segoe UI" pitchFamily="34" charset="0"/>
                      <a:cs typeface="Segoe UI" pitchFamily="34" charset="0"/>
                    </a:rPr>
                    <a:t>Azure + Azure Stack + Operations Management Suite</a:t>
                  </a:r>
                </a:p>
              </p:txBody>
            </p:sp>
            <p:sp>
              <p:nvSpPr>
                <p:cNvPr id="47" name="Rectangle 46"/>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marL="0" marR="0" lvl="0" indent="0" defTabSz="913916" eaLnBrk="1" fontAlgn="base" latinLnBrk="0" hangingPunct="1">
                    <a:lnSpc>
                      <a:spcPct val="90000"/>
                    </a:lnSpc>
                    <a:spcBef>
                      <a:spcPct val="0"/>
                    </a:spcBef>
                    <a:spcAft>
                      <a:spcPct val="0"/>
                    </a:spcAft>
                    <a:buClrTx/>
                    <a:buSzTx/>
                    <a:buFontTx/>
                    <a:buNone/>
                    <a:tabLst/>
                    <a:defRPr/>
                  </a:pPr>
                  <a:r>
                    <a:rPr kumimoji="0" lang="en-US" sz="1764" b="1" i="0" u="none" strike="noStrike" kern="0" cap="all" spc="0" normalizeH="0" baseline="0" noProof="0" dirty="0">
                      <a:ln>
                        <a:noFill/>
                      </a:ln>
                      <a:solidFill>
                        <a:srgbClr val="0078D7">
                          <a:lumMod val="40000"/>
                          <a:lumOff val="60000"/>
                        </a:srgbClr>
                      </a:solidFill>
                      <a:effectLst/>
                      <a:uLnTx/>
                      <a:uFillTx/>
                      <a:latin typeface="Segoe UI Semibold" panose="020B0702040204020203" pitchFamily="34" charset="0"/>
                      <a:ea typeface="Segoe UI" pitchFamily="34" charset="0"/>
                      <a:cs typeface="Segoe UI Semibold" panose="020B0702040204020203" pitchFamily="34" charset="0"/>
                    </a:rPr>
                    <a:t>Cloud Infrastructure</a:t>
                  </a:r>
                </a:p>
              </p:txBody>
            </p:sp>
          </p:grpSp>
          <p:grpSp>
            <p:nvGrpSpPr>
              <p:cNvPr id="53" name="Group 52"/>
              <p:cNvGrpSpPr/>
              <p:nvPr/>
            </p:nvGrpSpPr>
            <p:grpSpPr>
              <a:xfrm>
                <a:off x="579437" y="3131063"/>
                <a:ext cx="11277600" cy="718364"/>
                <a:chOff x="579437" y="-1075563"/>
                <a:chExt cx="11277600" cy="718364"/>
              </a:xfrm>
            </p:grpSpPr>
            <p:sp>
              <p:nvSpPr>
                <p:cNvPr id="54" name="Rectangle 53"/>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1960" b="1" i="0" u="none" strike="noStrike" kern="0" cap="all" spc="0" normalizeH="0" baseline="0" noProof="0" dirty="0">
                    <a:ln>
                      <a:noFill/>
                    </a:ln>
                    <a:solidFill>
                      <a:srgbClr val="00B0F0"/>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55" name="Rectangle 54"/>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6" name="Rectangle 55"/>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r>
                    <a:rPr kumimoji="0" lang="en-US" sz="1960" b="0" i="0" u="none" strike="noStrike" kern="0" cap="none" spc="0" normalizeH="0" baseline="0" noProof="0" dirty="0">
                      <a:ln>
                        <a:noFill/>
                      </a:ln>
                      <a:solidFill>
                        <a:srgbClr val="FFFFFF"/>
                      </a:solidFill>
                      <a:effectLst/>
                      <a:uLnTx/>
                      <a:uFillTx/>
                      <a:latin typeface="Segoe UI Semilight"/>
                      <a:ea typeface="Segoe UI" pitchFamily="34" charset="0"/>
                      <a:cs typeface="Segoe UI" pitchFamily="34" charset="0"/>
                    </a:rPr>
                    <a:t>Cortana Analytics Suite</a:t>
                  </a:r>
                </a:p>
              </p:txBody>
            </p:sp>
            <p:sp>
              <p:nvSpPr>
                <p:cNvPr id="57" name="Rectangle 56"/>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marL="0" marR="0" lvl="0" indent="0" defTabSz="913916" eaLnBrk="1" fontAlgn="base" latinLnBrk="0" hangingPunct="1">
                    <a:lnSpc>
                      <a:spcPct val="90000"/>
                    </a:lnSpc>
                    <a:spcBef>
                      <a:spcPct val="0"/>
                    </a:spcBef>
                    <a:spcAft>
                      <a:spcPct val="0"/>
                    </a:spcAft>
                    <a:buClrTx/>
                    <a:buSzTx/>
                    <a:buFontTx/>
                    <a:buNone/>
                    <a:tabLst/>
                    <a:defRPr/>
                  </a:pPr>
                  <a:r>
                    <a:rPr kumimoji="0" lang="en-US" sz="1764" b="1" i="0" u="none" strike="noStrike" kern="0" cap="all" spc="0" normalizeH="0" baseline="0" noProof="0" dirty="0">
                      <a:ln>
                        <a:noFill/>
                      </a:ln>
                      <a:solidFill>
                        <a:srgbClr val="0078D7">
                          <a:lumMod val="40000"/>
                          <a:lumOff val="60000"/>
                        </a:srgbClr>
                      </a:solidFill>
                      <a:effectLst/>
                      <a:uLnTx/>
                      <a:uFillTx/>
                      <a:latin typeface="Segoe UI Semibold" panose="020B0702040204020203" pitchFamily="34" charset="0"/>
                      <a:ea typeface="Segoe UI" pitchFamily="34" charset="0"/>
                      <a:cs typeface="Segoe UI Semibold" panose="020B0702040204020203" pitchFamily="34" charset="0"/>
                    </a:rPr>
                    <a:t>Data + Analytics</a:t>
                  </a:r>
                </a:p>
              </p:txBody>
            </p:sp>
          </p:grpSp>
          <p:grpSp>
            <p:nvGrpSpPr>
              <p:cNvPr id="58" name="Group 57"/>
              <p:cNvGrpSpPr/>
              <p:nvPr/>
            </p:nvGrpSpPr>
            <p:grpSpPr>
              <a:xfrm>
                <a:off x="579437" y="3856618"/>
                <a:ext cx="11277600" cy="718366"/>
                <a:chOff x="579437" y="-1075565"/>
                <a:chExt cx="11277600" cy="718366"/>
              </a:xfrm>
            </p:grpSpPr>
            <p:sp>
              <p:nvSpPr>
                <p:cNvPr id="59" name="Rectangle 58"/>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1960" b="1" i="0" u="none" strike="noStrike" kern="0" cap="all" spc="0" normalizeH="0" baseline="0" noProof="0" dirty="0">
                    <a:ln>
                      <a:noFill/>
                    </a:ln>
                    <a:solidFill>
                      <a:srgbClr val="00B0F0"/>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60" name="Rectangle 59"/>
                <p:cNvSpPr/>
                <p:nvPr/>
              </p:nvSpPr>
              <p:spPr bwMode="auto">
                <a:xfrm>
                  <a:off x="579438" y="-1075565"/>
                  <a:ext cx="3657600" cy="718365"/>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1" name="Rectangle 60"/>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r>
                    <a:rPr kumimoji="0" lang="en-US" sz="1960" b="0" i="0" u="none" strike="noStrike" kern="0" cap="none" spc="0" normalizeH="0" baseline="0" noProof="0" dirty="0">
                      <a:ln>
                        <a:noFill/>
                      </a:ln>
                      <a:solidFill>
                        <a:srgbClr val="FFFFFF"/>
                      </a:solidFill>
                      <a:effectLst/>
                      <a:uLnTx/>
                      <a:uFillTx/>
                      <a:latin typeface="Segoe UI Semilight"/>
                      <a:ea typeface="Segoe UI" pitchFamily="34" charset="0"/>
                      <a:cs typeface="Segoe UI" pitchFamily="34" charset="0"/>
                    </a:rPr>
                    <a:t>Azure </a:t>
                  </a:r>
                  <a:r>
                    <a:rPr kumimoji="0" lang="en-US" sz="1960" b="0" i="0" u="none" strike="noStrike" kern="0" cap="none" spc="0" normalizeH="0" baseline="0" noProof="0" dirty="0" err="1">
                      <a:ln>
                        <a:noFill/>
                      </a:ln>
                      <a:solidFill>
                        <a:srgbClr val="FFFFFF"/>
                      </a:solidFill>
                      <a:effectLst/>
                      <a:uLnTx/>
                      <a:uFillTx/>
                      <a:latin typeface="Segoe UI Semilight"/>
                      <a:ea typeface="Segoe UI" pitchFamily="34" charset="0"/>
                      <a:cs typeface="Segoe UI" pitchFamily="34" charset="0"/>
                    </a:rPr>
                    <a:t>IoT</a:t>
                  </a:r>
                  <a:r>
                    <a:rPr kumimoji="0" lang="en-US" sz="1960" b="0" i="0" u="none" strike="noStrike" kern="0" cap="none" spc="0" normalizeH="0" baseline="0" noProof="0" dirty="0">
                      <a:ln>
                        <a:noFill/>
                      </a:ln>
                      <a:solidFill>
                        <a:srgbClr val="FFFFFF"/>
                      </a:solidFill>
                      <a:effectLst/>
                      <a:uLnTx/>
                      <a:uFillTx/>
                      <a:latin typeface="Segoe UI Semilight"/>
                      <a:ea typeface="Segoe UI" pitchFamily="34" charset="0"/>
                      <a:cs typeface="Segoe UI" pitchFamily="34" charset="0"/>
                    </a:rPr>
                    <a:t> Suite</a:t>
                  </a:r>
                </a:p>
              </p:txBody>
            </p:sp>
            <p:sp>
              <p:nvSpPr>
                <p:cNvPr id="62" name="Rectangle 61"/>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marL="0" marR="0" lvl="0" indent="0" defTabSz="913916" eaLnBrk="1" fontAlgn="base" latinLnBrk="0" hangingPunct="1">
                    <a:lnSpc>
                      <a:spcPct val="90000"/>
                    </a:lnSpc>
                    <a:spcBef>
                      <a:spcPct val="0"/>
                    </a:spcBef>
                    <a:spcAft>
                      <a:spcPct val="0"/>
                    </a:spcAft>
                    <a:buClrTx/>
                    <a:buSzTx/>
                    <a:buFontTx/>
                    <a:buNone/>
                    <a:tabLst/>
                    <a:defRPr/>
                  </a:pPr>
                  <a:r>
                    <a:rPr kumimoji="0" lang="en-US" sz="1764" b="1" i="0" u="none" strike="noStrike" kern="0" cap="all" spc="0" normalizeH="0" baseline="0" noProof="0" dirty="0">
                      <a:ln>
                        <a:noFill/>
                      </a:ln>
                      <a:solidFill>
                        <a:srgbClr val="0078D7">
                          <a:lumMod val="40000"/>
                          <a:lumOff val="60000"/>
                        </a:srgbClr>
                      </a:solidFill>
                      <a:effectLst/>
                      <a:uLnTx/>
                      <a:uFillTx/>
                      <a:latin typeface="Segoe UI Semibold" panose="020B0702040204020203" pitchFamily="34" charset="0"/>
                      <a:ea typeface="Segoe UI" pitchFamily="34" charset="0"/>
                      <a:cs typeface="Segoe UI Semibold" panose="020B0702040204020203" pitchFamily="34" charset="0"/>
                    </a:rPr>
                    <a:t>Internet of Things</a:t>
                  </a:r>
                </a:p>
              </p:txBody>
            </p:sp>
          </p:grpSp>
        </p:grpSp>
      </p:grpSp>
      <p:sp>
        <p:nvSpPr>
          <p:cNvPr id="63" name="TextBox 62"/>
          <p:cNvSpPr txBox="1"/>
          <p:nvPr/>
        </p:nvSpPr>
        <p:spPr>
          <a:xfrm>
            <a:off x="375192" y="1907141"/>
            <a:ext cx="1813217" cy="533917"/>
          </a:xfrm>
          <a:prstGeom prst="rect">
            <a:avLst/>
          </a:prstGeom>
          <a:noFill/>
        </p:spPr>
        <p:txBody>
          <a:bodyPr wrap="none" lIns="179238" tIns="143391" rIns="179238" bIns="143391" rtlCol="0">
            <a:spAutoFit/>
          </a:bodyPr>
          <a:lstStyle/>
          <a:p>
            <a:pPr marL="0" marR="0" lvl="0" indent="0" defTabSz="896203" eaLnBrk="1" fontAlgn="auto" latinLnBrk="0" hangingPunct="1">
              <a:lnSpc>
                <a:spcPct val="90000"/>
              </a:lnSpc>
              <a:spcBef>
                <a:spcPts val="0"/>
              </a:spcBef>
              <a:spcAft>
                <a:spcPts val="588"/>
              </a:spcAft>
              <a:buClrTx/>
              <a:buSzTx/>
              <a:buFontTx/>
              <a:buNone/>
              <a:tabLst/>
              <a:defRPr/>
            </a:pPr>
            <a:r>
              <a:rPr kumimoji="0" lang="en-US" sz="1764" b="0" i="0" u="none" strike="noStrike" kern="0" cap="none" spc="-98" normalizeH="0" baseline="0" noProof="0" dirty="0">
                <a:ln>
                  <a:noFill/>
                </a:ln>
                <a:gradFill>
                  <a:gsLst>
                    <a:gs pos="2917">
                      <a:schemeClr val="tx1"/>
                    </a:gs>
                    <a:gs pos="30000">
                      <a:schemeClr val="tx1"/>
                    </a:gs>
                  </a:gsLst>
                  <a:lin ang="5400000" scaled="0"/>
                </a:gradFill>
                <a:effectLst/>
                <a:uLnTx/>
                <a:uFillTx/>
                <a:latin typeface="Segoe UI Semibold" panose="020B0702040204020203" pitchFamily="34" charset="0"/>
                <a:cs typeface="Segoe UI Semibold" panose="020B0702040204020203" pitchFamily="34" charset="0"/>
              </a:rPr>
              <a:t>Microsoft Azure</a:t>
            </a:r>
          </a:p>
        </p:txBody>
      </p:sp>
      <p:sp>
        <p:nvSpPr>
          <p:cNvPr id="4" name="TextBox 3"/>
          <p:cNvSpPr txBox="1"/>
          <p:nvPr/>
        </p:nvSpPr>
        <p:spPr>
          <a:xfrm>
            <a:off x="394674" y="405269"/>
            <a:ext cx="3446828" cy="778252"/>
          </a:xfrm>
          <a:prstGeom prst="rect">
            <a:avLst/>
          </a:prstGeom>
          <a:noFill/>
        </p:spPr>
        <p:txBody>
          <a:bodyPr wrap="none" lIns="179238" tIns="143391" rIns="179238" bIns="143391" rtlCol="0">
            <a:spAutoFit/>
          </a:bodyPr>
          <a:lstStyle/>
          <a:p>
            <a:pPr marL="0" marR="0" lvl="0" indent="0" defTabSz="896203" eaLnBrk="1" fontAlgn="auto" latinLnBrk="0" hangingPunct="1">
              <a:lnSpc>
                <a:spcPct val="90000"/>
              </a:lnSpc>
              <a:spcBef>
                <a:spcPts val="0"/>
              </a:spcBef>
              <a:spcAft>
                <a:spcPts val="588"/>
              </a:spcAft>
              <a:buClrTx/>
              <a:buSzTx/>
              <a:buFontTx/>
              <a:buNone/>
              <a:tabLst/>
              <a:defRPr/>
            </a:pPr>
            <a:r>
              <a:rPr kumimoji="0" lang="en-US" sz="3528" b="0" i="0" u="none" strike="noStrike" kern="0" cap="none" spc="-98" normalizeH="0" baseline="0" noProof="0" dirty="0">
                <a:ln>
                  <a:noFill/>
                </a:ln>
                <a:gradFill>
                  <a:gsLst>
                    <a:gs pos="2917">
                      <a:schemeClr val="tx1"/>
                    </a:gs>
                    <a:gs pos="30000">
                      <a:schemeClr val="tx1"/>
                    </a:gs>
                  </a:gsLst>
                  <a:lin ang="5400000" scaled="0"/>
                </a:gradFill>
                <a:effectLst/>
                <a:uLnTx/>
                <a:uFillTx/>
                <a:latin typeface="Segoe UI Semibold" panose="020B0702040204020203" pitchFamily="34" charset="0"/>
                <a:cs typeface="Segoe UI Semibold" panose="020B0702040204020203" pitchFamily="34" charset="0"/>
              </a:rPr>
              <a:t>Microsoft Azure</a:t>
            </a:r>
          </a:p>
        </p:txBody>
      </p:sp>
      <p:grpSp>
        <p:nvGrpSpPr>
          <p:cNvPr id="7" name="Group 6"/>
          <p:cNvGrpSpPr/>
          <p:nvPr/>
        </p:nvGrpSpPr>
        <p:grpSpPr>
          <a:xfrm>
            <a:off x="567899" y="1085311"/>
            <a:ext cx="11053027" cy="3224026"/>
            <a:chOff x="581169" y="-769074"/>
            <a:chExt cx="11277600" cy="2630832"/>
          </a:xfrm>
        </p:grpSpPr>
        <p:sp>
          <p:nvSpPr>
            <p:cNvPr id="64" name="Rectangle 63"/>
            <p:cNvSpPr/>
            <p:nvPr/>
          </p:nvSpPr>
          <p:spPr bwMode="auto">
            <a:xfrm>
              <a:off x="581169" y="-769074"/>
              <a:ext cx="11277600" cy="2630832"/>
            </a:xfrm>
            <a:prstGeom prst="rect">
              <a:avLst/>
            </a:prstGeom>
            <a:solidFill>
              <a:srgbClr val="00B050"/>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1960" b="1" i="0" u="none" strike="noStrike" kern="0" cap="all" spc="0" normalizeH="0" baseline="0" noProof="0" dirty="0">
                <a:ln>
                  <a:noFill/>
                </a:ln>
                <a:solidFill>
                  <a:srgbClr val="00B0F0"/>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65" name="Rectangle 64"/>
            <p:cNvSpPr/>
            <p:nvPr/>
          </p:nvSpPr>
          <p:spPr bwMode="auto">
            <a:xfrm>
              <a:off x="581170" y="-769074"/>
              <a:ext cx="3657600" cy="2630832"/>
            </a:xfrm>
            <a:prstGeom prst="rect">
              <a:avLst/>
            </a:prstGeom>
            <a:solidFill>
              <a:srgbClr val="002050">
                <a:alpha val="1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66" name="Rectangle 65"/>
          <p:cNvSpPr/>
          <p:nvPr/>
        </p:nvSpPr>
        <p:spPr bwMode="auto">
          <a:xfrm>
            <a:off x="563989" y="1146448"/>
            <a:ext cx="3584765" cy="6460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marL="0" marR="0" lvl="0" indent="0" defTabSz="913916" eaLnBrk="1" fontAlgn="base" latinLnBrk="0" hangingPunct="1">
              <a:lnSpc>
                <a:spcPct val="90000"/>
              </a:lnSpc>
              <a:spcBef>
                <a:spcPct val="0"/>
              </a:spcBef>
              <a:spcAft>
                <a:spcPct val="0"/>
              </a:spcAft>
              <a:buClrTx/>
              <a:buSzTx/>
              <a:buFontTx/>
              <a:buNone/>
              <a:tabLst/>
              <a:defRPr/>
            </a:pPr>
            <a:r>
              <a:rPr kumimoji="0" lang="en-US" sz="1764" b="1" i="0" u="none" strike="noStrike" kern="0" cap="all" spc="0" normalizeH="0" baseline="0" noProof="0" dirty="0">
                <a:ln>
                  <a:noFill/>
                </a:ln>
                <a:solidFill>
                  <a:schemeClr val="tx1"/>
                </a:solidFill>
                <a:effectLst/>
                <a:uLnTx/>
                <a:uFillTx/>
                <a:latin typeface="Segoe UI Semibold" panose="020B0702040204020203" pitchFamily="34" charset="0"/>
                <a:ea typeface="Segoe UI" pitchFamily="34" charset="0"/>
                <a:cs typeface="Segoe UI Semibold" panose="020B0702040204020203" pitchFamily="34" charset="0"/>
              </a:rPr>
              <a:t>Developer + App Platform</a:t>
            </a:r>
          </a:p>
        </p:txBody>
      </p:sp>
      <p:grpSp>
        <p:nvGrpSpPr>
          <p:cNvPr id="229" name="Group 228"/>
          <p:cNvGrpSpPr/>
          <p:nvPr/>
        </p:nvGrpSpPr>
        <p:grpSpPr>
          <a:xfrm>
            <a:off x="4239678" y="1222207"/>
            <a:ext cx="1837794" cy="2789587"/>
            <a:chOff x="4325819" y="1245631"/>
            <a:chExt cx="1875134" cy="2846265"/>
          </a:xfrm>
        </p:grpSpPr>
        <p:grpSp>
          <p:nvGrpSpPr>
            <p:cNvPr id="22" name="Group 21"/>
            <p:cNvGrpSpPr/>
            <p:nvPr/>
          </p:nvGrpSpPr>
          <p:grpSpPr>
            <a:xfrm>
              <a:off x="4485486" y="2232635"/>
              <a:ext cx="1715467" cy="447815"/>
              <a:chOff x="9396710" y="7675791"/>
              <a:chExt cx="1715467" cy="447815"/>
            </a:xfrm>
          </p:grpSpPr>
          <p:sp>
            <p:nvSpPr>
              <p:cNvPr id="189" name="Rectangle 188"/>
              <p:cNvSpPr/>
              <p:nvPr/>
            </p:nvSpPr>
            <p:spPr bwMode="auto">
              <a:xfrm>
                <a:off x="9396710" y="7701518"/>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90" name="TextBox 189"/>
              <p:cNvSpPr txBox="1"/>
              <p:nvPr/>
            </p:nvSpPr>
            <p:spPr>
              <a:xfrm>
                <a:off x="9720129" y="7675791"/>
                <a:ext cx="1392048" cy="447815"/>
              </a:xfrm>
              <a:prstGeom prst="rect">
                <a:avLst/>
              </a:prstGeom>
              <a:noFill/>
            </p:spPr>
            <p:txBody>
              <a:bodyPr wrap="none" lIns="179238" tIns="143391" rIns="179238" bIns="143391" rtlCol="0" anchor="ctr">
                <a:spAutoFit/>
              </a:bodyPr>
              <a:lstStyle/>
              <a:p>
                <a:pPr marL="0" marR="0" lvl="0" indent="0" defTabSz="896203" eaLnBrk="1" fontAlgn="auto" latinLnBrk="0" hangingPunct="1">
                  <a:lnSpc>
                    <a:spcPct val="90000"/>
                  </a:lnSpc>
                  <a:spcBef>
                    <a:spcPts val="0"/>
                  </a:spcBef>
                  <a:spcAft>
                    <a:spcPts val="0"/>
                  </a:spcAft>
                  <a:buClrTx/>
                  <a:buSzTx/>
                  <a:buFontTx/>
                  <a:buNone/>
                  <a:tabLst/>
                  <a:defRPr/>
                </a:pPr>
                <a:r>
                  <a:rPr kumimoji="0" lang="en-US" sz="1078" b="0" i="0" u="none" strike="noStrike" kern="0" cap="none" spc="-49" normalizeH="0" baseline="0" noProof="0" dirty="0">
                    <a:ln>
                      <a:noFill/>
                    </a:ln>
                    <a:gradFill>
                      <a:gsLst>
                        <a:gs pos="2917">
                          <a:schemeClr val="tx1"/>
                        </a:gs>
                        <a:gs pos="30000">
                          <a:schemeClr val="tx1"/>
                        </a:gs>
                      </a:gsLst>
                      <a:lin ang="5400000" scaled="0"/>
                    </a:gradFill>
                    <a:effectLst/>
                    <a:uLnTx/>
                    <a:uFillTx/>
                    <a:latin typeface="Segoe UI Semibold" panose="020B0702040204020203" pitchFamily="34" charset="0"/>
                    <a:cs typeface="Segoe UI Semibold" panose="020B0702040204020203" pitchFamily="34" charset="0"/>
                  </a:rPr>
                  <a:t>Notification Hubs</a:t>
                </a:r>
              </a:p>
            </p:txBody>
          </p:sp>
          <p:pic>
            <p:nvPicPr>
              <p:cNvPr id="225" name="Picture 224"/>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9455232" y="7760663"/>
                <a:ext cx="289222" cy="289222"/>
              </a:xfrm>
              <a:prstGeom prst="rect">
                <a:avLst/>
              </a:prstGeom>
              <a:noFill/>
            </p:spPr>
          </p:pic>
        </p:grpSp>
        <p:grpSp>
          <p:nvGrpSpPr>
            <p:cNvPr id="24" name="Group 23"/>
            <p:cNvGrpSpPr/>
            <p:nvPr/>
          </p:nvGrpSpPr>
          <p:grpSpPr>
            <a:xfrm>
              <a:off x="4485486" y="2689847"/>
              <a:ext cx="1712261" cy="447815"/>
              <a:chOff x="9396710" y="7101633"/>
              <a:chExt cx="1712261" cy="447815"/>
            </a:xfrm>
          </p:grpSpPr>
          <p:sp>
            <p:nvSpPr>
              <p:cNvPr id="176" name="Rectangle 175"/>
              <p:cNvSpPr/>
              <p:nvPr/>
            </p:nvSpPr>
            <p:spPr bwMode="auto">
              <a:xfrm>
                <a:off x="9396710" y="7127360"/>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77" name="TextBox 176"/>
              <p:cNvSpPr txBox="1"/>
              <p:nvPr/>
            </p:nvSpPr>
            <p:spPr>
              <a:xfrm>
                <a:off x="9720129" y="7101633"/>
                <a:ext cx="1388842" cy="447815"/>
              </a:xfrm>
              <a:prstGeom prst="rect">
                <a:avLst/>
              </a:prstGeom>
              <a:noFill/>
            </p:spPr>
            <p:txBody>
              <a:bodyPr wrap="none" lIns="179238" tIns="143391" rIns="179238" bIns="143391" rtlCol="0" anchor="ctr">
                <a:spAutoFit/>
              </a:bodyPr>
              <a:lstStyle/>
              <a:p>
                <a:pPr marL="0" marR="0" lvl="0" indent="0" defTabSz="896203" eaLnBrk="1" fontAlgn="auto" latinLnBrk="0" hangingPunct="1">
                  <a:lnSpc>
                    <a:spcPct val="90000"/>
                  </a:lnSpc>
                  <a:spcBef>
                    <a:spcPts val="0"/>
                  </a:spcBef>
                  <a:spcAft>
                    <a:spcPts val="0"/>
                  </a:spcAft>
                  <a:buClrTx/>
                  <a:buSzTx/>
                  <a:buFontTx/>
                  <a:buNone/>
                  <a:tabLst/>
                  <a:defRPr/>
                </a:pPr>
                <a:r>
                  <a:rPr kumimoji="0" lang="en-US" sz="1078" b="0" i="0" u="none" strike="noStrike" kern="0" cap="none" spc="-49" normalizeH="0" baseline="0" noProof="0" dirty="0">
                    <a:ln>
                      <a:noFill/>
                    </a:ln>
                    <a:gradFill>
                      <a:gsLst>
                        <a:gs pos="2917">
                          <a:schemeClr val="tx1"/>
                        </a:gs>
                        <a:gs pos="30000">
                          <a:schemeClr val="tx1"/>
                        </a:gs>
                      </a:gsLst>
                      <a:lin ang="5400000" scaled="0"/>
                    </a:gradFill>
                    <a:effectLst/>
                    <a:uLnTx/>
                    <a:uFillTx/>
                    <a:latin typeface="Segoe UI Semibold" panose="020B0702040204020203" pitchFamily="34" charset="0"/>
                    <a:cs typeface="Segoe UI Semibold" panose="020B0702040204020203" pitchFamily="34" charset="0"/>
                  </a:rPr>
                  <a:t>API Management</a:t>
                </a:r>
              </a:p>
            </p:txBody>
          </p:sp>
          <p:pic>
            <p:nvPicPr>
              <p:cNvPr id="257" name="Picture 256"/>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9452770" y="7184780"/>
                <a:ext cx="266534" cy="266535"/>
              </a:xfrm>
              <a:prstGeom prst="rect">
                <a:avLst/>
              </a:prstGeom>
              <a:noFill/>
            </p:spPr>
          </p:pic>
        </p:grpSp>
        <p:grpSp>
          <p:nvGrpSpPr>
            <p:cNvPr id="10" name="Group 9"/>
            <p:cNvGrpSpPr/>
            <p:nvPr/>
          </p:nvGrpSpPr>
          <p:grpSpPr>
            <a:xfrm>
              <a:off x="4485486" y="3644081"/>
              <a:ext cx="1534328" cy="447815"/>
              <a:chOff x="9945352" y="2501885"/>
              <a:chExt cx="1534328" cy="447815"/>
            </a:xfrm>
          </p:grpSpPr>
          <p:sp>
            <p:nvSpPr>
              <p:cNvPr id="178" name="Rectangle 177"/>
              <p:cNvSpPr/>
              <p:nvPr/>
            </p:nvSpPr>
            <p:spPr bwMode="auto">
              <a:xfrm>
                <a:off x="9945352" y="2527612"/>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79" name="TextBox 178"/>
              <p:cNvSpPr txBox="1"/>
              <p:nvPr/>
            </p:nvSpPr>
            <p:spPr>
              <a:xfrm>
                <a:off x="10268771" y="2501885"/>
                <a:ext cx="1210909" cy="447815"/>
              </a:xfrm>
              <a:prstGeom prst="rect">
                <a:avLst/>
              </a:prstGeom>
              <a:noFill/>
            </p:spPr>
            <p:txBody>
              <a:bodyPr wrap="none" lIns="179238" tIns="143391" rIns="179238" bIns="143391" rtlCol="0" anchor="ctr">
                <a:spAutoFit/>
              </a:bodyPr>
              <a:lstStyle/>
              <a:p>
                <a:pPr marL="0" marR="0" lvl="0" indent="0" defTabSz="896203" eaLnBrk="1" fontAlgn="auto" latinLnBrk="0" hangingPunct="1">
                  <a:lnSpc>
                    <a:spcPct val="90000"/>
                  </a:lnSpc>
                  <a:spcBef>
                    <a:spcPts val="0"/>
                  </a:spcBef>
                  <a:spcAft>
                    <a:spcPts val="0"/>
                  </a:spcAft>
                  <a:buClrTx/>
                  <a:buSzTx/>
                  <a:buFontTx/>
                  <a:buNone/>
                  <a:tabLst/>
                  <a:defRPr/>
                </a:pPr>
                <a:r>
                  <a:rPr kumimoji="0" lang="en-US" sz="1078" b="0" i="0" u="none" strike="noStrike" kern="0" cap="none" spc="-49" normalizeH="0" baseline="0" noProof="0" dirty="0">
                    <a:ln>
                      <a:noFill/>
                    </a:ln>
                    <a:gradFill>
                      <a:gsLst>
                        <a:gs pos="2917">
                          <a:schemeClr val="tx1"/>
                        </a:gs>
                        <a:gs pos="30000">
                          <a:schemeClr val="tx1"/>
                        </a:gs>
                      </a:gsLst>
                      <a:lin ang="5400000" scaled="0"/>
                    </a:gradFill>
                    <a:effectLst/>
                    <a:uLnTx/>
                    <a:uFillTx/>
                    <a:latin typeface="Segoe UI Semibold" panose="020B0702040204020203" pitchFamily="34" charset="0"/>
                    <a:cs typeface="Segoe UI Semibold" panose="020B0702040204020203" pitchFamily="34" charset="0"/>
                  </a:rPr>
                  <a:t>Cloud Services</a:t>
                </a:r>
              </a:p>
            </p:txBody>
          </p:sp>
          <p:pic>
            <p:nvPicPr>
              <p:cNvPr id="260" name="Picture 259"/>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9996502" y="2579644"/>
                <a:ext cx="289761" cy="289760"/>
              </a:xfrm>
              <a:prstGeom prst="rect">
                <a:avLst/>
              </a:prstGeom>
              <a:noFill/>
            </p:spPr>
          </p:pic>
        </p:grpSp>
        <p:grpSp>
          <p:nvGrpSpPr>
            <p:cNvPr id="11" name="Group 10"/>
            <p:cNvGrpSpPr/>
            <p:nvPr/>
          </p:nvGrpSpPr>
          <p:grpSpPr>
            <a:xfrm>
              <a:off x="4485486" y="3157706"/>
              <a:ext cx="1481428" cy="447815"/>
              <a:chOff x="9945352" y="1927727"/>
              <a:chExt cx="1481428" cy="447815"/>
            </a:xfrm>
          </p:grpSpPr>
          <p:sp>
            <p:nvSpPr>
              <p:cNvPr id="165" name="Rectangle 164"/>
              <p:cNvSpPr/>
              <p:nvPr/>
            </p:nvSpPr>
            <p:spPr bwMode="auto">
              <a:xfrm>
                <a:off x="9945352" y="1953454"/>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66" name="TextBox 165"/>
              <p:cNvSpPr txBox="1"/>
              <p:nvPr/>
            </p:nvSpPr>
            <p:spPr>
              <a:xfrm>
                <a:off x="10268771" y="1927727"/>
                <a:ext cx="1158009" cy="447815"/>
              </a:xfrm>
              <a:prstGeom prst="rect">
                <a:avLst/>
              </a:prstGeom>
              <a:noFill/>
            </p:spPr>
            <p:txBody>
              <a:bodyPr wrap="none" lIns="179238" tIns="143391" rIns="179238" bIns="143391" rtlCol="0" anchor="ctr">
                <a:spAutoFit/>
              </a:bodyPr>
              <a:lstStyle/>
              <a:p>
                <a:pPr marL="0" marR="0" lvl="0" indent="0" defTabSz="896203" eaLnBrk="1" fontAlgn="auto" latinLnBrk="0" hangingPunct="1">
                  <a:lnSpc>
                    <a:spcPct val="90000"/>
                  </a:lnSpc>
                  <a:spcBef>
                    <a:spcPts val="0"/>
                  </a:spcBef>
                  <a:spcAft>
                    <a:spcPts val="0"/>
                  </a:spcAft>
                  <a:buClrTx/>
                  <a:buSzTx/>
                  <a:buFontTx/>
                  <a:buNone/>
                  <a:tabLst/>
                  <a:defRPr/>
                </a:pPr>
                <a:r>
                  <a:rPr kumimoji="0" lang="en-US" sz="1078" b="0" i="0" u="none" strike="noStrike" kern="0" cap="none" spc="-49" normalizeH="0" baseline="0" noProof="0" dirty="0">
                    <a:ln>
                      <a:noFill/>
                    </a:ln>
                    <a:gradFill>
                      <a:gsLst>
                        <a:gs pos="2917">
                          <a:schemeClr val="tx1"/>
                        </a:gs>
                        <a:gs pos="30000">
                          <a:schemeClr val="tx1"/>
                        </a:gs>
                      </a:gsLst>
                      <a:lin ang="5400000" scaled="0"/>
                    </a:gradFill>
                    <a:effectLst/>
                    <a:uLnTx/>
                    <a:uFillTx/>
                    <a:latin typeface="Segoe UI Semibold" panose="020B0702040204020203" pitchFamily="34" charset="0"/>
                    <a:cs typeface="Segoe UI Semibold" panose="020B0702040204020203" pitchFamily="34" charset="0"/>
                  </a:rPr>
                  <a:t>Service Fabric</a:t>
                </a:r>
              </a:p>
            </p:txBody>
          </p:sp>
          <p:sp>
            <p:nvSpPr>
              <p:cNvPr id="268" name="Freeform 267"/>
              <p:cNvSpPr/>
              <p:nvPr/>
            </p:nvSpPr>
            <p:spPr bwMode="auto">
              <a:xfrm>
                <a:off x="9996144" y="2006207"/>
                <a:ext cx="282401" cy="271425"/>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marL="0" marR="0" lvl="0" indent="0" algn="ctr" defTabSz="913740" eaLnBrk="1" fontAlgn="auto" latinLnBrk="0" hangingPunct="1">
                  <a:lnSpc>
                    <a:spcPct val="90000"/>
                  </a:lnSpc>
                  <a:spcBef>
                    <a:spcPts val="0"/>
                  </a:spcBef>
                  <a:spcAft>
                    <a:spcPts val="0"/>
                  </a:spcAft>
                  <a:buClrTx/>
                  <a:buSzTx/>
                  <a:buFontTx/>
                  <a:buNone/>
                  <a:tabLst/>
                  <a:defRPr/>
                </a:pPr>
                <a:endParaRPr kumimoji="0" lang="en-US" sz="1764" b="1" i="0" u="none" strike="noStrike" kern="0" cap="none" spc="0" normalizeH="0" baseline="0" noProof="0" dirty="0">
                  <a:ln>
                    <a:noFill/>
                  </a:ln>
                  <a:solidFill>
                    <a:prstClr val="white"/>
                  </a:solidFill>
                  <a:effectLst/>
                  <a:uLnTx/>
                  <a:uFillTx/>
                  <a:latin typeface="Calibri Light" panose="020F0302020204030204"/>
                  <a:ea typeface="Segoe UI" pitchFamily="34" charset="0"/>
                  <a:cs typeface="Segoe UI" pitchFamily="34" charset="0"/>
                </a:endParaRPr>
              </a:p>
            </p:txBody>
          </p:sp>
        </p:grpSp>
        <p:grpSp>
          <p:nvGrpSpPr>
            <p:cNvPr id="9" name="Group 8"/>
            <p:cNvGrpSpPr/>
            <p:nvPr/>
          </p:nvGrpSpPr>
          <p:grpSpPr>
            <a:xfrm>
              <a:off x="4485486" y="1772804"/>
              <a:ext cx="1380440" cy="447815"/>
              <a:chOff x="4413164" y="1353569"/>
              <a:chExt cx="1380440" cy="447815"/>
            </a:xfrm>
          </p:grpSpPr>
          <p:sp>
            <p:nvSpPr>
              <p:cNvPr id="86" name="Rectangle 85"/>
              <p:cNvSpPr/>
              <p:nvPr/>
            </p:nvSpPr>
            <p:spPr bwMode="auto">
              <a:xfrm>
                <a:off x="4413164" y="1379296"/>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7" name="TextBox 86"/>
              <p:cNvSpPr txBox="1"/>
              <p:nvPr/>
            </p:nvSpPr>
            <p:spPr>
              <a:xfrm>
                <a:off x="4736583" y="1353569"/>
                <a:ext cx="1057021" cy="447815"/>
              </a:xfrm>
              <a:prstGeom prst="rect">
                <a:avLst/>
              </a:prstGeom>
              <a:noFill/>
            </p:spPr>
            <p:txBody>
              <a:bodyPr wrap="none" lIns="179238" tIns="143391" rIns="179238" bIns="143391" rtlCol="0" anchor="ctr">
                <a:spAutoFit/>
              </a:bodyPr>
              <a:lstStyle/>
              <a:p>
                <a:pPr marL="0" marR="0" lvl="0" indent="0" defTabSz="896203" eaLnBrk="1" fontAlgn="auto" latinLnBrk="0" hangingPunct="1">
                  <a:lnSpc>
                    <a:spcPct val="90000"/>
                  </a:lnSpc>
                  <a:spcBef>
                    <a:spcPts val="0"/>
                  </a:spcBef>
                  <a:spcAft>
                    <a:spcPts val="0"/>
                  </a:spcAft>
                  <a:buClrTx/>
                  <a:buSzTx/>
                  <a:buFontTx/>
                  <a:buNone/>
                  <a:tabLst/>
                  <a:defRPr/>
                </a:pPr>
                <a:r>
                  <a:rPr kumimoji="0" lang="en-US" sz="1078" b="0" i="0" u="none" strike="noStrike" kern="0" cap="none" spc="-49" normalizeH="0" baseline="0" noProof="0" dirty="0">
                    <a:ln>
                      <a:noFill/>
                    </a:ln>
                    <a:gradFill>
                      <a:gsLst>
                        <a:gs pos="2917">
                          <a:schemeClr val="tx1"/>
                        </a:gs>
                        <a:gs pos="30000">
                          <a:schemeClr val="tx1"/>
                        </a:gs>
                      </a:gsLst>
                      <a:lin ang="5400000" scaled="0"/>
                    </a:gradFill>
                    <a:effectLst/>
                    <a:uLnTx/>
                    <a:uFillTx/>
                    <a:latin typeface="Segoe UI Semibold" panose="020B0702040204020203" pitchFamily="34" charset="0"/>
                    <a:cs typeface="Segoe UI Semibold" panose="020B0702040204020203" pitchFamily="34" charset="0"/>
                  </a:rPr>
                  <a:t>App Service</a:t>
                </a:r>
              </a:p>
            </p:txBody>
          </p:sp>
          <p:pic>
            <p:nvPicPr>
              <p:cNvPr id="114" name="Picture 113"/>
              <p:cNvPicPr>
                <a:picLocks noChangeAspect="1"/>
              </p:cNvPicPr>
              <p:nvPr/>
            </p:nvPicPr>
            <p:blipFill>
              <a:blip r:embed="rId8"/>
              <a:stretch>
                <a:fillRect/>
              </a:stretch>
            </p:blipFill>
            <p:spPr>
              <a:xfrm>
                <a:off x="4486323" y="1442435"/>
                <a:ext cx="254575" cy="254074"/>
              </a:xfrm>
              <a:prstGeom prst="rect">
                <a:avLst/>
              </a:prstGeom>
            </p:spPr>
          </p:pic>
        </p:grpSp>
        <p:grpSp>
          <p:nvGrpSpPr>
            <p:cNvPr id="123" name="Group 122"/>
            <p:cNvGrpSpPr/>
            <p:nvPr/>
          </p:nvGrpSpPr>
          <p:grpSpPr>
            <a:xfrm>
              <a:off x="4325819" y="1245631"/>
              <a:ext cx="1847696" cy="433965"/>
              <a:chOff x="4325819" y="3441704"/>
              <a:chExt cx="1847696" cy="433965"/>
            </a:xfrm>
          </p:grpSpPr>
          <p:sp>
            <p:nvSpPr>
              <p:cNvPr id="124" name="TextBox 123"/>
              <p:cNvSpPr txBox="1"/>
              <p:nvPr/>
            </p:nvSpPr>
            <p:spPr>
              <a:xfrm>
                <a:off x="4325819" y="3441704"/>
                <a:ext cx="1610056" cy="433965"/>
              </a:xfrm>
              <a:prstGeom prst="rect">
                <a:avLst/>
              </a:prstGeom>
              <a:noFill/>
            </p:spPr>
            <p:txBody>
              <a:bodyPr wrap="none" lIns="179238" tIns="143391" rIns="179238" bIns="143391" rtlCol="0">
                <a:spAutoFit/>
              </a:bodyPr>
              <a:lstStyle/>
              <a:p>
                <a:pPr marL="0" marR="0" lvl="0" indent="0" defTabSz="896203"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dirty="0">
                    <a:ln>
                      <a:noFill/>
                    </a:ln>
                    <a:gradFill>
                      <a:gsLst>
                        <a:gs pos="2917">
                          <a:schemeClr val="tx1"/>
                        </a:gs>
                        <a:gs pos="30000">
                          <a:schemeClr val="tx1"/>
                        </a:gs>
                      </a:gsLst>
                      <a:lin ang="5400000" scaled="0"/>
                    </a:gradFill>
                    <a:effectLst/>
                    <a:uLnTx/>
                    <a:uFillTx/>
                  </a:rPr>
                  <a:t>App Platform Services</a:t>
                </a:r>
              </a:p>
            </p:txBody>
          </p:sp>
          <p:cxnSp>
            <p:nvCxnSpPr>
              <p:cNvPr id="125" name="Straight Connector 124"/>
              <p:cNvCxnSpPr/>
              <p:nvPr/>
            </p:nvCxnSpPr>
            <p:spPr>
              <a:xfrm>
                <a:off x="4495192" y="3850155"/>
                <a:ext cx="1678323"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31" name="Group 230"/>
          <p:cNvGrpSpPr/>
          <p:nvPr/>
        </p:nvGrpSpPr>
        <p:grpSpPr>
          <a:xfrm>
            <a:off x="6074738" y="1222206"/>
            <a:ext cx="1789564" cy="2312897"/>
            <a:chOff x="6198163" y="1245631"/>
            <a:chExt cx="1825924" cy="2359890"/>
          </a:xfrm>
        </p:grpSpPr>
        <p:grpSp>
          <p:nvGrpSpPr>
            <p:cNvPr id="224" name="Group 223"/>
            <p:cNvGrpSpPr/>
            <p:nvPr/>
          </p:nvGrpSpPr>
          <p:grpSpPr>
            <a:xfrm>
              <a:off x="6346253" y="2238541"/>
              <a:ext cx="1595242" cy="447815"/>
              <a:chOff x="6961352" y="8249949"/>
              <a:chExt cx="1595242" cy="447815"/>
            </a:xfrm>
          </p:grpSpPr>
          <p:sp>
            <p:nvSpPr>
              <p:cNvPr id="200" name="Rectangle 199"/>
              <p:cNvSpPr/>
              <p:nvPr/>
            </p:nvSpPr>
            <p:spPr bwMode="auto">
              <a:xfrm>
                <a:off x="6961352" y="8275676"/>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01" name="TextBox 200"/>
              <p:cNvSpPr txBox="1"/>
              <p:nvPr/>
            </p:nvSpPr>
            <p:spPr>
              <a:xfrm>
                <a:off x="7284771" y="8249949"/>
                <a:ext cx="1271823" cy="447815"/>
              </a:xfrm>
              <a:prstGeom prst="rect">
                <a:avLst/>
              </a:prstGeom>
              <a:noFill/>
            </p:spPr>
            <p:txBody>
              <a:bodyPr wrap="none" lIns="179238" tIns="143391" rIns="179238" bIns="143391" rtlCol="0" anchor="ctr">
                <a:spAutoFit/>
              </a:bodyPr>
              <a:lstStyle/>
              <a:p>
                <a:pPr marL="0" marR="0" lvl="0" indent="0" defTabSz="896203" eaLnBrk="1" fontAlgn="auto" latinLnBrk="0" hangingPunct="1">
                  <a:lnSpc>
                    <a:spcPct val="90000"/>
                  </a:lnSpc>
                  <a:spcBef>
                    <a:spcPts val="0"/>
                  </a:spcBef>
                  <a:spcAft>
                    <a:spcPts val="0"/>
                  </a:spcAft>
                  <a:buClrTx/>
                  <a:buSzTx/>
                  <a:buFontTx/>
                  <a:buNone/>
                  <a:tabLst/>
                  <a:defRPr/>
                </a:pPr>
                <a:r>
                  <a:rPr kumimoji="0" lang="en-US" sz="1078" b="0" i="0" u="none" strike="noStrike" kern="0" cap="none" spc="-49" normalizeH="0" baseline="0" noProof="0" dirty="0">
                    <a:ln>
                      <a:noFill/>
                    </a:ln>
                    <a:gradFill>
                      <a:gsLst>
                        <a:gs pos="2917">
                          <a:schemeClr val="tx1"/>
                        </a:gs>
                        <a:gs pos="30000">
                          <a:schemeClr val="tx1"/>
                        </a:gs>
                      </a:gsLst>
                      <a:lin ang="5400000" scaled="0"/>
                    </a:gradFill>
                    <a:effectLst/>
                    <a:uLnTx/>
                    <a:uFillTx/>
                    <a:latin typeface="Segoe UI Semibold" panose="020B0702040204020203" pitchFamily="34" charset="0"/>
                    <a:cs typeface="Segoe UI Semibold" panose="020B0702040204020203" pitchFamily="34" charset="0"/>
                  </a:rPr>
                  <a:t>BizTalk Services</a:t>
                </a:r>
              </a:p>
            </p:txBody>
          </p:sp>
          <p:pic>
            <p:nvPicPr>
              <p:cNvPr id="235" name="Picture 234" descr="BizTalk Services.png"/>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7012247" y="8312418"/>
                <a:ext cx="293772" cy="293772"/>
              </a:xfrm>
              <a:prstGeom prst="rect">
                <a:avLst/>
              </a:prstGeom>
              <a:noFill/>
            </p:spPr>
          </p:pic>
        </p:grpSp>
        <p:grpSp>
          <p:nvGrpSpPr>
            <p:cNvPr id="31" name="Group 30"/>
            <p:cNvGrpSpPr/>
            <p:nvPr/>
          </p:nvGrpSpPr>
          <p:grpSpPr>
            <a:xfrm>
              <a:off x="6346253" y="1772804"/>
              <a:ext cx="1624096" cy="447815"/>
              <a:chOff x="6961352" y="7675791"/>
              <a:chExt cx="1624096" cy="447815"/>
            </a:xfrm>
          </p:grpSpPr>
          <p:sp>
            <p:nvSpPr>
              <p:cNvPr id="187" name="Rectangle 186"/>
              <p:cNvSpPr/>
              <p:nvPr/>
            </p:nvSpPr>
            <p:spPr bwMode="auto">
              <a:xfrm>
                <a:off x="6961352" y="7701518"/>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88" name="TextBox 187"/>
              <p:cNvSpPr txBox="1"/>
              <p:nvPr/>
            </p:nvSpPr>
            <p:spPr>
              <a:xfrm>
                <a:off x="7284771" y="7675791"/>
                <a:ext cx="1300677" cy="447815"/>
              </a:xfrm>
              <a:prstGeom prst="rect">
                <a:avLst/>
              </a:prstGeom>
              <a:noFill/>
            </p:spPr>
            <p:txBody>
              <a:bodyPr wrap="none" lIns="179238" tIns="143391" rIns="179238" bIns="143391" rtlCol="0" anchor="ctr">
                <a:spAutoFit/>
              </a:bodyPr>
              <a:lstStyle/>
              <a:p>
                <a:pPr marL="0" marR="0" lvl="0" indent="0" defTabSz="896203" eaLnBrk="1" fontAlgn="auto" latinLnBrk="0" hangingPunct="1">
                  <a:lnSpc>
                    <a:spcPct val="90000"/>
                  </a:lnSpc>
                  <a:spcBef>
                    <a:spcPts val="0"/>
                  </a:spcBef>
                  <a:spcAft>
                    <a:spcPts val="0"/>
                  </a:spcAft>
                  <a:buClrTx/>
                  <a:buSzTx/>
                  <a:buFontTx/>
                  <a:buNone/>
                  <a:tabLst/>
                  <a:defRPr/>
                </a:pPr>
                <a:r>
                  <a:rPr kumimoji="0" lang="en-US" sz="1078" b="0" i="0" u="none" strike="noStrike" kern="0" cap="none" spc="-49" normalizeH="0" baseline="0" noProof="0" dirty="0">
                    <a:ln>
                      <a:noFill/>
                    </a:ln>
                    <a:gradFill>
                      <a:gsLst>
                        <a:gs pos="2917">
                          <a:schemeClr val="tx1"/>
                        </a:gs>
                        <a:gs pos="30000">
                          <a:schemeClr val="tx1"/>
                        </a:gs>
                      </a:gsLst>
                      <a:lin ang="5400000" scaled="0"/>
                    </a:gradFill>
                    <a:effectLst/>
                    <a:uLnTx/>
                    <a:uFillTx/>
                    <a:latin typeface="Segoe UI Semibold" panose="020B0702040204020203" pitchFamily="34" charset="0"/>
                    <a:cs typeface="Segoe UI Semibold" panose="020B0702040204020203" pitchFamily="34" charset="0"/>
                  </a:rPr>
                  <a:t>Storage Queues</a:t>
                </a:r>
              </a:p>
            </p:txBody>
          </p:sp>
          <p:pic>
            <p:nvPicPr>
              <p:cNvPr id="243" name="Picture 242" descr="Storage queue.png"/>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7012247" y="7744881"/>
                <a:ext cx="292579" cy="292579"/>
              </a:xfrm>
              <a:prstGeom prst="rect">
                <a:avLst/>
              </a:prstGeom>
              <a:noFill/>
            </p:spPr>
          </p:pic>
        </p:grpSp>
        <p:grpSp>
          <p:nvGrpSpPr>
            <p:cNvPr id="12" name="Group 11"/>
            <p:cNvGrpSpPr/>
            <p:nvPr/>
          </p:nvGrpSpPr>
          <p:grpSpPr>
            <a:xfrm>
              <a:off x="6346253" y="2609275"/>
              <a:ext cx="1415706" cy="600164"/>
              <a:chOff x="9945352" y="1277395"/>
              <a:chExt cx="1415706" cy="600164"/>
            </a:xfrm>
          </p:grpSpPr>
          <p:sp>
            <p:nvSpPr>
              <p:cNvPr id="77" name="Rectangle 76"/>
              <p:cNvSpPr/>
              <p:nvPr/>
            </p:nvSpPr>
            <p:spPr bwMode="auto">
              <a:xfrm>
                <a:off x="9945352" y="1379296"/>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8" name="TextBox 77"/>
              <p:cNvSpPr txBox="1"/>
              <p:nvPr/>
            </p:nvSpPr>
            <p:spPr>
              <a:xfrm>
                <a:off x="10268771" y="1277395"/>
                <a:ext cx="1092287" cy="600164"/>
              </a:xfrm>
              <a:prstGeom prst="rect">
                <a:avLst/>
              </a:prstGeom>
              <a:noFill/>
            </p:spPr>
            <p:txBody>
              <a:bodyPr wrap="none" lIns="179238" tIns="143391" rIns="179238" bIns="143391" rtlCol="0" anchor="ctr">
                <a:spAutoFit/>
              </a:bodyPr>
              <a:lstStyle/>
              <a:p>
                <a:pPr marL="0" marR="0" lvl="0" indent="0" defTabSz="896203" eaLnBrk="1" fontAlgn="auto" latinLnBrk="0" hangingPunct="1">
                  <a:lnSpc>
                    <a:spcPct val="90000"/>
                  </a:lnSpc>
                  <a:spcBef>
                    <a:spcPts val="0"/>
                  </a:spcBef>
                  <a:spcAft>
                    <a:spcPts val="0"/>
                  </a:spcAft>
                  <a:buClrTx/>
                  <a:buSzTx/>
                  <a:buFontTx/>
                  <a:buNone/>
                  <a:tabLst/>
                  <a:defRPr/>
                </a:pPr>
                <a:r>
                  <a:rPr kumimoji="0" lang="en-US" sz="1078" b="0" i="0" u="none" strike="noStrike" kern="0" cap="none" spc="-49" normalizeH="0" baseline="0" noProof="0" dirty="0">
                    <a:ln>
                      <a:noFill/>
                    </a:ln>
                    <a:gradFill>
                      <a:gsLst>
                        <a:gs pos="2917">
                          <a:schemeClr val="tx1"/>
                        </a:gs>
                        <a:gs pos="30000">
                          <a:schemeClr val="tx1"/>
                        </a:gs>
                      </a:gsLst>
                      <a:lin ang="5400000" scaled="0"/>
                    </a:gradFill>
                    <a:effectLst/>
                    <a:uLnTx/>
                    <a:uFillTx/>
                    <a:latin typeface="Segoe UI Semibold" panose="020B0702040204020203" pitchFamily="34" charset="0"/>
                    <a:cs typeface="Segoe UI Semibold" panose="020B0702040204020203" pitchFamily="34" charset="0"/>
                  </a:rPr>
                  <a:t>Hybrid </a:t>
                </a:r>
                <a:br>
                  <a:rPr kumimoji="0" lang="en-US" sz="1078" b="0" i="0" u="none" strike="noStrike" kern="0" cap="none" spc="-49" normalizeH="0" baseline="0" noProof="0" dirty="0">
                    <a:ln>
                      <a:noFill/>
                    </a:ln>
                    <a:gradFill>
                      <a:gsLst>
                        <a:gs pos="2917">
                          <a:schemeClr val="tx1"/>
                        </a:gs>
                        <a:gs pos="30000">
                          <a:schemeClr val="tx1"/>
                        </a:gs>
                      </a:gsLst>
                      <a:lin ang="5400000" scaled="0"/>
                    </a:gradFill>
                    <a:effectLst/>
                    <a:uLnTx/>
                    <a:uFillTx/>
                    <a:latin typeface="Segoe UI Semibold" panose="020B0702040204020203" pitchFamily="34" charset="0"/>
                    <a:cs typeface="Segoe UI Semibold" panose="020B0702040204020203" pitchFamily="34" charset="0"/>
                  </a:rPr>
                </a:br>
                <a:r>
                  <a:rPr kumimoji="0" lang="en-US" sz="1078" b="0" i="0" u="none" strike="noStrike" kern="0" cap="none" spc="-49" normalizeH="0" baseline="0" noProof="0" dirty="0">
                    <a:ln>
                      <a:noFill/>
                    </a:ln>
                    <a:gradFill>
                      <a:gsLst>
                        <a:gs pos="2917">
                          <a:schemeClr val="tx1"/>
                        </a:gs>
                        <a:gs pos="30000">
                          <a:schemeClr val="tx1"/>
                        </a:gs>
                      </a:gsLst>
                      <a:lin ang="5400000" scaled="0"/>
                    </a:gradFill>
                    <a:effectLst/>
                    <a:uLnTx/>
                    <a:uFillTx/>
                    <a:latin typeface="Segoe UI Semibold" panose="020B0702040204020203" pitchFamily="34" charset="0"/>
                    <a:cs typeface="Segoe UI Semibold" panose="020B0702040204020203" pitchFamily="34" charset="0"/>
                  </a:rPr>
                  <a:t>Connections</a:t>
                </a:r>
              </a:p>
            </p:txBody>
          </p:sp>
          <p:pic>
            <p:nvPicPr>
              <p:cNvPr id="238" name="Picture 237" descr="Hybrid Connections (BizTalk).png"/>
              <p:cNvPicPr>
                <a:picLocks noChangeAspect="1"/>
              </p:cNvPicPr>
              <p:nvPr/>
            </p:nvPicPr>
            <p:blipFill>
              <a:blip r:embed="rId11" cstate="print">
                <a:biLevel thresh="25000"/>
                <a:extLst>
                  <a:ext uri="{28A0092B-C50C-407E-A947-70E740481C1C}">
                    <a14:useLocalDpi xmlns:a14="http://schemas.microsoft.com/office/drawing/2010/main" val="0"/>
                  </a:ext>
                </a:extLst>
              </a:blip>
              <a:stretch>
                <a:fillRect/>
              </a:stretch>
            </p:blipFill>
            <p:spPr>
              <a:xfrm>
                <a:off x="9996144" y="1406444"/>
                <a:ext cx="292084" cy="292083"/>
              </a:xfrm>
              <a:prstGeom prst="rect">
                <a:avLst/>
              </a:prstGeom>
              <a:noFill/>
            </p:spPr>
          </p:pic>
        </p:grpSp>
        <p:grpSp>
          <p:nvGrpSpPr>
            <p:cNvPr id="227" name="Group 226"/>
            <p:cNvGrpSpPr/>
            <p:nvPr/>
          </p:nvGrpSpPr>
          <p:grpSpPr>
            <a:xfrm>
              <a:off x="6346253" y="3157706"/>
              <a:ext cx="1343570" cy="447815"/>
              <a:chOff x="4531206" y="8249949"/>
              <a:chExt cx="1343570" cy="447815"/>
            </a:xfrm>
          </p:grpSpPr>
          <p:sp>
            <p:nvSpPr>
              <p:cNvPr id="198" name="Rectangle 197"/>
              <p:cNvSpPr/>
              <p:nvPr/>
            </p:nvSpPr>
            <p:spPr bwMode="auto">
              <a:xfrm>
                <a:off x="4531206" y="8275676"/>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99" name="TextBox 198"/>
              <p:cNvSpPr txBox="1"/>
              <p:nvPr/>
            </p:nvSpPr>
            <p:spPr>
              <a:xfrm>
                <a:off x="4854625" y="8249949"/>
                <a:ext cx="1020151" cy="447815"/>
              </a:xfrm>
              <a:prstGeom prst="rect">
                <a:avLst/>
              </a:prstGeom>
              <a:noFill/>
            </p:spPr>
            <p:txBody>
              <a:bodyPr wrap="none" lIns="179238" tIns="143391" rIns="179238" bIns="143391" rtlCol="0" anchor="ctr">
                <a:spAutoFit/>
              </a:bodyPr>
              <a:lstStyle/>
              <a:p>
                <a:pPr marL="0" marR="0" lvl="0" indent="0" defTabSz="896203" eaLnBrk="1" fontAlgn="auto" latinLnBrk="0" hangingPunct="1">
                  <a:lnSpc>
                    <a:spcPct val="90000"/>
                  </a:lnSpc>
                  <a:spcBef>
                    <a:spcPts val="0"/>
                  </a:spcBef>
                  <a:spcAft>
                    <a:spcPts val="0"/>
                  </a:spcAft>
                  <a:buClrTx/>
                  <a:buSzTx/>
                  <a:buFontTx/>
                  <a:buNone/>
                  <a:tabLst/>
                  <a:defRPr/>
                </a:pPr>
                <a:r>
                  <a:rPr kumimoji="0" lang="en-US" sz="1078" b="0" i="0" u="none" strike="noStrike" kern="0" cap="none" spc="-49" normalizeH="0" baseline="0" noProof="0" dirty="0">
                    <a:ln>
                      <a:noFill/>
                    </a:ln>
                    <a:gradFill>
                      <a:gsLst>
                        <a:gs pos="2917">
                          <a:schemeClr val="tx1"/>
                        </a:gs>
                        <a:gs pos="30000">
                          <a:schemeClr val="tx1"/>
                        </a:gs>
                      </a:gsLst>
                      <a:lin ang="5400000" scaled="0"/>
                    </a:gradFill>
                    <a:effectLst/>
                    <a:uLnTx/>
                    <a:uFillTx/>
                    <a:latin typeface="Segoe UI Semibold" panose="020B0702040204020203" pitchFamily="34" charset="0"/>
                    <a:cs typeface="Segoe UI Semibold" panose="020B0702040204020203" pitchFamily="34" charset="0"/>
                  </a:rPr>
                  <a:t>Service Bus</a:t>
                </a:r>
              </a:p>
            </p:txBody>
          </p:sp>
          <p:pic>
            <p:nvPicPr>
              <p:cNvPr id="240" name="Picture 239" descr="Service Bus.png"/>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4589629" y="8333721"/>
                <a:ext cx="292344" cy="292344"/>
              </a:xfrm>
              <a:prstGeom prst="rect">
                <a:avLst/>
              </a:prstGeom>
              <a:noFill/>
            </p:spPr>
          </p:pic>
        </p:grpSp>
        <p:grpSp>
          <p:nvGrpSpPr>
            <p:cNvPr id="126" name="Group 125"/>
            <p:cNvGrpSpPr/>
            <p:nvPr/>
          </p:nvGrpSpPr>
          <p:grpSpPr>
            <a:xfrm>
              <a:off x="6198163" y="1245631"/>
              <a:ext cx="1825924" cy="433965"/>
              <a:chOff x="6198163" y="3441704"/>
              <a:chExt cx="1825924" cy="433965"/>
            </a:xfrm>
          </p:grpSpPr>
          <p:sp>
            <p:nvSpPr>
              <p:cNvPr id="127" name="TextBox 126"/>
              <p:cNvSpPr txBox="1"/>
              <p:nvPr/>
            </p:nvSpPr>
            <p:spPr>
              <a:xfrm>
                <a:off x="6198163" y="3441704"/>
                <a:ext cx="992901" cy="433965"/>
              </a:xfrm>
              <a:prstGeom prst="rect">
                <a:avLst/>
              </a:prstGeom>
              <a:noFill/>
            </p:spPr>
            <p:txBody>
              <a:bodyPr wrap="none" lIns="179238" tIns="143391" rIns="179238" bIns="143391" rtlCol="0">
                <a:spAutoFit/>
              </a:bodyPr>
              <a:lstStyle/>
              <a:p>
                <a:pPr marL="0" marR="0" lvl="0" indent="0" defTabSz="896203"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dirty="0">
                    <a:ln>
                      <a:noFill/>
                    </a:ln>
                    <a:gradFill>
                      <a:gsLst>
                        <a:gs pos="2917">
                          <a:schemeClr val="tx1"/>
                        </a:gs>
                        <a:gs pos="30000">
                          <a:schemeClr val="tx1"/>
                        </a:gs>
                      </a:gsLst>
                      <a:lin ang="5400000" scaled="0"/>
                    </a:gradFill>
                    <a:effectLst/>
                    <a:uLnTx/>
                    <a:uFillTx/>
                  </a:rPr>
                  <a:t>Integration</a:t>
                </a:r>
              </a:p>
            </p:txBody>
          </p:sp>
          <p:cxnSp>
            <p:nvCxnSpPr>
              <p:cNvPr id="128" name="Straight Connector 127"/>
              <p:cNvCxnSpPr/>
              <p:nvPr/>
            </p:nvCxnSpPr>
            <p:spPr>
              <a:xfrm>
                <a:off x="6345764" y="3850155"/>
                <a:ext cx="1678323"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33" name="Group 232"/>
          <p:cNvGrpSpPr/>
          <p:nvPr/>
        </p:nvGrpSpPr>
        <p:grpSpPr>
          <a:xfrm>
            <a:off x="7867121" y="1222207"/>
            <a:ext cx="1988372" cy="2315681"/>
            <a:chOff x="8026963" y="1245631"/>
            <a:chExt cx="2028771" cy="2362731"/>
          </a:xfrm>
        </p:grpSpPr>
        <p:grpSp>
          <p:nvGrpSpPr>
            <p:cNvPr id="23" name="Group 22"/>
            <p:cNvGrpSpPr/>
            <p:nvPr/>
          </p:nvGrpSpPr>
          <p:grpSpPr>
            <a:xfrm>
              <a:off x="8197599" y="3160547"/>
              <a:ext cx="1308304" cy="447815"/>
              <a:chOff x="9396710" y="8249949"/>
              <a:chExt cx="1308304" cy="447815"/>
            </a:xfrm>
          </p:grpSpPr>
          <p:sp>
            <p:nvSpPr>
              <p:cNvPr id="202" name="Rectangle 201"/>
              <p:cNvSpPr/>
              <p:nvPr/>
            </p:nvSpPr>
            <p:spPr bwMode="auto">
              <a:xfrm>
                <a:off x="9396710" y="8275676"/>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03" name="TextBox 202"/>
              <p:cNvSpPr txBox="1"/>
              <p:nvPr/>
            </p:nvSpPr>
            <p:spPr>
              <a:xfrm>
                <a:off x="9720129" y="8249949"/>
                <a:ext cx="984885" cy="447815"/>
              </a:xfrm>
              <a:prstGeom prst="rect">
                <a:avLst/>
              </a:prstGeom>
              <a:noFill/>
            </p:spPr>
            <p:txBody>
              <a:bodyPr wrap="none" lIns="179238" tIns="143391" rIns="179238" bIns="143391" rtlCol="0" anchor="ctr">
                <a:spAutoFit/>
              </a:bodyPr>
              <a:lstStyle/>
              <a:p>
                <a:pPr marL="0" marR="0" lvl="0" indent="0" defTabSz="896203" eaLnBrk="1" fontAlgn="auto" latinLnBrk="0" hangingPunct="1">
                  <a:lnSpc>
                    <a:spcPct val="90000"/>
                  </a:lnSpc>
                  <a:spcBef>
                    <a:spcPts val="0"/>
                  </a:spcBef>
                  <a:spcAft>
                    <a:spcPts val="0"/>
                  </a:spcAft>
                  <a:buClrTx/>
                  <a:buSzTx/>
                  <a:buFontTx/>
                  <a:buNone/>
                  <a:tabLst/>
                  <a:defRPr/>
                </a:pPr>
                <a:r>
                  <a:rPr kumimoji="0" lang="en-US" sz="1078" b="0" i="0" u="none" strike="noStrike" kern="0" cap="none" spc="-49" normalizeH="0" baseline="0" noProof="0" dirty="0">
                    <a:ln>
                      <a:noFill/>
                    </a:ln>
                    <a:gradFill>
                      <a:gsLst>
                        <a:gs pos="2917">
                          <a:schemeClr val="tx1"/>
                        </a:gs>
                        <a:gs pos="30000">
                          <a:schemeClr val="tx1"/>
                        </a:gs>
                      </a:gsLst>
                      <a:lin ang="5400000" scaled="0"/>
                    </a:gradFill>
                    <a:effectLst/>
                    <a:uLnTx/>
                    <a:uFillTx/>
                    <a:latin typeface="Segoe UI Semibold" panose="020B0702040204020203" pitchFamily="34" charset="0"/>
                    <a:cs typeface="Segoe UI Semibold" panose="020B0702040204020203" pitchFamily="34" charset="0"/>
                  </a:rPr>
                  <a:t>Azure SDK</a:t>
                </a:r>
              </a:p>
            </p:txBody>
          </p:sp>
          <p:pic>
            <p:nvPicPr>
              <p:cNvPr id="249" name="Picture 248"/>
              <p:cNvPicPr>
                <a:picLocks noChangeAspect="1"/>
              </p:cNvPicPr>
              <p:nvPr/>
            </p:nvPicPr>
            <p:blipFill>
              <a:blip r:embed="rId13" cstate="print">
                <a:biLevel thresh="25000"/>
                <a:extLst>
                  <a:ext uri="{28A0092B-C50C-407E-A947-70E740481C1C}">
                    <a14:useLocalDpi xmlns:a14="http://schemas.microsoft.com/office/drawing/2010/main" val="0"/>
                  </a:ext>
                </a:extLst>
              </a:blip>
              <a:stretch>
                <a:fillRect/>
              </a:stretch>
            </p:blipFill>
            <p:spPr>
              <a:xfrm>
                <a:off x="9452424" y="8321304"/>
                <a:ext cx="279457" cy="279457"/>
              </a:xfrm>
              <a:prstGeom prst="rect">
                <a:avLst/>
              </a:prstGeom>
              <a:noFill/>
            </p:spPr>
          </p:pic>
        </p:grpSp>
        <p:grpSp>
          <p:nvGrpSpPr>
            <p:cNvPr id="25" name="Group 24"/>
            <p:cNvGrpSpPr/>
            <p:nvPr/>
          </p:nvGrpSpPr>
          <p:grpSpPr>
            <a:xfrm>
              <a:off x="8197599" y="2694491"/>
              <a:ext cx="1835692" cy="447815"/>
              <a:chOff x="9396710" y="6527475"/>
              <a:chExt cx="1835692" cy="447815"/>
            </a:xfrm>
          </p:grpSpPr>
          <p:sp>
            <p:nvSpPr>
              <p:cNvPr id="163" name="Rectangle 162"/>
              <p:cNvSpPr/>
              <p:nvPr/>
            </p:nvSpPr>
            <p:spPr bwMode="auto">
              <a:xfrm>
                <a:off x="9396710" y="6553202"/>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64" name="TextBox 163"/>
              <p:cNvSpPr txBox="1"/>
              <p:nvPr/>
            </p:nvSpPr>
            <p:spPr>
              <a:xfrm>
                <a:off x="9720129" y="6527475"/>
                <a:ext cx="1512273" cy="447815"/>
              </a:xfrm>
              <a:prstGeom prst="rect">
                <a:avLst/>
              </a:prstGeom>
              <a:noFill/>
            </p:spPr>
            <p:txBody>
              <a:bodyPr wrap="none" lIns="179238" tIns="143391" rIns="179238" bIns="143391" rtlCol="0" anchor="ctr">
                <a:spAutoFit/>
              </a:bodyPr>
              <a:lstStyle/>
              <a:p>
                <a:pPr marL="0" marR="0" lvl="0" indent="0" defTabSz="896203" eaLnBrk="1" fontAlgn="auto" latinLnBrk="0" hangingPunct="1">
                  <a:lnSpc>
                    <a:spcPct val="90000"/>
                  </a:lnSpc>
                  <a:spcBef>
                    <a:spcPts val="0"/>
                  </a:spcBef>
                  <a:spcAft>
                    <a:spcPts val="0"/>
                  </a:spcAft>
                  <a:buClrTx/>
                  <a:buSzTx/>
                  <a:buFontTx/>
                  <a:buNone/>
                  <a:tabLst/>
                  <a:defRPr/>
                </a:pPr>
                <a:r>
                  <a:rPr kumimoji="0" lang="en-US" sz="1078" b="0" i="0" u="none" strike="noStrike" kern="0" cap="none" spc="-49" normalizeH="0" baseline="0" noProof="0" dirty="0">
                    <a:ln>
                      <a:noFill/>
                    </a:ln>
                    <a:gradFill>
                      <a:gsLst>
                        <a:gs pos="2917">
                          <a:schemeClr val="tx1"/>
                        </a:gs>
                        <a:gs pos="30000">
                          <a:schemeClr val="tx1"/>
                        </a:gs>
                      </a:gsLst>
                      <a:lin ang="5400000" scaled="0"/>
                    </a:gradFill>
                    <a:effectLst/>
                    <a:uLnTx/>
                    <a:uFillTx/>
                    <a:latin typeface="Segoe UI Semibold" panose="020B0702040204020203" pitchFamily="34" charset="0"/>
                    <a:cs typeface="Segoe UI Semibold" panose="020B0702040204020203" pitchFamily="34" charset="0"/>
                  </a:rPr>
                  <a:t>Application Insights</a:t>
                </a:r>
              </a:p>
            </p:txBody>
          </p:sp>
          <p:pic>
            <p:nvPicPr>
              <p:cNvPr id="252" name="Picture 251" descr="Application Insights.png"/>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9453760" y="6606657"/>
                <a:ext cx="264554" cy="264554"/>
              </a:xfrm>
              <a:prstGeom prst="rect">
                <a:avLst/>
              </a:prstGeom>
              <a:noFill/>
            </p:spPr>
          </p:pic>
        </p:grpSp>
        <p:grpSp>
          <p:nvGrpSpPr>
            <p:cNvPr id="27" name="Group 26"/>
            <p:cNvGrpSpPr/>
            <p:nvPr/>
          </p:nvGrpSpPr>
          <p:grpSpPr>
            <a:xfrm>
              <a:off x="8197599" y="1770846"/>
              <a:ext cx="1444560" cy="447815"/>
              <a:chOff x="6961352" y="5953317"/>
              <a:chExt cx="1444560" cy="447815"/>
            </a:xfrm>
          </p:grpSpPr>
          <p:sp>
            <p:nvSpPr>
              <p:cNvPr id="83" name="Rectangle 82"/>
              <p:cNvSpPr/>
              <p:nvPr/>
            </p:nvSpPr>
            <p:spPr bwMode="auto">
              <a:xfrm>
                <a:off x="6961352" y="5979044"/>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4" name="TextBox 83"/>
              <p:cNvSpPr txBox="1"/>
              <p:nvPr/>
            </p:nvSpPr>
            <p:spPr>
              <a:xfrm>
                <a:off x="7284771" y="5953317"/>
                <a:ext cx="1121141" cy="447815"/>
              </a:xfrm>
              <a:prstGeom prst="rect">
                <a:avLst/>
              </a:prstGeom>
              <a:noFill/>
            </p:spPr>
            <p:txBody>
              <a:bodyPr wrap="none" lIns="179238" tIns="143391" rIns="179238" bIns="143391" rtlCol="0" anchor="ctr">
                <a:spAutoFit/>
              </a:bodyPr>
              <a:lstStyle/>
              <a:p>
                <a:pPr marL="0" marR="0" lvl="0" indent="0" defTabSz="896203" eaLnBrk="1" fontAlgn="auto" latinLnBrk="0" hangingPunct="1">
                  <a:lnSpc>
                    <a:spcPct val="90000"/>
                  </a:lnSpc>
                  <a:spcBef>
                    <a:spcPts val="0"/>
                  </a:spcBef>
                  <a:spcAft>
                    <a:spcPts val="0"/>
                  </a:spcAft>
                  <a:buClrTx/>
                  <a:buSzTx/>
                  <a:buFontTx/>
                  <a:buNone/>
                  <a:tabLst/>
                  <a:defRPr/>
                </a:pPr>
                <a:r>
                  <a:rPr kumimoji="0" lang="en-US" sz="1078" b="0" i="0" u="none" strike="noStrike" kern="0" cap="none" spc="-49" normalizeH="0" baseline="0" noProof="0" dirty="0">
                    <a:ln>
                      <a:noFill/>
                    </a:ln>
                    <a:gradFill>
                      <a:gsLst>
                        <a:gs pos="2917">
                          <a:schemeClr val="tx1"/>
                        </a:gs>
                        <a:gs pos="30000">
                          <a:schemeClr val="tx1"/>
                        </a:gs>
                      </a:gsLst>
                      <a:lin ang="5400000" scaled="0"/>
                    </a:gradFill>
                    <a:effectLst/>
                    <a:uLnTx/>
                    <a:uFillTx/>
                    <a:latin typeface="Segoe UI Semibold" panose="020B0702040204020203" pitchFamily="34" charset="0"/>
                    <a:cs typeface="Segoe UI Semibold" panose="020B0702040204020203" pitchFamily="34" charset="0"/>
                  </a:rPr>
                  <a:t>Visual Studio</a:t>
                </a:r>
              </a:p>
            </p:txBody>
          </p:sp>
          <p:pic>
            <p:nvPicPr>
              <p:cNvPr id="254" name="Picture 253" descr="Visual Studio Online.png"/>
              <p:cNvPicPr>
                <a:picLocks noChangeAspect="1"/>
              </p:cNvPicPr>
              <p:nvPr/>
            </p:nvPicPr>
            <p:blipFill>
              <a:blip r:embed="rId15" cstate="print">
                <a:biLevel thresh="25000"/>
                <a:extLst>
                  <a:ext uri="{28A0092B-C50C-407E-A947-70E740481C1C}">
                    <a14:useLocalDpi xmlns:a14="http://schemas.microsoft.com/office/drawing/2010/main" val="0"/>
                  </a:ext>
                </a:extLst>
              </a:blip>
              <a:stretch>
                <a:fillRect/>
              </a:stretch>
            </p:blipFill>
            <p:spPr>
              <a:xfrm>
                <a:off x="7034267" y="6045002"/>
                <a:ext cx="231225" cy="231225"/>
              </a:xfrm>
              <a:prstGeom prst="rect">
                <a:avLst/>
              </a:prstGeom>
              <a:noFill/>
            </p:spPr>
          </p:pic>
        </p:grpSp>
        <p:grpSp>
          <p:nvGrpSpPr>
            <p:cNvPr id="29" name="Group 28"/>
            <p:cNvGrpSpPr/>
            <p:nvPr/>
          </p:nvGrpSpPr>
          <p:grpSpPr>
            <a:xfrm>
              <a:off x="8197599" y="2233592"/>
              <a:ext cx="1858135" cy="447815"/>
              <a:chOff x="6961352" y="6527475"/>
              <a:chExt cx="1858135" cy="447815"/>
            </a:xfrm>
          </p:grpSpPr>
          <p:sp>
            <p:nvSpPr>
              <p:cNvPr id="162" name="TextBox 161"/>
              <p:cNvSpPr txBox="1"/>
              <p:nvPr/>
            </p:nvSpPr>
            <p:spPr>
              <a:xfrm>
                <a:off x="7284771" y="6527475"/>
                <a:ext cx="1534716" cy="447815"/>
              </a:xfrm>
              <a:prstGeom prst="rect">
                <a:avLst/>
              </a:prstGeom>
              <a:noFill/>
            </p:spPr>
            <p:txBody>
              <a:bodyPr wrap="none" lIns="179238" tIns="143391" rIns="179238" bIns="143391" rtlCol="0" anchor="ctr">
                <a:spAutoFit/>
              </a:bodyPr>
              <a:lstStyle/>
              <a:p>
                <a:pPr marL="0" marR="0" lvl="0" indent="0" defTabSz="896203" eaLnBrk="1" fontAlgn="auto" latinLnBrk="0" hangingPunct="1">
                  <a:lnSpc>
                    <a:spcPct val="90000"/>
                  </a:lnSpc>
                  <a:spcBef>
                    <a:spcPts val="0"/>
                  </a:spcBef>
                  <a:spcAft>
                    <a:spcPts val="0"/>
                  </a:spcAft>
                  <a:buClrTx/>
                  <a:buSzTx/>
                  <a:buFontTx/>
                  <a:buNone/>
                  <a:tabLst/>
                  <a:defRPr/>
                </a:pPr>
                <a:r>
                  <a:rPr kumimoji="0" lang="en-US" sz="1078" b="0" i="0" u="none" strike="noStrike" kern="0" cap="none" spc="-49" normalizeH="0" baseline="0" noProof="0" dirty="0">
                    <a:ln>
                      <a:noFill/>
                    </a:ln>
                    <a:gradFill>
                      <a:gsLst>
                        <a:gs pos="2917">
                          <a:schemeClr val="tx1"/>
                        </a:gs>
                        <a:gs pos="30000">
                          <a:schemeClr val="tx1"/>
                        </a:gs>
                      </a:gsLst>
                      <a:lin ang="5400000" scaled="0"/>
                    </a:gradFill>
                    <a:effectLst/>
                    <a:uLnTx/>
                    <a:uFillTx/>
                    <a:latin typeface="Segoe UI Semibold" panose="020B0702040204020203" pitchFamily="34" charset="0"/>
                    <a:cs typeface="Segoe UI Semibold" panose="020B0702040204020203" pitchFamily="34" charset="0"/>
                  </a:rPr>
                  <a:t>Visual Studio Online</a:t>
                </a:r>
              </a:p>
            </p:txBody>
          </p:sp>
          <p:grpSp>
            <p:nvGrpSpPr>
              <p:cNvPr id="28" name="Group 27"/>
              <p:cNvGrpSpPr/>
              <p:nvPr/>
            </p:nvGrpSpPr>
            <p:grpSpPr>
              <a:xfrm>
                <a:off x="6961352" y="6553202"/>
                <a:ext cx="390887" cy="390887"/>
                <a:chOff x="6961352" y="6553202"/>
                <a:chExt cx="390887" cy="390887"/>
              </a:xfrm>
            </p:grpSpPr>
            <p:sp>
              <p:nvSpPr>
                <p:cNvPr id="161" name="Rectangle 160"/>
                <p:cNvSpPr/>
                <p:nvPr/>
              </p:nvSpPr>
              <p:spPr bwMode="auto">
                <a:xfrm>
                  <a:off x="6961352" y="6553202"/>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396" name="Picture 395" descr="Visual Studio Online.png"/>
                <p:cNvPicPr>
                  <a:picLocks noChangeAspect="1"/>
                </p:cNvPicPr>
                <p:nvPr/>
              </p:nvPicPr>
              <p:blipFill>
                <a:blip r:embed="rId15" cstate="print">
                  <a:biLevel thresh="25000"/>
                  <a:extLst>
                    <a:ext uri="{28A0092B-C50C-407E-A947-70E740481C1C}">
                      <a14:useLocalDpi xmlns:a14="http://schemas.microsoft.com/office/drawing/2010/main" val="0"/>
                    </a:ext>
                  </a:extLst>
                </a:blip>
                <a:stretch>
                  <a:fillRect/>
                </a:stretch>
              </p:blipFill>
              <p:spPr>
                <a:xfrm>
                  <a:off x="7034267" y="6632232"/>
                  <a:ext cx="231225" cy="231225"/>
                </a:xfrm>
                <a:prstGeom prst="rect">
                  <a:avLst/>
                </a:prstGeom>
                <a:noFill/>
              </p:spPr>
            </p:pic>
          </p:grpSp>
        </p:grpSp>
        <p:grpSp>
          <p:nvGrpSpPr>
            <p:cNvPr id="129" name="Group 128"/>
            <p:cNvGrpSpPr/>
            <p:nvPr/>
          </p:nvGrpSpPr>
          <p:grpSpPr>
            <a:xfrm>
              <a:off x="8026963" y="1245631"/>
              <a:ext cx="1847696" cy="433965"/>
              <a:chOff x="8026963" y="3441704"/>
              <a:chExt cx="1847696" cy="433965"/>
            </a:xfrm>
          </p:grpSpPr>
          <p:sp>
            <p:nvSpPr>
              <p:cNvPr id="130" name="TextBox 129"/>
              <p:cNvSpPr txBox="1"/>
              <p:nvPr/>
            </p:nvSpPr>
            <p:spPr>
              <a:xfrm>
                <a:off x="8026963" y="3441704"/>
                <a:ext cx="1467389" cy="433965"/>
              </a:xfrm>
              <a:prstGeom prst="rect">
                <a:avLst/>
              </a:prstGeom>
              <a:noFill/>
            </p:spPr>
            <p:txBody>
              <a:bodyPr wrap="none" lIns="179238" tIns="143391" rIns="179238" bIns="143391" rtlCol="0">
                <a:spAutoFit/>
              </a:bodyPr>
              <a:lstStyle/>
              <a:p>
                <a:pPr marL="0" marR="0" lvl="0" indent="0" defTabSz="896203"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dirty="0">
                    <a:ln>
                      <a:noFill/>
                    </a:ln>
                    <a:gradFill>
                      <a:gsLst>
                        <a:gs pos="2917">
                          <a:schemeClr val="tx1"/>
                        </a:gs>
                        <a:gs pos="30000">
                          <a:schemeClr val="tx1"/>
                        </a:gs>
                      </a:gsLst>
                      <a:lin ang="5400000" scaled="0"/>
                    </a:gradFill>
                    <a:effectLst/>
                    <a:uLnTx/>
                    <a:uFillTx/>
                  </a:rPr>
                  <a:t>Development Tools</a:t>
                </a:r>
              </a:p>
            </p:txBody>
          </p:sp>
          <p:cxnSp>
            <p:nvCxnSpPr>
              <p:cNvPr id="131" name="Straight Connector 130"/>
              <p:cNvCxnSpPr/>
              <p:nvPr/>
            </p:nvCxnSpPr>
            <p:spPr>
              <a:xfrm>
                <a:off x="8196336" y="3850155"/>
                <a:ext cx="1678323"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34" name="Group 233"/>
          <p:cNvGrpSpPr/>
          <p:nvPr/>
        </p:nvGrpSpPr>
        <p:grpSpPr>
          <a:xfrm>
            <a:off x="9659503" y="1222207"/>
            <a:ext cx="2493584" cy="1407186"/>
            <a:chOff x="9855763" y="1245631"/>
            <a:chExt cx="2544248" cy="1435777"/>
          </a:xfrm>
        </p:grpSpPr>
        <p:grpSp>
          <p:nvGrpSpPr>
            <p:cNvPr id="26" name="Group 25"/>
            <p:cNvGrpSpPr/>
            <p:nvPr/>
          </p:nvGrpSpPr>
          <p:grpSpPr>
            <a:xfrm>
              <a:off x="10040150" y="1693802"/>
              <a:ext cx="2359861" cy="600164"/>
              <a:chOff x="9396710" y="5877143"/>
              <a:chExt cx="2359861" cy="600164"/>
            </a:xfrm>
          </p:grpSpPr>
          <p:sp>
            <p:nvSpPr>
              <p:cNvPr id="80" name="Rectangle 79"/>
              <p:cNvSpPr/>
              <p:nvPr/>
            </p:nvSpPr>
            <p:spPr bwMode="auto">
              <a:xfrm>
                <a:off x="9396710" y="5979044"/>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1" name="TextBox 80"/>
              <p:cNvSpPr txBox="1"/>
              <p:nvPr/>
            </p:nvSpPr>
            <p:spPr>
              <a:xfrm>
                <a:off x="9720129" y="5877143"/>
                <a:ext cx="2036442" cy="600164"/>
              </a:xfrm>
              <a:prstGeom prst="rect">
                <a:avLst/>
              </a:prstGeom>
              <a:noFill/>
            </p:spPr>
            <p:txBody>
              <a:bodyPr wrap="square" lIns="179238" tIns="143391" rIns="179238" bIns="143391" rtlCol="0" anchor="ctr">
                <a:spAutoFit/>
              </a:bodyPr>
              <a:lstStyle/>
              <a:p>
                <a:pPr marL="0" marR="0" lvl="0" indent="0" defTabSz="896203" eaLnBrk="1" fontAlgn="auto" latinLnBrk="0" hangingPunct="1">
                  <a:lnSpc>
                    <a:spcPct val="90000"/>
                  </a:lnSpc>
                  <a:spcBef>
                    <a:spcPts val="0"/>
                  </a:spcBef>
                  <a:spcAft>
                    <a:spcPts val="0"/>
                  </a:spcAft>
                  <a:buClrTx/>
                  <a:buSzTx/>
                  <a:buFontTx/>
                  <a:buNone/>
                  <a:tabLst/>
                  <a:defRPr/>
                </a:pPr>
                <a:r>
                  <a:rPr kumimoji="0" lang="en-US" sz="1078" b="0" i="0" u="none" strike="noStrike" kern="0" cap="none" spc="-49" normalizeH="0" baseline="0" noProof="0" dirty="0">
                    <a:ln>
                      <a:noFill/>
                    </a:ln>
                    <a:gradFill>
                      <a:gsLst>
                        <a:gs pos="2917">
                          <a:schemeClr val="tx1"/>
                        </a:gs>
                        <a:gs pos="30000">
                          <a:schemeClr val="tx1"/>
                        </a:gs>
                      </a:gsLst>
                      <a:lin ang="5400000" scaled="0"/>
                    </a:gradFill>
                    <a:effectLst/>
                    <a:uLnTx/>
                    <a:uFillTx/>
                    <a:latin typeface="Segoe UI Semibold" panose="020B0702040204020203" pitchFamily="34" charset="0"/>
                    <a:cs typeface="Segoe UI Semibold" panose="020B0702040204020203" pitchFamily="34" charset="0"/>
                  </a:rPr>
                  <a:t>Content Delivery </a:t>
                </a:r>
                <a:br>
                  <a:rPr kumimoji="0" lang="en-US" sz="1078" b="0" i="0" u="none" strike="noStrike" kern="0" cap="none" spc="-49" normalizeH="0" baseline="0" noProof="0" dirty="0">
                    <a:ln>
                      <a:noFill/>
                    </a:ln>
                    <a:gradFill>
                      <a:gsLst>
                        <a:gs pos="2917">
                          <a:schemeClr val="tx1"/>
                        </a:gs>
                        <a:gs pos="30000">
                          <a:schemeClr val="tx1"/>
                        </a:gs>
                      </a:gsLst>
                      <a:lin ang="5400000" scaled="0"/>
                    </a:gradFill>
                    <a:effectLst/>
                    <a:uLnTx/>
                    <a:uFillTx/>
                    <a:latin typeface="Segoe UI Semibold" panose="020B0702040204020203" pitchFamily="34" charset="0"/>
                    <a:cs typeface="Segoe UI Semibold" panose="020B0702040204020203" pitchFamily="34" charset="0"/>
                  </a:rPr>
                </a:br>
                <a:r>
                  <a:rPr kumimoji="0" lang="en-US" sz="1078" b="0" i="0" u="none" strike="noStrike" kern="0" cap="none" spc="-49" normalizeH="0" baseline="0" noProof="0" dirty="0">
                    <a:ln>
                      <a:noFill/>
                    </a:ln>
                    <a:gradFill>
                      <a:gsLst>
                        <a:gs pos="2917">
                          <a:schemeClr val="tx1"/>
                        </a:gs>
                        <a:gs pos="30000">
                          <a:schemeClr val="tx1"/>
                        </a:gs>
                      </a:gsLst>
                      <a:lin ang="5400000" scaled="0"/>
                    </a:gradFill>
                    <a:effectLst/>
                    <a:uLnTx/>
                    <a:uFillTx/>
                    <a:latin typeface="Segoe UI Semibold" panose="020B0702040204020203" pitchFamily="34" charset="0"/>
                    <a:cs typeface="Segoe UI Semibold" panose="020B0702040204020203" pitchFamily="34" charset="0"/>
                  </a:rPr>
                  <a:t>Network</a:t>
                </a:r>
              </a:p>
            </p:txBody>
          </p:sp>
          <p:pic>
            <p:nvPicPr>
              <p:cNvPr id="232" name="Picture 231" descr="Content Delivery Network (CDN).png"/>
              <p:cNvPicPr>
                <a:picLocks noChangeAspect="1"/>
              </p:cNvPicPr>
              <p:nvPr/>
            </p:nvPicPr>
            <p:blipFill>
              <a:blip r:embed="rId16" cstate="print">
                <a:biLevel thresh="25000"/>
                <a:extLst>
                  <a:ext uri="{28A0092B-C50C-407E-A947-70E740481C1C}">
                    <a14:useLocalDpi xmlns:a14="http://schemas.microsoft.com/office/drawing/2010/main" val="0"/>
                  </a:ext>
                </a:extLst>
              </a:blip>
              <a:stretch>
                <a:fillRect/>
              </a:stretch>
            </p:blipFill>
            <p:spPr>
              <a:xfrm>
                <a:off x="9452479" y="6000668"/>
                <a:ext cx="296125" cy="296125"/>
              </a:xfrm>
              <a:prstGeom prst="rect">
                <a:avLst/>
              </a:prstGeom>
              <a:noFill/>
            </p:spPr>
          </p:pic>
        </p:grpSp>
        <p:grpSp>
          <p:nvGrpSpPr>
            <p:cNvPr id="30" name="Group 29"/>
            <p:cNvGrpSpPr/>
            <p:nvPr/>
          </p:nvGrpSpPr>
          <p:grpSpPr>
            <a:xfrm>
              <a:off x="10040150" y="2233593"/>
              <a:ext cx="1558372" cy="447815"/>
              <a:chOff x="6961352" y="7101633"/>
              <a:chExt cx="1558372" cy="447815"/>
            </a:xfrm>
          </p:grpSpPr>
          <p:sp>
            <p:nvSpPr>
              <p:cNvPr id="174" name="Rectangle 173"/>
              <p:cNvSpPr/>
              <p:nvPr/>
            </p:nvSpPr>
            <p:spPr bwMode="auto">
              <a:xfrm>
                <a:off x="6961352" y="7127360"/>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75" name="TextBox 174"/>
              <p:cNvSpPr txBox="1"/>
              <p:nvPr/>
            </p:nvSpPr>
            <p:spPr>
              <a:xfrm>
                <a:off x="7284771" y="7101633"/>
                <a:ext cx="1234953" cy="447815"/>
              </a:xfrm>
              <a:prstGeom prst="rect">
                <a:avLst/>
              </a:prstGeom>
              <a:noFill/>
            </p:spPr>
            <p:txBody>
              <a:bodyPr wrap="none" lIns="179238" tIns="143391" rIns="179238" bIns="143391" rtlCol="0" anchor="ctr">
                <a:spAutoFit/>
              </a:bodyPr>
              <a:lstStyle/>
              <a:p>
                <a:pPr marL="0" marR="0" lvl="0" indent="0" defTabSz="896203" eaLnBrk="1" fontAlgn="auto" latinLnBrk="0" hangingPunct="1">
                  <a:lnSpc>
                    <a:spcPct val="90000"/>
                  </a:lnSpc>
                  <a:spcBef>
                    <a:spcPts val="0"/>
                  </a:spcBef>
                  <a:spcAft>
                    <a:spcPts val="0"/>
                  </a:spcAft>
                  <a:buClrTx/>
                  <a:buSzTx/>
                  <a:buFontTx/>
                  <a:buNone/>
                  <a:tabLst/>
                  <a:defRPr/>
                </a:pPr>
                <a:r>
                  <a:rPr kumimoji="0" lang="en-US" sz="1078" b="0" i="0" u="none" strike="noStrike" kern="0" cap="none" spc="-49" normalizeH="0" baseline="0" noProof="0" dirty="0">
                    <a:ln>
                      <a:noFill/>
                    </a:ln>
                    <a:gradFill>
                      <a:gsLst>
                        <a:gs pos="2917">
                          <a:schemeClr val="tx1"/>
                        </a:gs>
                        <a:gs pos="30000">
                          <a:schemeClr val="tx1"/>
                        </a:gs>
                      </a:gsLst>
                      <a:lin ang="5400000" scaled="0"/>
                    </a:gradFill>
                    <a:effectLst/>
                    <a:uLnTx/>
                    <a:uFillTx/>
                    <a:latin typeface="Segoe UI Semibold" panose="020B0702040204020203" pitchFamily="34" charset="0"/>
                    <a:cs typeface="Segoe UI Semibold" panose="020B0702040204020203" pitchFamily="34" charset="0"/>
                  </a:rPr>
                  <a:t>Media Services</a:t>
                </a:r>
              </a:p>
            </p:txBody>
          </p:sp>
          <p:pic>
            <p:nvPicPr>
              <p:cNvPr id="230" name="Picture 229" descr="Media Services.png"/>
              <p:cNvPicPr>
                <a:picLocks noChangeAspect="1"/>
              </p:cNvPicPr>
              <p:nvPr/>
            </p:nvPicPr>
            <p:blipFill>
              <a:blip r:embed="rId17" cstate="print">
                <a:biLevel thresh="25000"/>
                <a:extLst>
                  <a:ext uri="{28A0092B-C50C-407E-A947-70E740481C1C}">
                    <a14:useLocalDpi xmlns:a14="http://schemas.microsoft.com/office/drawing/2010/main" val="0"/>
                  </a:ext>
                </a:extLst>
              </a:blip>
              <a:stretch>
                <a:fillRect/>
              </a:stretch>
            </p:blipFill>
            <p:spPr>
              <a:xfrm>
                <a:off x="7025365" y="7188582"/>
                <a:ext cx="263115" cy="263115"/>
              </a:xfrm>
              <a:prstGeom prst="rect">
                <a:avLst/>
              </a:prstGeom>
              <a:noFill/>
            </p:spPr>
          </p:pic>
        </p:grpSp>
        <p:grpSp>
          <p:nvGrpSpPr>
            <p:cNvPr id="132" name="Group 131"/>
            <p:cNvGrpSpPr/>
            <p:nvPr/>
          </p:nvGrpSpPr>
          <p:grpSpPr>
            <a:xfrm>
              <a:off x="9855763" y="1245631"/>
              <a:ext cx="1869468" cy="433967"/>
              <a:chOff x="9855763" y="3441704"/>
              <a:chExt cx="1869468" cy="433967"/>
            </a:xfrm>
          </p:grpSpPr>
          <p:sp>
            <p:nvSpPr>
              <p:cNvPr id="133" name="TextBox 132"/>
              <p:cNvSpPr txBox="1"/>
              <p:nvPr/>
            </p:nvSpPr>
            <p:spPr>
              <a:xfrm>
                <a:off x="9855763" y="3441704"/>
                <a:ext cx="1133144" cy="433967"/>
              </a:xfrm>
              <a:prstGeom prst="rect">
                <a:avLst/>
              </a:prstGeom>
              <a:noFill/>
            </p:spPr>
            <p:txBody>
              <a:bodyPr wrap="none" lIns="179238" tIns="143391" rIns="179238" bIns="143391" rtlCol="0">
                <a:spAutoFit/>
              </a:bodyPr>
              <a:lstStyle/>
              <a:p>
                <a:pPr marL="0" marR="0" lvl="0" indent="0" defTabSz="896203"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dirty="0">
                    <a:ln>
                      <a:noFill/>
                    </a:ln>
                    <a:gradFill>
                      <a:gsLst>
                        <a:gs pos="2917">
                          <a:schemeClr val="tx1"/>
                        </a:gs>
                        <a:gs pos="30000">
                          <a:schemeClr val="tx1"/>
                        </a:gs>
                      </a:gsLst>
                      <a:lin ang="5400000" scaled="0"/>
                    </a:gradFill>
                    <a:effectLst/>
                    <a:uLnTx/>
                    <a:uFillTx/>
                  </a:rPr>
                  <a:t>Media &amp; CDN</a:t>
                </a:r>
              </a:p>
            </p:txBody>
          </p:sp>
          <p:cxnSp>
            <p:nvCxnSpPr>
              <p:cNvPr id="134" name="Straight Connector 133"/>
              <p:cNvCxnSpPr/>
              <p:nvPr/>
            </p:nvCxnSpPr>
            <p:spPr>
              <a:xfrm>
                <a:off x="10046908" y="3850155"/>
                <a:ext cx="1678323"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21433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grpId="0" nodeType="afterEffect">
                                  <p:stCondLst>
                                    <p:cond delay="0"/>
                                  </p:stCondLst>
                                  <p:childTnLst>
                                    <p:animEffect transition="out" filter="fade">
                                      <p:cBhvr>
                                        <p:cTn id="6" dur="500"/>
                                        <p:tgtEl>
                                          <p:spTgt spid="19"/>
                                        </p:tgtEl>
                                      </p:cBhvr>
                                    </p:animEffect>
                                    <p:set>
                                      <p:cBhvr>
                                        <p:cTn id="7" dur="1" fill="hold">
                                          <p:stCondLst>
                                            <p:cond delay="499"/>
                                          </p:stCondLst>
                                        </p:cTn>
                                        <p:tgtEl>
                                          <p:spTgt spid="19"/>
                                        </p:tgtEl>
                                        <p:attrNameLst>
                                          <p:attrName>style.visibility</p:attrName>
                                        </p:attrNameLst>
                                      </p:cBhvr>
                                      <p:to>
                                        <p:strVal val="hidden"/>
                                      </p:to>
                                    </p:se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par>
                          <p:cTn id="11" fill="hold">
                            <p:stCondLst>
                              <p:cond delay="500"/>
                            </p:stCondLst>
                            <p:childTnLst>
                              <p:par>
                                <p:cTn id="12" presetID="10" presetClass="exit" presetSubtype="0" fill="hold" grpId="0" nodeType="afterEffect">
                                  <p:stCondLst>
                                    <p:cond delay="0"/>
                                  </p:stCondLst>
                                  <p:childTnLst>
                                    <p:animEffect transition="out" filter="fade">
                                      <p:cBhvr>
                                        <p:cTn id="13" dur="500"/>
                                        <p:tgtEl>
                                          <p:spTgt spid="42"/>
                                        </p:tgtEl>
                                      </p:cBhvr>
                                    </p:animEffect>
                                    <p:set>
                                      <p:cBhvr>
                                        <p:cTn id="14" dur="1" fill="hold">
                                          <p:stCondLst>
                                            <p:cond delay="499"/>
                                          </p:stCondLst>
                                        </p:cTn>
                                        <p:tgtEl>
                                          <p:spTgt spid="42"/>
                                        </p:tgtEl>
                                        <p:attrNameLst>
                                          <p:attrName>style.visibility</p:attrName>
                                        </p:attrNameLst>
                                      </p:cBhvr>
                                      <p:to>
                                        <p:strVal val="hidden"/>
                                      </p:to>
                                    </p:set>
                                  </p:childTnLst>
                                </p:cTn>
                              </p:par>
                              <p:par>
                                <p:cTn id="15" presetID="10" presetClass="exit" presetSubtype="0" fill="hold" grpId="0" nodeType="withEffect">
                                  <p:stCondLst>
                                    <p:cond delay="0"/>
                                  </p:stCondLst>
                                  <p:childTnLst>
                                    <p:animEffect transition="out" filter="fade">
                                      <p:cBhvr>
                                        <p:cTn id="16" dur="500"/>
                                        <p:tgtEl>
                                          <p:spTgt spid="63"/>
                                        </p:tgtEl>
                                      </p:cBhvr>
                                    </p:animEffect>
                                    <p:set>
                                      <p:cBhvr>
                                        <p:cTn id="17" dur="1" fill="hold">
                                          <p:stCondLst>
                                            <p:cond delay="499"/>
                                          </p:stCondLst>
                                        </p:cTn>
                                        <p:tgtEl>
                                          <p:spTgt spid="63"/>
                                        </p:tgtEl>
                                        <p:attrNameLst>
                                          <p:attrName>style.visibility</p:attrName>
                                        </p:attrNameLst>
                                      </p:cBhvr>
                                      <p:to>
                                        <p:strVal val="hidden"/>
                                      </p:to>
                                    </p:set>
                                  </p:childTnLst>
                                </p:cTn>
                              </p:par>
                            </p:childTnLst>
                          </p:cTn>
                        </p:par>
                        <p:par>
                          <p:cTn id="18" fill="hold">
                            <p:stCondLst>
                              <p:cond delay="1000"/>
                            </p:stCondLst>
                            <p:childTnLst>
                              <p:par>
                                <p:cTn id="19" presetID="42" presetClass="path" presetSubtype="0" accel="50000" decel="50000" fill="hold" nodeType="afterEffect">
                                  <p:stCondLst>
                                    <p:cond delay="0"/>
                                  </p:stCondLst>
                                  <p:childTnLst>
                                    <p:animMotion origin="layout" path="M 0 2.36042E-7 L 0 0.18202 " pathEditMode="relative" rAng="0" ptsTypes="AA">
                                      <p:cBhvr>
                                        <p:cTn id="20" dur="500" fill="hold"/>
                                        <p:tgtEl>
                                          <p:spTgt spid="6"/>
                                        </p:tgtEl>
                                        <p:attrNameLst>
                                          <p:attrName>ppt_x</p:attrName>
                                          <p:attrName>ppt_y</p:attrName>
                                        </p:attrNameLst>
                                      </p:cBhvr>
                                      <p:rCtr x="0" y="9101"/>
                                    </p:animMotion>
                                  </p:childTnLst>
                                </p:cTn>
                              </p:par>
                            </p:childTnLst>
                          </p:cTn>
                        </p:par>
                        <p:par>
                          <p:cTn id="21" fill="hold">
                            <p:stCondLst>
                              <p:cond delay="1500"/>
                            </p:stCondLst>
                            <p:childTnLst>
                              <p:par>
                                <p:cTn id="22" presetID="22" presetClass="entr" presetSubtype="4" fill="hold" nodeType="afterEffect">
                                  <p:stCondLst>
                                    <p:cond delay="0"/>
                                  </p:stCondLst>
                                  <p:childTnLst>
                                    <p:set>
                                      <p:cBhvr>
                                        <p:cTn id="23" dur="1" fill="hold">
                                          <p:stCondLst>
                                            <p:cond delay="0"/>
                                          </p:stCondLst>
                                        </p:cTn>
                                        <p:tgtEl>
                                          <p:spTgt spid="7"/>
                                        </p:tgtEl>
                                        <p:attrNameLst>
                                          <p:attrName>style.visibility</p:attrName>
                                        </p:attrNameLst>
                                      </p:cBhvr>
                                      <p:to>
                                        <p:strVal val="visible"/>
                                      </p:to>
                                    </p:set>
                                    <p:animEffect transition="in" filter="wipe(down)">
                                      <p:cBhvr>
                                        <p:cTn id="24" dur="250"/>
                                        <p:tgtEl>
                                          <p:spTgt spid="7"/>
                                        </p:tgtEl>
                                      </p:cBhvr>
                                    </p:animEffect>
                                  </p:childTnLst>
                                </p:cTn>
                              </p:par>
                            </p:childTnLst>
                          </p:cTn>
                        </p:par>
                        <p:par>
                          <p:cTn id="25" fill="hold">
                            <p:stCondLst>
                              <p:cond delay="1750"/>
                            </p:stCondLst>
                            <p:childTnLst>
                              <p:par>
                                <p:cTn id="26" presetID="10" presetClass="entr" presetSubtype="0" fill="hold" grpId="0" nodeType="afterEffect">
                                  <p:stCondLst>
                                    <p:cond delay="0"/>
                                  </p:stCondLst>
                                  <p:childTnLst>
                                    <p:set>
                                      <p:cBhvr>
                                        <p:cTn id="27" dur="1" fill="hold">
                                          <p:stCondLst>
                                            <p:cond delay="0"/>
                                          </p:stCondLst>
                                        </p:cTn>
                                        <p:tgtEl>
                                          <p:spTgt spid="66"/>
                                        </p:tgtEl>
                                        <p:attrNameLst>
                                          <p:attrName>style.visibility</p:attrName>
                                        </p:attrNameLst>
                                      </p:cBhvr>
                                      <p:to>
                                        <p:strVal val="visible"/>
                                      </p:to>
                                    </p:set>
                                    <p:animEffect transition="in" filter="fade">
                                      <p:cBhvr>
                                        <p:cTn id="28" dur="250"/>
                                        <p:tgtEl>
                                          <p:spTgt spid="66"/>
                                        </p:tgtEl>
                                      </p:cBhvr>
                                    </p:animEffect>
                                  </p:childTnLst>
                                </p:cTn>
                              </p:par>
                            </p:childTnLst>
                          </p:cTn>
                        </p:par>
                        <p:par>
                          <p:cTn id="29" fill="hold">
                            <p:stCondLst>
                              <p:cond delay="2000"/>
                            </p:stCondLst>
                            <p:childTnLst>
                              <p:par>
                                <p:cTn id="30" presetID="10" presetClass="entr" presetSubtype="0" fill="hold" nodeType="afterEffect">
                                  <p:stCondLst>
                                    <p:cond delay="0"/>
                                  </p:stCondLst>
                                  <p:childTnLst>
                                    <p:set>
                                      <p:cBhvr>
                                        <p:cTn id="31" dur="1" fill="hold">
                                          <p:stCondLst>
                                            <p:cond delay="0"/>
                                          </p:stCondLst>
                                        </p:cTn>
                                        <p:tgtEl>
                                          <p:spTgt spid="229"/>
                                        </p:tgtEl>
                                        <p:attrNameLst>
                                          <p:attrName>style.visibility</p:attrName>
                                        </p:attrNameLst>
                                      </p:cBhvr>
                                      <p:to>
                                        <p:strVal val="visible"/>
                                      </p:to>
                                    </p:set>
                                    <p:animEffect transition="in" filter="fade">
                                      <p:cBhvr>
                                        <p:cTn id="32" dur="250"/>
                                        <p:tgtEl>
                                          <p:spTgt spid="229"/>
                                        </p:tgtEl>
                                      </p:cBhvr>
                                    </p:animEffect>
                                  </p:childTnLst>
                                </p:cTn>
                              </p:par>
                              <p:par>
                                <p:cTn id="33" presetID="10" presetClass="entr" presetSubtype="0" fill="hold" nodeType="withEffect">
                                  <p:stCondLst>
                                    <p:cond delay="100"/>
                                  </p:stCondLst>
                                  <p:childTnLst>
                                    <p:set>
                                      <p:cBhvr>
                                        <p:cTn id="34" dur="1" fill="hold">
                                          <p:stCondLst>
                                            <p:cond delay="0"/>
                                          </p:stCondLst>
                                        </p:cTn>
                                        <p:tgtEl>
                                          <p:spTgt spid="231"/>
                                        </p:tgtEl>
                                        <p:attrNameLst>
                                          <p:attrName>style.visibility</p:attrName>
                                        </p:attrNameLst>
                                      </p:cBhvr>
                                      <p:to>
                                        <p:strVal val="visible"/>
                                      </p:to>
                                    </p:set>
                                    <p:animEffect transition="in" filter="fade">
                                      <p:cBhvr>
                                        <p:cTn id="35" dur="250"/>
                                        <p:tgtEl>
                                          <p:spTgt spid="231"/>
                                        </p:tgtEl>
                                      </p:cBhvr>
                                    </p:animEffect>
                                  </p:childTnLst>
                                </p:cTn>
                              </p:par>
                              <p:par>
                                <p:cTn id="36" presetID="10" presetClass="entr" presetSubtype="0" fill="hold" nodeType="withEffect">
                                  <p:stCondLst>
                                    <p:cond delay="150"/>
                                  </p:stCondLst>
                                  <p:childTnLst>
                                    <p:set>
                                      <p:cBhvr>
                                        <p:cTn id="37" dur="1" fill="hold">
                                          <p:stCondLst>
                                            <p:cond delay="0"/>
                                          </p:stCondLst>
                                        </p:cTn>
                                        <p:tgtEl>
                                          <p:spTgt spid="233"/>
                                        </p:tgtEl>
                                        <p:attrNameLst>
                                          <p:attrName>style.visibility</p:attrName>
                                        </p:attrNameLst>
                                      </p:cBhvr>
                                      <p:to>
                                        <p:strVal val="visible"/>
                                      </p:to>
                                    </p:set>
                                    <p:animEffect transition="in" filter="fade">
                                      <p:cBhvr>
                                        <p:cTn id="38" dur="250"/>
                                        <p:tgtEl>
                                          <p:spTgt spid="233"/>
                                        </p:tgtEl>
                                      </p:cBhvr>
                                    </p:animEffect>
                                  </p:childTnLst>
                                </p:cTn>
                              </p:par>
                              <p:par>
                                <p:cTn id="39" presetID="10" presetClass="entr" presetSubtype="0" fill="hold" nodeType="withEffect">
                                  <p:stCondLst>
                                    <p:cond delay="200"/>
                                  </p:stCondLst>
                                  <p:childTnLst>
                                    <p:set>
                                      <p:cBhvr>
                                        <p:cTn id="40" dur="1" fill="hold">
                                          <p:stCondLst>
                                            <p:cond delay="0"/>
                                          </p:stCondLst>
                                        </p:cTn>
                                        <p:tgtEl>
                                          <p:spTgt spid="234"/>
                                        </p:tgtEl>
                                        <p:attrNameLst>
                                          <p:attrName>style.visibility</p:attrName>
                                        </p:attrNameLst>
                                      </p:cBhvr>
                                      <p:to>
                                        <p:strVal val="visible"/>
                                      </p:to>
                                    </p:set>
                                    <p:animEffect transition="in" filter="fade">
                                      <p:cBhvr>
                                        <p:cTn id="41" dur="250"/>
                                        <p:tgtEl>
                                          <p:spTgt spid="2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42" grpId="0" animBg="1"/>
      <p:bldP spid="63" grpId="0"/>
      <p:bldP spid="4" grpId="0"/>
      <p:bldP spid="66"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453685833"/>
              </p:ext>
            </p:extLst>
          </p:nvPr>
        </p:nvGraphicFramePr>
        <p:xfrm>
          <a:off x="379412" y="228600"/>
          <a:ext cx="11124040" cy="6477000"/>
        </p:xfrm>
        <a:graphic>
          <a:graphicData uri="http://schemas.openxmlformats.org/drawingml/2006/table">
            <a:tbl>
              <a:tblPr>
                <a:tableStyleId>{5C22544A-7EE6-4342-B048-85BDC9FD1C3A}</a:tableStyleId>
              </a:tblPr>
              <a:tblGrid>
                <a:gridCol w="2674402">
                  <a:extLst>
                    <a:ext uri="{9D8B030D-6E8A-4147-A177-3AD203B41FA5}">
                      <a16:colId xmlns:a16="http://schemas.microsoft.com/office/drawing/2014/main" val="3655647511"/>
                    </a:ext>
                  </a:extLst>
                </a:gridCol>
                <a:gridCol w="3497798">
                  <a:extLst>
                    <a:ext uri="{9D8B030D-6E8A-4147-A177-3AD203B41FA5}">
                      <a16:colId xmlns:a16="http://schemas.microsoft.com/office/drawing/2014/main" val="370232391"/>
                    </a:ext>
                  </a:extLst>
                </a:gridCol>
                <a:gridCol w="2235322">
                  <a:extLst>
                    <a:ext uri="{9D8B030D-6E8A-4147-A177-3AD203B41FA5}">
                      <a16:colId xmlns:a16="http://schemas.microsoft.com/office/drawing/2014/main" val="2214359215"/>
                    </a:ext>
                  </a:extLst>
                </a:gridCol>
                <a:gridCol w="2716518">
                  <a:extLst>
                    <a:ext uri="{9D8B030D-6E8A-4147-A177-3AD203B41FA5}">
                      <a16:colId xmlns:a16="http://schemas.microsoft.com/office/drawing/2014/main" val="1648661072"/>
                    </a:ext>
                  </a:extLst>
                </a:gridCol>
              </a:tblGrid>
              <a:tr h="422016">
                <a:tc>
                  <a:txBody>
                    <a:bodyPr/>
                    <a:lstStyle/>
                    <a:p>
                      <a:pPr algn="ctr" fontAlgn="ctr"/>
                      <a:r>
                        <a:rPr lang="en-US" sz="2800" b="1" u="none" strike="noStrike" dirty="0">
                          <a:solidFill>
                            <a:schemeClr val="tx1"/>
                          </a:solidFill>
                          <a:effectLst/>
                        </a:rPr>
                        <a:t>Time</a:t>
                      </a:r>
                      <a:endParaRPr lang="en-US" sz="2800" b="1" i="0" u="none" strike="noStrike" dirty="0">
                        <a:solidFill>
                          <a:schemeClr val="tx1"/>
                        </a:solidFill>
                        <a:effectLst/>
                        <a:latin typeface="Calibri" panose="020F0502020204030204" pitchFamily="34" charset="0"/>
                      </a:endParaRPr>
                    </a:p>
                  </a:txBody>
                  <a:tcPr marL="6183" marR="6183" marT="6183"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ctr" fontAlgn="ctr"/>
                      <a:r>
                        <a:rPr lang="en-US" sz="2800" b="1" u="none" strike="noStrike">
                          <a:solidFill>
                            <a:schemeClr val="tx1"/>
                          </a:solidFill>
                          <a:effectLst/>
                        </a:rPr>
                        <a:t>Session</a:t>
                      </a:r>
                      <a:endParaRPr lang="en-US" sz="2800" b="1" i="0" u="none" strike="noStrike">
                        <a:solidFill>
                          <a:schemeClr val="tx1"/>
                        </a:solidFill>
                        <a:effectLst/>
                        <a:latin typeface="Calibri" panose="020F0502020204030204" pitchFamily="34" charset="0"/>
                      </a:endParaRPr>
                    </a:p>
                  </a:txBody>
                  <a:tcPr marL="6183" marR="6183" marT="618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ctr" fontAlgn="ctr"/>
                      <a:r>
                        <a:rPr lang="en-US" sz="2800" b="1" i="0" u="none" strike="noStrike" dirty="0">
                          <a:solidFill>
                            <a:schemeClr val="tx1"/>
                          </a:solidFill>
                          <a:effectLst/>
                          <a:latin typeface="Calibri" panose="020F0502020204030204" pitchFamily="34" charset="0"/>
                        </a:rPr>
                        <a:t>Duration</a:t>
                      </a:r>
                    </a:p>
                  </a:txBody>
                  <a:tcPr marL="6183" marR="6183" marT="618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ctr" fontAlgn="ctr"/>
                      <a:r>
                        <a:rPr lang="en-US" sz="2800" b="1" u="none" strike="noStrike" dirty="0">
                          <a:solidFill>
                            <a:schemeClr val="tx1"/>
                          </a:solidFill>
                          <a:effectLst/>
                        </a:rPr>
                        <a:t>Activity</a:t>
                      </a:r>
                      <a:endParaRPr lang="en-US" sz="2800" b="1" i="0" u="none" strike="noStrike" dirty="0">
                        <a:solidFill>
                          <a:schemeClr val="tx1"/>
                        </a:solidFill>
                        <a:effectLst/>
                        <a:latin typeface="Calibri" panose="020F0502020204030204" pitchFamily="34" charset="0"/>
                      </a:endParaRPr>
                    </a:p>
                  </a:txBody>
                  <a:tcPr marL="6183" marR="6183" marT="6183"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2579919723"/>
                  </a:ext>
                </a:extLst>
              </a:tr>
              <a:tr h="686376">
                <a:tc>
                  <a:txBody>
                    <a:bodyPr/>
                    <a:lstStyle/>
                    <a:p>
                      <a:pPr algn="ctr" fontAlgn="ctr"/>
                      <a:r>
                        <a:rPr lang="en-US" sz="2000" u="none" strike="noStrike">
                          <a:effectLst/>
                        </a:rPr>
                        <a:t>9:00 to 10:00</a:t>
                      </a:r>
                      <a:endParaRPr lang="en-US" sz="2000" b="1" i="0" u="none" strike="noStrike">
                        <a:solidFill>
                          <a:srgbClr val="000000"/>
                        </a:solidFill>
                        <a:effectLst/>
                        <a:latin typeface="Calibri" panose="020F0502020204030204" pitchFamily="34" charset="0"/>
                      </a:endParaRPr>
                    </a:p>
                  </a:txBody>
                  <a:tcPr marL="6183" marR="6183" marT="6183"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solidFill>
                  </a:tcPr>
                </a:tc>
                <a:tc>
                  <a:txBody>
                    <a:bodyPr/>
                    <a:lstStyle/>
                    <a:p>
                      <a:pPr algn="ctr" fontAlgn="ctr"/>
                      <a:r>
                        <a:rPr lang="en-US" sz="2000" u="none" strike="noStrike" dirty="0">
                          <a:effectLst/>
                        </a:rPr>
                        <a:t>Intro to Azure Data </a:t>
                      </a:r>
                      <a:r>
                        <a:rPr lang="en-US" sz="2000" u="none" strike="noStrike" dirty="0" err="1">
                          <a:effectLst/>
                        </a:rPr>
                        <a:t>Platfrom</a:t>
                      </a:r>
                      <a:endParaRPr lang="en-US" sz="2000" b="0" i="0" u="none" strike="noStrike" dirty="0">
                        <a:solidFill>
                          <a:srgbClr val="000000"/>
                        </a:solidFill>
                        <a:effectLst/>
                        <a:latin typeface="Calibri" panose="020F0502020204030204" pitchFamily="34" charset="0"/>
                      </a:endParaRPr>
                    </a:p>
                  </a:txBody>
                  <a:tcPr marL="6183" marR="6183" marT="6183"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solidFill>
                  </a:tcPr>
                </a:tc>
                <a:tc>
                  <a:txBody>
                    <a:bodyPr/>
                    <a:lstStyle/>
                    <a:p>
                      <a:pPr algn="ctr" fontAlgn="ctr"/>
                      <a:r>
                        <a:rPr lang="en-US" sz="2000" u="none" strike="noStrike" dirty="0">
                          <a:effectLst/>
                        </a:rPr>
                        <a:t>60</a:t>
                      </a:r>
                      <a:endParaRPr lang="en-US" sz="2000" b="0" i="0" u="none" strike="noStrike" dirty="0">
                        <a:solidFill>
                          <a:srgbClr val="000000"/>
                        </a:solidFill>
                        <a:effectLst/>
                        <a:latin typeface="Calibri" panose="020F0502020204030204" pitchFamily="34" charset="0"/>
                      </a:endParaRPr>
                    </a:p>
                  </a:txBody>
                  <a:tcPr marL="6183" marR="6183" marT="6183"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solidFill>
                  </a:tcPr>
                </a:tc>
                <a:tc>
                  <a:txBody>
                    <a:bodyPr/>
                    <a:lstStyle/>
                    <a:p>
                      <a:pPr algn="l" fontAlgn="ctr"/>
                      <a:r>
                        <a:rPr lang="en-US" sz="2000" u="none" strike="noStrike" dirty="0">
                          <a:effectLst/>
                        </a:rPr>
                        <a:t>Presentation and Demos</a:t>
                      </a:r>
                      <a:endParaRPr lang="en-US" sz="2000" b="0" i="0" u="none" strike="noStrike" dirty="0">
                        <a:solidFill>
                          <a:srgbClr val="000000"/>
                        </a:solidFill>
                        <a:effectLst/>
                        <a:latin typeface="Calibri" panose="020F0502020204030204" pitchFamily="34" charset="0"/>
                      </a:endParaRPr>
                    </a:p>
                  </a:txBody>
                  <a:tcPr marL="6183" marR="6183" marT="6183"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1269153090"/>
                  </a:ext>
                </a:extLst>
              </a:tr>
              <a:tr h="411822">
                <a:tc>
                  <a:txBody>
                    <a:bodyPr/>
                    <a:lstStyle/>
                    <a:p>
                      <a:pPr algn="ctr" fontAlgn="ctr"/>
                      <a:r>
                        <a:rPr lang="en-US" sz="2000" u="none" strike="noStrike">
                          <a:effectLst/>
                        </a:rPr>
                        <a:t>10:00 to 10:20 </a:t>
                      </a:r>
                      <a:endParaRPr lang="en-US" sz="2000" b="1" i="0" u="none" strike="noStrike">
                        <a:solidFill>
                          <a:srgbClr val="000000"/>
                        </a:solidFill>
                        <a:effectLst/>
                        <a:latin typeface="Calibri" panose="020F0502020204030204" pitchFamily="34" charset="0"/>
                      </a:endParaRPr>
                    </a:p>
                  </a:txBody>
                  <a:tcPr marL="6183" marR="6183" marT="6183"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solidFill>
                  </a:tcPr>
                </a:tc>
                <a:tc>
                  <a:txBody>
                    <a:bodyPr/>
                    <a:lstStyle/>
                    <a:p>
                      <a:pPr algn="ctr" fontAlgn="ctr"/>
                      <a:r>
                        <a:rPr lang="en-US" sz="2000" u="none" strike="noStrike">
                          <a:effectLst/>
                        </a:rPr>
                        <a:t>Morning Tea</a:t>
                      </a:r>
                      <a:endParaRPr lang="en-US" sz="2000" b="0" i="0" u="none" strike="noStrike">
                        <a:solidFill>
                          <a:srgbClr val="000000"/>
                        </a:solidFill>
                        <a:effectLst/>
                        <a:latin typeface="Calibri" panose="020F0502020204030204" pitchFamily="34" charset="0"/>
                      </a:endParaRPr>
                    </a:p>
                  </a:txBody>
                  <a:tcPr marL="6183" marR="6183" marT="6183"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solidFill>
                  </a:tcPr>
                </a:tc>
                <a:tc>
                  <a:txBody>
                    <a:bodyPr/>
                    <a:lstStyle/>
                    <a:p>
                      <a:pPr algn="ctr" fontAlgn="ctr"/>
                      <a:r>
                        <a:rPr lang="en-US" sz="2000" u="none" strike="noStrike">
                          <a:effectLst/>
                        </a:rPr>
                        <a:t>20</a:t>
                      </a:r>
                      <a:endParaRPr lang="en-US" sz="2000" b="0" i="0" u="none" strike="noStrike">
                        <a:solidFill>
                          <a:srgbClr val="000000"/>
                        </a:solidFill>
                        <a:effectLst/>
                        <a:latin typeface="Calibri" panose="020F0502020204030204" pitchFamily="34" charset="0"/>
                      </a:endParaRPr>
                    </a:p>
                  </a:txBody>
                  <a:tcPr marL="6183" marR="6183" marT="6183"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solidFill>
                  </a:tcPr>
                </a:tc>
                <a:tc>
                  <a:txBody>
                    <a:bodyPr/>
                    <a:lstStyle/>
                    <a:p>
                      <a:pPr algn="l" fontAlgn="ctr"/>
                      <a:endParaRPr lang="en-US" sz="2000" b="0" i="0" u="none" strike="noStrike">
                        <a:solidFill>
                          <a:srgbClr val="000000"/>
                        </a:solidFill>
                        <a:effectLst/>
                        <a:latin typeface="Calibri" panose="020F0502020204030204" pitchFamily="34" charset="0"/>
                      </a:endParaRPr>
                    </a:p>
                  </a:txBody>
                  <a:tcPr marL="6183" marR="6183" marT="6183"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3077215492"/>
                  </a:ext>
                </a:extLst>
              </a:tr>
              <a:tr h="409603">
                <a:tc rowSpan="2">
                  <a:txBody>
                    <a:bodyPr/>
                    <a:lstStyle/>
                    <a:p>
                      <a:pPr algn="ctr" fontAlgn="ctr"/>
                      <a:r>
                        <a:rPr lang="en-US" sz="2000" u="none" strike="noStrike">
                          <a:effectLst/>
                        </a:rPr>
                        <a:t>10:20 to 12:15</a:t>
                      </a:r>
                      <a:endParaRPr lang="en-US" sz="2000" b="1" i="0" u="none" strike="noStrike">
                        <a:solidFill>
                          <a:srgbClr val="000000"/>
                        </a:solidFill>
                        <a:effectLst/>
                        <a:latin typeface="Calibri" panose="020F0502020204030204" pitchFamily="34" charset="0"/>
                      </a:endParaRPr>
                    </a:p>
                  </a:txBody>
                  <a:tcPr marL="6183" marR="6183" marT="6183"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solidFill>
                  </a:tcPr>
                </a:tc>
                <a:tc rowSpan="2">
                  <a:txBody>
                    <a:bodyPr/>
                    <a:lstStyle/>
                    <a:p>
                      <a:pPr algn="ctr" fontAlgn="ctr"/>
                      <a:r>
                        <a:rPr lang="en-US" sz="2000" u="none" strike="noStrike" dirty="0">
                          <a:effectLst/>
                        </a:rPr>
                        <a:t>Intelligent Apps</a:t>
                      </a:r>
                      <a:endParaRPr lang="en-US" sz="2000" b="0" i="0" u="none" strike="noStrike" dirty="0">
                        <a:solidFill>
                          <a:srgbClr val="000000"/>
                        </a:solidFill>
                        <a:effectLst/>
                        <a:latin typeface="Calibri" panose="020F0502020204030204" pitchFamily="34" charset="0"/>
                      </a:endParaRPr>
                    </a:p>
                  </a:txBody>
                  <a:tcPr marL="6183" marR="6183" marT="6183"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solidFill>
                  </a:tcPr>
                </a:tc>
                <a:tc>
                  <a:txBody>
                    <a:bodyPr/>
                    <a:lstStyle/>
                    <a:p>
                      <a:pPr algn="ctr" fontAlgn="ctr"/>
                      <a:r>
                        <a:rPr lang="en-US" sz="2000" u="none" strike="noStrike">
                          <a:effectLst/>
                        </a:rPr>
                        <a:t>40</a:t>
                      </a:r>
                      <a:endParaRPr lang="en-US" sz="2000" b="0" i="0" u="none" strike="noStrike">
                        <a:solidFill>
                          <a:srgbClr val="000000"/>
                        </a:solidFill>
                        <a:effectLst/>
                        <a:latin typeface="Calibri" panose="020F0502020204030204" pitchFamily="34" charset="0"/>
                      </a:endParaRPr>
                    </a:p>
                  </a:txBody>
                  <a:tcPr marL="6183" marR="6183" marT="6183"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solidFill>
                  </a:tcPr>
                </a:tc>
                <a:tc>
                  <a:txBody>
                    <a:bodyPr/>
                    <a:lstStyle/>
                    <a:p>
                      <a:pPr algn="l" fontAlgn="ctr"/>
                      <a:r>
                        <a:rPr lang="en-US" sz="2000" u="none" strike="noStrike">
                          <a:effectLst/>
                        </a:rPr>
                        <a:t>Presentation and Demos</a:t>
                      </a:r>
                      <a:endParaRPr lang="en-US" sz="2000" b="0" i="0" u="none" strike="noStrike">
                        <a:solidFill>
                          <a:srgbClr val="000000"/>
                        </a:solidFill>
                        <a:effectLst/>
                        <a:latin typeface="Calibri" panose="020F0502020204030204" pitchFamily="34" charset="0"/>
                      </a:endParaRPr>
                    </a:p>
                  </a:txBody>
                  <a:tcPr marL="6183" marR="6183" marT="6183"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2388293466"/>
                  </a:ext>
                </a:extLst>
              </a:tr>
              <a:tr h="343188">
                <a:tc vMerge="1">
                  <a:txBody>
                    <a:bodyPr/>
                    <a:lstStyle/>
                    <a:p>
                      <a:endParaRPr lang="en-US"/>
                    </a:p>
                  </a:txBody>
                  <a:tcPr/>
                </a:tc>
                <a:tc vMerge="1">
                  <a:txBody>
                    <a:bodyPr/>
                    <a:lstStyle/>
                    <a:p>
                      <a:endParaRPr lang="en-US"/>
                    </a:p>
                  </a:txBody>
                  <a:tcPr/>
                </a:tc>
                <a:tc>
                  <a:txBody>
                    <a:bodyPr/>
                    <a:lstStyle/>
                    <a:p>
                      <a:pPr algn="ctr" fontAlgn="ctr"/>
                      <a:r>
                        <a:rPr lang="en-US" sz="2000" u="none" strike="noStrike">
                          <a:effectLst/>
                        </a:rPr>
                        <a:t>75</a:t>
                      </a:r>
                      <a:endParaRPr lang="en-US" sz="2000" b="0" i="0" u="none" strike="noStrike">
                        <a:solidFill>
                          <a:srgbClr val="000000"/>
                        </a:solidFill>
                        <a:effectLst/>
                        <a:latin typeface="Calibri" panose="020F0502020204030204" pitchFamily="34" charset="0"/>
                      </a:endParaRPr>
                    </a:p>
                  </a:txBody>
                  <a:tcPr marL="6183" marR="6183" marT="6183"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solidFill>
                  </a:tcPr>
                </a:tc>
                <a:tc>
                  <a:txBody>
                    <a:bodyPr/>
                    <a:lstStyle/>
                    <a:p>
                      <a:pPr algn="l" fontAlgn="ctr"/>
                      <a:r>
                        <a:rPr lang="en-US" sz="2000" u="none" strike="noStrike">
                          <a:effectLst/>
                        </a:rPr>
                        <a:t>Hands-on Lab</a:t>
                      </a:r>
                      <a:endParaRPr lang="en-US" sz="2000" b="0" i="0" u="none" strike="noStrike">
                        <a:solidFill>
                          <a:srgbClr val="000000"/>
                        </a:solidFill>
                        <a:effectLst/>
                        <a:latin typeface="Calibri" panose="020F0502020204030204" pitchFamily="34" charset="0"/>
                      </a:endParaRPr>
                    </a:p>
                  </a:txBody>
                  <a:tcPr marL="6183" marR="6183" marT="6183"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3286281423"/>
                  </a:ext>
                </a:extLst>
              </a:tr>
              <a:tr h="411822">
                <a:tc>
                  <a:txBody>
                    <a:bodyPr/>
                    <a:lstStyle/>
                    <a:p>
                      <a:pPr algn="ctr" fontAlgn="ctr"/>
                      <a:r>
                        <a:rPr lang="en-US" sz="2000" u="none" strike="noStrike">
                          <a:effectLst/>
                        </a:rPr>
                        <a:t>12:15 to 13:00</a:t>
                      </a:r>
                      <a:endParaRPr lang="en-US" sz="2000" b="1" i="0" u="none" strike="noStrike">
                        <a:solidFill>
                          <a:srgbClr val="000000"/>
                        </a:solidFill>
                        <a:effectLst/>
                        <a:latin typeface="Calibri" panose="020F0502020204030204" pitchFamily="34" charset="0"/>
                      </a:endParaRPr>
                    </a:p>
                  </a:txBody>
                  <a:tcPr marL="6183" marR="6183" marT="6183"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solidFill>
                  </a:tcPr>
                </a:tc>
                <a:tc>
                  <a:txBody>
                    <a:bodyPr/>
                    <a:lstStyle/>
                    <a:p>
                      <a:pPr algn="ctr" fontAlgn="ctr"/>
                      <a:r>
                        <a:rPr lang="en-US" sz="2000" u="none" strike="noStrike">
                          <a:effectLst/>
                        </a:rPr>
                        <a:t>Lunch</a:t>
                      </a:r>
                      <a:endParaRPr lang="en-US" sz="2000" b="0" i="0" u="none" strike="noStrike">
                        <a:solidFill>
                          <a:srgbClr val="000000"/>
                        </a:solidFill>
                        <a:effectLst/>
                        <a:latin typeface="Calibri" panose="020F0502020204030204" pitchFamily="34" charset="0"/>
                      </a:endParaRPr>
                    </a:p>
                  </a:txBody>
                  <a:tcPr marL="6183" marR="6183" marT="6183"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solidFill>
                  </a:tcPr>
                </a:tc>
                <a:tc>
                  <a:txBody>
                    <a:bodyPr/>
                    <a:lstStyle/>
                    <a:p>
                      <a:pPr algn="ctr" fontAlgn="ctr"/>
                      <a:r>
                        <a:rPr lang="en-US" sz="2000" u="none" strike="noStrike">
                          <a:effectLst/>
                        </a:rPr>
                        <a:t>60</a:t>
                      </a:r>
                      <a:endParaRPr lang="en-US" sz="2000" b="0" i="0" u="none" strike="noStrike">
                        <a:solidFill>
                          <a:srgbClr val="000000"/>
                        </a:solidFill>
                        <a:effectLst/>
                        <a:latin typeface="Calibri" panose="020F0502020204030204" pitchFamily="34" charset="0"/>
                      </a:endParaRPr>
                    </a:p>
                  </a:txBody>
                  <a:tcPr marL="6183" marR="6183" marT="6183"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solidFill>
                  </a:tcPr>
                </a:tc>
                <a:tc>
                  <a:txBody>
                    <a:bodyPr/>
                    <a:lstStyle/>
                    <a:p>
                      <a:pPr algn="l" fontAlgn="ctr"/>
                      <a:endParaRPr lang="en-US" sz="2000" b="0" i="0" u="none" strike="noStrike">
                        <a:solidFill>
                          <a:srgbClr val="000000"/>
                        </a:solidFill>
                        <a:effectLst/>
                        <a:latin typeface="Calibri" panose="020F0502020204030204" pitchFamily="34" charset="0"/>
                      </a:endParaRPr>
                    </a:p>
                  </a:txBody>
                  <a:tcPr marL="6183" marR="6183" marT="6183"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2455984911"/>
                  </a:ext>
                </a:extLst>
              </a:tr>
              <a:tr h="422549">
                <a:tc rowSpan="2">
                  <a:txBody>
                    <a:bodyPr/>
                    <a:lstStyle/>
                    <a:p>
                      <a:pPr algn="ctr" fontAlgn="ctr"/>
                      <a:r>
                        <a:rPr lang="en-US" sz="2000" u="none" strike="noStrike">
                          <a:effectLst/>
                        </a:rPr>
                        <a:t>13:00 to 14:30</a:t>
                      </a:r>
                      <a:endParaRPr lang="en-US" sz="2000" b="1" i="0" u="none" strike="noStrike">
                        <a:solidFill>
                          <a:srgbClr val="000000"/>
                        </a:solidFill>
                        <a:effectLst/>
                        <a:latin typeface="Calibri" panose="020F0502020204030204" pitchFamily="34" charset="0"/>
                      </a:endParaRPr>
                    </a:p>
                  </a:txBody>
                  <a:tcPr marL="6183" marR="6183" marT="6183"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solidFill>
                  </a:tcPr>
                </a:tc>
                <a:tc rowSpan="2">
                  <a:txBody>
                    <a:bodyPr/>
                    <a:lstStyle/>
                    <a:p>
                      <a:pPr algn="ctr" fontAlgn="ctr"/>
                      <a:r>
                        <a:rPr lang="en-US" sz="2000" u="none" strike="noStrike">
                          <a:effectLst/>
                        </a:rPr>
                        <a:t>Machine Learning</a:t>
                      </a:r>
                      <a:endParaRPr lang="en-US" sz="2000" b="0" i="0" u="none" strike="noStrike">
                        <a:solidFill>
                          <a:srgbClr val="000000"/>
                        </a:solidFill>
                        <a:effectLst/>
                        <a:latin typeface="Calibri" panose="020F0502020204030204" pitchFamily="34" charset="0"/>
                      </a:endParaRPr>
                    </a:p>
                  </a:txBody>
                  <a:tcPr marL="6183" marR="6183" marT="6183"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solidFill>
                  </a:tcPr>
                </a:tc>
                <a:tc>
                  <a:txBody>
                    <a:bodyPr/>
                    <a:lstStyle/>
                    <a:p>
                      <a:pPr algn="ctr" fontAlgn="ctr"/>
                      <a:r>
                        <a:rPr lang="en-US" sz="2000" u="none" strike="noStrike">
                          <a:effectLst/>
                        </a:rPr>
                        <a:t>30</a:t>
                      </a:r>
                      <a:endParaRPr lang="en-US" sz="2000" b="0" i="0" u="none" strike="noStrike">
                        <a:solidFill>
                          <a:srgbClr val="000000"/>
                        </a:solidFill>
                        <a:effectLst/>
                        <a:latin typeface="Calibri" panose="020F0502020204030204" pitchFamily="34" charset="0"/>
                      </a:endParaRPr>
                    </a:p>
                  </a:txBody>
                  <a:tcPr marL="6183" marR="6183" marT="6183"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solidFill>
                  </a:tcPr>
                </a:tc>
                <a:tc>
                  <a:txBody>
                    <a:bodyPr/>
                    <a:lstStyle/>
                    <a:p>
                      <a:pPr algn="l" fontAlgn="ctr"/>
                      <a:r>
                        <a:rPr lang="en-US" sz="2000" u="none" strike="noStrike">
                          <a:effectLst/>
                        </a:rPr>
                        <a:t>Presentation and Demos</a:t>
                      </a:r>
                      <a:endParaRPr lang="en-US" sz="2000" b="0" i="0" u="none" strike="noStrike">
                        <a:solidFill>
                          <a:srgbClr val="000000"/>
                        </a:solidFill>
                        <a:effectLst/>
                        <a:latin typeface="Calibri" panose="020F0502020204030204" pitchFamily="34" charset="0"/>
                      </a:endParaRPr>
                    </a:p>
                  </a:txBody>
                  <a:tcPr marL="6183" marR="6183" marT="6183"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625248796"/>
                  </a:ext>
                </a:extLst>
              </a:tr>
              <a:tr h="343188">
                <a:tc vMerge="1">
                  <a:txBody>
                    <a:bodyPr/>
                    <a:lstStyle/>
                    <a:p>
                      <a:endParaRPr lang="en-US"/>
                    </a:p>
                  </a:txBody>
                  <a:tcPr/>
                </a:tc>
                <a:tc vMerge="1">
                  <a:txBody>
                    <a:bodyPr/>
                    <a:lstStyle/>
                    <a:p>
                      <a:endParaRPr lang="en-US"/>
                    </a:p>
                  </a:txBody>
                  <a:tcPr/>
                </a:tc>
                <a:tc>
                  <a:txBody>
                    <a:bodyPr/>
                    <a:lstStyle/>
                    <a:p>
                      <a:pPr algn="ctr" fontAlgn="ctr"/>
                      <a:r>
                        <a:rPr lang="en-US" sz="2000" u="none" strike="noStrike">
                          <a:effectLst/>
                        </a:rPr>
                        <a:t>60</a:t>
                      </a:r>
                      <a:endParaRPr lang="en-US" sz="2000" b="0" i="0" u="none" strike="noStrike">
                        <a:solidFill>
                          <a:srgbClr val="000000"/>
                        </a:solidFill>
                        <a:effectLst/>
                        <a:latin typeface="Calibri" panose="020F0502020204030204" pitchFamily="34" charset="0"/>
                      </a:endParaRPr>
                    </a:p>
                  </a:txBody>
                  <a:tcPr marL="6183" marR="6183" marT="6183"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solidFill>
                  </a:tcPr>
                </a:tc>
                <a:tc>
                  <a:txBody>
                    <a:bodyPr/>
                    <a:lstStyle/>
                    <a:p>
                      <a:pPr algn="l" fontAlgn="ctr"/>
                      <a:r>
                        <a:rPr lang="en-US" sz="2000" u="none" strike="noStrike">
                          <a:effectLst/>
                        </a:rPr>
                        <a:t>Hands-on Lab</a:t>
                      </a:r>
                      <a:endParaRPr lang="en-US" sz="2000" b="0" i="0" u="none" strike="noStrike">
                        <a:solidFill>
                          <a:srgbClr val="000000"/>
                        </a:solidFill>
                        <a:effectLst/>
                        <a:latin typeface="Calibri" panose="020F0502020204030204" pitchFamily="34" charset="0"/>
                      </a:endParaRPr>
                    </a:p>
                  </a:txBody>
                  <a:tcPr marL="6183" marR="6183" marT="6183"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3380436881"/>
                  </a:ext>
                </a:extLst>
              </a:tr>
              <a:tr h="441851">
                <a:tc>
                  <a:txBody>
                    <a:bodyPr/>
                    <a:lstStyle/>
                    <a:p>
                      <a:pPr algn="ctr" fontAlgn="ctr"/>
                      <a:r>
                        <a:rPr lang="en-US" sz="2000" u="none" strike="noStrike">
                          <a:effectLst/>
                        </a:rPr>
                        <a:t>14:30 to 15:00</a:t>
                      </a:r>
                      <a:endParaRPr lang="en-US" sz="2000" b="1" i="0" u="none" strike="noStrike">
                        <a:solidFill>
                          <a:srgbClr val="000000"/>
                        </a:solidFill>
                        <a:effectLst/>
                        <a:latin typeface="Calibri" panose="020F0502020204030204" pitchFamily="34" charset="0"/>
                      </a:endParaRPr>
                    </a:p>
                  </a:txBody>
                  <a:tcPr marL="6183" marR="6183" marT="6183"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solidFill>
                  </a:tcPr>
                </a:tc>
                <a:tc>
                  <a:txBody>
                    <a:bodyPr/>
                    <a:lstStyle/>
                    <a:p>
                      <a:pPr algn="ctr" fontAlgn="ctr"/>
                      <a:r>
                        <a:rPr lang="en-US" sz="2000" u="none" strike="noStrike">
                          <a:effectLst/>
                        </a:rPr>
                        <a:t>Gain Insights</a:t>
                      </a:r>
                      <a:endParaRPr lang="en-US" sz="2000" b="0" i="0" u="none" strike="noStrike">
                        <a:solidFill>
                          <a:srgbClr val="000000"/>
                        </a:solidFill>
                        <a:effectLst/>
                        <a:latin typeface="Calibri" panose="020F0502020204030204" pitchFamily="34" charset="0"/>
                      </a:endParaRPr>
                    </a:p>
                  </a:txBody>
                  <a:tcPr marL="6183" marR="6183" marT="6183"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solidFill>
                  </a:tcPr>
                </a:tc>
                <a:tc>
                  <a:txBody>
                    <a:bodyPr/>
                    <a:lstStyle/>
                    <a:p>
                      <a:pPr algn="ctr" fontAlgn="ctr"/>
                      <a:r>
                        <a:rPr lang="en-US" sz="2000" u="none" strike="noStrike" dirty="0">
                          <a:effectLst/>
                        </a:rPr>
                        <a:t>30</a:t>
                      </a:r>
                      <a:endParaRPr lang="en-US" sz="2000" b="0" i="0" u="none" strike="noStrike" dirty="0">
                        <a:solidFill>
                          <a:srgbClr val="000000"/>
                        </a:solidFill>
                        <a:effectLst/>
                        <a:latin typeface="Calibri" panose="020F0502020204030204" pitchFamily="34" charset="0"/>
                      </a:endParaRPr>
                    </a:p>
                  </a:txBody>
                  <a:tcPr marL="6183" marR="6183" marT="6183"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solidFill>
                  </a:tcPr>
                </a:tc>
                <a:tc>
                  <a:txBody>
                    <a:bodyPr/>
                    <a:lstStyle/>
                    <a:p>
                      <a:pPr algn="l" fontAlgn="ctr"/>
                      <a:r>
                        <a:rPr lang="en-US" sz="2000" u="none" strike="noStrike">
                          <a:effectLst/>
                        </a:rPr>
                        <a:t>Presentation and Demos</a:t>
                      </a:r>
                      <a:endParaRPr lang="en-US" sz="2000" b="0" i="0" u="none" strike="noStrike">
                        <a:solidFill>
                          <a:srgbClr val="000000"/>
                        </a:solidFill>
                        <a:effectLst/>
                        <a:latin typeface="Calibri" panose="020F0502020204030204" pitchFamily="34" charset="0"/>
                      </a:endParaRPr>
                    </a:p>
                  </a:txBody>
                  <a:tcPr marL="6183" marR="6183" marT="6183"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4084178724"/>
                  </a:ext>
                </a:extLst>
              </a:tr>
              <a:tr h="411822">
                <a:tc>
                  <a:txBody>
                    <a:bodyPr/>
                    <a:lstStyle/>
                    <a:p>
                      <a:pPr algn="ctr" fontAlgn="ctr"/>
                      <a:r>
                        <a:rPr lang="en-US" sz="2000" u="none" strike="noStrike">
                          <a:effectLst/>
                        </a:rPr>
                        <a:t>15:00 to 15:15</a:t>
                      </a:r>
                      <a:endParaRPr lang="en-US" sz="2000" b="1" i="0" u="none" strike="noStrike">
                        <a:solidFill>
                          <a:srgbClr val="000000"/>
                        </a:solidFill>
                        <a:effectLst/>
                        <a:latin typeface="Calibri" panose="020F0502020204030204" pitchFamily="34" charset="0"/>
                      </a:endParaRPr>
                    </a:p>
                  </a:txBody>
                  <a:tcPr marL="6183" marR="6183" marT="6183"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solidFill>
                  </a:tcPr>
                </a:tc>
                <a:tc>
                  <a:txBody>
                    <a:bodyPr/>
                    <a:lstStyle/>
                    <a:p>
                      <a:pPr algn="ctr" fontAlgn="ctr"/>
                      <a:r>
                        <a:rPr lang="en-US" sz="2000" u="none" strike="noStrike">
                          <a:effectLst/>
                        </a:rPr>
                        <a:t>Setup</a:t>
                      </a:r>
                      <a:endParaRPr lang="en-US" sz="2000" b="0" i="0" u="none" strike="noStrike">
                        <a:solidFill>
                          <a:srgbClr val="000000"/>
                        </a:solidFill>
                        <a:effectLst/>
                        <a:latin typeface="Calibri" panose="020F0502020204030204" pitchFamily="34" charset="0"/>
                      </a:endParaRPr>
                    </a:p>
                  </a:txBody>
                  <a:tcPr marL="6183" marR="6183" marT="6183"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solidFill>
                  </a:tcPr>
                </a:tc>
                <a:tc>
                  <a:txBody>
                    <a:bodyPr/>
                    <a:lstStyle/>
                    <a:p>
                      <a:pPr algn="ctr" fontAlgn="ctr"/>
                      <a:r>
                        <a:rPr lang="en-US" sz="2000" u="none" strike="noStrike">
                          <a:effectLst/>
                        </a:rPr>
                        <a:t>15</a:t>
                      </a:r>
                      <a:endParaRPr lang="en-US" sz="2000" b="0" i="0" u="none" strike="noStrike">
                        <a:solidFill>
                          <a:srgbClr val="000000"/>
                        </a:solidFill>
                        <a:effectLst/>
                        <a:latin typeface="Calibri" panose="020F0502020204030204" pitchFamily="34" charset="0"/>
                      </a:endParaRPr>
                    </a:p>
                  </a:txBody>
                  <a:tcPr marL="6183" marR="6183" marT="6183"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solidFill>
                  </a:tcPr>
                </a:tc>
                <a:tc>
                  <a:txBody>
                    <a:bodyPr/>
                    <a:lstStyle/>
                    <a:p>
                      <a:pPr algn="l" fontAlgn="ctr"/>
                      <a:r>
                        <a:rPr lang="en-US" sz="2000" u="none" strike="noStrike">
                          <a:effectLst/>
                        </a:rPr>
                        <a:t>Setup Environment</a:t>
                      </a:r>
                      <a:endParaRPr lang="en-US" sz="2000" b="0" i="0" u="none" strike="noStrike">
                        <a:solidFill>
                          <a:srgbClr val="000000"/>
                        </a:solidFill>
                        <a:effectLst/>
                        <a:latin typeface="Calibri" panose="020F0502020204030204" pitchFamily="34" charset="0"/>
                      </a:endParaRPr>
                    </a:p>
                  </a:txBody>
                  <a:tcPr marL="6183" marR="6183" marT="6183"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2111816434"/>
                  </a:ext>
                </a:extLst>
              </a:tr>
              <a:tr h="373217">
                <a:tc>
                  <a:txBody>
                    <a:bodyPr/>
                    <a:lstStyle/>
                    <a:p>
                      <a:pPr algn="ctr" fontAlgn="ctr"/>
                      <a:r>
                        <a:rPr lang="en-US" sz="2000" u="none" strike="noStrike">
                          <a:effectLst/>
                        </a:rPr>
                        <a:t>15:15 to 15:30</a:t>
                      </a:r>
                      <a:endParaRPr lang="en-US" sz="2000" b="1" i="0" u="none" strike="noStrike">
                        <a:solidFill>
                          <a:srgbClr val="000000"/>
                        </a:solidFill>
                        <a:effectLst/>
                        <a:latin typeface="Calibri" panose="020F0502020204030204" pitchFamily="34" charset="0"/>
                      </a:endParaRPr>
                    </a:p>
                  </a:txBody>
                  <a:tcPr marL="6183" marR="6183" marT="6183"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solidFill>
                  </a:tcPr>
                </a:tc>
                <a:tc>
                  <a:txBody>
                    <a:bodyPr/>
                    <a:lstStyle/>
                    <a:p>
                      <a:pPr algn="ctr" fontAlgn="ctr"/>
                      <a:r>
                        <a:rPr lang="en-US" sz="2000" u="none" strike="noStrike">
                          <a:effectLst/>
                        </a:rPr>
                        <a:t>Afternoon Tea</a:t>
                      </a:r>
                      <a:endParaRPr lang="en-US" sz="2000" b="0" i="0" u="none" strike="noStrike">
                        <a:solidFill>
                          <a:srgbClr val="000000"/>
                        </a:solidFill>
                        <a:effectLst/>
                        <a:latin typeface="Calibri" panose="020F0502020204030204" pitchFamily="34" charset="0"/>
                      </a:endParaRPr>
                    </a:p>
                  </a:txBody>
                  <a:tcPr marL="6183" marR="6183" marT="6183"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solidFill>
                  </a:tcPr>
                </a:tc>
                <a:tc>
                  <a:txBody>
                    <a:bodyPr/>
                    <a:lstStyle/>
                    <a:p>
                      <a:pPr algn="ctr" fontAlgn="ctr"/>
                      <a:r>
                        <a:rPr lang="en-US" sz="2000" u="none" strike="noStrike">
                          <a:effectLst/>
                        </a:rPr>
                        <a:t>20</a:t>
                      </a:r>
                      <a:endParaRPr lang="en-US" sz="2000" b="0" i="0" u="none" strike="noStrike">
                        <a:solidFill>
                          <a:srgbClr val="000000"/>
                        </a:solidFill>
                        <a:effectLst/>
                        <a:latin typeface="Calibri" panose="020F0502020204030204" pitchFamily="34" charset="0"/>
                      </a:endParaRPr>
                    </a:p>
                  </a:txBody>
                  <a:tcPr marL="6183" marR="6183" marT="6183"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solidFill>
                  </a:tcPr>
                </a:tc>
                <a:tc>
                  <a:txBody>
                    <a:bodyPr/>
                    <a:lstStyle/>
                    <a:p>
                      <a:pPr algn="l" fontAlgn="ctr"/>
                      <a:endParaRPr lang="en-US" sz="2000" b="0" i="0" u="none" strike="noStrike">
                        <a:solidFill>
                          <a:srgbClr val="000000"/>
                        </a:solidFill>
                        <a:effectLst/>
                        <a:latin typeface="Calibri" panose="020F0502020204030204" pitchFamily="34" charset="0"/>
                      </a:endParaRPr>
                    </a:p>
                  </a:txBody>
                  <a:tcPr marL="6183" marR="6183" marT="6183"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4217833368"/>
                  </a:ext>
                </a:extLst>
              </a:tr>
              <a:tr h="411822">
                <a:tc>
                  <a:txBody>
                    <a:bodyPr/>
                    <a:lstStyle/>
                    <a:p>
                      <a:pPr algn="ctr" fontAlgn="ctr"/>
                      <a:r>
                        <a:rPr lang="en-US" sz="2000" u="none" strike="noStrike">
                          <a:effectLst/>
                        </a:rPr>
                        <a:t>15:30 to 16:15</a:t>
                      </a:r>
                      <a:endParaRPr lang="en-US" sz="2000" b="1" i="0" u="none" strike="noStrike">
                        <a:solidFill>
                          <a:srgbClr val="000000"/>
                        </a:solidFill>
                        <a:effectLst/>
                        <a:latin typeface="Calibri" panose="020F0502020204030204" pitchFamily="34" charset="0"/>
                      </a:endParaRPr>
                    </a:p>
                  </a:txBody>
                  <a:tcPr marL="6183" marR="6183" marT="6183"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solidFill>
                  </a:tcPr>
                </a:tc>
                <a:tc>
                  <a:txBody>
                    <a:bodyPr/>
                    <a:lstStyle/>
                    <a:p>
                      <a:pPr algn="ctr" fontAlgn="ctr"/>
                      <a:r>
                        <a:rPr lang="en-US" sz="2000" u="none" strike="noStrike">
                          <a:effectLst/>
                        </a:rPr>
                        <a:t>Gain Insights</a:t>
                      </a:r>
                      <a:endParaRPr lang="en-US" sz="2000" b="0" i="0" u="none" strike="noStrike">
                        <a:solidFill>
                          <a:srgbClr val="000000"/>
                        </a:solidFill>
                        <a:effectLst/>
                        <a:latin typeface="Calibri" panose="020F0502020204030204" pitchFamily="34" charset="0"/>
                      </a:endParaRPr>
                    </a:p>
                  </a:txBody>
                  <a:tcPr marL="6183" marR="6183" marT="6183"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solidFill>
                  </a:tcPr>
                </a:tc>
                <a:tc>
                  <a:txBody>
                    <a:bodyPr/>
                    <a:lstStyle/>
                    <a:p>
                      <a:pPr algn="ctr" fontAlgn="ctr"/>
                      <a:r>
                        <a:rPr lang="en-US" sz="2000" u="none" strike="noStrike">
                          <a:effectLst/>
                        </a:rPr>
                        <a:t>45</a:t>
                      </a:r>
                      <a:endParaRPr lang="en-US" sz="2000" b="0" i="0" u="none" strike="noStrike">
                        <a:solidFill>
                          <a:srgbClr val="000000"/>
                        </a:solidFill>
                        <a:effectLst/>
                        <a:latin typeface="Calibri" panose="020F0502020204030204" pitchFamily="34" charset="0"/>
                      </a:endParaRPr>
                    </a:p>
                  </a:txBody>
                  <a:tcPr marL="6183" marR="6183" marT="6183"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solidFill>
                  </a:tcPr>
                </a:tc>
                <a:tc>
                  <a:txBody>
                    <a:bodyPr/>
                    <a:lstStyle/>
                    <a:p>
                      <a:pPr algn="l" fontAlgn="ctr"/>
                      <a:r>
                        <a:rPr lang="en-US" sz="2000" u="none" strike="noStrike">
                          <a:effectLst/>
                        </a:rPr>
                        <a:t>Hands-on Lab</a:t>
                      </a:r>
                      <a:endParaRPr lang="en-US" sz="2000" b="0" i="0" u="none" strike="noStrike">
                        <a:solidFill>
                          <a:srgbClr val="000000"/>
                        </a:solidFill>
                        <a:effectLst/>
                        <a:latin typeface="Calibri" panose="020F0502020204030204" pitchFamily="34" charset="0"/>
                      </a:endParaRPr>
                    </a:p>
                  </a:txBody>
                  <a:tcPr marL="6183" marR="6183" marT="6183"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1920635759"/>
                  </a:ext>
                </a:extLst>
              </a:tr>
              <a:tr h="411822">
                <a:tc>
                  <a:txBody>
                    <a:bodyPr/>
                    <a:lstStyle/>
                    <a:p>
                      <a:pPr algn="ctr" fontAlgn="ctr"/>
                      <a:r>
                        <a:rPr lang="en-US" sz="2000" u="none" strike="noStrike">
                          <a:effectLst/>
                        </a:rPr>
                        <a:t>16:15 to 16:30</a:t>
                      </a:r>
                      <a:endParaRPr lang="en-US" sz="2000" b="1" i="0" u="none" strike="noStrike">
                        <a:solidFill>
                          <a:srgbClr val="000000"/>
                        </a:solidFill>
                        <a:effectLst/>
                        <a:latin typeface="Calibri" panose="020F0502020204030204" pitchFamily="34" charset="0"/>
                      </a:endParaRPr>
                    </a:p>
                  </a:txBody>
                  <a:tcPr marL="6183" marR="6183" marT="6183"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solidFill>
                  </a:tcPr>
                </a:tc>
                <a:tc>
                  <a:txBody>
                    <a:bodyPr/>
                    <a:lstStyle/>
                    <a:p>
                      <a:pPr algn="ctr" fontAlgn="ctr"/>
                      <a:r>
                        <a:rPr lang="en-US" sz="2000" u="none" strike="noStrike">
                          <a:effectLst/>
                        </a:rPr>
                        <a:t>Conclusion</a:t>
                      </a:r>
                      <a:endParaRPr lang="en-US" sz="2000" b="0" i="0" u="none" strike="noStrike">
                        <a:solidFill>
                          <a:srgbClr val="000000"/>
                        </a:solidFill>
                        <a:effectLst/>
                        <a:latin typeface="Calibri" panose="020F0502020204030204" pitchFamily="34" charset="0"/>
                      </a:endParaRPr>
                    </a:p>
                  </a:txBody>
                  <a:tcPr marL="6183" marR="6183" marT="6183"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solidFill>
                  </a:tcPr>
                </a:tc>
                <a:tc>
                  <a:txBody>
                    <a:bodyPr/>
                    <a:lstStyle/>
                    <a:p>
                      <a:pPr algn="ctr" fontAlgn="ctr"/>
                      <a:r>
                        <a:rPr lang="en-US" sz="2000" u="none" strike="noStrike">
                          <a:effectLst/>
                        </a:rPr>
                        <a:t>15</a:t>
                      </a:r>
                      <a:endParaRPr lang="en-US" sz="2000" b="0" i="0" u="none" strike="noStrike">
                        <a:solidFill>
                          <a:srgbClr val="000000"/>
                        </a:solidFill>
                        <a:effectLst/>
                        <a:latin typeface="Calibri" panose="020F0502020204030204" pitchFamily="34" charset="0"/>
                      </a:endParaRPr>
                    </a:p>
                  </a:txBody>
                  <a:tcPr marL="6183" marR="6183" marT="6183"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solidFill>
                  </a:tcPr>
                </a:tc>
                <a:tc>
                  <a:txBody>
                    <a:bodyPr/>
                    <a:lstStyle/>
                    <a:p>
                      <a:pPr algn="l" fontAlgn="ctr"/>
                      <a:r>
                        <a:rPr lang="en-US" sz="2000" u="none" strike="noStrike">
                          <a:effectLst/>
                        </a:rPr>
                        <a:t>Presentation</a:t>
                      </a:r>
                      <a:endParaRPr lang="en-US" sz="2000" b="0" i="0" u="none" strike="noStrike">
                        <a:solidFill>
                          <a:srgbClr val="000000"/>
                        </a:solidFill>
                        <a:effectLst/>
                        <a:latin typeface="Calibri" panose="020F0502020204030204" pitchFamily="34" charset="0"/>
                      </a:endParaRPr>
                    </a:p>
                  </a:txBody>
                  <a:tcPr marL="6183" marR="6183" marT="6183"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3925458470"/>
                  </a:ext>
                </a:extLst>
              </a:tr>
              <a:tr h="391669">
                <a:tc>
                  <a:txBody>
                    <a:bodyPr/>
                    <a:lstStyle/>
                    <a:p>
                      <a:pPr algn="ctr" fontAlgn="b"/>
                      <a:r>
                        <a:rPr lang="en-US" sz="2000" u="none" strike="noStrike">
                          <a:effectLst/>
                        </a:rPr>
                        <a:t>16:30</a:t>
                      </a:r>
                      <a:endParaRPr lang="en-US" sz="2000" b="1" i="0" u="none" strike="noStrike">
                        <a:solidFill>
                          <a:srgbClr val="000000"/>
                        </a:solidFill>
                        <a:effectLst/>
                        <a:latin typeface="Calibri" panose="020F0502020204030204" pitchFamily="34" charset="0"/>
                      </a:endParaRPr>
                    </a:p>
                  </a:txBody>
                  <a:tcPr marL="6183" marR="6183" marT="6183"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solidFill>
                  </a:tcPr>
                </a:tc>
                <a:tc>
                  <a:txBody>
                    <a:bodyPr/>
                    <a:lstStyle/>
                    <a:p>
                      <a:pPr algn="ctr" fontAlgn="b"/>
                      <a:r>
                        <a:rPr lang="en-US" sz="2000" u="none" strike="noStrike">
                          <a:effectLst/>
                        </a:rPr>
                        <a:t>Closing</a:t>
                      </a:r>
                      <a:endParaRPr lang="en-US" sz="2000" b="0" i="0" u="none" strike="noStrike">
                        <a:solidFill>
                          <a:srgbClr val="000000"/>
                        </a:solidFill>
                        <a:effectLst/>
                        <a:latin typeface="Calibri" panose="020F0502020204030204" pitchFamily="34" charset="0"/>
                      </a:endParaRPr>
                    </a:p>
                  </a:txBody>
                  <a:tcPr marL="6183" marR="6183" marT="6183"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solidFill>
                  </a:tcPr>
                </a:tc>
                <a:tc>
                  <a:txBody>
                    <a:bodyPr/>
                    <a:lstStyle/>
                    <a:p>
                      <a:pPr algn="ctr" fontAlgn="ctr"/>
                      <a:endParaRPr lang="en-US" sz="2000" b="0" i="0" u="none" strike="noStrike">
                        <a:solidFill>
                          <a:srgbClr val="000000"/>
                        </a:solidFill>
                        <a:effectLst/>
                        <a:latin typeface="Calibri" panose="020F0502020204030204" pitchFamily="34" charset="0"/>
                      </a:endParaRPr>
                    </a:p>
                  </a:txBody>
                  <a:tcPr marL="6183" marR="6183" marT="6183"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solidFill>
                  </a:tcPr>
                </a:tc>
                <a:tc>
                  <a:txBody>
                    <a:bodyPr/>
                    <a:lstStyle/>
                    <a:p>
                      <a:pPr algn="l" fontAlgn="b"/>
                      <a:endParaRPr lang="en-US" sz="2000" b="0" i="0" u="none" strike="noStrike" dirty="0">
                        <a:solidFill>
                          <a:srgbClr val="000000"/>
                        </a:solidFill>
                        <a:effectLst/>
                        <a:latin typeface="Calibri" panose="020F0502020204030204" pitchFamily="34" charset="0"/>
                      </a:endParaRPr>
                    </a:p>
                  </a:txBody>
                  <a:tcPr marL="6183" marR="6183" marT="6183"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4264678034"/>
                  </a:ext>
                </a:extLst>
              </a:tr>
            </a:tbl>
          </a:graphicData>
        </a:graphic>
      </p:graphicFrame>
    </p:spTree>
    <p:extLst>
      <p:ext uri="{BB962C8B-B14F-4D97-AF65-F5344CB8AC3E}">
        <p14:creationId xmlns:p14="http://schemas.microsoft.com/office/powerpoint/2010/main" val="778315565"/>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ounded Rectangle 12"/>
          <p:cNvSpPr/>
          <p:nvPr/>
        </p:nvSpPr>
        <p:spPr bwMode="auto">
          <a:xfrm>
            <a:off x="2060521" y="1990009"/>
            <a:ext cx="8014279" cy="3910948"/>
          </a:xfrm>
          <a:prstGeom prst="roundRect">
            <a:avLst>
              <a:gd name="adj" fmla="val 4889"/>
            </a:avLst>
          </a:prstGeom>
          <a:solidFill>
            <a:schemeClr val="bg1">
              <a:lumMod val="40000"/>
              <a:lumOff val="60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marL="0" marR="0" lvl="0" indent="0" defTabSz="913748"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1" name="Group 40"/>
          <p:cNvGrpSpPr/>
          <p:nvPr/>
        </p:nvGrpSpPr>
        <p:grpSpPr>
          <a:xfrm>
            <a:off x="5918331" y="3730769"/>
            <a:ext cx="453365" cy="266993"/>
            <a:chOff x="4924540" y="2915646"/>
            <a:chExt cx="462708" cy="272496"/>
          </a:xfrm>
          <a:solidFill>
            <a:schemeClr val="tx1"/>
          </a:solidFill>
        </p:grpSpPr>
        <p:sp>
          <p:nvSpPr>
            <p:cNvPr id="39" name="Rectangle 38"/>
            <p:cNvSpPr/>
            <p:nvPr/>
          </p:nvSpPr>
          <p:spPr bwMode="auto">
            <a:xfrm>
              <a:off x="4924540" y="2915646"/>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7" tIns="143349" rIns="179187" bIns="143349" numCol="1" spcCol="0" rtlCol="0" fromWordArt="0" anchor="t" anchorCtr="0" forceAA="0" compatLnSpc="1">
              <a:prstTxWarp prst="textNoShape">
                <a:avLst/>
              </a:prstTxWarp>
              <a:noAutofit/>
            </a:bodyPr>
            <a:lstStyle/>
            <a:p>
              <a:pPr marL="0" marR="0" lvl="0" indent="0" algn="ctr" defTabSz="913573"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 name="Rectangle 39"/>
            <p:cNvSpPr/>
            <p:nvPr/>
          </p:nvSpPr>
          <p:spPr bwMode="auto">
            <a:xfrm>
              <a:off x="4924540" y="3102933"/>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7" tIns="143349" rIns="179187" bIns="143349" numCol="1" spcCol="0" rtlCol="0" fromWordArt="0" anchor="t" anchorCtr="0" forceAA="0" compatLnSpc="1">
              <a:prstTxWarp prst="textNoShape">
                <a:avLst/>
              </a:prstTxWarp>
              <a:noAutofit/>
            </a:bodyPr>
            <a:lstStyle/>
            <a:p>
              <a:pPr marL="0" marR="0" lvl="0" indent="0" algn="ctr" defTabSz="913573"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9" name="Title 2"/>
          <p:cNvSpPr txBox="1">
            <a:spLocks/>
          </p:cNvSpPr>
          <p:nvPr/>
        </p:nvSpPr>
        <p:spPr>
          <a:xfrm>
            <a:off x="517836" y="440716"/>
            <a:ext cx="11083925" cy="899048"/>
          </a:xfrm>
          <a:prstGeom prst="rect">
            <a:avLst/>
          </a:prstGeom>
        </p:spPr>
        <p:txBody>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0" marR="0" lvl="0" indent="0" algn="ctr" defTabSz="895867" rtl="0" eaLnBrk="1" fontAlgn="auto" latinLnBrk="0" hangingPunct="1">
              <a:lnSpc>
                <a:spcPct val="100000"/>
              </a:lnSpc>
              <a:spcBef>
                <a:spcPct val="0"/>
              </a:spcBef>
              <a:spcAft>
                <a:spcPts val="588"/>
              </a:spcAft>
              <a:buClrTx/>
              <a:buSzTx/>
              <a:buFontTx/>
              <a:buNone/>
              <a:tabLst/>
              <a:defRPr/>
            </a:pPr>
            <a:r>
              <a:rPr kumimoji="0" lang="en-US" sz="4704" b="0" i="0" u="none" strike="noStrike" kern="1200" cap="none" spc="0" normalizeH="0" baseline="0" noProof="0" dirty="0">
                <a:ln>
                  <a:noFill/>
                </a:ln>
                <a:gradFill>
                  <a:gsLst>
                    <a:gs pos="19469">
                      <a:srgbClr val="FFFFFF"/>
                    </a:gs>
                    <a:gs pos="75221">
                      <a:srgbClr val="FFFFFF"/>
                    </a:gs>
                  </a:gsLst>
                  <a:lin ang="5400000" scaled="1"/>
                </a:gradFill>
                <a:effectLst/>
                <a:uLnTx/>
                <a:uFillTx/>
                <a:latin typeface="Segoe UI Light"/>
                <a:ea typeface="+mj-ea"/>
                <a:cs typeface="+mj-cs"/>
              </a:rPr>
              <a:t>Azure App Service</a:t>
            </a:r>
            <a:br>
              <a:rPr kumimoji="0" lang="en-US" sz="4704" b="0" i="0" u="none" strike="noStrike" kern="1200" cap="none" spc="0" normalizeH="0" baseline="0" noProof="0" dirty="0">
                <a:ln>
                  <a:noFill/>
                </a:ln>
                <a:gradFill>
                  <a:gsLst>
                    <a:gs pos="19469">
                      <a:srgbClr val="FFFFFF"/>
                    </a:gs>
                    <a:gs pos="75221">
                      <a:srgbClr val="FFFFFF"/>
                    </a:gs>
                  </a:gsLst>
                  <a:lin ang="5400000" scaled="1"/>
                </a:gradFill>
                <a:effectLst/>
                <a:uLnTx/>
                <a:uFillTx/>
                <a:latin typeface="Segoe UI Light"/>
                <a:ea typeface="+mj-ea"/>
                <a:cs typeface="+mj-cs"/>
              </a:rPr>
            </a:br>
            <a:r>
              <a:rPr kumimoji="0" lang="en-US" sz="3528" b="0" i="0" u="none" strike="noStrike" kern="1200" cap="none" spc="0" normalizeH="0" baseline="0" noProof="0" dirty="0">
                <a:ln>
                  <a:noFill/>
                </a:ln>
                <a:gradFill>
                  <a:gsLst>
                    <a:gs pos="885">
                      <a:srgbClr val="00BCF2"/>
                    </a:gs>
                    <a:gs pos="19469">
                      <a:srgbClr val="00BCF2"/>
                    </a:gs>
                  </a:gsLst>
                  <a:lin ang="5400000" scaled="1"/>
                </a:gradFill>
                <a:effectLst/>
                <a:uLnTx/>
                <a:uFillTx/>
                <a:latin typeface="Segoe UI Light"/>
                <a:ea typeface="+mj-ea"/>
                <a:cs typeface="+mj-cs"/>
              </a:rPr>
              <a:t>Build and scale great Web and mobile apps</a:t>
            </a:r>
            <a:endParaRPr kumimoji="0" lang="en-US" sz="1372" b="0" i="0" u="none" strike="noStrike" kern="1200" cap="none" spc="0" normalizeH="0" baseline="0" noProof="0" dirty="0">
              <a:ln>
                <a:noFill/>
              </a:ln>
              <a:gradFill>
                <a:gsLst>
                  <a:gs pos="885">
                    <a:srgbClr val="00BCF2"/>
                  </a:gs>
                  <a:gs pos="19469">
                    <a:srgbClr val="00BCF2"/>
                  </a:gs>
                </a:gsLst>
                <a:lin ang="5400000" scaled="1"/>
              </a:gradFill>
              <a:effectLst/>
              <a:uLnTx/>
              <a:uFillTx/>
              <a:latin typeface="Segoe UI Light"/>
              <a:ea typeface="+mj-ea"/>
              <a:cs typeface="+mj-cs"/>
            </a:endParaRPr>
          </a:p>
        </p:txBody>
      </p:sp>
      <p:pic>
        <p:nvPicPr>
          <p:cNvPr id="30" name="Picture 29"/>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622344" y="2507917"/>
            <a:ext cx="2823018" cy="2812713"/>
          </a:xfrm>
          <a:prstGeom prst="rect">
            <a:avLst/>
          </a:prstGeom>
        </p:spPr>
      </p:pic>
      <p:grpSp>
        <p:nvGrpSpPr>
          <p:cNvPr id="3" name="Group 2"/>
          <p:cNvGrpSpPr/>
          <p:nvPr/>
        </p:nvGrpSpPr>
        <p:grpSpPr>
          <a:xfrm>
            <a:off x="6915805" y="2172951"/>
            <a:ext cx="2503915" cy="3411595"/>
            <a:chOff x="6325445" y="2030785"/>
            <a:chExt cx="2555152" cy="3481405"/>
          </a:xfrm>
        </p:grpSpPr>
        <p:pic>
          <p:nvPicPr>
            <p:cNvPr id="17" name="Picture 16"/>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6362846" y="4868862"/>
              <a:ext cx="434875" cy="434876"/>
            </a:xfrm>
            <a:prstGeom prst="flowChartOffpageConnector">
              <a:avLst/>
            </a:prstGeom>
            <a:noFill/>
          </p:spPr>
        </p:pic>
        <p:pic>
          <p:nvPicPr>
            <p:cNvPr id="32" name="Picture 31"/>
            <p:cNvPicPr>
              <a:picLocks noChangeAspect="1"/>
            </p:cNvPicPr>
            <p:nvPr/>
          </p:nvPicPr>
          <p:blipFill>
            <a:blip r:embed="rId5"/>
            <a:stretch>
              <a:fillRect/>
            </a:stretch>
          </p:blipFill>
          <p:spPr>
            <a:xfrm>
              <a:off x="6348445" y="2377802"/>
              <a:ext cx="473304" cy="462268"/>
            </a:xfrm>
            <a:prstGeom prst="rect">
              <a:avLst/>
            </a:prstGeom>
          </p:spPr>
        </p:pic>
        <p:pic>
          <p:nvPicPr>
            <p:cNvPr id="34" name="Picture 33"/>
            <p:cNvPicPr>
              <a:picLocks noChangeAspect="1"/>
            </p:cNvPicPr>
            <p:nvPr/>
          </p:nvPicPr>
          <p:blipFill>
            <a:blip r:embed="rId6"/>
            <a:stretch>
              <a:fillRect/>
            </a:stretch>
          </p:blipFill>
          <p:spPr>
            <a:xfrm>
              <a:off x="6325445" y="3961154"/>
              <a:ext cx="519305" cy="518725"/>
            </a:xfrm>
            <a:prstGeom prst="rect">
              <a:avLst/>
            </a:prstGeom>
          </p:spPr>
        </p:pic>
        <p:pic>
          <p:nvPicPr>
            <p:cNvPr id="36" name="Picture 35"/>
            <p:cNvPicPr>
              <a:picLocks noChangeAspect="1"/>
            </p:cNvPicPr>
            <p:nvPr/>
          </p:nvPicPr>
          <p:blipFill>
            <a:blip r:embed="rId7"/>
            <a:stretch>
              <a:fillRect/>
            </a:stretch>
          </p:blipFill>
          <p:spPr>
            <a:xfrm>
              <a:off x="6402625" y="3138601"/>
              <a:ext cx="364944" cy="524022"/>
            </a:xfrm>
            <a:prstGeom prst="rect">
              <a:avLst/>
            </a:prstGeom>
          </p:spPr>
        </p:pic>
        <p:sp>
          <p:nvSpPr>
            <p:cNvPr id="2" name="TextBox 1"/>
            <p:cNvSpPr txBox="1"/>
            <p:nvPr/>
          </p:nvSpPr>
          <p:spPr>
            <a:xfrm>
              <a:off x="6827873" y="2030785"/>
              <a:ext cx="2052724" cy="3481405"/>
            </a:xfrm>
            <a:prstGeom prst="rect">
              <a:avLst/>
            </a:prstGeom>
            <a:noFill/>
          </p:spPr>
          <p:txBody>
            <a:bodyPr wrap="none" lIns="179213" tIns="143370" rIns="179213" bIns="143370" rtlCol="0">
              <a:spAutoFit/>
            </a:bodyPr>
            <a:lstStyle/>
            <a:p>
              <a:pPr marL="0" marR="0" lvl="0" indent="0" defTabSz="914013" eaLnBrk="1" fontAlgn="auto" latinLnBrk="0" hangingPunct="1">
                <a:lnSpc>
                  <a:spcPct val="200000"/>
                </a:lnSpc>
                <a:spcBef>
                  <a:spcPts val="0"/>
                </a:spcBef>
                <a:spcAft>
                  <a:spcPts val="588"/>
                </a:spcAft>
                <a:buClrTx/>
                <a:buSzTx/>
                <a:buFontTx/>
                <a:buNone/>
                <a:tabLst/>
                <a:defRPr/>
              </a:pPr>
              <a:r>
                <a:rPr kumimoji="0" lang="en-US" sz="2352" b="0" i="0" u="none" strike="noStrike" kern="0" cap="none" spc="0" normalizeH="0" baseline="0" noProof="0" dirty="0">
                  <a:ln>
                    <a:noFill/>
                  </a:ln>
                  <a:gradFill>
                    <a:gsLst>
                      <a:gs pos="27434">
                        <a:srgbClr val="FFFFFF"/>
                      </a:gs>
                      <a:gs pos="58407">
                        <a:srgbClr val="FFFFFF"/>
                      </a:gs>
                    </a:gsLst>
                    <a:lin ang="5400000" scaled="0"/>
                  </a:gradFill>
                  <a:effectLst/>
                  <a:uLnTx/>
                  <a:uFillTx/>
                  <a:latin typeface="Segoe UI"/>
                  <a:ea typeface="MS PGothic" panose="020B0600070205080204" pitchFamily="34" charset="-128"/>
                </a:rPr>
                <a:t>Web apps</a:t>
              </a:r>
            </a:p>
            <a:p>
              <a:pPr marL="0" marR="0" lvl="0" indent="0" defTabSz="914013" eaLnBrk="1" fontAlgn="auto" latinLnBrk="0" hangingPunct="1">
                <a:lnSpc>
                  <a:spcPct val="200000"/>
                </a:lnSpc>
                <a:spcBef>
                  <a:spcPts val="0"/>
                </a:spcBef>
                <a:spcAft>
                  <a:spcPts val="588"/>
                </a:spcAft>
                <a:buClrTx/>
                <a:buSzTx/>
                <a:buFontTx/>
                <a:buNone/>
                <a:tabLst/>
                <a:defRPr/>
              </a:pPr>
              <a:r>
                <a:rPr kumimoji="0" lang="en-US" sz="2352" b="0" i="0" u="none" strike="noStrike" kern="0" cap="none" spc="0" normalizeH="0" baseline="0" noProof="0" dirty="0">
                  <a:ln>
                    <a:noFill/>
                  </a:ln>
                  <a:gradFill>
                    <a:gsLst>
                      <a:gs pos="27434">
                        <a:srgbClr val="FFFFFF"/>
                      </a:gs>
                      <a:gs pos="58407">
                        <a:srgbClr val="FFFFFF"/>
                      </a:gs>
                    </a:gsLst>
                    <a:lin ang="5400000" scaled="0"/>
                  </a:gradFill>
                  <a:effectLst/>
                  <a:uLnTx/>
                  <a:uFillTx/>
                  <a:latin typeface="Segoe UI"/>
                  <a:ea typeface="MS PGothic" panose="020B0600070205080204" pitchFamily="34" charset="-128"/>
                </a:rPr>
                <a:t>Mobile apps</a:t>
              </a:r>
            </a:p>
            <a:p>
              <a:pPr marL="0" marR="0" lvl="0" indent="0" defTabSz="914013" eaLnBrk="1" fontAlgn="auto" latinLnBrk="0" hangingPunct="1">
                <a:lnSpc>
                  <a:spcPct val="200000"/>
                </a:lnSpc>
                <a:spcBef>
                  <a:spcPts val="0"/>
                </a:spcBef>
                <a:spcAft>
                  <a:spcPts val="588"/>
                </a:spcAft>
                <a:buClrTx/>
                <a:buSzTx/>
                <a:buFontTx/>
                <a:buNone/>
                <a:tabLst/>
                <a:defRPr/>
              </a:pPr>
              <a:r>
                <a:rPr kumimoji="0" lang="en-US" sz="2352" b="0" i="0" u="none" strike="noStrike" kern="0" cap="none" spc="0" normalizeH="0" baseline="0" noProof="0" dirty="0">
                  <a:ln>
                    <a:noFill/>
                  </a:ln>
                  <a:gradFill>
                    <a:gsLst>
                      <a:gs pos="27434">
                        <a:srgbClr val="FFFFFF"/>
                      </a:gs>
                      <a:gs pos="58407">
                        <a:srgbClr val="FFFFFF"/>
                      </a:gs>
                    </a:gsLst>
                    <a:lin ang="5400000" scaled="0"/>
                  </a:gradFill>
                  <a:effectLst/>
                  <a:uLnTx/>
                  <a:uFillTx/>
                  <a:latin typeface="Segoe UI"/>
                  <a:ea typeface="MS PGothic" panose="020B0600070205080204" pitchFamily="34" charset="-128"/>
                </a:rPr>
                <a:t>Logic apps</a:t>
              </a:r>
            </a:p>
            <a:p>
              <a:pPr marL="0" marR="0" lvl="0" indent="0" defTabSz="914013" eaLnBrk="1" fontAlgn="auto" latinLnBrk="0" hangingPunct="1">
                <a:lnSpc>
                  <a:spcPct val="200000"/>
                </a:lnSpc>
                <a:spcBef>
                  <a:spcPts val="0"/>
                </a:spcBef>
                <a:spcAft>
                  <a:spcPts val="588"/>
                </a:spcAft>
                <a:buClrTx/>
                <a:buSzTx/>
                <a:buFontTx/>
                <a:buNone/>
                <a:tabLst/>
                <a:defRPr/>
              </a:pPr>
              <a:r>
                <a:rPr kumimoji="0" lang="en-US" sz="2352" b="0" i="0" u="none" strike="noStrike" kern="0" cap="none" spc="0" normalizeH="0" baseline="0" noProof="0" dirty="0">
                  <a:ln>
                    <a:noFill/>
                  </a:ln>
                  <a:gradFill>
                    <a:gsLst>
                      <a:gs pos="27434">
                        <a:srgbClr val="FFFFFF"/>
                      </a:gs>
                      <a:gs pos="58407">
                        <a:srgbClr val="FFFFFF"/>
                      </a:gs>
                    </a:gsLst>
                    <a:lin ang="5400000" scaled="0"/>
                  </a:gradFill>
                  <a:effectLst/>
                  <a:uLnTx/>
                  <a:uFillTx/>
                  <a:latin typeface="Segoe UI"/>
                  <a:ea typeface="MS PGothic" panose="020B0600070205080204" pitchFamily="34" charset="-128"/>
                </a:rPr>
                <a:t>API apps</a:t>
              </a:r>
            </a:p>
          </p:txBody>
        </p:sp>
      </p:grpSp>
      <p:pic>
        <p:nvPicPr>
          <p:cNvPr id="7" name="Picture 6"/>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5499321" y="1990009"/>
            <a:ext cx="4575481" cy="3909808"/>
          </a:xfrm>
          <a:prstGeom prst="rect">
            <a:avLst/>
          </a:prstGeom>
        </p:spPr>
      </p:pic>
      <p:sp>
        <p:nvSpPr>
          <p:cNvPr id="18" name="TextBox 17"/>
          <p:cNvSpPr txBox="1"/>
          <p:nvPr/>
        </p:nvSpPr>
        <p:spPr>
          <a:xfrm>
            <a:off x="5918332" y="2230380"/>
            <a:ext cx="4304107" cy="3428043"/>
          </a:xfrm>
          <a:prstGeom prst="rect">
            <a:avLst/>
          </a:prstGeom>
          <a:noFill/>
        </p:spPr>
        <p:txBody>
          <a:bodyPr wrap="square" lIns="179213" tIns="143370" rIns="179213" bIns="143370" rtlCol="0" anchor="ctr">
            <a:spAutoFit/>
          </a:bodyPr>
          <a:lstStyle/>
          <a:p>
            <a:pPr marL="0" marR="0" lvl="0" indent="0" defTabSz="913151" eaLnBrk="0" fontAlgn="base" latinLnBrk="0" hangingPunct="0">
              <a:lnSpc>
                <a:spcPct val="100000"/>
              </a:lnSpc>
              <a:spcBef>
                <a:spcPct val="0"/>
              </a:spcBef>
              <a:spcAft>
                <a:spcPts val="1176"/>
              </a:spcAft>
              <a:buClrTx/>
              <a:buSzTx/>
              <a:buFontTx/>
              <a:buNone/>
              <a:tabLst/>
              <a:defRPr/>
            </a:pPr>
            <a:r>
              <a:rPr kumimoji="0" lang="en-US" sz="1799" b="0" i="0" u="none" strike="noStrike" kern="0" cap="none" spc="0" normalizeH="0" baseline="0" noProof="0" dirty="0">
                <a:ln>
                  <a:noFill/>
                </a:ln>
                <a:gradFill>
                  <a:gsLst>
                    <a:gs pos="40708">
                      <a:srgbClr val="505050"/>
                    </a:gs>
                    <a:gs pos="19469">
                      <a:srgbClr val="505050"/>
                    </a:gs>
                  </a:gsLst>
                  <a:lin ang="5400000" scaled="1"/>
                </a:gradFill>
                <a:effectLst/>
                <a:uLnTx/>
                <a:uFillTx/>
                <a:latin typeface="Segoe UI Semibold" panose="020B0702040204020203" pitchFamily="34" charset="0"/>
                <a:ea typeface="MS PGothic" panose="020B0600070205080204" pitchFamily="34" charset="-128"/>
                <a:cs typeface="Segoe UI Semibold" panose="020B0702040204020203" pitchFamily="34" charset="0"/>
              </a:rPr>
              <a:t>Auto-patching and auto-scale</a:t>
            </a:r>
          </a:p>
          <a:p>
            <a:pPr marL="0" marR="0" lvl="0" indent="0" defTabSz="913151" eaLnBrk="0" fontAlgn="base" latinLnBrk="0" hangingPunct="0">
              <a:lnSpc>
                <a:spcPct val="100000"/>
              </a:lnSpc>
              <a:spcBef>
                <a:spcPct val="0"/>
              </a:spcBef>
              <a:spcAft>
                <a:spcPts val="1176"/>
              </a:spcAft>
              <a:buClrTx/>
              <a:buSzTx/>
              <a:buFontTx/>
              <a:buNone/>
              <a:tabLst/>
              <a:defRPr/>
            </a:pPr>
            <a:endParaRPr kumimoji="0" lang="en-US" sz="1799" b="0" i="0" u="none" strike="noStrike" kern="0" cap="none" spc="0" normalizeH="0" baseline="0" noProof="0" dirty="0">
              <a:ln>
                <a:noFill/>
              </a:ln>
              <a:gradFill>
                <a:gsLst>
                  <a:gs pos="40708">
                    <a:srgbClr val="505050"/>
                  </a:gs>
                  <a:gs pos="19469">
                    <a:srgbClr val="505050"/>
                  </a:gs>
                </a:gsLst>
                <a:lin ang="5400000" scaled="1"/>
              </a:gradFill>
              <a:effectLst/>
              <a:uLnTx/>
              <a:uFillTx/>
              <a:latin typeface="Segoe UI Semibold" panose="020B0702040204020203" pitchFamily="34" charset="0"/>
              <a:ea typeface="MS PGothic" panose="020B0600070205080204" pitchFamily="34" charset="-128"/>
              <a:cs typeface="Segoe UI Semibold" panose="020B0702040204020203" pitchFamily="34" charset="0"/>
            </a:endParaRPr>
          </a:p>
          <a:p>
            <a:pPr marL="0" marR="0" lvl="0" indent="0" defTabSz="913151" eaLnBrk="0" fontAlgn="base" latinLnBrk="0" hangingPunct="0">
              <a:lnSpc>
                <a:spcPct val="100000"/>
              </a:lnSpc>
              <a:spcBef>
                <a:spcPct val="0"/>
              </a:spcBef>
              <a:spcAft>
                <a:spcPts val="1176"/>
              </a:spcAft>
              <a:buClrTx/>
              <a:buSzTx/>
              <a:buFontTx/>
              <a:buNone/>
              <a:tabLst/>
              <a:defRPr/>
            </a:pPr>
            <a:r>
              <a:rPr kumimoji="0" lang="en-US" sz="1799" b="0" i="0" u="none" strike="noStrike" kern="0" cap="none" spc="0" normalizeH="0" baseline="0" noProof="0" dirty="0">
                <a:ln>
                  <a:noFill/>
                </a:ln>
                <a:gradFill>
                  <a:gsLst>
                    <a:gs pos="40708">
                      <a:srgbClr val="505050"/>
                    </a:gs>
                    <a:gs pos="19469">
                      <a:srgbClr val="505050"/>
                    </a:gs>
                  </a:gsLst>
                  <a:lin ang="5400000" scaled="1"/>
                </a:gradFill>
                <a:effectLst/>
                <a:uLnTx/>
                <a:uFillTx/>
                <a:latin typeface="Segoe UI Semibold" panose="020B0702040204020203" pitchFamily="34" charset="0"/>
                <a:ea typeface="MS PGothic" panose="020B0600070205080204" pitchFamily="34" charset="-128"/>
                <a:cs typeface="Segoe UI Semibold" panose="020B0702040204020203" pitchFamily="34" charset="0"/>
              </a:rPr>
              <a:t>.NET, Java, Node.js, PHP, Python</a:t>
            </a:r>
          </a:p>
          <a:p>
            <a:pPr marL="0" marR="0" lvl="0" indent="0" defTabSz="913151" eaLnBrk="0" fontAlgn="base" latinLnBrk="0" hangingPunct="0">
              <a:lnSpc>
                <a:spcPct val="100000"/>
              </a:lnSpc>
              <a:spcBef>
                <a:spcPct val="0"/>
              </a:spcBef>
              <a:spcAft>
                <a:spcPts val="1176"/>
              </a:spcAft>
              <a:buClrTx/>
              <a:buSzTx/>
              <a:buFontTx/>
              <a:buNone/>
              <a:tabLst/>
              <a:defRPr/>
            </a:pPr>
            <a:endParaRPr kumimoji="0" lang="en-US" sz="1799" b="0" i="0" u="none" strike="noStrike" kern="0" cap="none" spc="0" normalizeH="0" baseline="0" noProof="0" dirty="0">
              <a:ln>
                <a:noFill/>
              </a:ln>
              <a:gradFill>
                <a:gsLst>
                  <a:gs pos="40708">
                    <a:srgbClr val="505050"/>
                  </a:gs>
                  <a:gs pos="19469">
                    <a:srgbClr val="505050"/>
                  </a:gs>
                </a:gsLst>
                <a:lin ang="5400000" scaled="1"/>
              </a:gradFill>
              <a:effectLst/>
              <a:uLnTx/>
              <a:uFillTx/>
              <a:latin typeface="Segoe UI Semibold" panose="020B0702040204020203" pitchFamily="34" charset="0"/>
              <a:ea typeface="MS PGothic" panose="020B0600070205080204" pitchFamily="34" charset="-128"/>
              <a:cs typeface="Segoe UI Semibold" panose="020B0702040204020203" pitchFamily="34" charset="0"/>
            </a:endParaRPr>
          </a:p>
          <a:p>
            <a:pPr marL="0" marR="0" lvl="0" indent="0" defTabSz="913151" eaLnBrk="0" fontAlgn="base" latinLnBrk="0" hangingPunct="0">
              <a:lnSpc>
                <a:spcPct val="100000"/>
              </a:lnSpc>
              <a:spcBef>
                <a:spcPct val="0"/>
              </a:spcBef>
              <a:spcAft>
                <a:spcPts val="1176"/>
              </a:spcAft>
              <a:buClrTx/>
              <a:buSzTx/>
              <a:buFontTx/>
              <a:buNone/>
              <a:tabLst/>
              <a:defRPr/>
            </a:pPr>
            <a:r>
              <a:rPr kumimoji="0" lang="en-US" sz="1799" b="0" i="0" u="none" strike="noStrike" kern="0" cap="none" spc="0" normalizeH="0" baseline="0" noProof="0" dirty="0">
                <a:ln>
                  <a:noFill/>
                </a:ln>
                <a:gradFill>
                  <a:gsLst>
                    <a:gs pos="40708">
                      <a:srgbClr val="505050"/>
                    </a:gs>
                    <a:gs pos="19469">
                      <a:srgbClr val="505050"/>
                    </a:gs>
                  </a:gsLst>
                  <a:lin ang="5400000" scaled="1"/>
                </a:gradFill>
                <a:effectLst/>
                <a:uLnTx/>
                <a:uFillTx/>
                <a:latin typeface="Segoe UI Semibold" panose="020B0702040204020203" pitchFamily="34" charset="0"/>
                <a:ea typeface="MS PGothic" panose="020B0600070205080204" pitchFamily="34" charset="-128"/>
                <a:cs typeface="Segoe UI Semibold" panose="020B0702040204020203" pitchFamily="34" charset="0"/>
              </a:rPr>
              <a:t>Integrate with SaaS and on-premises</a:t>
            </a:r>
          </a:p>
          <a:p>
            <a:pPr marL="0" marR="0" lvl="0" indent="0" defTabSz="913151" eaLnBrk="0" fontAlgn="base" latinLnBrk="0" hangingPunct="0">
              <a:lnSpc>
                <a:spcPct val="100000"/>
              </a:lnSpc>
              <a:spcBef>
                <a:spcPct val="0"/>
              </a:spcBef>
              <a:spcAft>
                <a:spcPts val="1176"/>
              </a:spcAft>
              <a:buClrTx/>
              <a:buSzTx/>
              <a:buFontTx/>
              <a:buNone/>
              <a:tabLst/>
              <a:defRPr/>
            </a:pPr>
            <a:endParaRPr kumimoji="0" lang="en-US" sz="1799" b="0" i="0" u="none" strike="noStrike" kern="0" cap="none" spc="0" normalizeH="0" baseline="0" noProof="0" dirty="0">
              <a:ln>
                <a:noFill/>
              </a:ln>
              <a:gradFill>
                <a:gsLst>
                  <a:gs pos="40708">
                    <a:srgbClr val="505050"/>
                  </a:gs>
                  <a:gs pos="19469">
                    <a:srgbClr val="505050"/>
                  </a:gs>
                </a:gsLst>
                <a:lin ang="5400000" scaled="1"/>
              </a:gradFill>
              <a:effectLst/>
              <a:uLnTx/>
              <a:uFillTx/>
              <a:latin typeface="Segoe UI Semibold" panose="020B0702040204020203" pitchFamily="34" charset="0"/>
              <a:ea typeface="MS PGothic" panose="020B0600070205080204" pitchFamily="34" charset="-128"/>
              <a:cs typeface="Segoe UI Semibold" panose="020B0702040204020203" pitchFamily="34" charset="0"/>
            </a:endParaRPr>
          </a:p>
          <a:p>
            <a:pPr marL="0" marR="0" lvl="0" indent="0" defTabSz="913151" eaLnBrk="0" fontAlgn="base" latinLnBrk="0" hangingPunct="0">
              <a:lnSpc>
                <a:spcPct val="100000"/>
              </a:lnSpc>
              <a:spcBef>
                <a:spcPct val="0"/>
              </a:spcBef>
              <a:spcAft>
                <a:spcPts val="1176"/>
              </a:spcAft>
              <a:buClrTx/>
              <a:buSzTx/>
              <a:buFontTx/>
              <a:buNone/>
              <a:tabLst/>
              <a:defRPr/>
            </a:pPr>
            <a:r>
              <a:rPr kumimoji="0" lang="en-US" sz="1799" b="0" i="0" u="none" strike="noStrike" kern="0" cap="none" spc="0" normalizeH="0" baseline="0" noProof="0" dirty="0">
                <a:ln>
                  <a:noFill/>
                </a:ln>
                <a:gradFill>
                  <a:gsLst>
                    <a:gs pos="40708">
                      <a:srgbClr val="505050"/>
                    </a:gs>
                    <a:gs pos="19469">
                      <a:srgbClr val="505050"/>
                    </a:gs>
                  </a:gsLst>
                  <a:lin ang="5400000" scaled="1"/>
                </a:gradFill>
                <a:effectLst/>
                <a:uLnTx/>
                <a:uFillTx/>
                <a:latin typeface="Segoe UI Semibold" panose="020B0702040204020203" pitchFamily="34" charset="0"/>
                <a:ea typeface="MS PGothic" panose="020B0600070205080204" pitchFamily="34" charset="-128"/>
                <a:cs typeface="Segoe UI Semibold" panose="020B0702040204020203" pitchFamily="34" charset="0"/>
              </a:rPr>
              <a:t>Continuous integration with VSTS, </a:t>
            </a:r>
            <a:r>
              <a:rPr kumimoji="0" lang="en-US" sz="1799" b="0" i="0" u="none" strike="noStrike" kern="0" cap="none" spc="0" normalizeH="0" baseline="0" noProof="0" dirty="0" err="1">
                <a:ln>
                  <a:noFill/>
                </a:ln>
                <a:gradFill>
                  <a:gsLst>
                    <a:gs pos="40708">
                      <a:srgbClr val="505050"/>
                    </a:gs>
                    <a:gs pos="19469">
                      <a:srgbClr val="505050"/>
                    </a:gs>
                  </a:gsLst>
                  <a:lin ang="5400000" scaled="1"/>
                </a:gradFill>
                <a:effectLst/>
                <a:uLnTx/>
                <a:uFillTx/>
                <a:latin typeface="Segoe UI Semibold" panose="020B0702040204020203" pitchFamily="34" charset="0"/>
                <a:ea typeface="MS PGothic" panose="020B0600070205080204" pitchFamily="34" charset="-128"/>
                <a:cs typeface="Segoe UI Semibold" panose="020B0702040204020203" pitchFamily="34" charset="0"/>
              </a:rPr>
              <a:t>Github</a:t>
            </a:r>
            <a:r>
              <a:rPr kumimoji="0" lang="en-US" sz="1799" b="0" i="0" u="none" strike="noStrike" kern="0" cap="none" spc="0" normalizeH="0" baseline="0" noProof="0" dirty="0">
                <a:ln>
                  <a:noFill/>
                </a:ln>
                <a:gradFill>
                  <a:gsLst>
                    <a:gs pos="40708">
                      <a:srgbClr val="505050"/>
                    </a:gs>
                    <a:gs pos="19469">
                      <a:srgbClr val="505050"/>
                    </a:gs>
                  </a:gsLst>
                  <a:lin ang="5400000" scaled="1"/>
                </a:gradFill>
                <a:effectLst/>
                <a:uLnTx/>
                <a:uFillTx/>
                <a:latin typeface="Segoe UI Semibold" panose="020B0702040204020203" pitchFamily="34" charset="0"/>
                <a:ea typeface="MS PGothic" panose="020B0600070205080204" pitchFamily="34" charset="-128"/>
                <a:cs typeface="Segoe UI Semibold" panose="020B0702040204020203" pitchFamily="34" charset="0"/>
              </a:rPr>
              <a:t>, </a:t>
            </a:r>
            <a:r>
              <a:rPr kumimoji="0" lang="en-US" sz="1799" b="0" i="0" u="none" strike="noStrike" kern="0" cap="none" spc="0" normalizeH="0" baseline="0" noProof="0" dirty="0" err="1">
                <a:ln>
                  <a:noFill/>
                </a:ln>
                <a:gradFill>
                  <a:gsLst>
                    <a:gs pos="40708">
                      <a:srgbClr val="505050"/>
                    </a:gs>
                    <a:gs pos="19469">
                      <a:srgbClr val="505050"/>
                    </a:gs>
                  </a:gsLst>
                  <a:lin ang="5400000" scaled="1"/>
                </a:gradFill>
                <a:effectLst/>
                <a:uLnTx/>
                <a:uFillTx/>
                <a:latin typeface="Segoe UI Semibold" panose="020B0702040204020203" pitchFamily="34" charset="0"/>
                <a:ea typeface="MS PGothic" panose="020B0600070205080204" pitchFamily="34" charset="-128"/>
                <a:cs typeface="Segoe UI Semibold" panose="020B0702040204020203" pitchFamily="34" charset="0"/>
              </a:rPr>
              <a:t>BitBucket</a:t>
            </a:r>
            <a:r>
              <a:rPr kumimoji="0" lang="en-US" sz="1799" b="0" i="0" u="none" strike="noStrike" kern="0" cap="none" spc="0" normalizeH="0" baseline="0" noProof="0" dirty="0">
                <a:ln>
                  <a:noFill/>
                </a:ln>
                <a:gradFill>
                  <a:gsLst>
                    <a:gs pos="40708">
                      <a:srgbClr val="505050"/>
                    </a:gs>
                    <a:gs pos="19469">
                      <a:srgbClr val="505050"/>
                    </a:gs>
                  </a:gsLst>
                  <a:lin ang="5400000" scaled="1"/>
                </a:gradFill>
                <a:effectLst/>
                <a:uLnTx/>
                <a:uFillTx/>
                <a:latin typeface="Segoe UI Semibold" panose="020B0702040204020203" pitchFamily="34" charset="0"/>
                <a:ea typeface="MS PGothic" panose="020B0600070205080204" pitchFamily="34" charset="-128"/>
                <a:cs typeface="Segoe UI Semibold" panose="020B0702040204020203" pitchFamily="34" charset="0"/>
              </a:rPr>
              <a:t>, and more</a:t>
            </a:r>
          </a:p>
        </p:txBody>
      </p:sp>
    </p:spTree>
    <p:extLst>
      <p:ext uri="{BB962C8B-B14F-4D97-AF65-F5344CB8AC3E}">
        <p14:creationId xmlns:p14="http://schemas.microsoft.com/office/powerpoint/2010/main" val="2708254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9"/>
                                        </p:tgtEl>
                                        <p:attrNameLst>
                                          <p:attrName>style.visibility</p:attrName>
                                        </p:attrNameLst>
                                      </p:cBhvr>
                                      <p:to>
                                        <p:strVal val="visible"/>
                                      </p:to>
                                    </p:set>
                                    <p:animEffect transition="in" filter="fade">
                                      <p:cBhvr>
                                        <p:cTn id="11" dur="500"/>
                                        <p:tgtEl>
                                          <p:spTgt spid="29"/>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30"/>
                                        </p:tgtEl>
                                        <p:attrNameLst>
                                          <p:attrName>style.visibility</p:attrName>
                                        </p:attrNameLst>
                                      </p:cBhvr>
                                      <p:to>
                                        <p:strVal val="visible"/>
                                      </p:to>
                                    </p:set>
                                    <p:animEffect transition="in" filter="fade">
                                      <p:cBhvr>
                                        <p:cTn id="15" dur="500"/>
                                        <p:tgtEl>
                                          <p:spTgt spid="30"/>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41"/>
                                        </p:tgtEl>
                                        <p:attrNameLst>
                                          <p:attrName>style.visibility</p:attrName>
                                        </p:attrNameLst>
                                      </p:cBhvr>
                                      <p:to>
                                        <p:strVal val="visible"/>
                                      </p:to>
                                    </p:set>
                                    <p:animEffect transition="in" filter="fade">
                                      <p:cBhvr>
                                        <p:cTn id="19" dur="500"/>
                                        <p:tgtEl>
                                          <p:spTgt spid="41"/>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xit" presetSubtype="0" fill="hold" nodeType="clickEffect">
                                  <p:stCondLst>
                                    <p:cond delay="0"/>
                                  </p:stCondLst>
                                  <p:childTnLst>
                                    <p:animEffect transition="out" filter="fade">
                                      <p:cBhvr>
                                        <p:cTn id="27" dur="500"/>
                                        <p:tgtEl>
                                          <p:spTgt spid="30"/>
                                        </p:tgtEl>
                                      </p:cBhvr>
                                    </p:animEffect>
                                    <p:set>
                                      <p:cBhvr>
                                        <p:cTn id="28" dur="1" fill="hold">
                                          <p:stCondLst>
                                            <p:cond delay="499"/>
                                          </p:stCondLst>
                                        </p:cTn>
                                        <p:tgtEl>
                                          <p:spTgt spid="30"/>
                                        </p:tgtEl>
                                        <p:attrNameLst>
                                          <p:attrName>style.visibility</p:attrName>
                                        </p:attrNameLst>
                                      </p:cBhvr>
                                      <p:to>
                                        <p:strVal val="hidden"/>
                                      </p:to>
                                    </p:set>
                                  </p:childTnLst>
                                </p:cTn>
                              </p:par>
                              <p:par>
                                <p:cTn id="29" presetID="10" presetClass="exit" presetSubtype="0" fill="hold" nodeType="withEffect">
                                  <p:stCondLst>
                                    <p:cond delay="0"/>
                                  </p:stCondLst>
                                  <p:childTnLst>
                                    <p:animEffect transition="out" filter="fade">
                                      <p:cBhvr>
                                        <p:cTn id="30" dur="250"/>
                                        <p:tgtEl>
                                          <p:spTgt spid="41"/>
                                        </p:tgtEl>
                                      </p:cBhvr>
                                    </p:animEffect>
                                    <p:set>
                                      <p:cBhvr>
                                        <p:cTn id="31" dur="1" fill="hold">
                                          <p:stCondLst>
                                            <p:cond delay="249"/>
                                          </p:stCondLst>
                                        </p:cTn>
                                        <p:tgtEl>
                                          <p:spTgt spid="41"/>
                                        </p:tgtEl>
                                        <p:attrNameLst>
                                          <p:attrName>style.visibility</p:attrName>
                                        </p:attrNameLst>
                                      </p:cBhvr>
                                      <p:to>
                                        <p:strVal val="hidden"/>
                                      </p:to>
                                    </p:set>
                                  </p:childTnLst>
                                </p:cTn>
                              </p:par>
                            </p:childTnLst>
                          </p:cTn>
                        </p:par>
                        <p:par>
                          <p:cTn id="32" fill="hold">
                            <p:stCondLst>
                              <p:cond delay="500"/>
                            </p:stCondLst>
                            <p:childTnLst>
                              <p:par>
                                <p:cTn id="33" presetID="35" presetClass="path" presetSubtype="0" decel="100000" fill="hold" nodeType="afterEffect">
                                  <p:stCondLst>
                                    <p:cond delay="0"/>
                                  </p:stCondLst>
                                  <p:childTnLst>
                                    <p:animMotion origin="layout" path="M 1.91728E-6 -1.69768E-6 L -0.34095 -1.69768E-6 " pathEditMode="relative" rAng="0" ptsTypes="AA">
                                      <p:cBhvr>
                                        <p:cTn id="34" dur="1500" fill="hold"/>
                                        <p:tgtEl>
                                          <p:spTgt spid="3"/>
                                        </p:tgtEl>
                                        <p:attrNameLst>
                                          <p:attrName>ppt_x</p:attrName>
                                          <p:attrName>ppt_y</p:attrName>
                                        </p:attrNameLst>
                                      </p:cBhvr>
                                      <p:rCtr x="-17054" y="0"/>
                                    </p:animMotion>
                                  </p:childTnLst>
                                </p:cTn>
                              </p:par>
                            </p:childTnLst>
                          </p:cTn>
                        </p:par>
                        <p:par>
                          <p:cTn id="35" fill="hold">
                            <p:stCondLst>
                              <p:cond delay="2000"/>
                            </p:stCondLst>
                            <p:childTnLst>
                              <p:par>
                                <p:cTn id="36" presetID="22" presetClass="entr" presetSubtype="8" fill="hold" nodeType="afterEffect">
                                  <p:stCondLst>
                                    <p:cond delay="0"/>
                                  </p:stCondLst>
                                  <p:childTnLst>
                                    <p:set>
                                      <p:cBhvr>
                                        <p:cTn id="37" dur="1" fill="hold">
                                          <p:stCondLst>
                                            <p:cond delay="0"/>
                                          </p:stCondLst>
                                        </p:cTn>
                                        <p:tgtEl>
                                          <p:spTgt spid="7"/>
                                        </p:tgtEl>
                                        <p:attrNameLst>
                                          <p:attrName>style.visibility</p:attrName>
                                        </p:attrNameLst>
                                      </p:cBhvr>
                                      <p:to>
                                        <p:strVal val="visible"/>
                                      </p:to>
                                    </p:set>
                                    <p:animEffect transition="in" filter="wipe(left)">
                                      <p:cBhvr>
                                        <p:cTn id="38" dur="250"/>
                                        <p:tgtEl>
                                          <p:spTgt spid="7"/>
                                        </p:tgtEl>
                                      </p:cBhvr>
                                    </p:animEffect>
                                  </p:childTnLst>
                                </p:cTn>
                              </p:par>
                            </p:childTnLst>
                          </p:cTn>
                        </p:par>
                        <p:par>
                          <p:cTn id="39" fill="hold">
                            <p:stCondLst>
                              <p:cond delay="2250"/>
                            </p:stCondLst>
                            <p:childTnLst>
                              <p:par>
                                <p:cTn id="40" presetID="10" presetClass="entr" presetSubtype="0" fill="hold" grpId="0" nodeType="afterEffect">
                                  <p:stCondLst>
                                    <p:cond delay="0"/>
                                  </p:stCondLst>
                                  <p:childTnLst>
                                    <p:set>
                                      <p:cBhvr>
                                        <p:cTn id="41" dur="1" fill="hold">
                                          <p:stCondLst>
                                            <p:cond delay="0"/>
                                          </p:stCondLst>
                                        </p:cTn>
                                        <p:tgtEl>
                                          <p:spTgt spid="18"/>
                                        </p:tgtEl>
                                        <p:attrNameLst>
                                          <p:attrName>style.visibility</p:attrName>
                                        </p:attrNameLst>
                                      </p:cBhvr>
                                      <p:to>
                                        <p:strVal val="visible"/>
                                      </p:to>
                                    </p:set>
                                    <p:animEffect transition="in" filter="fade">
                                      <p:cBhvr>
                                        <p:cTn id="42"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29" grpId="0"/>
      <p:bldP spid="18"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8" name="Straight Connector 27"/>
          <p:cNvCxnSpPr/>
          <p:nvPr/>
        </p:nvCxnSpPr>
        <p:spPr>
          <a:xfrm>
            <a:off x="-64092" y="1156939"/>
            <a:ext cx="8940284" cy="5787976"/>
          </a:xfrm>
          <a:prstGeom prst="line">
            <a:avLst/>
          </a:prstGeom>
          <a:ln w="19050">
            <a:solidFill>
              <a:srgbClr val="87878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3341436" y="-222417"/>
            <a:ext cx="8940284" cy="5787976"/>
          </a:xfrm>
          <a:prstGeom prst="line">
            <a:avLst/>
          </a:prstGeom>
          <a:ln w="19050">
            <a:gradFill>
              <a:gsLst>
                <a:gs pos="0">
                  <a:schemeClr val="accent2"/>
                </a:gs>
                <a:gs pos="100000">
                  <a:schemeClr val="accent2"/>
                </a:gs>
              </a:gsLst>
              <a:lin ang="5400000" scaled="1"/>
            </a:gra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Rectangle 5"/>
          <p:cNvSpPr/>
          <p:nvPr/>
        </p:nvSpPr>
        <p:spPr bwMode="auto">
          <a:xfrm>
            <a:off x="0" y="1380"/>
            <a:ext cx="6372916" cy="203089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828"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12" name="Picture 11"/>
          <p:cNvPicPr>
            <a:picLocks noChangeAspect="1"/>
          </p:cNvPicPr>
          <p:nvPr/>
        </p:nvPicPr>
        <p:blipFill>
          <a:blip r:embed="rId2"/>
          <a:stretch>
            <a:fillRect/>
          </a:stretch>
        </p:blipFill>
        <p:spPr>
          <a:xfrm>
            <a:off x="4268902" y="2575071"/>
            <a:ext cx="3560113" cy="2294861"/>
          </a:xfrm>
          <a:prstGeom prst="rect">
            <a:avLst/>
          </a:prstGeom>
        </p:spPr>
      </p:pic>
      <p:pic>
        <p:nvPicPr>
          <p:cNvPr id="7" name="Picture 6"/>
          <p:cNvPicPr>
            <a:picLocks noChangeAspect="1"/>
          </p:cNvPicPr>
          <p:nvPr/>
        </p:nvPicPr>
        <p:blipFill>
          <a:blip r:embed="rId3"/>
          <a:stretch>
            <a:fillRect/>
          </a:stretch>
        </p:blipFill>
        <p:spPr>
          <a:xfrm>
            <a:off x="5183040" y="2219356"/>
            <a:ext cx="1525715" cy="2144368"/>
          </a:xfrm>
          <a:prstGeom prst="rect">
            <a:avLst/>
          </a:prstGeom>
        </p:spPr>
      </p:pic>
      <p:pic>
        <p:nvPicPr>
          <p:cNvPr id="13" name="Picture 12"/>
          <p:cNvPicPr>
            <a:picLocks noChangeAspect="1"/>
          </p:cNvPicPr>
          <p:nvPr/>
        </p:nvPicPr>
        <p:blipFill>
          <a:blip r:embed="rId4"/>
          <a:stretch>
            <a:fillRect/>
          </a:stretch>
        </p:blipFill>
        <p:spPr>
          <a:xfrm>
            <a:off x="2199415" y="2076461"/>
            <a:ext cx="1842709" cy="1221323"/>
          </a:xfrm>
          <a:prstGeom prst="rect">
            <a:avLst/>
          </a:prstGeom>
        </p:spPr>
      </p:pic>
      <p:pic>
        <p:nvPicPr>
          <p:cNvPr id="19" name="Picture 18"/>
          <p:cNvPicPr>
            <a:picLocks noChangeAspect="1"/>
          </p:cNvPicPr>
          <p:nvPr/>
        </p:nvPicPr>
        <p:blipFill>
          <a:blip r:embed="rId5"/>
          <a:stretch>
            <a:fillRect/>
          </a:stretch>
        </p:blipFill>
        <p:spPr>
          <a:xfrm>
            <a:off x="9618375" y="3351638"/>
            <a:ext cx="932028" cy="603560"/>
          </a:xfrm>
          <a:prstGeom prst="rect">
            <a:avLst/>
          </a:prstGeom>
        </p:spPr>
      </p:pic>
      <p:pic>
        <p:nvPicPr>
          <p:cNvPr id="26" name="Picture 25"/>
          <p:cNvPicPr>
            <a:picLocks noChangeAspect="1"/>
          </p:cNvPicPr>
          <p:nvPr/>
        </p:nvPicPr>
        <p:blipFill>
          <a:blip r:embed="rId6"/>
          <a:stretch>
            <a:fillRect/>
          </a:stretch>
        </p:blipFill>
        <p:spPr>
          <a:xfrm>
            <a:off x="4922059" y="3671779"/>
            <a:ext cx="1165798" cy="749497"/>
          </a:xfrm>
          <a:prstGeom prst="rect">
            <a:avLst/>
          </a:prstGeom>
        </p:spPr>
      </p:pic>
      <p:sp>
        <p:nvSpPr>
          <p:cNvPr id="37" name="Title 1"/>
          <p:cNvSpPr txBox="1">
            <a:spLocks/>
          </p:cNvSpPr>
          <p:nvPr/>
        </p:nvSpPr>
        <p:spPr>
          <a:xfrm>
            <a:off x="269170" y="290775"/>
            <a:ext cx="11652805" cy="899303"/>
          </a:xfrm>
          <a:prstGeom prst="rect">
            <a:avLst/>
          </a:prstGeom>
          <a:effectLst>
            <a:outerShdw blurRad="520700" sx="102000" sy="102000" algn="ctr" rotWithShape="0">
              <a:prstClr val="black">
                <a:alpha val="40000"/>
              </a:prstClr>
            </a:outerShdw>
          </a:effectLst>
        </p:spPr>
        <p:txBody>
          <a:bodyPr vert="horz" wrap="square" lIns="143391" tIns="89619" rIns="143391" bIns="89619"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462" rtl="0" eaLnBrk="1" fontAlgn="auto" latinLnBrk="0" hangingPunct="1">
              <a:lnSpc>
                <a:spcPct val="90000"/>
              </a:lnSpc>
              <a:spcBef>
                <a:spcPct val="0"/>
              </a:spcBef>
              <a:spcAft>
                <a:spcPts val="0"/>
              </a:spcAft>
              <a:buClrTx/>
              <a:buSzTx/>
              <a:buFontTx/>
              <a:buNone/>
              <a:tabLst/>
              <a:defRPr/>
            </a:pPr>
            <a:r>
              <a:rPr kumimoji="0" lang="en-US" sz="4704" b="0" i="0" u="none" strike="noStrike" kern="1200" cap="none" spc="-102" normalizeH="0" baseline="0" noProof="0" dirty="0">
                <a:ln w="3175">
                  <a:noFill/>
                </a:ln>
                <a:solidFill>
                  <a:schemeClr val="bg1"/>
                </a:solidFill>
                <a:effectLst/>
                <a:uLnTx/>
                <a:uFillTx/>
                <a:latin typeface="+mj-lt"/>
                <a:ea typeface="+mn-ea"/>
                <a:cs typeface="Segoe UI" pitchFamily="34" charset="0"/>
              </a:rPr>
              <a:t>Develop apps with…</a:t>
            </a:r>
          </a:p>
        </p:txBody>
      </p:sp>
      <p:sp>
        <p:nvSpPr>
          <p:cNvPr id="38" name="Title 1"/>
          <p:cNvSpPr txBox="1">
            <a:spLocks/>
          </p:cNvSpPr>
          <p:nvPr/>
        </p:nvSpPr>
        <p:spPr>
          <a:xfrm>
            <a:off x="269170" y="1036046"/>
            <a:ext cx="11652805" cy="899303"/>
          </a:xfrm>
          <a:prstGeom prst="rect">
            <a:avLst/>
          </a:prstGeom>
          <a:effectLst>
            <a:outerShdw blurRad="520700" sx="102000" sy="102000" algn="ctr" rotWithShape="0">
              <a:prstClr val="black">
                <a:alpha val="40000"/>
              </a:prstClr>
            </a:outerShdw>
          </a:effectLst>
        </p:spPr>
        <p:txBody>
          <a:bodyPr vert="horz" wrap="square" lIns="143391" tIns="89619" rIns="143391" bIns="89619"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462" rtl="0" eaLnBrk="1" fontAlgn="auto" latinLnBrk="0" hangingPunct="1">
              <a:lnSpc>
                <a:spcPct val="90000"/>
              </a:lnSpc>
              <a:spcBef>
                <a:spcPct val="0"/>
              </a:spcBef>
              <a:spcAft>
                <a:spcPts val="0"/>
              </a:spcAft>
              <a:buClrTx/>
              <a:buSzTx/>
              <a:buFontTx/>
              <a:buNone/>
              <a:tabLst/>
              <a:defRPr/>
            </a:pPr>
            <a:r>
              <a:rPr kumimoji="0" lang="en-US" sz="2352" b="0" i="0" u="none" strike="noStrike" kern="1200" cap="none" spc="-102" normalizeH="0" baseline="0" noProof="0" dirty="0">
                <a:ln w="3175">
                  <a:noFill/>
                </a:ln>
                <a:solidFill>
                  <a:schemeClr val="bg1"/>
                </a:solidFill>
                <a:effectLst/>
                <a:uLnTx/>
                <a:uFillTx/>
                <a:latin typeface="+mj-lt"/>
                <a:ea typeface="+mn-ea"/>
                <a:cs typeface="Segoe UI" pitchFamily="34" charset="0"/>
              </a:rPr>
              <a:t>.NET  |  Node.js  |  PHP  |  Python  |  Java</a:t>
            </a:r>
          </a:p>
        </p:txBody>
      </p:sp>
      <p:pic>
        <p:nvPicPr>
          <p:cNvPr id="14" name="Picture 13"/>
          <p:cNvPicPr>
            <a:picLocks noChangeAspect="1"/>
          </p:cNvPicPr>
          <p:nvPr/>
        </p:nvPicPr>
        <p:blipFill>
          <a:blip r:embed="rId7"/>
          <a:stretch>
            <a:fillRect/>
          </a:stretch>
        </p:blipFill>
        <p:spPr>
          <a:xfrm>
            <a:off x="2757256" y="3404771"/>
            <a:ext cx="498029" cy="355036"/>
          </a:xfrm>
          <a:prstGeom prst="rect">
            <a:avLst/>
          </a:prstGeom>
        </p:spPr>
      </p:pic>
      <p:grpSp>
        <p:nvGrpSpPr>
          <p:cNvPr id="5" name="Group 4"/>
          <p:cNvGrpSpPr/>
          <p:nvPr/>
        </p:nvGrpSpPr>
        <p:grpSpPr>
          <a:xfrm>
            <a:off x="1730142" y="3699442"/>
            <a:ext cx="2313291" cy="2844181"/>
            <a:chOff x="1765295" y="3773198"/>
            <a:chExt cx="2360292" cy="2901969"/>
          </a:xfrm>
        </p:grpSpPr>
        <p:pic>
          <p:nvPicPr>
            <p:cNvPr id="43" name="Picture 42"/>
            <p:cNvPicPr>
              <a:picLocks noChangeAspect="1"/>
            </p:cNvPicPr>
            <p:nvPr/>
          </p:nvPicPr>
          <p:blipFill>
            <a:blip r:embed="rId8"/>
            <a:stretch>
              <a:fillRect/>
            </a:stretch>
          </p:blipFill>
          <p:spPr>
            <a:xfrm>
              <a:off x="1765295" y="3773198"/>
              <a:ext cx="1235610" cy="1795041"/>
            </a:xfrm>
            <a:prstGeom prst="rect">
              <a:avLst/>
            </a:prstGeom>
          </p:spPr>
        </p:pic>
        <p:pic>
          <p:nvPicPr>
            <p:cNvPr id="44" name="Picture 43"/>
            <p:cNvPicPr>
              <a:picLocks noChangeAspect="1"/>
            </p:cNvPicPr>
            <p:nvPr/>
          </p:nvPicPr>
          <p:blipFill>
            <a:blip r:embed="rId9"/>
            <a:stretch>
              <a:fillRect/>
            </a:stretch>
          </p:blipFill>
          <p:spPr>
            <a:xfrm>
              <a:off x="2120371" y="5085435"/>
              <a:ext cx="1323849" cy="1589732"/>
            </a:xfrm>
            <a:prstGeom prst="rect">
              <a:avLst/>
            </a:prstGeom>
          </p:spPr>
        </p:pic>
        <p:pic>
          <p:nvPicPr>
            <p:cNvPr id="45" name="Picture 44"/>
            <p:cNvPicPr>
              <a:picLocks noChangeAspect="1"/>
            </p:cNvPicPr>
            <p:nvPr/>
          </p:nvPicPr>
          <p:blipFill>
            <a:blip r:embed="rId10"/>
            <a:stretch>
              <a:fillRect/>
            </a:stretch>
          </p:blipFill>
          <p:spPr>
            <a:xfrm>
              <a:off x="3695028" y="5134866"/>
              <a:ext cx="430559" cy="1145897"/>
            </a:xfrm>
            <a:prstGeom prst="rect">
              <a:avLst/>
            </a:prstGeom>
          </p:spPr>
        </p:pic>
      </p:grpSp>
      <p:pic>
        <p:nvPicPr>
          <p:cNvPr id="31" name="Picture 30"/>
          <p:cNvPicPr>
            <a:picLocks noChangeAspect="1"/>
          </p:cNvPicPr>
          <p:nvPr/>
        </p:nvPicPr>
        <p:blipFill>
          <a:blip r:embed="rId11"/>
          <a:stretch>
            <a:fillRect/>
          </a:stretch>
        </p:blipFill>
        <p:spPr>
          <a:xfrm>
            <a:off x="7447651" y="982734"/>
            <a:ext cx="936002" cy="1441069"/>
          </a:xfrm>
          <a:prstGeom prst="rect">
            <a:avLst/>
          </a:prstGeom>
        </p:spPr>
      </p:pic>
    </p:spTree>
    <p:extLst>
      <p:ext uri="{BB962C8B-B14F-4D97-AF65-F5344CB8AC3E}">
        <p14:creationId xmlns:p14="http://schemas.microsoft.com/office/powerpoint/2010/main" val="22030552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wipe(left)">
                                      <p:cBhvr>
                                        <p:cTn id="7" dur="250"/>
                                        <p:tgtEl>
                                          <p:spTgt spid="29"/>
                                        </p:tgtEl>
                                      </p:cBhvr>
                                    </p:animEffect>
                                  </p:childTnLst>
                                </p:cTn>
                              </p:par>
                            </p:childTnLst>
                          </p:cTn>
                        </p:par>
                        <p:par>
                          <p:cTn id="8" fill="hold">
                            <p:stCondLst>
                              <p:cond delay="250"/>
                            </p:stCondLst>
                            <p:childTnLst>
                              <p:par>
                                <p:cTn id="9" presetID="10" presetClass="entr" presetSubtype="0" fill="hold" nodeType="afterEffect">
                                  <p:stCondLst>
                                    <p:cond delay="0"/>
                                  </p:stCondLst>
                                  <p:childTnLst>
                                    <p:set>
                                      <p:cBhvr>
                                        <p:cTn id="10" dur="1" fill="hold">
                                          <p:stCondLst>
                                            <p:cond delay="0"/>
                                          </p:stCondLst>
                                        </p:cTn>
                                        <p:tgtEl>
                                          <p:spTgt spid="31"/>
                                        </p:tgtEl>
                                        <p:attrNameLst>
                                          <p:attrName>style.visibility</p:attrName>
                                        </p:attrNameLst>
                                      </p:cBhvr>
                                      <p:to>
                                        <p:strVal val="visible"/>
                                      </p:to>
                                    </p:set>
                                    <p:animEffect transition="in" filter="fade">
                                      <p:cBhvr>
                                        <p:cTn id="11" dur="400"/>
                                        <p:tgtEl>
                                          <p:spTgt spid="31"/>
                                        </p:tgtEl>
                                      </p:cBhvr>
                                    </p:animEffect>
                                  </p:childTnLst>
                                </p:cTn>
                              </p:par>
                            </p:childTnLst>
                          </p:cTn>
                        </p:par>
                        <p:par>
                          <p:cTn id="12" fill="hold">
                            <p:stCondLst>
                              <p:cond delay="650"/>
                            </p:stCondLst>
                            <p:childTnLst>
                              <p:par>
                                <p:cTn id="13" presetID="22" presetClass="entr" presetSubtype="2" fill="hold" nodeType="afterEffect">
                                  <p:stCondLst>
                                    <p:cond delay="0"/>
                                  </p:stCondLst>
                                  <p:childTnLst>
                                    <p:set>
                                      <p:cBhvr>
                                        <p:cTn id="14" dur="1" fill="hold">
                                          <p:stCondLst>
                                            <p:cond delay="0"/>
                                          </p:stCondLst>
                                        </p:cTn>
                                        <p:tgtEl>
                                          <p:spTgt spid="28"/>
                                        </p:tgtEl>
                                        <p:attrNameLst>
                                          <p:attrName>style.visibility</p:attrName>
                                        </p:attrNameLst>
                                      </p:cBhvr>
                                      <p:to>
                                        <p:strVal val="visible"/>
                                      </p:to>
                                    </p:set>
                                    <p:animEffect transition="in" filter="wipe(right)">
                                      <p:cBhvr>
                                        <p:cTn id="15" dur="250"/>
                                        <p:tgtEl>
                                          <p:spTgt spid="28"/>
                                        </p:tgtEl>
                                      </p:cBhvr>
                                    </p:animEffect>
                                  </p:childTnLst>
                                </p:cTn>
                              </p:par>
                            </p:childTnLst>
                          </p:cTn>
                        </p:par>
                        <p:par>
                          <p:cTn id="16" fill="hold">
                            <p:stCondLst>
                              <p:cond delay="900"/>
                            </p:stCondLst>
                            <p:childTnLst>
                              <p:par>
                                <p:cTn id="17" presetID="10" presetClass="entr" presetSubtype="0" fill="hold" nodeType="after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par>
                                <p:cTn id="20" presetID="10" presetClass="entr" presetSubtype="0" fill="hold" nodeType="withEffect">
                                  <p:stCondLst>
                                    <p:cond delay="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childTnLst>
                          </p:cTn>
                        </p:par>
                        <p:par>
                          <p:cTn id="23" fill="hold">
                            <p:stCondLst>
                              <p:cond delay="1400"/>
                            </p:stCondLst>
                            <p:childTnLst>
                              <p:par>
                                <p:cTn id="24" presetID="10" presetClass="entr" presetSubtype="0" fill="hold" nodeType="afterEffect">
                                  <p:stCondLst>
                                    <p:cond delay="0"/>
                                  </p:stCondLst>
                                  <p:childTnLst>
                                    <p:set>
                                      <p:cBhvr>
                                        <p:cTn id="25" dur="1" fill="hold">
                                          <p:stCondLst>
                                            <p:cond delay="0"/>
                                          </p:stCondLst>
                                        </p:cTn>
                                        <p:tgtEl>
                                          <p:spTgt spid="19"/>
                                        </p:tgtEl>
                                        <p:attrNameLst>
                                          <p:attrName>style.visibility</p:attrName>
                                        </p:attrNameLst>
                                      </p:cBhvr>
                                      <p:to>
                                        <p:strVal val="visible"/>
                                      </p:to>
                                    </p:set>
                                    <p:animEffect transition="in" filter="fade">
                                      <p:cBhvr>
                                        <p:cTn id="26" dur="500"/>
                                        <p:tgtEl>
                                          <p:spTgt spid="19"/>
                                        </p:tgtEl>
                                      </p:cBhvr>
                                    </p:animEffect>
                                  </p:childTnLst>
                                </p:cTn>
                              </p:par>
                            </p:childTnLst>
                          </p:cTn>
                        </p:par>
                        <p:par>
                          <p:cTn id="27" fill="hold">
                            <p:stCondLst>
                              <p:cond delay="1900"/>
                            </p:stCondLst>
                            <p:childTnLst>
                              <p:par>
                                <p:cTn id="28" presetID="10" presetClass="entr" presetSubtype="0" fill="hold" nodeType="afterEffect">
                                  <p:stCondLst>
                                    <p:cond delay="0"/>
                                  </p:stCondLst>
                                  <p:childTnLst>
                                    <p:set>
                                      <p:cBhvr>
                                        <p:cTn id="29" dur="1" fill="hold">
                                          <p:stCondLst>
                                            <p:cond delay="0"/>
                                          </p:stCondLst>
                                        </p:cTn>
                                        <p:tgtEl>
                                          <p:spTgt spid="12"/>
                                        </p:tgtEl>
                                        <p:attrNameLst>
                                          <p:attrName>style.visibility</p:attrName>
                                        </p:attrNameLst>
                                      </p:cBhvr>
                                      <p:to>
                                        <p:strVal val="visible"/>
                                      </p:to>
                                    </p:set>
                                    <p:animEffect transition="in" filter="fade">
                                      <p:cBhvr>
                                        <p:cTn id="30" dur="500"/>
                                        <p:tgtEl>
                                          <p:spTgt spid="12"/>
                                        </p:tgtEl>
                                      </p:cBhvr>
                                    </p:animEffect>
                                  </p:childTnLst>
                                </p:cTn>
                              </p:par>
                              <p:par>
                                <p:cTn id="31" presetID="10" presetClass="entr" presetSubtype="0" fill="hold" nodeType="withEffect">
                                  <p:stCondLst>
                                    <p:cond delay="0"/>
                                  </p:stCondLst>
                                  <p:childTnLst>
                                    <p:set>
                                      <p:cBhvr>
                                        <p:cTn id="32" dur="1" fill="hold">
                                          <p:stCondLst>
                                            <p:cond delay="0"/>
                                          </p:stCondLst>
                                        </p:cTn>
                                        <p:tgtEl>
                                          <p:spTgt spid="13"/>
                                        </p:tgtEl>
                                        <p:attrNameLst>
                                          <p:attrName>style.visibility</p:attrName>
                                        </p:attrNameLst>
                                      </p:cBhvr>
                                      <p:to>
                                        <p:strVal val="visible"/>
                                      </p:to>
                                    </p:set>
                                    <p:animEffect transition="in" filter="fade">
                                      <p:cBhvr>
                                        <p:cTn id="33" dur="500"/>
                                        <p:tgtEl>
                                          <p:spTgt spid="13"/>
                                        </p:tgtEl>
                                      </p:cBhvr>
                                    </p:animEffect>
                                  </p:childTnLst>
                                </p:cTn>
                              </p:par>
                            </p:childTnLst>
                          </p:cTn>
                        </p:par>
                        <p:par>
                          <p:cTn id="34" fill="hold">
                            <p:stCondLst>
                              <p:cond delay="2400"/>
                            </p:stCondLst>
                            <p:childTnLst>
                              <p:par>
                                <p:cTn id="35" presetID="47" presetClass="entr" presetSubtype="0" fill="hold" nodeType="afterEffect">
                                  <p:stCondLst>
                                    <p:cond delay="0"/>
                                  </p:stCondLst>
                                  <p:childTnLst>
                                    <p:set>
                                      <p:cBhvr>
                                        <p:cTn id="36" dur="1" fill="hold">
                                          <p:stCondLst>
                                            <p:cond delay="0"/>
                                          </p:stCondLst>
                                        </p:cTn>
                                        <p:tgtEl>
                                          <p:spTgt spid="7"/>
                                        </p:tgtEl>
                                        <p:attrNameLst>
                                          <p:attrName>style.visibility</p:attrName>
                                        </p:attrNameLst>
                                      </p:cBhvr>
                                      <p:to>
                                        <p:strVal val="visible"/>
                                      </p:to>
                                    </p:set>
                                    <p:animEffect transition="in" filter="fade">
                                      <p:cBhvr>
                                        <p:cTn id="37" dur="1000"/>
                                        <p:tgtEl>
                                          <p:spTgt spid="7"/>
                                        </p:tgtEl>
                                      </p:cBhvr>
                                    </p:animEffect>
                                    <p:anim calcmode="lin" valueType="num">
                                      <p:cBhvr>
                                        <p:cTn id="38" dur="1000" fill="hold"/>
                                        <p:tgtEl>
                                          <p:spTgt spid="7"/>
                                        </p:tgtEl>
                                        <p:attrNameLst>
                                          <p:attrName>ppt_x</p:attrName>
                                        </p:attrNameLst>
                                      </p:cBhvr>
                                      <p:tavLst>
                                        <p:tav tm="0">
                                          <p:val>
                                            <p:strVal val="#ppt_x"/>
                                          </p:val>
                                        </p:tav>
                                        <p:tav tm="100000">
                                          <p:val>
                                            <p:strVal val="#ppt_x"/>
                                          </p:val>
                                        </p:tav>
                                      </p:tavLst>
                                    </p:anim>
                                    <p:anim calcmode="lin" valueType="num">
                                      <p:cBhvr>
                                        <p:cTn id="39" dur="1000" fill="hold"/>
                                        <p:tgtEl>
                                          <p:spTgt spid="7"/>
                                        </p:tgtEl>
                                        <p:attrNameLst>
                                          <p:attrName>ppt_y</p:attrName>
                                        </p:attrNameLst>
                                      </p:cBhvr>
                                      <p:tavLst>
                                        <p:tav tm="0">
                                          <p:val>
                                            <p:strVal val="#ppt_y-.1"/>
                                          </p:val>
                                        </p:tav>
                                        <p:tav tm="100000">
                                          <p:val>
                                            <p:strVal val="#ppt_y"/>
                                          </p:val>
                                        </p:tav>
                                      </p:tavLst>
                                    </p:anim>
                                  </p:childTnLst>
                                </p:cTn>
                              </p:par>
                            </p:childTnLst>
                          </p:cTn>
                        </p:par>
                        <p:par>
                          <p:cTn id="40" fill="hold">
                            <p:stCondLst>
                              <p:cond delay="3400"/>
                            </p:stCondLst>
                            <p:childTnLst>
                              <p:par>
                                <p:cTn id="41" presetID="10" presetClass="entr" presetSubtype="0" fill="hold" nodeType="afterEffect">
                                  <p:stCondLst>
                                    <p:cond delay="0"/>
                                  </p:stCondLst>
                                  <p:childTnLst>
                                    <p:set>
                                      <p:cBhvr>
                                        <p:cTn id="42" dur="1" fill="hold">
                                          <p:stCondLst>
                                            <p:cond delay="0"/>
                                          </p:stCondLst>
                                        </p:cTn>
                                        <p:tgtEl>
                                          <p:spTgt spid="26"/>
                                        </p:tgtEl>
                                        <p:attrNameLst>
                                          <p:attrName>style.visibility</p:attrName>
                                        </p:attrNameLst>
                                      </p:cBhvr>
                                      <p:to>
                                        <p:strVal val="visible"/>
                                      </p:to>
                                    </p:set>
                                    <p:animEffect transition="in" filter="fade">
                                      <p:cBhvr>
                                        <p:cTn id="43" dur="500"/>
                                        <p:tgtEl>
                                          <p:spTgt spid="26"/>
                                        </p:tgtEl>
                                      </p:cBhvr>
                                    </p:animEffect>
                                  </p:childTnLst>
                                </p:cTn>
                              </p:par>
                            </p:childTnLst>
                          </p:cTn>
                        </p:par>
                        <p:par>
                          <p:cTn id="44" fill="hold">
                            <p:stCondLst>
                              <p:cond delay="3900"/>
                            </p:stCondLst>
                            <p:childTnLst>
                              <p:par>
                                <p:cTn id="45" presetID="10" presetClass="entr" presetSubtype="0" fill="hold" grpId="0" nodeType="afterEffect">
                                  <p:stCondLst>
                                    <p:cond delay="0"/>
                                  </p:stCondLst>
                                  <p:childTnLst>
                                    <p:set>
                                      <p:cBhvr>
                                        <p:cTn id="46" dur="1" fill="hold">
                                          <p:stCondLst>
                                            <p:cond delay="0"/>
                                          </p:stCondLst>
                                        </p:cTn>
                                        <p:tgtEl>
                                          <p:spTgt spid="37"/>
                                        </p:tgtEl>
                                        <p:attrNameLst>
                                          <p:attrName>style.visibility</p:attrName>
                                        </p:attrNameLst>
                                      </p:cBhvr>
                                      <p:to>
                                        <p:strVal val="visible"/>
                                      </p:to>
                                    </p:set>
                                    <p:animEffect transition="in" filter="fade">
                                      <p:cBhvr>
                                        <p:cTn id="47" dur="500"/>
                                        <p:tgtEl>
                                          <p:spTgt spid="37"/>
                                        </p:tgtEl>
                                      </p:cBhvr>
                                    </p:animEffect>
                                  </p:childTnLst>
                                </p:cTn>
                              </p:par>
                              <p:par>
                                <p:cTn id="48" presetID="10" presetClass="entr" presetSubtype="0" fill="hold" grpId="0" nodeType="withEffect" nodePh="1">
                                  <p:stCondLst>
                                    <p:cond delay="0"/>
                                  </p:stCondLst>
                                  <p:endCondLst>
                                    <p:cond evt="begin" delay="0">
                                      <p:tn val="48"/>
                                    </p:cond>
                                  </p:endCondLst>
                                  <p:childTnLst>
                                    <p:set>
                                      <p:cBhvr>
                                        <p:cTn id="49" dur="1" fill="hold">
                                          <p:stCondLst>
                                            <p:cond delay="0"/>
                                          </p:stCondLst>
                                        </p:cTn>
                                        <p:tgtEl>
                                          <p:spTgt spid="6"/>
                                        </p:tgtEl>
                                        <p:attrNameLst>
                                          <p:attrName>style.visibility</p:attrName>
                                        </p:attrNameLst>
                                      </p:cBhvr>
                                      <p:to>
                                        <p:strVal val="visible"/>
                                      </p:to>
                                    </p:set>
                                    <p:animEffect transition="in" filter="fade">
                                      <p:cBhvr>
                                        <p:cTn id="50" dur="200"/>
                                        <p:tgtEl>
                                          <p:spTgt spid="6"/>
                                        </p:tgtEl>
                                      </p:cBhvr>
                                    </p:animEffect>
                                  </p:childTnLst>
                                </p:cTn>
                              </p:par>
                            </p:childTnLst>
                          </p:cTn>
                        </p:par>
                        <p:par>
                          <p:cTn id="51" fill="hold">
                            <p:stCondLst>
                              <p:cond delay="4400"/>
                            </p:stCondLst>
                            <p:childTnLst>
                              <p:par>
                                <p:cTn id="52" presetID="10" presetClass="entr" presetSubtype="0" fill="hold" grpId="0" nodeType="afterEffect">
                                  <p:stCondLst>
                                    <p:cond delay="0"/>
                                  </p:stCondLst>
                                  <p:childTnLst>
                                    <p:set>
                                      <p:cBhvr>
                                        <p:cTn id="53" dur="1" fill="hold">
                                          <p:stCondLst>
                                            <p:cond delay="0"/>
                                          </p:stCondLst>
                                        </p:cTn>
                                        <p:tgtEl>
                                          <p:spTgt spid="38"/>
                                        </p:tgtEl>
                                        <p:attrNameLst>
                                          <p:attrName>style.visibility</p:attrName>
                                        </p:attrNameLst>
                                      </p:cBhvr>
                                      <p:to>
                                        <p:strVal val="visible"/>
                                      </p:to>
                                    </p:set>
                                    <p:animEffect transition="in" filter="fade">
                                      <p:cBhvr>
                                        <p:cTn id="54"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37" grpId="0"/>
      <p:bldP spid="38"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999" dirty="0"/>
              <a:t>Benefits of App Services</a:t>
            </a:r>
          </a:p>
        </p:txBody>
      </p:sp>
      <p:sp>
        <p:nvSpPr>
          <p:cNvPr id="3" name="Content Placeholder 2"/>
          <p:cNvSpPr>
            <a:spLocks noGrp="1"/>
          </p:cNvSpPr>
          <p:nvPr>
            <p:ph sz="quarter" idx="10"/>
          </p:nvPr>
        </p:nvSpPr>
        <p:spPr/>
        <p:txBody>
          <a:bodyPr/>
          <a:lstStyle/>
          <a:p>
            <a:r>
              <a:rPr lang="en-US" sz="2399" dirty="0"/>
              <a:t>Automatic OS patching</a:t>
            </a:r>
          </a:p>
          <a:p>
            <a:r>
              <a:rPr lang="en-US" sz="2399" dirty="0"/>
              <a:t>Enterprise-grade security</a:t>
            </a:r>
          </a:p>
          <a:p>
            <a:r>
              <a:rPr lang="en-US" sz="2399" dirty="0"/>
              <a:t>High availability</a:t>
            </a:r>
          </a:p>
          <a:p>
            <a:pPr lvl="1"/>
            <a:r>
              <a:rPr lang="en-US" sz="2399" dirty="0"/>
              <a:t>Automated scale out/in</a:t>
            </a:r>
          </a:p>
          <a:p>
            <a:pPr lvl="1"/>
            <a:r>
              <a:rPr lang="en-US" sz="2399" dirty="0"/>
              <a:t>Built-in load balancing</a:t>
            </a:r>
          </a:p>
          <a:p>
            <a:r>
              <a:rPr lang="en-US" sz="2399" dirty="0"/>
              <a:t>Supports many languages and platforms</a:t>
            </a:r>
          </a:p>
          <a:p>
            <a:pPr lvl="1"/>
            <a:r>
              <a:rPr lang="en-US" sz="2399" dirty="0"/>
              <a:t>.NET, Node.js, Python, Ruby and many more</a:t>
            </a:r>
          </a:p>
          <a:p>
            <a:r>
              <a:rPr lang="en-US" sz="2399" dirty="0"/>
              <a:t>Easy continuous deployment</a:t>
            </a:r>
          </a:p>
          <a:p>
            <a:pPr lvl="1"/>
            <a:r>
              <a:rPr lang="en-US" sz="2399" dirty="0"/>
              <a:t>Continuous delivery from third-party source control providers</a:t>
            </a:r>
          </a:p>
          <a:p>
            <a:pPr lvl="1"/>
            <a:r>
              <a:rPr lang="en-US" sz="2399" dirty="0"/>
              <a:t>Built-in </a:t>
            </a:r>
            <a:r>
              <a:rPr lang="en-US" sz="2399" dirty="0" err="1"/>
              <a:t>Git</a:t>
            </a:r>
            <a:r>
              <a:rPr lang="en-US" sz="2399" dirty="0"/>
              <a:t> repo</a:t>
            </a:r>
          </a:p>
        </p:txBody>
      </p:sp>
    </p:spTree>
    <p:extLst>
      <p:ext uri="{BB962C8B-B14F-4D97-AF65-F5344CB8AC3E}">
        <p14:creationId xmlns:p14="http://schemas.microsoft.com/office/powerpoint/2010/main" val="3639905178"/>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What is Azure Functions?</a:t>
            </a:r>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14669" y="2179511"/>
            <a:ext cx="2561009" cy="2765608"/>
          </a:xfrm>
          <a:prstGeom prst="rect">
            <a:avLst/>
          </a:prstGeom>
        </p:spPr>
      </p:pic>
      <p:sp>
        <p:nvSpPr>
          <p:cNvPr id="6" name="Plus 5"/>
          <p:cNvSpPr/>
          <p:nvPr/>
        </p:nvSpPr>
        <p:spPr bwMode="auto">
          <a:xfrm>
            <a:off x="6111863" y="3257595"/>
            <a:ext cx="618964" cy="609441"/>
          </a:xfrm>
          <a:prstGeom prst="mathPlus">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extBox 8"/>
          <p:cNvSpPr txBox="1"/>
          <p:nvPr/>
        </p:nvSpPr>
        <p:spPr>
          <a:xfrm>
            <a:off x="3223904" y="1729228"/>
            <a:ext cx="2342540" cy="642773"/>
          </a:xfrm>
          <a:prstGeom prst="rect">
            <a:avLst/>
          </a:prstGeom>
          <a:noFill/>
        </p:spPr>
        <p:txBody>
          <a:bodyPr wrap="square" lIns="182832" tIns="146266" rIns="182832" bIns="146266" rtlCol="0">
            <a:spAutoFit/>
          </a:bodyPr>
          <a:lstStyle/>
          <a:p>
            <a:pPr algn="ctr" defTabSz="914126">
              <a:lnSpc>
                <a:spcPct val="90000"/>
              </a:lnSpc>
              <a:spcAft>
                <a:spcPts val="600"/>
              </a:spcAft>
            </a:pPr>
            <a:r>
              <a:rPr lang="en-US" sz="2399" kern="0" dirty="0">
                <a:gradFill>
                  <a:gsLst>
                    <a:gs pos="2917">
                      <a:schemeClr val="tx1"/>
                    </a:gs>
                    <a:gs pos="30000">
                      <a:schemeClr val="tx1"/>
                    </a:gs>
                  </a:gsLst>
                  <a:lin ang="5400000" scaled="0"/>
                </a:gradFill>
              </a:rPr>
              <a:t>Code</a:t>
            </a:r>
          </a:p>
        </p:txBody>
      </p:sp>
      <p:sp>
        <p:nvSpPr>
          <p:cNvPr id="10" name="TextBox 9"/>
          <p:cNvSpPr txBox="1"/>
          <p:nvPr/>
        </p:nvSpPr>
        <p:spPr>
          <a:xfrm>
            <a:off x="6967412" y="1749929"/>
            <a:ext cx="2342540" cy="642773"/>
          </a:xfrm>
          <a:prstGeom prst="rect">
            <a:avLst/>
          </a:prstGeom>
          <a:noFill/>
        </p:spPr>
        <p:txBody>
          <a:bodyPr wrap="square" lIns="182832" tIns="146266" rIns="182832" bIns="146266" rtlCol="0">
            <a:spAutoFit/>
          </a:bodyPr>
          <a:lstStyle/>
          <a:p>
            <a:pPr algn="ctr" defTabSz="914126">
              <a:lnSpc>
                <a:spcPct val="90000"/>
              </a:lnSpc>
              <a:spcAft>
                <a:spcPts val="600"/>
              </a:spcAft>
            </a:pPr>
            <a:r>
              <a:rPr lang="en-US" sz="2399" kern="0" dirty="0">
                <a:gradFill>
                  <a:gsLst>
                    <a:gs pos="2917">
                      <a:schemeClr val="tx1"/>
                    </a:gs>
                    <a:gs pos="30000">
                      <a:schemeClr val="tx1"/>
                    </a:gs>
                  </a:gsLst>
                  <a:lin ang="5400000" scaled="0"/>
                </a:gradFill>
              </a:rPr>
              <a:t>Events + data</a:t>
            </a: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819814" y="2276774"/>
            <a:ext cx="2637738" cy="2637738"/>
          </a:xfrm>
          <a:prstGeom prst="rect">
            <a:avLst/>
          </a:prstGeom>
        </p:spPr>
      </p:pic>
      <p:pic>
        <p:nvPicPr>
          <p:cNvPr id="12" name="Picture 6"/>
          <p:cNvPicPr>
            <a:picLocks noChangeAspect="1"/>
          </p:cNvPicPr>
          <p:nvPr/>
        </p:nvPicPr>
        <p:blipFill>
          <a:blip r:embed="rId4"/>
          <a:stretch>
            <a:fillRect/>
          </a:stretch>
        </p:blipFill>
        <p:spPr>
          <a:xfrm>
            <a:off x="4705558" y="2236402"/>
            <a:ext cx="2777708" cy="2777708"/>
          </a:xfrm>
          <a:prstGeom prst="rect">
            <a:avLst/>
          </a:prstGeom>
        </p:spPr>
      </p:pic>
      <p:sp>
        <p:nvSpPr>
          <p:cNvPr id="13" name="TextBox 12"/>
          <p:cNvSpPr txBox="1"/>
          <p:nvPr/>
        </p:nvSpPr>
        <p:spPr>
          <a:xfrm>
            <a:off x="4716028" y="1608701"/>
            <a:ext cx="2756769" cy="627700"/>
          </a:xfrm>
          <a:prstGeom prst="rect">
            <a:avLst/>
          </a:prstGeom>
          <a:noFill/>
        </p:spPr>
        <p:txBody>
          <a:bodyPr wrap="square" lIns="182832" tIns="146266" rIns="182832" bIns="146266" rtlCol="0">
            <a:spAutoFit/>
          </a:bodyPr>
          <a:lstStyle/>
          <a:p>
            <a:pPr algn="ctr" defTabSz="914126">
              <a:lnSpc>
                <a:spcPct val="90000"/>
              </a:lnSpc>
              <a:spcAft>
                <a:spcPts val="600"/>
              </a:spcAft>
            </a:pPr>
            <a:r>
              <a:rPr lang="en-US" sz="2399" kern="0" dirty="0">
                <a:gradFill>
                  <a:gsLst>
                    <a:gs pos="2917">
                      <a:schemeClr val="tx1"/>
                    </a:gs>
                    <a:gs pos="30000">
                      <a:schemeClr val="tx1"/>
                    </a:gs>
                  </a:gsLst>
                  <a:lin ang="5400000" scaled="0"/>
                </a:gradFill>
              </a:rPr>
              <a:t>Azure Functions</a:t>
            </a:r>
          </a:p>
        </p:txBody>
      </p:sp>
    </p:spTree>
    <p:extLst>
      <p:ext uri="{BB962C8B-B14F-4D97-AF65-F5344CB8AC3E}">
        <p14:creationId xmlns:p14="http://schemas.microsoft.com/office/powerpoint/2010/main" val="37286102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0-#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0-#ppt_w/2"/>
                                          </p:val>
                                        </p:tav>
                                        <p:tav tm="100000">
                                          <p:val>
                                            <p:strVal val="#ppt_x"/>
                                          </p:val>
                                        </p:tav>
                                      </p:tavLst>
                                    </p:anim>
                                    <p:anim calcmode="lin" valueType="num">
                                      <p:cBhvr additive="base">
                                        <p:cTn id="12" dur="500" fill="hold"/>
                                        <p:tgtEl>
                                          <p:spTgt spid="9"/>
                                        </p:tgtEl>
                                        <p:attrNameLst>
                                          <p:attrName>ppt_y</p:attrName>
                                        </p:attrNameLst>
                                      </p:cBhvr>
                                      <p:tavLst>
                                        <p:tav tm="0">
                                          <p:val>
                                            <p:strVal val="#ppt_y"/>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par>
                                <p:cTn id="18" presetID="2" presetClass="entr" presetSubtype="2" fill="hold" nodeType="withEffect">
                                  <p:stCondLst>
                                    <p:cond delay="0"/>
                                  </p:stCondLst>
                                  <p:childTnLst>
                                    <p:set>
                                      <p:cBhvr>
                                        <p:cTn id="19" dur="1" fill="hold">
                                          <p:stCondLst>
                                            <p:cond delay="0"/>
                                          </p:stCondLst>
                                        </p:cTn>
                                        <p:tgtEl>
                                          <p:spTgt spid="4"/>
                                        </p:tgtEl>
                                        <p:attrNameLst>
                                          <p:attrName>style.visibility</p:attrName>
                                        </p:attrNameLst>
                                      </p:cBhvr>
                                      <p:to>
                                        <p:strVal val="visible"/>
                                      </p:to>
                                    </p:set>
                                    <p:anim calcmode="lin" valueType="num">
                                      <p:cBhvr additive="base">
                                        <p:cTn id="20" dur="500" fill="hold"/>
                                        <p:tgtEl>
                                          <p:spTgt spid="4"/>
                                        </p:tgtEl>
                                        <p:attrNameLst>
                                          <p:attrName>ppt_x</p:attrName>
                                        </p:attrNameLst>
                                      </p:cBhvr>
                                      <p:tavLst>
                                        <p:tav tm="0">
                                          <p:val>
                                            <p:strVal val="1+#ppt_w/2"/>
                                          </p:val>
                                        </p:tav>
                                        <p:tav tm="100000">
                                          <p:val>
                                            <p:strVal val="#ppt_x"/>
                                          </p:val>
                                        </p:tav>
                                      </p:tavLst>
                                    </p:anim>
                                    <p:anim calcmode="lin" valueType="num">
                                      <p:cBhvr additive="base">
                                        <p:cTn id="21" dur="500" fill="hold"/>
                                        <p:tgtEl>
                                          <p:spTgt spid="4"/>
                                        </p:tgtEl>
                                        <p:attrNameLst>
                                          <p:attrName>ppt_y</p:attrName>
                                        </p:attrNameLst>
                                      </p:cBhvr>
                                      <p:tavLst>
                                        <p:tav tm="0">
                                          <p:val>
                                            <p:strVal val="#ppt_y"/>
                                          </p:val>
                                        </p:tav>
                                        <p:tav tm="100000">
                                          <p:val>
                                            <p:strVal val="#ppt_y"/>
                                          </p:val>
                                        </p:tav>
                                      </p:tavLst>
                                    </p:anim>
                                  </p:childTnLst>
                                </p:cTn>
                              </p:par>
                              <p:par>
                                <p:cTn id="22" presetID="2" presetClass="entr" presetSubtype="2" fill="hold" grpId="0" nodeType="withEffect">
                                  <p:stCondLst>
                                    <p:cond delay="0"/>
                                  </p:stCondLst>
                                  <p:childTnLst>
                                    <p:set>
                                      <p:cBhvr>
                                        <p:cTn id="23" dur="1" fill="hold">
                                          <p:stCondLst>
                                            <p:cond delay="0"/>
                                          </p:stCondLst>
                                        </p:cTn>
                                        <p:tgtEl>
                                          <p:spTgt spid="10"/>
                                        </p:tgtEl>
                                        <p:attrNameLst>
                                          <p:attrName>style.visibility</p:attrName>
                                        </p:attrNameLst>
                                      </p:cBhvr>
                                      <p:to>
                                        <p:strVal val="visible"/>
                                      </p:to>
                                    </p:set>
                                    <p:anim calcmode="lin" valueType="num">
                                      <p:cBhvr additive="base">
                                        <p:cTn id="24" dur="500" fill="hold"/>
                                        <p:tgtEl>
                                          <p:spTgt spid="10"/>
                                        </p:tgtEl>
                                        <p:attrNameLst>
                                          <p:attrName>ppt_x</p:attrName>
                                        </p:attrNameLst>
                                      </p:cBhvr>
                                      <p:tavLst>
                                        <p:tav tm="0">
                                          <p:val>
                                            <p:strVal val="1+#ppt_w/2"/>
                                          </p:val>
                                        </p:tav>
                                        <p:tav tm="100000">
                                          <p:val>
                                            <p:strVal val="#ppt_x"/>
                                          </p:val>
                                        </p:tav>
                                      </p:tavLst>
                                    </p:anim>
                                    <p:anim calcmode="lin" valueType="num">
                                      <p:cBhvr additive="base">
                                        <p:cTn id="25" dur="500" fill="hold"/>
                                        <p:tgtEl>
                                          <p:spTgt spid="10"/>
                                        </p:tgtEl>
                                        <p:attrNameLst>
                                          <p:attrName>ppt_y</p:attrName>
                                        </p:attrNameLst>
                                      </p:cBhvr>
                                      <p:tavLst>
                                        <p:tav tm="0">
                                          <p:val>
                                            <p:strVal val="#ppt_y"/>
                                          </p:val>
                                        </p:tav>
                                        <p:tav tm="100000">
                                          <p:val>
                                            <p:strVal val="#ppt_y"/>
                                          </p:val>
                                        </p:tav>
                                      </p:tavLst>
                                    </p:anim>
                                  </p:childTnLst>
                                </p:cTn>
                              </p:par>
                            </p:childTnLst>
                          </p:cTn>
                        </p:par>
                      </p:childTnLst>
                    </p:cTn>
                  </p:par>
                  <p:par>
                    <p:cTn id="26" fill="hold">
                      <p:stCondLst>
                        <p:cond delay="indefinite"/>
                      </p:stCondLst>
                      <p:childTnLst>
                        <p:par>
                          <p:cTn id="27" fill="hold">
                            <p:stCondLst>
                              <p:cond delay="0"/>
                            </p:stCondLst>
                            <p:childTnLst>
                              <p:par>
                                <p:cTn id="28" presetID="1" presetClass="exit" presetSubtype="0" fill="hold" grpId="1" nodeType="clickEffect">
                                  <p:stCondLst>
                                    <p:cond delay="0"/>
                                  </p:stCondLst>
                                  <p:childTnLst>
                                    <p:set>
                                      <p:cBhvr>
                                        <p:cTn id="29" dur="1" fill="hold">
                                          <p:stCondLst>
                                            <p:cond delay="0"/>
                                          </p:stCondLst>
                                        </p:cTn>
                                        <p:tgtEl>
                                          <p:spTgt spid="6"/>
                                        </p:tgtEl>
                                        <p:attrNameLst>
                                          <p:attrName>style.visibility</p:attrName>
                                        </p:attrNameLst>
                                      </p:cBhvr>
                                      <p:to>
                                        <p:strVal val="hidden"/>
                                      </p:to>
                                    </p:set>
                                  </p:childTnLst>
                                </p:cTn>
                              </p:par>
                              <p:par>
                                <p:cTn id="30" presetID="1" presetClass="exit" presetSubtype="0" fill="hold" grpId="1" nodeType="withEffect">
                                  <p:stCondLst>
                                    <p:cond delay="0"/>
                                  </p:stCondLst>
                                  <p:childTnLst>
                                    <p:set>
                                      <p:cBhvr>
                                        <p:cTn id="31" dur="1" fill="hold">
                                          <p:stCondLst>
                                            <p:cond delay="0"/>
                                          </p:stCondLst>
                                        </p:cTn>
                                        <p:tgtEl>
                                          <p:spTgt spid="9"/>
                                        </p:tgtEl>
                                        <p:attrNameLst>
                                          <p:attrName>style.visibility</p:attrName>
                                        </p:attrNameLst>
                                      </p:cBhvr>
                                      <p:to>
                                        <p:strVal val="hidden"/>
                                      </p:to>
                                    </p:set>
                                  </p:childTnLst>
                                </p:cTn>
                              </p:par>
                              <p:par>
                                <p:cTn id="32" presetID="1" presetClass="exit" presetSubtype="0" fill="hold" grpId="1" nodeType="withEffect">
                                  <p:stCondLst>
                                    <p:cond delay="0"/>
                                  </p:stCondLst>
                                  <p:childTnLst>
                                    <p:set>
                                      <p:cBhvr>
                                        <p:cTn id="33" dur="1" fill="hold">
                                          <p:stCondLst>
                                            <p:cond delay="0"/>
                                          </p:stCondLst>
                                        </p:cTn>
                                        <p:tgtEl>
                                          <p:spTgt spid="10"/>
                                        </p:tgtEl>
                                        <p:attrNameLst>
                                          <p:attrName>style.visibility</p:attrName>
                                        </p:attrNameLst>
                                      </p:cBhvr>
                                      <p:to>
                                        <p:strVal val="hidden"/>
                                      </p:to>
                                    </p:set>
                                  </p:childTnLst>
                                </p:cTn>
                              </p:par>
                              <p:par>
                                <p:cTn id="34" presetID="42" presetClass="path" presetSubtype="0" accel="50000" decel="50000" fill="hold" nodeType="withEffect">
                                  <p:stCondLst>
                                    <p:cond delay="0"/>
                                  </p:stCondLst>
                                  <p:childTnLst>
                                    <p:animMotion origin="layout" path="M 3.125E-6 -4.44444E-6 L 0.14179 -0.00092 " pathEditMode="relative" rAng="0" ptsTypes="AA">
                                      <p:cBhvr>
                                        <p:cTn id="35" dur="2000" fill="hold"/>
                                        <p:tgtEl>
                                          <p:spTgt spid="5"/>
                                        </p:tgtEl>
                                        <p:attrNameLst>
                                          <p:attrName>ppt_x</p:attrName>
                                          <p:attrName>ppt_y</p:attrName>
                                        </p:attrNameLst>
                                      </p:cBhvr>
                                      <p:rCtr x="7083" y="-46"/>
                                    </p:animMotion>
                                  </p:childTnLst>
                                </p:cTn>
                              </p:par>
                              <p:par>
                                <p:cTn id="36" presetID="42" presetClass="path" presetSubtype="0" accel="50000" decel="50000" fill="hold" nodeType="withEffect">
                                  <p:stCondLst>
                                    <p:cond delay="0"/>
                                  </p:stCondLst>
                                  <p:childTnLst>
                                    <p:animMotion origin="layout" path="M 1.66667E-6 4.44444E-6 L -0.16003 -0.00093 " pathEditMode="relative" rAng="0" ptsTypes="AA">
                                      <p:cBhvr>
                                        <p:cTn id="37" dur="2000" fill="hold"/>
                                        <p:tgtEl>
                                          <p:spTgt spid="4"/>
                                        </p:tgtEl>
                                        <p:attrNameLst>
                                          <p:attrName>ppt_x</p:attrName>
                                          <p:attrName>ppt_y</p:attrName>
                                        </p:attrNameLst>
                                      </p:cBhvr>
                                      <p:rCtr x="-8008" y="-46"/>
                                    </p:animMotion>
                                  </p:childTnLst>
                                </p:cTn>
                              </p:par>
                            </p:childTnLst>
                          </p:cTn>
                        </p:par>
                        <p:par>
                          <p:cTn id="38" fill="hold">
                            <p:stCondLst>
                              <p:cond delay="2000"/>
                            </p:stCondLst>
                            <p:childTnLst>
                              <p:par>
                                <p:cTn id="39" presetID="10" presetClass="exit" presetSubtype="0" fill="hold" nodeType="afterEffect">
                                  <p:stCondLst>
                                    <p:cond delay="0"/>
                                  </p:stCondLst>
                                  <p:childTnLst>
                                    <p:animEffect transition="out" filter="fade">
                                      <p:cBhvr>
                                        <p:cTn id="40" dur="500"/>
                                        <p:tgtEl>
                                          <p:spTgt spid="5"/>
                                        </p:tgtEl>
                                      </p:cBhvr>
                                    </p:animEffect>
                                    <p:set>
                                      <p:cBhvr>
                                        <p:cTn id="41" dur="1" fill="hold">
                                          <p:stCondLst>
                                            <p:cond delay="499"/>
                                          </p:stCondLst>
                                        </p:cTn>
                                        <p:tgtEl>
                                          <p:spTgt spid="5"/>
                                        </p:tgtEl>
                                        <p:attrNameLst>
                                          <p:attrName>style.visibility</p:attrName>
                                        </p:attrNameLst>
                                      </p:cBhvr>
                                      <p:to>
                                        <p:strVal val="hidden"/>
                                      </p:to>
                                    </p:set>
                                  </p:childTnLst>
                                </p:cTn>
                              </p:par>
                              <p:par>
                                <p:cTn id="42" presetID="10" presetClass="exit" presetSubtype="0" fill="hold" nodeType="withEffect">
                                  <p:stCondLst>
                                    <p:cond delay="0"/>
                                  </p:stCondLst>
                                  <p:childTnLst>
                                    <p:animEffect transition="out" filter="fade">
                                      <p:cBhvr>
                                        <p:cTn id="43" dur="500"/>
                                        <p:tgtEl>
                                          <p:spTgt spid="4"/>
                                        </p:tgtEl>
                                      </p:cBhvr>
                                    </p:animEffect>
                                    <p:set>
                                      <p:cBhvr>
                                        <p:cTn id="44" dur="1" fill="hold">
                                          <p:stCondLst>
                                            <p:cond delay="499"/>
                                          </p:stCondLst>
                                        </p:cTn>
                                        <p:tgtEl>
                                          <p:spTgt spid="4"/>
                                        </p:tgtEl>
                                        <p:attrNameLst>
                                          <p:attrName>style.visibility</p:attrName>
                                        </p:attrNameLst>
                                      </p:cBhvr>
                                      <p:to>
                                        <p:strVal val="hidden"/>
                                      </p:to>
                                    </p:set>
                                  </p:childTnLst>
                                </p:cTn>
                              </p:par>
                              <p:par>
                                <p:cTn id="45" presetID="10" presetClass="entr" presetSubtype="0" fill="hold" nodeType="withEffect">
                                  <p:stCondLst>
                                    <p:cond delay="0"/>
                                  </p:stCondLst>
                                  <p:childTnLst>
                                    <p:set>
                                      <p:cBhvr>
                                        <p:cTn id="46" dur="1" fill="hold">
                                          <p:stCondLst>
                                            <p:cond delay="0"/>
                                          </p:stCondLst>
                                        </p:cTn>
                                        <p:tgtEl>
                                          <p:spTgt spid="12"/>
                                        </p:tgtEl>
                                        <p:attrNameLst>
                                          <p:attrName>style.visibility</p:attrName>
                                        </p:attrNameLst>
                                      </p:cBhvr>
                                      <p:to>
                                        <p:strVal val="visible"/>
                                      </p:to>
                                    </p:set>
                                    <p:animEffect transition="in" filter="fade">
                                      <p:cBhvr>
                                        <p:cTn id="47" dur="500"/>
                                        <p:tgtEl>
                                          <p:spTgt spid="12"/>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13"/>
                                        </p:tgtEl>
                                        <p:attrNameLst>
                                          <p:attrName>style.visibility</p:attrName>
                                        </p:attrNameLst>
                                      </p:cBhvr>
                                      <p:to>
                                        <p:strVal val="visible"/>
                                      </p:to>
                                    </p:set>
                                    <p:animEffect transition="in" filter="fade">
                                      <p:cBhvr>
                                        <p:cTn id="50"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6" grpId="1" animBg="1"/>
      <p:bldP spid="9" grpId="0"/>
      <p:bldP spid="9" grpId="1"/>
      <p:bldP spid="10" grpId="0"/>
      <p:bldP spid="10" grpId="1"/>
      <p:bldP spid="13"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4705558" y="1608701"/>
            <a:ext cx="2777708" cy="3405409"/>
            <a:chOff x="4706784" y="1608227"/>
            <a:chExt cx="2778432" cy="3406296"/>
          </a:xfrm>
        </p:grpSpPr>
        <p:pic>
          <p:nvPicPr>
            <p:cNvPr id="12" name="Picture 6"/>
            <p:cNvPicPr>
              <a:picLocks noChangeAspect="1"/>
            </p:cNvPicPr>
            <p:nvPr/>
          </p:nvPicPr>
          <p:blipFill>
            <a:blip r:embed="rId3"/>
            <a:stretch>
              <a:fillRect/>
            </a:stretch>
          </p:blipFill>
          <p:spPr>
            <a:xfrm>
              <a:off x="4706784" y="2236091"/>
              <a:ext cx="2778432" cy="2778432"/>
            </a:xfrm>
            <a:prstGeom prst="rect">
              <a:avLst/>
            </a:prstGeom>
          </p:spPr>
        </p:pic>
        <p:sp>
          <p:nvSpPr>
            <p:cNvPr id="13" name="TextBox 12"/>
            <p:cNvSpPr txBox="1"/>
            <p:nvPr/>
          </p:nvSpPr>
          <p:spPr>
            <a:xfrm>
              <a:off x="4717257" y="1608227"/>
              <a:ext cx="2757487" cy="627864"/>
            </a:xfrm>
            <a:prstGeom prst="rect">
              <a:avLst/>
            </a:prstGeom>
            <a:noFill/>
          </p:spPr>
          <p:txBody>
            <a:bodyPr wrap="square" lIns="182832" tIns="146266" rIns="182832" bIns="146266" rtlCol="0">
              <a:spAutoFit/>
            </a:bodyPr>
            <a:lstStyle/>
            <a:p>
              <a:pPr marL="0" marR="0" lvl="0" indent="0" algn="ctr" defTabSz="914126" eaLnBrk="1" fontAlgn="auto" latinLnBrk="0" hangingPunct="1">
                <a:lnSpc>
                  <a:spcPct val="90000"/>
                </a:lnSpc>
                <a:spcBef>
                  <a:spcPts val="0"/>
                </a:spcBef>
                <a:spcAft>
                  <a:spcPts val="600"/>
                </a:spcAft>
                <a:buClrTx/>
                <a:buSzTx/>
                <a:buFontTx/>
                <a:buNone/>
                <a:tabLst/>
                <a:defRPr/>
              </a:pPr>
              <a:r>
                <a:rPr kumimoji="0" lang="en-US" sz="2399" b="0" i="0" u="none" strike="noStrike" kern="0" cap="none" spc="0" normalizeH="0" baseline="0" noProof="0" dirty="0">
                  <a:ln>
                    <a:noFill/>
                  </a:ln>
                  <a:gradFill>
                    <a:gsLst>
                      <a:gs pos="2917">
                        <a:schemeClr val="tx1"/>
                      </a:gs>
                      <a:gs pos="30000">
                        <a:schemeClr val="tx1"/>
                      </a:gs>
                    </a:gsLst>
                    <a:lin ang="5400000" scaled="0"/>
                  </a:gradFill>
                  <a:effectLst/>
                  <a:uLnTx/>
                  <a:uFillTx/>
                </a:rPr>
                <a:t>Azure Functions</a:t>
              </a:r>
            </a:p>
          </p:txBody>
        </p:sp>
      </p:grpSp>
      <p:sp>
        <p:nvSpPr>
          <p:cNvPr id="11" name="Text Placeholder 4"/>
          <p:cNvSpPr txBox="1">
            <a:spLocks/>
          </p:cNvSpPr>
          <p:nvPr/>
        </p:nvSpPr>
        <p:spPr>
          <a:xfrm>
            <a:off x="726250" y="1110233"/>
            <a:ext cx="7352389" cy="2252337"/>
          </a:xfrm>
          <a:prstGeom prst="rect">
            <a:avLst/>
          </a:prstGeom>
        </p:spPr>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093" rtl="0" eaLnBrk="1" fontAlgn="auto" latinLnBrk="0" hangingPunct="1">
              <a:lnSpc>
                <a:spcPct val="90000"/>
              </a:lnSpc>
              <a:spcBef>
                <a:spcPct val="20000"/>
              </a:spcBef>
              <a:spcAft>
                <a:spcPts val="0"/>
              </a:spcAft>
              <a:buClrTx/>
              <a:buSzPct val="90000"/>
              <a:buFont typeface="Arial" pitchFamily="34" charset="0"/>
              <a:buNone/>
              <a:tabLst/>
              <a:defRPr/>
            </a:pPr>
            <a:r>
              <a:rPr kumimoji="0" lang="en-US" sz="3199" b="0" i="0" u="none" strike="noStrike" kern="1200" cap="none" spc="0" normalizeH="0" baseline="0" noProof="0" dirty="0">
                <a:ln>
                  <a:noFill/>
                </a:ln>
                <a:gradFill>
                  <a:gsLst>
                    <a:gs pos="1250">
                      <a:schemeClr val="tx1"/>
                    </a:gs>
                    <a:gs pos="100000">
                      <a:schemeClr val="tx1"/>
                    </a:gs>
                  </a:gsLst>
                  <a:lin ang="5400000" scaled="0"/>
                </a:gradFill>
                <a:effectLst/>
                <a:uLnTx/>
                <a:uFillTx/>
                <a:latin typeface="+mj-lt"/>
                <a:ea typeface="+mn-ea"/>
                <a:cs typeface="+mn-cs"/>
              </a:rPr>
              <a:t>Respond to any event</a:t>
            </a:r>
          </a:p>
          <a:p>
            <a:pPr marL="0" marR="0" lvl="0" indent="0" algn="l" defTabSz="914093"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3199" b="0" i="0" u="none" strike="noStrike" kern="1200" cap="none" spc="0" normalizeH="0" baseline="0" noProof="0" dirty="0">
              <a:ln>
                <a:noFill/>
              </a:ln>
              <a:gradFill>
                <a:gsLst>
                  <a:gs pos="1250">
                    <a:schemeClr val="tx1"/>
                  </a:gs>
                  <a:gs pos="100000">
                    <a:schemeClr val="tx1"/>
                  </a:gs>
                </a:gsLst>
                <a:lin ang="5400000" scaled="0"/>
              </a:gradFill>
              <a:effectLst/>
              <a:uLnTx/>
              <a:uFillTx/>
              <a:latin typeface="+mj-lt"/>
              <a:ea typeface="+mn-ea"/>
              <a:cs typeface="+mn-cs"/>
            </a:endParaRPr>
          </a:p>
          <a:p>
            <a:pPr marL="0" marR="0" lvl="0" indent="0" algn="l" defTabSz="914093" rtl="0" eaLnBrk="1" fontAlgn="auto" latinLnBrk="0" hangingPunct="1">
              <a:lnSpc>
                <a:spcPct val="90000"/>
              </a:lnSpc>
              <a:spcBef>
                <a:spcPct val="20000"/>
              </a:spcBef>
              <a:spcAft>
                <a:spcPts val="0"/>
              </a:spcAft>
              <a:buClrTx/>
              <a:buSzPct val="90000"/>
              <a:buFont typeface="Arial" pitchFamily="34" charset="0"/>
              <a:buNone/>
              <a:tabLst/>
              <a:defRPr/>
            </a:pPr>
            <a:r>
              <a:rPr kumimoji="0" lang="en-US" sz="3199" b="0" i="0" u="none" strike="noStrike" kern="1200" cap="none" spc="0" normalizeH="0" baseline="0" noProof="0" dirty="0">
                <a:ln>
                  <a:noFill/>
                </a:ln>
                <a:gradFill>
                  <a:gsLst>
                    <a:gs pos="1250">
                      <a:schemeClr val="tx1"/>
                    </a:gs>
                    <a:gs pos="100000">
                      <a:schemeClr val="tx1"/>
                    </a:gs>
                  </a:gsLst>
                  <a:lin ang="5400000" scaled="0"/>
                </a:gradFill>
                <a:effectLst/>
                <a:uLnTx/>
                <a:uFillTx/>
                <a:latin typeface="+mj-lt"/>
                <a:ea typeface="+mn-ea"/>
                <a:cs typeface="+mn-cs"/>
              </a:rPr>
              <a:t>Develop your way</a:t>
            </a:r>
          </a:p>
          <a:p>
            <a:pPr marL="0" marR="0" lvl="0" indent="0" algn="l" defTabSz="914093"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3199" b="0" i="0" u="none" strike="noStrike" kern="1200" cap="none" spc="0" normalizeH="0" baseline="0" noProof="0" dirty="0">
              <a:ln>
                <a:noFill/>
              </a:ln>
              <a:gradFill>
                <a:gsLst>
                  <a:gs pos="1250">
                    <a:schemeClr val="tx1"/>
                  </a:gs>
                  <a:gs pos="100000">
                    <a:schemeClr val="tx1"/>
                  </a:gs>
                </a:gsLst>
                <a:lin ang="5400000" scaled="0"/>
              </a:gradFill>
              <a:effectLst/>
              <a:uLnTx/>
              <a:uFillTx/>
              <a:latin typeface="+mj-lt"/>
              <a:ea typeface="+mn-ea"/>
              <a:cs typeface="+mn-cs"/>
            </a:endParaRPr>
          </a:p>
          <a:p>
            <a:pPr marL="0" marR="0" lvl="0" indent="0" algn="l" defTabSz="914093" rtl="0" eaLnBrk="1" fontAlgn="auto" latinLnBrk="0" hangingPunct="1">
              <a:lnSpc>
                <a:spcPct val="90000"/>
              </a:lnSpc>
              <a:spcBef>
                <a:spcPct val="20000"/>
              </a:spcBef>
              <a:spcAft>
                <a:spcPts val="0"/>
              </a:spcAft>
              <a:buClrTx/>
              <a:buSzPct val="90000"/>
              <a:buFont typeface="Arial" pitchFamily="34" charset="0"/>
              <a:buNone/>
              <a:tabLst/>
              <a:defRPr/>
            </a:pPr>
            <a:r>
              <a:rPr kumimoji="0" lang="en-US" sz="3199" b="0" i="0" u="none" strike="noStrike" kern="1200" cap="none" spc="0" normalizeH="0" baseline="0" noProof="0" dirty="0">
                <a:ln>
                  <a:noFill/>
                </a:ln>
                <a:gradFill>
                  <a:gsLst>
                    <a:gs pos="1250">
                      <a:schemeClr val="tx1"/>
                    </a:gs>
                    <a:gs pos="100000">
                      <a:schemeClr val="tx1"/>
                    </a:gs>
                  </a:gsLst>
                  <a:lin ang="5400000" scaled="0"/>
                </a:gradFill>
                <a:effectLst/>
                <a:uLnTx/>
                <a:uFillTx/>
                <a:latin typeface="+mj-lt"/>
                <a:ea typeface="+mn-ea"/>
                <a:cs typeface="+mn-cs"/>
              </a:rPr>
              <a:t>Integrated DevOps</a:t>
            </a:r>
          </a:p>
          <a:p>
            <a:pPr marL="0" marR="0" lvl="0" indent="0" algn="l" defTabSz="914093"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3199" b="0" i="0" u="none" strike="noStrike" kern="1200" cap="none" spc="0" normalizeH="0" baseline="0" noProof="0" dirty="0">
              <a:ln>
                <a:noFill/>
              </a:ln>
              <a:gradFill>
                <a:gsLst>
                  <a:gs pos="1250">
                    <a:schemeClr val="tx1"/>
                  </a:gs>
                  <a:gs pos="100000">
                    <a:schemeClr val="tx1"/>
                  </a:gs>
                </a:gsLst>
                <a:lin ang="5400000" scaled="0"/>
              </a:gradFill>
              <a:effectLst/>
              <a:uLnTx/>
              <a:uFillTx/>
              <a:latin typeface="+mj-lt"/>
              <a:ea typeface="+mn-ea"/>
              <a:cs typeface="+mn-cs"/>
            </a:endParaRPr>
          </a:p>
          <a:p>
            <a:pPr marL="0" marR="0" lvl="0" indent="0" algn="l" defTabSz="914093" rtl="0" eaLnBrk="1" fontAlgn="auto" latinLnBrk="0" hangingPunct="1">
              <a:lnSpc>
                <a:spcPct val="90000"/>
              </a:lnSpc>
              <a:spcBef>
                <a:spcPct val="20000"/>
              </a:spcBef>
              <a:spcAft>
                <a:spcPts val="0"/>
              </a:spcAft>
              <a:buClrTx/>
              <a:buSzPct val="90000"/>
              <a:buFont typeface="Arial" pitchFamily="34" charset="0"/>
              <a:buNone/>
              <a:tabLst/>
              <a:defRPr/>
            </a:pPr>
            <a:r>
              <a:rPr kumimoji="0" lang="en-US" sz="3199" b="0" i="0" u="none" strike="noStrike" kern="1200" cap="none" spc="0" normalizeH="0" baseline="0" noProof="0" dirty="0">
                <a:ln>
                  <a:noFill/>
                </a:ln>
                <a:gradFill>
                  <a:gsLst>
                    <a:gs pos="1250">
                      <a:schemeClr val="tx1"/>
                    </a:gs>
                    <a:gs pos="100000">
                      <a:schemeClr val="tx1"/>
                    </a:gs>
                  </a:gsLst>
                  <a:lin ang="5400000" scaled="0"/>
                </a:gradFill>
                <a:effectLst/>
                <a:uLnTx/>
                <a:uFillTx/>
                <a:latin typeface="+mj-lt"/>
                <a:ea typeface="+mn-ea"/>
                <a:cs typeface="+mn-cs"/>
              </a:rPr>
              <a:t>Pay for what you use</a:t>
            </a:r>
          </a:p>
          <a:p>
            <a:pPr marL="0" marR="0" lvl="0" indent="0" algn="l" defTabSz="914093"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3199" b="0" i="0" u="none" strike="noStrike" kern="1200" cap="none" spc="0" normalizeH="0" baseline="0" noProof="0" dirty="0">
              <a:ln>
                <a:noFill/>
              </a:ln>
              <a:gradFill>
                <a:gsLst>
                  <a:gs pos="1250">
                    <a:schemeClr val="tx1"/>
                  </a:gs>
                  <a:gs pos="100000">
                    <a:schemeClr val="tx1"/>
                  </a:gs>
                </a:gsLst>
                <a:lin ang="5400000" scaled="0"/>
              </a:gradFill>
              <a:effectLst/>
              <a:uLnTx/>
              <a:uFillTx/>
              <a:latin typeface="+mj-lt"/>
              <a:ea typeface="+mn-ea"/>
              <a:cs typeface="+mn-cs"/>
            </a:endParaRPr>
          </a:p>
          <a:p>
            <a:pPr marL="0" marR="0" lvl="0" indent="0" algn="l" defTabSz="914093" rtl="0" eaLnBrk="1" fontAlgn="auto" latinLnBrk="0" hangingPunct="1">
              <a:lnSpc>
                <a:spcPct val="90000"/>
              </a:lnSpc>
              <a:spcBef>
                <a:spcPct val="20000"/>
              </a:spcBef>
              <a:spcAft>
                <a:spcPts val="0"/>
              </a:spcAft>
              <a:buClrTx/>
              <a:buSzPct val="90000"/>
              <a:buFont typeface="Arial" pitchFamily="34" charset="0"/>
              <a:buNone/>
              <a:tabLst/>
              <a:defRPr/>
            </a:pPr>
            <a:r>
              <a:rPr kumimoji="0" lang="en-US" sz="3199" b="0" i="0" u="none" strike="noStrike" kern="1200" cap="none" spc="0" normalizeH="0" baseline="0" noProof="0" dirty="0">
                <a:ln>
                  <a:noFill/>
                </a:ln>
                <a:gradFill>
                  <a:gsLst>
                    <a:gs pos="1250">
                      <a:schemeClr val="tx1"/>
                    </a:gs>
                    <a:gs pos="100000">
                      <a:schemeClr val="tx1"/>
                    </a:gs>
                  </a:gsLst>
                  <a:lin ang="5400000" scaled="0"/>
                </a:gradFill>
                <a:effectLst/>
                <a:uLnTx/>
                <a:uFillTx/>
                <a:latin typeface="+mj-lt"/>
                <a:ea typeface="+mn-ea"/>
                <a:cs typeface="+mn-cs"/>
              </a:rPr>
              <a:t>Fully open source</a:t>
            </a:r>
          </a:p>
          <a:p>
            <a:pPr marL="0" marR="0" lvl="0" indent="0" algn="l" defTabSz="914093"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3199" b="0" i="0" u="none" strike="noStrike" kern="1200" cap="none" spc="0" normalizeH="0" baseline="0" noProof="0" dirty="0">
              <a:ln>
                <a:noFill/>
              </a:ln>
              <a:gradFill>
                <a:gsLst>
                  <a:gs pos="1250">
                    <a:schemeClr val="tx1"/>
                  </a:gs>
                  <a:gs pos="100000">
                    <a:schemeClr val="tx1"/>
                  </a:gs>
                </a:gsLst>
                <a:lin ang="5400000" scaled="0"/>
              </a:gradFill>
              <a:effectLst/>
              <a:uLnTx/>
              <a:uFillTx/>
              <a:latin typeface="+mj-lt"/>
              <a:ea typeface="+mn-ea"/>
              <a:cs typeface="+mn-cs"/>
            </a:endParaRPr>
          </a:p>
          <a:p>
            <a:pPr marL="0" marR="0" lvl="0" indent="0" algn="l" defTabSz="914093"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3199" b="0" i="0" u="none" strike="noStrike" kern="1200" cap="none" spc="0" normalizeH="0" baseline="0" noProof="0" dirty="0">
              <a:ln>
                <a:noFill/>
              </a:ln>
              <a:gradFill>
                <a:gsLst>
                  <a:gs pos="1250">
                    <a:schemeClr val="tx1"/>
                  </a:gs>
                  <a:gs pos="100000">
                    <a:schemeClr val="tx1"/>
                  </a:gs>
                </a:gsLst>
                <a:lin ang="5400000" scaled="0"/>
              </a:gradFill>
              <a:effectLst/>
              <a:uLnTx/>
              <a:uFillTx/>
              <a:latin typeface="+mj-lt"/>
              <a:ea typeface="+mn-ea"/>
              <a:cs typeface="+mn-cs"/>
            </a:endParaRPr>
          </a:p>
        </p:txBody>
      </p:sp>
    </p:spTree>
    <p:extLst>
      <p:ext uri="{BB962C8B-B14F-4D97-AF65-F5344CB8AC3E}">
        <p14:creationId xmlns:p14="http://schemas.microsoft.com/office/powerpoint/2010/main" val="11772548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nodeType="clickEffect">
                                  <p:stCondLst>
                                    <p:cond delay="0"/>
                                  </p:stCondLst>
                                  <p:childTnLst>
                                    <p:animMotion origin="layout" path="M 0 -3.7037E-7 L 0.19661 -0.00093 " pathEditMode="relative" rAng="0" ptsTypes="AA">
                                      <p:cBhvr>
                                        <p:cTn id="6" dur="2000" fill="hold"/>
                                        <p:tgtEl>
                                          <p:spTgt spid="2"/>
                                        </p:tgtEl>
                                        <p:attrNameLst>
                                          <p:attrName>ppt_x</p:attrName>
                                          <p:attrName>ppt_y</p:attrName>
                                        </p:attrNameLst>
                                      </p:cBhvr>
                                      <p:rCtr x="9831" y="-46"/>
                                    </p:animMotion>
                                  </p:childTnLst>
                                </p:cTn>
                              </p:par>
                              <p:par>
                                <p:cTn id="7" presetID="10" presetClass="entr" presetSubtype="0" fill="hold" nodeType="withEffect">
                                  <p:stCondLst>
                                    <p:cond delay="800"/>
                                  </p:stCondLst>
                                  <p:childTnLst>
                                    <p:set>
                                      <p:cBhvr>
                                        <p:cTn id="8" dur="1" fill="hold">
                                          <p:stCondLst>
                                            <p:cond delay="0"/>
                                          </p:stCondLst>
                                        </p:cTn>
                                        <p:tgtEl>
                                          <p:spTgt spid="11">
                                            <p:txEl>
                                              <p:pRg st="0" end="0"/>
                                            </p:txEl>
                                          </p:spTgt>
                                        </p:tgtEl>
                                        <p:attrNameLst>
                                          <p:attrName>style.visibility</p:attrName>
                                        </p:attrNameLst>
                                      </p:cBhvr>
                                      <p:to>
                                        <p:strVal val="visible"/>
                                      </p:to>
                                    </p:set>
                                    <p:animEffect transition="in" filter="fade">
                                      <p:cBhvr>
                                        <p:cTn id="9" dur="500"/>
                                        <p:tgtEl>
                                          <p:spTgt spid="11">
                                            <p:txEl>
                                              <p:pRg st="0" end="0"/>
                                            </p:txEl>
                                          </p:spTgt>
                                        </p:tgtEl>
                                      </p:cBhvr>
                                    </p:animEffect>
                                  </p:childTnLst>
                                </p:cTn>
                              </p:par>
                              <p:par>
                                <p:cTn id="10" presetID="10" presetClass="entr" presetSubtype="0" fill="hold" nodeType="withEffect">
                                  <p:stCondLst>
                                    <p:cond delay="800"/>
                                  </p:stCondLst>
                                  <p:childTnLst>
                                    <p:set>
                                      <p:cBhvr>
                                        <p:cTn id="11" dur="1" fill="hold">
                                          <p:stCondLst>
                                            <p:cond delay="0"/>
                                          </p:stCondLst>
                                        </p:cTn>
                                        <p:tgtEl>
                                          <p:spTgt spid="11">
                                            <p:txEl>
                                              <p:pRg st="2" end="2"/>
                                            </p:txEl>
                                          </p:spTgt>
                                        </p:tgtEl>
                                        <p:attrNameLst>
                                          <p:attrName>style.visibility</p:attrName>
                                        </p:attrNameLst>
                                      </p:cBhvr>
                                      <p:to>
                                        <p:strVal val="visible"/>
                                      </p:to>
                                    </p:set>
                                    <p:animEffect transition="in" filter="fade">
                                      <p:cBhvr>
                                        <p:cTn id="12" dur="500"/>
                                        <p:tgtEl>
                                          <p:spTgt spid="11">
                                            <p:txEl>
                                              <p:pRg st="2" end="2"/>
                                            </p:txEl>
                                          </p:spTgt>
                                        </p:tgtEl>
                                      </p:cBhvr>
                                    </p:animEffect>
                                  </p:childTnLst>
                                </p:cTn>
                              </p:par>
                              <p:par>
                                <p:cTn id="13" presetID="10" presetClass="entr" presetSubtype="0" fill="hold" nodeType="withEffect">
                                  <p:stCondLst>
                                    <p:cond delay="800"/>
                                  </p:stCondLst>
                                  <p:childTnLst>
                                    <p:set>
                                      <p:cBhvr>
                                        <p:cTn id="14" dur="1" fill="hold">
                                          <p:stCondLst>
                                            <p:cond delay="0"/>
                                          </p:stCondLst>
                                        </p:cTn>
                                        <p:tgtEl>
                                          <p:spTgt spid="11">
                                            <p:txEl>
                                              <p:pRg st="4" end="4"/>
                                            </p:txEl>
                                          </p:spTgt>
                                        </p:tgtEl>
                                        <p:attrNameLst>
                                          <p:attrName>style.visibility</p:attrName>
                                        </p:attrNameLst>
                                      </p:cBhvr>
                                      <p:to>
                                        <p:strVal val="visible"/>
                                      </p:to>
                                    </p:set>
                                    <p:animEffect transition="in" filter="fade">
                                      <p:cBhvr>
                                        <p:cTn id="15" dur="500"/>
                                        <p:tgtEl>
                                          <p:spTgt spid="11">
                                            <p:txEl>
                                              <p:pRg st="4" end="4"/>
                                            </p:txEl>
                                          </p:spTgt>
                                        </p:tgtEl>
                                      </p:cBhvr>
                                    </p:animEffect>
                                  </p:childTnLst>
                                </p:cTn>
                              </p:par>
                              <p:par>
                                <p:cTn id="16" presetID="10" presetClass="entr" presetSubtype="0" fill="hold" nodeType="withEffect">
                                  <p:stCondLst>
                                    <p:cond delay="800"/>
                                  </p:stCondLst>
                                  <p:childTnLst>
                                    <p:set>
                                      <p:cBhvr>
                                        <p:cTn id="17" dur="1" fill="hold">
                                          <p:stCondLst>
                                            <p:cond delay="0"/>
                                          </p:stCondLst>
                                        </p:cTn>
                                        <p:tgtEl>
                                          <p:spTgt spid="11">
                                            <p:txEl>
                                              <p:pRg st="6" end="6"/>
                                            </p:txEl>
                                          </p:spTgt>
                                        </p:tgtEl>
                                        <p:attrNameLst>
                                          <p:attrName>style.visibility</p:attrName>
                                        </p:attrNameLst>
                                      </p:cBhvr>
                                      <p:to>
                                        <p:strVal val="visible"/>
                                      </p:to>
                                    </p:set>
                                    <p:animEffect transition="in" filter="fade">
                                      <p:cBhvr>
                                        <p:cTn id="18" dur="500"/>
                                        <p:tgtEl>
                                          <p:spTgt spid="11">
                                            <p:txEl>
                                              <p:pRg st="6" end="6"/>
                                            </p:txEl>
                                          </p:spTgt>
                                        </p:tgtEl>
                                      </p:cBhvr>
                                    </p:animEffect>
                                  </p:childTnLst>
                                </p:cTn>
                              </p:par>
                              <p:par>
                                <p:cTn id="19" presetID="10" presetClass="entr" presetSubtype="0" fill="hold" nodeType="withEffect">
                                  <p:stCondLst>
                                    <p:cond delay="800"/>
                                  </p:stCondLst>
                                  <p:childTnLst>
                                    <p:set>
                                      <p:cBhvr>
                                        <p:cTn id="20" dur="1" fill="hold">
                                          <p:stCondLst>
                                            <p:cond delay="0"/>
                                          </p:stCondLst>
                                        </p:cTn>
                                        <p:tgtEl>
                                          <p:spTgt spid="11">
                                            <p:txEl>
                                              <p:pRg st="8" end="8"/>
                                            </p:txEl>
                                          </p:spTgt>
                                        </p:tgtEl>
                                        <p:attrNameLst>
                                          <p:attrName>style.visibility</p:attrName>
                                        </p:attrNameLst>
                                      </p:cBhvr>
                                      <p:to>
                                        <p:strVal val="visible"/>
                                      </p:to>
                                    </p:set>
                                    <p:animEffect transition="in" filter="fade">
                                      <p:cBhvr>
                                        <p:cTn id="21" dur="500"/>
                                        <p:tgtEl>
                                          <p:spTgt spid="11">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grpSp>
        <p:nvGrpSpPr>
          <p:cNvPr id="96" name="Group 95"/>
          <p:cNvGrpSpPr/>
          <p:nvPr/>
        </p:nvGrpSpPr>
        <p:grpSpPr>
          <a:xfrm>
            <a:off x="567899" y="2342684"/>
            <a:ext cx="11053027" cy="704059"/>
            <a:chOff x="579437" y="-1075563"/>
            <a:chExt cx="11277600" cy="718364"/>
          </a:xfrm>
        </p:grpSpPr>
        <p:sp>
          <p:nvSpPr>
            <p:cNvPr id="97" name="Rectangle 96"/>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98" name="Rectangle 97"/>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9" name="Rectangle 98"/>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Microsoft Enterprise Mobility Suite</a:t>
              </a:r>
            </a:p>
          </p:txBody>
        </p:sp>
        <p:sp>
          <p:nvSpPr>
            <p:cNvPr id="100" name="Rectangle 99"/>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Enterprise Mobility</a:t>
              </a:r>
            </a:p>
          </p:txBody>
        </p:sp>
      </p:grpSp>
      <p:grpSp>
        <p:nvGrpSpPr>
          <p:cNvPr id="2" name="Group 1"/>
          <p:cNvGrpSpPr/>
          <p:nvPr/>
        </p:nvGrpSpPr>
        <p:grpSpPr>
          <a:xfrm>
            <a:off x="567899" y="1632385"/>
            <a:ext cx="11053027" cy="706548"/>
            <a:chOff x="579437" y="1781105"/>
            <a:chExt cx="11277600" cy="720903"/>
          </a:xfrm>
        </p:grpSpPr>
        <p:grpSp>
          <p:nvGrpSpPr>
            <p:cNvPr id="101" name="Group 100"/>
            <p:cNvGrpSpPr/>
            <p:nvPr/>
          </p:nvGrpSpPr>
          <p:grpSpPr>
            <a:xfrm>
              <a:off x="579437" y="1781105"/>
              <a:ext cx="11277600" cy="717538"/>
              <a:chOff x="579437" y="-1074737"/>
              <a:chExt cx="11277600" cy="717538"/>
            </a:xfrm>
          </p:grpSpPr>
          <p:sp>
            <p:nvSpPr>
              <p:cNvPr id="102" name="Rectangle 101"/>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03" name="Rectangle 102"/>
              <p:cNvSpPr/>
              <p:nvPr/>
            </p:nvSpPr>
            <p:spPr bwMode="auto">
              <a:xfrm>
                <a:off x="579438" y="-1074737"/>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4" name="Rectangle 103"/>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SAAS Solutions</a:t>
                </a:r>
              </a:p>
            </p:txBody>
          </p:sp>
        </p:grpSp>
        <p:grpSp>
          <p:nvGrpSpPr>
            <p:cNvPr id="105" name="Group 104"/>
            <p:cNvGrpSpPr/>
            <p:nvPr/>
          </p:nvGrpSpPr>
          <p:grpSpPr>
            <a:xfrm>
              <a:off x="5007047" y="1810301"/>
              <a:ext cx="6274750" cy="691707"/>
              <a:chOff x="4663445" y="2099949"/>
              <a:chExt cx="6274750" cy="691707"/>
            </a:xfrm>
          </p:grpSpPr>
          <p:grpSp>
            <p:nvGrpSpPr>
              <p:cNvPr id="106" name="Group 105"/>
              <p:cNvGrpSpPr/>
              <p:nvPr/>
            </p:nvGrpSpPr>
            <p:grpSpPr>
              <a:xfrm>
                <a:off x="4663445" y="2231764"/>
                <a:ext cx="6274750" cy="391163"/>
                <a:chOff x="2275217" y="3622867"/>
                <a:chExt cx="7933779" cy="494585"/>
              </a:xfrm>
            </p:grpSpPr>
            <p:pic>
              <p:nvPicPr>
                <p:cNvPr id="108" name="Picture 107"/>
                <p:cNvPicPr>
                  <a:picLocks noChangeAspect="1"/>
                </p:cNvPicPr>
                <p:nvPr/>
              </p:nvPicPr>
              <p:blipFill>
                <a:blip r:embed="rId3">
                  <a:biLevel thresh="25000"/>
                </a:blip>
                <a:stretch>
                  <a:fillRect/>
                </a:stretch>
              </p:blipFill>
              <p:spPr>
                <a:xfrm>
                  <a:off x="2275217" y="3704039"/>
                  <a:ext cx="1869528" cy="413413"/>
                </a:xfrm>
                <a:prstGeom prst="rect">
                  <a:avLst/>
                </a:prstGeom>
              </p:spPr>
            </p:pic>
            <p:pic>
              <p:nvPicPr>
                <p:cNvPr id="109" name="Picture 10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214596" y="3622867"/>
                  <a:ext cx="1994400" cy="481206"/>
                </a:xfrm>
                <a:prstGeom prst="rect">
                  <a:avLst/>
                </a:prstGeom>
              </p:spPr>
            </p:pic>
          </p:grpSp>
          <p:sp>
            <p:nvSpPr>
              <p:cNvPr id="107" name="Rectangle 106"/>
              <p:cNvSpPr/>
              <p:nvPr/>
            </p:nvSpPr>
            <p:spPr bwMode="auto">
              <a:xfrm>
                <a:off x="6516672" y="2099949"/>
                <a:ext cx="2512092" cy="69170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Microsoft Dynamics</a:t>
                </a:r>
              </a:p>
            </p:txBody>
          </p:sp>
        </p:grpSp>
      </p:grpSp>
      <p:sp>
        <p:nvSpPr>
          <p:cNvPr id="3" name="Rectangle 2"/>
          <p:cNvSpPr/>
          <p:nvPr/>
        </p:nvSpPr>
        <p:spPr bwMode="auto">
          <a:xfrm>
            <a:off x="439376" y="1632384"/>
            <a:ext cx="11297048" cy="1541281"/>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48" name="Group 47"/>
          <p:cNvGrpSpPr/>
          <p:nvPr/>
        </p:nvGrpSpPr>
        <p:grpSpPr>
          <a:xfrm>
            <a:off x="567899" y="3534610"/>
            <a:ext cx="11053027" cy="703250"/>
            <a:chOff x="579437" y="-1074737"/>
            <a:chExt cx="11277600" cy="717538"/>
          </a:xfrm>
        </p:grpSpPr>
        <p:sp>
          <p:nvSpPr>
            <p:cNvPr id="49" name="Rectangle 48"/>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50" name="Rectangle 49"/>
            <p:cNvSpPr/>
            <p:nvPr/>
          </p:nvSpPr>
          <p:spPr bwMode="auto">
            <a:xfrm>
              <a:off x="579438" y="-1074737"/>
              <a:ext cx="3657600" cy="717537"/>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1" name="Rectangle 50"/>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Visual Studio Family + Azure App Service</a:t>
              </a:r>
            </a:p>
          </p:txBody>
        </p:sp>
        <p:sp>
          <p:nvSpPr>
            <p:cNvPr id="52" name="Rectangle 51"/>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eveloper + App Platform</a:t>
              </a:r>
            </a:p>
          </p:txBody>
        </p:sp>
      </p:grpSp>
      <p:grpSp>
        <p:nvGrpSpPr>
          <p:cNvPr id="43" name="Group 42"/>
          <p:cNvGrpSpPr/>
          <p:nvPr/>
        </p:nvGrpSpPr>
        <p:grpSpPr>
          <a:xfrm>
            <a:off x="567899" y="5677966"/>
            <a:ext cx="11053027" cy="703250"/>
            <a:chOff x="579437" y="-1079859"/>
            <a:chExt cx="11277600" cy="717538"/>
          </a:xfrm>
        </p:grpSpPr>
        <p:sp>
          <p:nvSpPr>
            <p:cNvPr id="44" name="Rectangle 43"/>
            <p:cNvSpPr/>
            <p:nvPr/>
          </p:nvSpPr>
          <p:spPr bwMode="auto">
            <a:xfrm>
              <a:off x="579437" y="-1079859"/>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45" name="Rectangle 44"/>
            <p:cNvSpPr/>
            <p:nvPr/>
          </p:nvSpPr>
          <p:spPr bwMode="auto">
            <a:xfrm>
              <a:off x="579438" y="-1079859"/>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6" name="Rectangle 45"/>
            <p:cNvSpPr/>
            <p:nvPr/>
          </p:nvSpPr>
          <p:spPr bwMode="auto">
            <a:xfrm>
              <a:off x="4237037" y="-1053261"/>
              <a:ext cx="762000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spc="-49" dirty="0">
                  <a:solidFill>
                    <a:srgbClr val="FFFFFF"/>
                  </a:solidFill>
                  <a:latin typeface="Segoe UI Semilight"/>
                  <a:ea typeface="Segoe UI" pitchFamily="34" charset="0"/>
                  <a:cs typeface="Segoe UI" pitchFamily="34" charset="0"/>
                </a:rPr>
                <a:t>Azure + Azure Stack + Operations Management Suite</a:t>
              </a:r>
            </a:p>
          </p:txBody>
        </p:sp>
        <p:sp>
          <p:nvSpPr>
            <p:cNvPr id="47" name="Rectangle 46"/>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Cloud Infrastructure</a:t>
              </a:r>
            </a:p>
          </p:txBody>
        </p:sp>
      </p:grpSp>
      <p:grpSp>
        <p:nvGrpSpPr>
          <p:cNvPr id="53" name="Group 52"/>
          <p:cNvGrpSpPr/>
          <p:nvPr/>
        </p:nvGrpSpPr>
        <p:grpSpPr>
          <a:xfrm>
            <a:off x="567899" y="4249626"/>
            <a:ext cx="11053027" cy="704059"/>
            <a:chOff x="579437" y="-1075563"/>
            <a:chExt cx="11277600" cy="718364"/>
          </a:xfrm>
        </p:grpSpPr>
        <p:sp>
          <p:nvSpPr>
            <p:cNvPr id="54" name="Rectangle 53"/>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55" name="Rectangle 54"/>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6" name="Rectangle 55"/>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Cortana Analytics Suite</a:t>
              </a:r>
            </a:p>
          </p:txBody>
        </p:sp>
        <p:sp>
          <p:nvSpPr>
            <p:cNvPr id="57" name="Rectangle 56"/>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ata + Analytics</a:t>
              </a:r>
            </a:p>
          </p:txBody>
        </p:sp>
      </p:grpSp>
      <p:grpSp>
        <p:nvGrpSpPr>
          <p:cNvPr id="58" name="Group 57"/>
          <p:cNvGrpSpPr/>
          <p:nvPr/>
        </p:nvGrpSpPr>
        <p:grpSpPr>
          <a:xfrm>
            <a:off x="567899" y="4960733"/>
            <a:ext cx="11053027" cy="704061"/>
            <a:chOff x="579437" y="-1075565"/>
            <a:chExt cx="11277600" cy="718366"/>
          </a:xfrm>
        </p:grpSpPr>
        <p:sp>
          <p:nvSpPr>
            <p:cNvPr id="59" name="Rectangle 58"/>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60" name="Rectangle 59"/>
            <p:cNvSpPr/>
            <p:nvPr/>
          </p:nvSpPr>
          <p:spPr bwMode="auto">
            <a:xfrm>
              <a:off x="579438" y="-1075565"/>
              <a:ext cx="3657600" cy="718365"/>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1" name="Rectangle 60"/>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Azure </a:t>
              </a:r>
              <a:r>
                <a:rPr lang="en-US" sz="1960" dirty="0" err="1">
                  <a:solidFill>
                    <a:srgbClr val="FFFFFF"/>
                  </a:solidFill>
                  <a:latin typeface="Segoe UI Semilight"/>
                  <a:ea typeface="Segoe UI" pitchFamily="34" charset="0"/>
                  <a:cs typeface="Segoe UI" pitchFamily="34" charset="0"/>
                </a:rPr>
                <a:t>IoT</a:t>
              </a:r>
              <a:r>
                <a:rPr lang="en-US" sz="1960" dirty="0">
                  <a:solidFill>
                    <a:srgbClr val="FFFFFF"/>
                  </a:solidFill>
                  <a:latin typeface="Segoe UI Semilight"/>
                  <a:ea typeface="Segoe UI" pitchFamily="34" charset="0"/>
                  <a:cs typeface="Segoe UI" pitchFamily="34" charset="0"/>
                </a:rPr>
                <a:t> Suite</a:t>
              </a:r>
            </a:p>
          </p:txBody>
        </p:sp>
        <p:sp>
          <p:nvSpPr>
            <p:cNvPr id="62" name="Rectangle 61"/>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Internet of Things</a:t>
              </a:r>
            </a:p>
          </p:txBody>
        </p:sp>
      </p:grpSp>
      <p:sp>
        <p:nvSpPr>
          <p:cNvPr id="4" name="TextBox 3"/>
          <p:cNvSpPr txBox="1"/>
          <p:nvPr/>
        </p:nvSpPr>
        <p:spPr>
          <a:xfrm>
            <a:off x="394674" y="405269"/>
            <a:ext cx="3446828" cy="778252"/>
          </a:xfrm>
          <a:prstGeom prst="rect">
            <a:avLst/>
          </a:prstGeom>
          <a:noFill/>
        </p:spPr>
        <p:txBody>
          <a:bodyPr wrap="none" lIns="179238" tIns="143391" rIns="179238" bIns="143391" rtlCol="0">
            <a:spAutoFit/>
          </a:bodyPr>
          <a:lstStyle/>
          <a:p>
            <a:pPr defTabSz="913319" eaLnBrk="0" fontAlgn="base" hangingPunct="0">
              <a:lnSpc>
                <a:spcPct val="90000"/>
              </a:lnSpc>
              <a:spcBef>
                <a:spcPct val="0"/>
              </a:spcBef>
              <a:spcAft>
                <a:spcPts val="588"/>
              </a:spcAft>
              <a:defRPr/>
            </a:pPr>
            <a:r>
              <a:rPr lang="en-US" sz="3528" spc="-98"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Microsoft Azure</a:t>
            </a:r>
          </a:p>
        </p:txBody>
      </p:sp>
      <p:grpSp>
        <p:nvGrpSpPr>
          <p:cNvPr id="7" name="Group 6"/>
          <p:cNvGrpSpPr/>
          <p:nvPr/>
        </p:nvGrpSpPr>
        <p:grpSpPr>
          <a:xfrm>
            <a:off x="567899" y="1889704"/>
            <a:ext cx="11053027" cy="3063558"/>
            <a:chOff x="581169" y="-769074"/>
            <a:chExt cx="11277600" cy="2493062"/>
          </a:xfrm>
        </p:grpSpPr>
        <p:sp>
          <p:nvSpPr>
            <p:cNvPr id="64" name="Rectangle 63"/>
            <p:cNvSpPr/>
            <p:nvPr/>
          </p:nvSpPr>
          <p:spPr bwMode="auto">
            <a:xfrm>
              <a:off x="581169" y="-769074"/>
              <a:ext cx="11277600" cy="2493062"/>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5" name="Rectangle 64"/>
            <p:cNvSpPr/>
            <p:nvPr/>
          </p:nvSpPr>
          <p:spPr bwMode="auto">
            <a:xfrm>
              <a:off x="581170" y="-769074"/>
              <a:ext cx="3657600" cy="2493059"/>
            </a:xfrm>
            <a:prstGeom prst="rect">
              <a:avLst/>
            </a:prstGeom>
            <a:solidFill>
              <a:srgbClr val="002050">
                <a:alpha val="1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66" name="Rectangle 65"/>
          <p:cNvSpPr/>
          <p:nvPr/>
        </p:nvSpPr>
        <p:spPr bwMode="auto">
          <a:xfrm>
            <a:off x="563989" y="1950840"/>
            <a:ext cx="3584765" cy="6460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chemeClr val="tx1"/>
                </a:solidFill>
                <a:latin typeface="Segoe UI Semibold" panose="020B0702040204020203" pitchFamily="34" charset="0"/>
                <a:ea typeface="Segoe UI" pitchFamily="34" charset="0"/>
                <a:cs typeface="Segoe UI Semibold" panose="020B0702040204020203" pitchFamily="34" charset="0"/>
              </a:rPr>
              <a:t>Data + Analytics</a:t>
            </a:r>
          </a:p>
        </p:txBody>
      </p:sp>
      <p:grpSp>
        <p:nvGrpSpPr>
          <p:cNvPr id="26" name="Group 25"/>
          <p:cNvGrpSpPr/>
          <p:nvPr/>
        </p:nvGrpSpPr>
        <p:grpSpPr>
          <a:xfrm>
            <a:off x="8035807" y="2546515"/>
            <a:ext cx="1391041" cy="1110972"/>
            <a:chOff x="8199076" y="2596846"/>
            <a:chExt cx="1419304" cy="1133545"/>
          </a:xfrm>
        </p:grpSpPr>
        <p:grpSp>
          <p:nvGrpSpPr>
            <p:cNvPr id="21" name="Group 20"/>
            <p:cNvGrpSpPr/>
            <p:nvPr/>
          </p:nvGrpSpPr>
          <p:grpSpPr>
            <a:xfrm>
              <a:off x="8199079" y="2596846"/>
              <a:ext cx="1419301" cy="488734"/>
              <a:chOff x="4413164" y="3922505"/>
              <a:chExt cx="1135152" cy="390887"/>
            </a:xfrm>
          </p:grpSpPr>
          <p:sp>
            <p:nvSpPr>
              <p:cNvPr id="185" name="Rectangle 184"/>
              <p:cNvSpPr/>
              <p:nvPr/>
            </p:nvSpPr>
            <p:spPr bwMode="auto">
              <a:xfrm>
                <a:off x="4413164" y="3922505"/>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86" name="TextBox 185"/>
              <p:cNvSpPr txBox="1"/>
              <p:nvPr/>
            </p:nvSpPr>
            <p:spPr>
              <a:xfrm>
                <a:off x="4736583" y="3936077"/>
                <a:ext cx="811733" cy="369218"/>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HDInsight</a:t>
                </a:r>
              </a:p>
            </p:txBody>
          </p:sp>
          <p:pic>
            <p:nvPicPr>
              <p:cNvPr id="147" name="Picture 146"/>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4472619" y="3973285"/>
                <a:ext cx="296771" cy="269969"/>
              </a:xfrm>
              <a:prstGeom prst="rect">
                <a:avLst/>
              </a:prstGeom>
              <a:noFill/>
            </p:spPr>
          </p:pic>
        </p:grpSp>
        <p:grpSp>
          <p:nvGrpSpPr>
            <p:cNvPr id="9" name="Group 8"/>
            <p:cNvGrpSpPr/>
            <p:nvPr/>
          </p:nvGrpSpPr>
          <p:grpSpPr>
            <a:xfrm>
              <a:off x="8199076" y="3102526"/>
              <a:ext cx="1360407" cy="627865"/>
              <a:chOff x="6257227" y="2721288"/>
              <a:chExt cx="1088049" cy="502164"/>
            </a:xfrm>
          </p:grpSpPr>
          <p:sp>
            <p:nvSpPr>
              <p:cNvPr id="161" name="Rectangle 160"/>
              <p:cNvSpPr/>
              <p:nvPr/>
            </p:nvSpPr>
            <p:spPr bwMode="auto">
              <a:xfrm>
                <a:off x="6257227" y="2774189"/>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2" name="TextBox 161"/>
              <p:cNvSpPr txBox="1"/>
              <p:nvPr/>
            </p:nvSpPr>
            <p:spPr>
              <a:xfrm>
                <a:off x="6580646" y="2721288"/>
                <a:ext cx="764630" cy="502164"/>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Machine </a:t>
                </a:r>
                <a:b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b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Learning</a:t>
                </a:r>
              </a:p>
            </p:txBody>
          </p:sp>
          <p:pic>
            <p:nvPicPr>
              <p:cNvPr id="150" name="Picture 149"/>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6334730" y="2871116"/>
                <a:ext cx="251044" cy="228372"/>
              </a:xfrm>
              <a:prstGeom prst="rect">
                <a:avLst/>
              </a:prstGeom>
              <a:noFill/>
            </p:spPr>
          </p:pic>
        </p:grpSp>
      </p:grpSp>
      <p:grpSp>
        <p:nvGrpSpPr>
          <p:cNvPr id="19" name="Group 18"/>
          <p:cNvGrpSpPr/>
          <p:nvPr/>
        </p:nvGrpSpPr>
        <p:grpSpPr>
          <a:xfrm>
            <a:off x="4405675" y="2532379"/>
            <a:ext cx="1628667" cy="2190708"/>
            <a:chOff x="4495188" y="2582424"/>
            <a:chExt cx="1661758" cy="2235218"/>
          </a:xfrm>
        </p:grpSpPr>
        <p:grpSp>
          <p:nvGrpSpPr>
            <p:cNvPr id="8" name="Group 7"/>
            <p:cNvGrpSpPr/>
            <p:nvPr/>
          </p:nvGrpSpPr>
          <p:grpSpPr>
            <a:xfrm>
              <a:off x="4495191" y="4328909"/>
              <a:ext cx="1199743" cy="488733"/>
              <a:chOff x="6257227" y="2200031"/>
              <a:chExt cx="959550" cy="390887"/>
            </a:xfrm>
          </p:grpSpPr>
          <p:sp>
            <p:nvSpPr>
              <p:cNvPr id="83" name="Rectangle 82"/>
              <p:cNvSpPr/>
              <p:nvPr/>
            </p:nvSpPr>
            <p:spPr bwMode="auto">
              <a:xfrm>
                <a:off x="6257227" y="2200031"/>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4" name="TextBox 83"/>
              <p:cNvSpPr txBox="1"/>
              <p:nvPr/>
            </p:nvSpPr>
            <p:spPr>
              <a:xfrm>
                <a:off x="6580646" y="2213602"/>
                <a:ext cx="636131" cy="369219"/>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Search</a:t>
                </a:r>
              </a:p>
            </p:txBody>
          </p:sp>
          <p:pic>
            <p:nvPicPr>
              <p:cNvPr id="149" name="Picture 148"/>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6326274" y="2254290"/>
                <a:ext cx="268770" cy="268770"/>
              </a:xfrm>
              <a:prstGeom prst="rect">
                <a:avLst/>
              </a:prstGeom>
            </p:spPr>
          </p:pic>
        </p:grpSp>
        <p:grpSp>
          <p:nvGrpSpPr>
            <p:cNvPr id="10" name="Group 9"/>
            <p:cNvGrpSpPr/>
            <p:nvPr/>
          </p:nvGrpSpPr>
          <p:grpSpPr>
            <a:xfrm>
              <a:off x="4495191" y="3164430"/>
              <a:ext cx="1638599" cy="488733"/>
              <a:chOff x="6257227" y="3348347"/>
              <a:chExt cx="1310546" cy="390887"/>
            </a:xfrm>
          </p:grpSpPr>
          <p:sp>
            <p:nvSpPr>
              <p:cNvPr id="174" name="Rectangle 173"/>
              <p:cNvSpPr/>
              <p:nvPr/>
            </p:nvSpPr>
            <p:spPr bwMode="auto">
              <a:xfrm>
                <a:off x="6257227" y="3348347"/>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5" name="TextBox 174"/>
              <p:cNvSpPr txBox="1"/>
              <p:nvPr/>
            </p:nvSpPr>
            <p:spPr>
              <a:xfrm>
                <a:off x="6580646" y="3361918"/>
                <a:ext cx="987127" cy="369219"/>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err="1">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DocumentDB</a:t>
                </a:r>
                <a:endPar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endParaRPr>
              </a:p>
            </p:txBody>
          </p:sp>
          <p:pic>
            <p:nvPicPr>
              <p:cNvPr id="151" name="Picture 150"/>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6340851" y="3419672"/>
                <a:ext cx="234432" cy="234431"/>
              </a:xfrm>
              <a:prstGeom prst="rect">
                <a:avLst/>
              </a:prstGeom>
            </p:spPr>
          </p:pic>
        </p:grpSp>
        <p:grpSp>
          <p:nvGrpSpPr>
            <p:cNvPr id="18" name="Group 17"/>
            <p:cNvGrpSpPr/>
            <p:nvPr/>
          </p:nvGrpSpPr>
          <p:grpSpPr>
            <a:xfrm>
              <a:off x="4495188" y="2582424"/>
              <a:ext cx="1661758" cy="488733"/>
              <a:chOff x="4413164" y="2191898"/>
              <a:chExt cx="1329069" cy="390887"/>
            </a:xfrm>
          </p:grpSpPr>
          <p:sp>
            <p:nvSpPr>
              <p:cNvPr id="159" name="Rectangle 158"/>
              <p:cNvSpPr/>
              <p:nvPr/>
            </p:nvSpPr>
            <p:spPr bwMode="auto">
              <a:xfrm>
                <a:off x="4413164" y="2191898"/>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0" name="TextBox 159"/>
              <p:cNvSpPr txBox="1"/>
              <p:nvPr/>
            </p:nvSpPr>
            <p:spPr>
              <a:xfrm>
                <a:off x="4736583" y="2205469"/>
                <a:ext cx="1005650" cy="369219"/>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SQL Database</a:t>
                </a:r>
              </a:p>
            </p:txBody>
          </p:sp>
          <p:pic>
            <p:nvPicPr>
              <p:cNvPr id="144" name="Picture 143"/>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4484928" y="2250691"/>
                <a:ext cx="276800" cy="276800"/>
              </a:xfrm>
              <a:prstGeom prst="rect">
                <a:avLst/>
              </a:prstGeom>
            </p:spPr>
          </p:pic>
        </p:grpSp>
        <p:grpSp>
          <p:nvGrpSpPr>
            <p:cNvPr id="11" name="Group 10"/>
            <p:cNvGrpSpPr/>
            <p:nvPr/>
          </p:nvGrpSpPr>
          <p:grpSpPr>
            <a:xfrm>
              <a:off x="4495192" y="3744070"/>
              <a:ext cx="1543867" cy="488733"/>
              <a:chOff x="6398218" y="429319"/>
              <a:chExt cx="1543867" cy="488733"/>
            </a:xfrm>
          </p:grpSpPr>
          <p:sp>
            <p:nvSpPr>
              <p:cNvPr id="172" name="Rectangle 171"/>
              <p:cNvSpPr/>
              <p:nvPr/>
            </p:nvSpPr>
            <p:spPr bwMode="auto">
              <a:xfrm>
                <a:off x="6398218" y="429319"/>
                <a:ext cx="488733" cy="488733"/>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3" name="TextBox 172"/>
              <p:cNvSpPr txBox="1"/>
              <p:nvPr/>
            </p:nvSpPr>
            <p:spPr>
              <a:xfrm>
                <a:off x="6802595" y="446287"/>
                <a:ext cx="1139490" cy="461641"/>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err="1">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Redis</a:t>
                </a: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 Cache</a:t>
                </a:r>
              </a:p>
            </p:txBody>
          </p:sp>
          <p:pic>
            <p:nvPicPr>
              <p:cNvPr id="145" name="Picture 144"/>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6496095" y="508350"/>
                <a:ext cx="324149" cy="324148"/>
              </a:xfrm>
              <a:prstGeom prst="rect">
                <a:avLst/>
              </a:prstGeom>
            </p:spPr>
          </p:pic>
        </p:grpSp>
      </p:grpSp>
      <p:grpSp>
        <p:nvGrpSpPr>
          <p:cNvPr id="23" name="Group 22"/>
          <p:cNvGrpSpPr/>
          <p:nvPr/>
        </p:nvGrpSpPr>
        <p:grpSpPr>
          <a:xfrm>
            <a:off x="6213909" y="2469624"/>
            <a:ext cx="1474396" cy="1685082"/>
            <a:chOff x="6340163" y="2518393"/>
            <a:chExt cx="1504353" cy="1719319"/>
          </a:xfrm>
        </p:grpSpPr>
        <p:grpSp>
          <p:nvGrpSpPr>
            <p:cNvPr id="22" name="Group 21"/>
            <p:cNvGrpSpPr/>
            <p:nvPr/>
          </p:nvGrpSpPr>
          <p:grpSpPr>
            <a:xfrm>
              <a:off x="6340165" y="2518393"/>
              <a:ext cx="1504351" cy="627815"/>
              <a:chOff x="4413164" y="4443783"/>
              <a:chExt cx="1203175" cy="502123"/>
            </a:xfrm>
          </p:grpSpPr>
          <p:sp>
            <p:nvSpPr>
              <p:cNvPr id="198" name="Rectangle 197"/>
              <p:cNvSpPr/>
              <p:nvPr/>
            </p:nvSpPr>
            <p:spPr bwMode="auto">
              <a:xfrm>
                <a:off x="4413164" y="4496663"/>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99" name="TextBox 198"/>
              <p:cNvSpPr txBox="1"/>
              <p:nvPr/>
            </p:nvSpPr>
            <p:spPr>
              <a:xfrm>
                <a:off x="4736583" y="4443783"/>
                <a:ext cx="879756" cy="502123"/>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SQL Data </a:t>
                </a:r>
                <a:b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b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Warehouse</a:t>
                </a:r>
              </a:p>
            </p:txBody>
          </p:sp>
          <p:pic>
            <p:nvPicPr>
              <p:cNvPr id="148" name="Picture 147"/>
              <p:cNvPicPr>
                <a:picLocks noChangeAspect="1"/>
              </p:cNvPicPr>
              <p:nvPr/>
            </p:nvPicPr>
            <p:blipFill>
              <a:blip r:embed="rId11"/>
              <a:stretch>
                <a:fillRect/>
              </a:stretch>
            </p:blipFill>
            <p:spPr>
              <a:xfrm>
                <a:off x="4473670" y="4565511"/>
                <a:ext cx="290208" cy="263000"/>
              </a:xfrm>
              <a:prstGeom prst="rect">
                <a:avLst/>
              </a:prstGeom>
            </p:spPr>
          </p:pic>
        </p:grpSp>
        <p:grpSp>
          <p:nvGrpSpPr>
            <p:cNvPr id="28" name="Group 27"/>
            <p:cNvGrpSpPr/>
            <p:nvPr/>
          </p:nvGrpSpPr>
          <p:grpSpPr>
            <a:xfrm>
              <a:off x="6340163" y="3748978"/>
              <a:ext cx="1183386" cy="488734"/>
              <a:chOff x="8092919" y="3613824"/>
              <a:chExt cx="946468" cy="390887"/>
            </a:xfrm>
          </p:grpSpPr>
          <p:sp>
            <p:nvSpPr>
              <p:cNvPr id="187" name="Rectangle 186"/>
              <p:cNvSpPr/>
              <p:nvPr/>
            </p:nvSpPr>
            <p:spPr bwMode="auto">
              <a:xfrm>
                <a:off x="8092919" y="3613824"/>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88" name="TextBox 187"/>
              <p:cNvSpPr txBox="1"/>
              <p:nvPr/>
            </p:nvSpPr>
            <p:spPr>
              <a:xfrm>
                <a:off x="8416338" y="3627396"/>
                <a:ext cx="623049" cy="369218"/>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Tables</a:t>
                </a:r>
              </a:p>
            </p:txBody>
          </p:sp>
          <p:pic>
            <p:nvPicPr>
              <p:cNvPr id="152" name="Picture 151" descr="Storage table.png"/>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8159030" y="3673180"/>
                <a:ext cx="266444" cy="266443"/>
              </a:xfrm>
              <a:prstGeom prst="rect">
                <a:avLst/>
              </a:prstGeom>
            </p:spPr>
          </p:pic>
        </p:grpSp>
        <p:grpSp>
          <p:nvGrpSpPr>
            <p:cNvPr id="12" name="Group 11"/>
            <p:cNvGrpSpPr/>
            <p:nvPr/>
          </p:nvGrpSpPr>
          <p:grpSpPr>
            <a:xfrm>
              <a:off x="6340167" y="3170327"/>
              <a:ext cx="1399393" cy="488733"/>
              <a:chOff x="4509641" y="3358611"/>
              <a:chExt cx="1399393" cy="488733"/>
            </a:xfrm>
          </p:grpSpPr>
          <p:sp>
            <p:nvSpPr>
              <p:cNvPr id="91" name="Rectangle 90"/>
              <p:cNvSpPr/>
              <p:nvPr/>
            </p:nvSpPr>
            <p:spPr bwMode="auto">
              <a:xfrm>
                <a:off x="4509641" y="3358611"/>
                <a:ext cx="488733" cy="488733"/>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1176"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2" name="TextBox 91"/>
              <p:cNvSpPr txBox="1"/>
              <p:nvPr/>
            </p:nvSpPr>
            <p:spPr>
              <a:xfrm>
                <a:off x="4914018" y="3375566"/>
                <a:ext cx="995016" cy="461665"/>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Data Lake</a:t>
                </a:r>
              </a:p>
            </p:txBody>
          </p:sp>
          <p:pic>
            <p:nvPicPr>
              <p:cNvPr id="14" name="Picture 13"/>
              <p:cNvPicPr>
                <a:picLocks noChangeAspect="1"/>
              </p:cNvPicPr>
              <p:nvPr/>
            </p:nvPicPr>
            <p:blipFill>
              <a:blip r:embed="rId13"/>
              <a:stretch>
                <a:fillRect/>
              </a:stretch>
            </p:blipFill>
            <p:spPr>
              <a:xfrm>
                <a:off x="4600952" y="3438834"/>
                <a:ext cx="324626" cy="325530"/>
              </a:xfrm>
              <a:prstGeom prst="rect">
                <a:avLst/>
              </a:prstGeom>
            </p:spPr>
          </p:pic>
        </p:grpSp>
      </p:grpSp>
      <p:grpSp>
        <p:nvGrpSpPr>
          <p:cNvPr id="6" name="Group 5"/>
          <p:cNvGrpSpPr/>
          <p:nvPr/>
        </p:nvGrpSpPr>
        <p:grpSpPr>
          <a:xfrm>
            <a:off x="4239678" y="2009741"/>
            <a:ext cx="3317168" cy="425323"/>
            <a:chOff x="4325819" y="2049166"/>
            <a:chExt cx="3384566" cy="433965"/>
          </a:xfrm>
        </p:grpSpPr>
        <p:sp>
          <p:nvSpPr>
            <p:cNvPr id="88" name="TextBox 87"/>
            <p:cNvSpPr txBox="1"/>
            <p:nvPr/>
          </p:nvSpPr>
          <p:spPr>
            <a:xfrm>
              <a:off x="4325819" y="2049166"/>
              <a:ext cx="633828" cy="433965"/>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Data</a:t>
              </a:r>
            </a:p>
          </p:txBody>
        </p:sp>
        <p:cxnSp>
          <p:nvCxnSpPr>
            <p:cNvPr id="89" name="Straight Connector 88"/>
            <p:cNvCxnSpPr/>
            <p:nvPr/>
          </p:nvCxnSpPr>
          <p:spPr>
            <a:xfrm>
              <a:off x="4495192" y="2457617"/>
              <a:ext cx="3215193"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90" name="Group 89"/>
          <p:cNvGrpSpPr/>
          <p:nvPr/>
        </p:nvGrpSpPr>
        <p:grpSpPr>
          <a:xfrm>
            <a:off x="7848665" y="2009741"/>
            <a:ext cx="3317168" cy="425323"/>
            <a:chOff x="4325819" y="2049166"/>
            <a:chExt cx="3384566" cy="433965"/>
          </a:xfrm>
        </p:grpSpPr>
        <p:sp>
          <p:nvSpPr>
            <p:cNvPr id="93" name="TextBox 92"/>
            <p:cNvSpPr txBox="1"/>
            <p:nvPr/>
          </p:nvSpPr>
          <p:spPr>
            <a:xfrm>
              <a:off x="4325819" y="2049166"/>
              <a:ext cx="871072" cy="433965"/>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Analytics</a:t>
              </a:r>
            </a:p>
          </p:txBody>
        </p:sp>
        <p:cxnSp>
          <p:nvCxnSpPr>
            <p:cNvPr id="94" name="Straight Connector 93"/>
            <p:cNvCxnSpPr/>
            <p:nvPr/>
          </p:nvCxnSpPr>
          <p:spPr>
            <a:xfrm>
              <a:off x="4495192" y="2457617"/>
              <a:ext cx="3215193"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7" name="Group 26"/>
          <p:cNvGrpSpPr/>
          <p:nvPr/>
        </p:nvGrpSpPr>
        <p:grpSpPr>
          <a:xfrm>
            <a:off x="9631464" y="2551191"/>
            <a:ext cx="1559556" cy="1103752"/>
            <a:chOff x="9827154" y="2601618"/>
            <a:chExt cx="1591243" cy="1126178"/>
          </a:xfrm>
        </p:grpSpPr>
        <p:grpSp>
          <p:nvGrpSpPr>
            <p:cNvPr id="13" name="Group 12"/>
            <p:cNvGrpSpPr/>
            <p:nvPr/>
          </p:nvGrpSpPr>
          <p:grpSpPr>
            <a:xfrm>
              <a:off x="9827154" y="2601618"/>
              <a:ext cx="1576708" cy="488733"/>
              <a:chOff x="4413164" y="2733893"/>
              <a:chExt cx="1261046" cy="390887"/>
            </a:xfrm>
          </p:grpSpPr>
          <p:sp>
            <p:nvSpPr>
              <p:cNvPr id="86" name="Rectangle 85"/>
              <p:cNvSpPr/>
              <p:nvPr/>
            </p:nvSpPr>
            <p:spPr bwMode="auto">
              <a:xfrm>
                <a:off x="4413164" y="2733893"/>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7" name="TextBox 86"/>
              <p:cNvSpPr txBox="1"/>
              <p:nvPr/>
            </p:nvSpPr>
            <p:spPr>
              <a:xfrm>
                <a:off x="4736583" y="2747464"/>
                <a:ext cx="937627" cy="369219"/>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Data Factory</a:t>
                </a:r>
              </a:p>
            </p:txBody>
          </p:sp>
          <p:pic>
            <p:nvPicPr>
              <p:cNvPr id="143" name="Picture 142"/>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4472304" y="2811530"/>
                <a:ext cx="270758" cy="246305"/>
              </a:xfrm>
              <a:prstGeom prst="rect">
                <a:avLst/>
              </a:prstGeom>
              <a:noFill/>
            </p:spPr>
          </p:pic>
        </p:grpSp>
        <p:grpSp>
          <p:nvGrpSpPr>
            <p:cNvPr id="95" name="Group 94"/>
            <p:cNvGrpSpPr/>
            <p:nvPr/>
          </p:nvGrpSpPr>
          <p:grpSpPr>
            <a:xfrm>
              <a:off x="9827157" y="3099931"/>
              <a:ext cx="1591240" cy="627865"/>
              <a:chOff x="6257227" y="4443762"/>
              <a:chExt cx="1272668" cy="502164"/>
            </a:xfrm>
          </p:grpSpPr>
          <p:sp>
            <p:nvSpPr>
              <p:cNvPr id="110" name="Rectangle 109"/>
              <p:cNvSpPr/>
              <p:nvPr/>
            </p:nvSpPr>
            <p:spPr bwMode="auto">
              <a:xfrm>
                <a:off x="6257227" y="4496663"/>
                <a:ext cx="390887" cy="390887"/>
              </a:xfrm>
              <a:prstGeom prst="rect">
                <a:avLst/>
              </a:prstGeom>
              <a:solidFill>
                <a:srgbClr val="002060">
                  <a:alpha val="14902"/>
                </a:srgbClr>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1" name="TextBox 110"/>
              <p:cNvSpPr txBox="1"/>
              <p:nvPr/>
            </p:nvSpPr>
            <p:spPr>
              <a:xfrm>
                <a:off x="6580646" y="4443762"/>
                <a:ext cx="949249" cy="502164"/>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kern="0"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Mobile </a:t>
                </a:r>
                <a:br>
                  <a:rPr lang="en-US" sz="1176" kern="0"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br>
                <a:r>
                  <a:rPr lang="en-US" sz="1176" kern="0"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Engagement</a:t>
                </a:r>
              </a:p>
            </p:txBody>
          </p:sp>
          <p:pic>
            <p:nvPicPr>
              <p:cNvPr id="112" name="Picture 111"/>
              <p:cNvPicPr>
                <a:picLocks noChangeAspect="1"/>
              </p:cNvPicPr>
              <p:nvPr/>
            </p:nvPicPr>
            <p:blipFill>
              <a:blip r:embed="rId15" cstate="print">
                <a:biLevel thresh="25000"/>
                <a:extLst>
                  <a:ext uri="{28A0092B-C50C-407E-A947-70E740481C1C}">
                    <a14:useLocalDpi xmlns:a14="http://schemas.microsoft.com/office/drawing/2010/main" val="0"/>
                  </a:ext>
                </a:extLst>
              </a:blip>
              <a:stretch>
                <a:fillRect/>
              </a:stretch>
            </p:blipFill>
            <p:spPr>
              <a:xfrm>
                <a:off x="6322168" y="4562026"/>
                <a:ext cx="282218" cy="256730"/>
              </a:xfrm>
              <a:prstGeom prst="rect">
                <a:avLst/>
              </a:prstGeom>
              <a:noFill/>
            </p:spPr>
          </p:pic>
        </p:grpSp>
      </p:grpSp>
    </p:spTree>
    <p:extLst>
      <p:ext uri="{BB962C8B-B14F-4D97-AF65-F5344CB8AC3E}">
        <p14:creationId xmlns:p14="http://schemas.microsoft.com/office/powerpoint/2010/main" val="2708053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4" presetClass="path" presetSubtype="0" accel="50000" decel="50000" fill="hold" nodeType="afterEffect">
                                  <p:stCondLst>
                                    <p:cond delay="500"/>
                                  </p:stCondLst>
                                  <p:childTnLst>
                                    <p:animMotion origin="layout" path="M 0 2.8098E-6 L 0 -0.34408 " pathEditMode="relative" rAng="0" ptsTypes="AA">
                                      <p:cBhvr>
                                        <p:cTn id="6" dur="750" fill="hold"/>
                                        <p:tgtEl>
                                          <p:spTgt spid="48"/>
                                        </p:tgtEl>
                                        <p:attrNameLst>
                                          <p:attrName>ppt_x</p:attrName>
                                          <p:attrName>ppt_y</p:attrName>
                                        </p:attrNameLst>
                                      </p:cBhvr>
                                      <p:rCtr x="0" y="-17204"/>
                                    </p:animMotion>
                                  </p:childTnLst>
                                </p:cTn>
                              </p:par>
                              <p:par>
                                <p:cTn id="7" presetID="22" presetClass="entr" presetSubtype="4" fill="hold" nodeType="withEffect">
                                  <p:stCondLst>
                                    <p:cond delay="1000"/>
                                  </p:stCondLst>
                                  <p:childTnLst>
                                    <p:set>
                                      <p:cBhvr>
                                        <p:cTn id="8" dur="1" fill="hold">
                                          <p:stCondLst>
                                            <p:cond delay="0"/>
                                          </p:stCondLst>
                                        </p:cTn>
                                        <p:tgtEl>
                                          <p:spTgt spid="7"/>
                                        </p:tgtEl>
                                        <p:attrNameLst>
                                          <p:attrName>style.visibility</p:attrName>
                                        </p:attrNameLst>
                                      </p:cBhvr>
                                      <p:to>
                                        <p:strVal val="visible"/>
                                      </p:to>
                                    </p:set>
                                    <p:animEffect transition="in" filter="wipe(down)">
                                      <p:cBhvr>
                                        <p:cTn id="9" dur="500"/>
                                        <p:tgtEl>
                                          <p:spTgt spid="7"/>
                                        </p:tgtEl>
                                      </p:cBhvr>
                                    </p:animEffect>
                                  </p:childTnLst>
                                </p:cTn>
                              </p:par>
                            </p:childTnLst>
                          </p:cTn>
                        </p:par>
                        <p:par>
                          <p:cTn id="10" fill="hold">
                            <p:stCondLst>
                              <p:cond delay="1500"/>
                            </p:stCondLst>
                            <p:childTnLst>
                              <p:par>
                                <p:cTn id="11" presetID="10" presetClass="entr" presetSubtype="0" fill="hold" grpId="0" nodeType="afterEffect">
                                  <p:stCondLst>
                                    <p:cond delay="0"/>
                                  </p:stCondLst>
                                  <p:childTnLst>
                                    <p:set>
                                      <p:cBhvr>
                                        <p:cTn id="12" dur="1" fill="hold">
                                          <p:stCondLst>
                                            <p:cond delay="0"/>
                                          </p:stCondLst>
                                        </p:cTn>
                                        <p:tgtEl>
                                          <p:spTgt spid="66"/>
                                        </p:tgtEl>
                                        <p:attrNameLst>
                                          <p:attrName>style.visibility</p:attrName>
                                        </p:attrNameLst>
                                      </p:cBhvr>
                                      <p:to>
                                        <p:strVal val="visible"/>
                                      </p:to>
                                    </p:set>
                                    <p:animEffect transition="in" filter="fade">
                                      <p:cBhvr>
                                        <p:cTn id="13" dur="500"/>
                                        <p:tgtEl>
                                          <p:spTgt spid="66"/>
                                        </p:tgtEl>
                                      </p:cBhvr>
                                    </p:animEffect>
                                  </p:childTnLst>
                                </p:cTn>
                              </p:par>
                            </p:childTnLst>
                          </p:cTn>
                        </p:par>
                        <p:par>
                          <p:cTn id="14" fill="hold">
                            <p:stCondLst>
                              <p:cond delay="2000"/>
                            </p:stCondLst>
                            <p:childTnLst>
                              <p:par>
                                <p:cTn id="15" presetID="10" presetClass="entr" presetSubtype="0" fill="hold" nodeType="after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250"/>
                                        <p:tgtEl>
                                          <p:spTgt spid="6"/>
                                        </p:tgtEl>
                                      </p:cBhvr>
                                    </p:animEffect>
                                  </p:childTnLst>
                                </p:cTn>
                              </p:par>
                              <p:par>
                                <p:cTn id="18" presetID="10" presetClass="entr" presetSubtype="0" fill="hold" nodeType="withEffect">
                                  <p:stCondLst>
                                    <p:cond delay="100"/>
                                  </p:stCondLst>
                                  <p:childTnLst>
                                    <p:set>
                                      <p:cBhvr>
                                        <p:cTn id="19" dur="1" fill="hold">
                                          <p:stCondLst>
                                            <p:cond delay="0"/>
                                          </p:stCondLst>
                                        </p:cTn>
                                        <p:tgtEl>
                                          <p:spTgt spid="90"/>
                                        </p:tgtEl>
                                        <p:attrNameLst>
                                          <p:attrName>style.visibility</p:attrName>
                                        </p:attrNameLst>
                                      </p:cBhvr>
                                      <p:to>
                                        <p:strVal val="visible"/>
                                      </p:to>
                                    </p:set>
                                    <p:animEffect transition="in" filter="fade">
                                      <p:cBhvr>
                                        <p:cTn id="20" dur="250"/>
                                        <p:tgtEl>
                                          <p:spTgt spid="90"/>
                                        </p:tgtEl>
                                      </p:cBhvr>
                                    </p:animEffect>
                                  </p:childTnLst>
                                </p:cTn>
                              </p:par>
                            </p:childTnLst>
                          </p:cTn>
                        </p:par>
                        <p:par>
                          <p:cTn id="21" fill="hold">
                            <p:stCondLst>
                              <p:cond delay="2350"/>
                            </p:stCondLst>
                            <p:childTnLst>
                              <p:par>
                                <p:cTn id="22" presetID="10" presetClass="entr" presetSubtype="0" fill="hold" nodeType="afterEffect">
                                  <p:stCondLst>
                                    <p:cond delay="250"/>
                                  </p:stCondLst>
                                  <p:childTnLst>
                                    <p:set>
                                      <p:cBhvr>
                                        <p:cTn id="23" dur="1" fill="hold">
                                          <p:stCondLst>
                                            <p:cond delay="0"/>
                                          </p:stCondLst>
                                        </p:cTn>
                                        <p:tgtEl>
                                          <p:spTgt spid="19"/>
                                        </p:tgtEl>
                                        <p:attrNameLst>
                                          <p:attrName>style.visibility</p:attrName>
                                        </p:attrNameLst>
                                      </p:cBhvr>
                                      <p:to>
                                        <p:strVal val="visible"/>
                                      </p:to>
                                    </p:set>
                                    <p:animEffect transition="in" filter="fade">
                                      <p:cBhvr>
                                        <p:cTn id="24" dur="250"/>
                                        <p:tgtEl>
                                          <p:spTgt spid="19"/>
                                        </p:tgtEl>
                                      </p:cBhvr>
                                    </p:animEffect>
                                  </p:childTnLst>
                                </p:cTn>
                              </p:par>
                              <p:par>
                                <p:cTn id="25" presetID="10" presetClass="entr" presetSubtype="0" fill="hold" nodeType="withEffect">
                                  <p:stCondLst>
                                    <p:cond delay="350"/>
                                  </p:stCondLst>
                                  <p:childTnLst>
                                    <p:set>
                                      <p:cBhvr>
                                        <p:cTn id="26" dur="1" fill="hold">
                                          <p:stCondLst>
                                            <p:cond delay="0"/>
                                          </p:stCondLst>
                                        </p:cTn>
                                        <p:tgtEl>
                                          <p:spTgt spid="23"/>
                                        </p:tgtEl>
                                        <p:attrNameLst>
                                          <p:attrName>style.visibility</p:attrName>
                                        </p:attrNameLst>
                                      </p:cBhvr>
                                      <p:to>
                                        <p:strVal val="visible"/>
                                      </p:to>
                                    </p:set>
                                    <p:animEffect transition="in" filter="fade">
                                      <p:cBhvr>
                                        <p:cTn id="27" dur="250"/>
                                        <p:tgtEl>
                                          <p:spTgt spid="23"/>
                                        </p:tgtEl>
                                      </p:cBhvr>
                                    </p:animEffect>
                                  </p:childTnLst>
                                </p:cTn>
                              </p:par>
                              <p:par>
                                <p:cTn id="28" presetID="10" presetClass="entr" presetSubtype="0" fill="hold" nodeType="withEffect">
                                  <p:stCondLst>
                                    <p:cond delay="400"/>
                                  </p:stCondLst>
                                  <p:childTnLst>
                                    <p:set>
                                      <p:cBhvr>
                                        <p:cTn id="29" dur="1" fill="hold">
                                          <p:stCondLst>
                                            <p:cond delay="0"/>
                                          </p:stCondLst>
                                        </p:cTn>
                                        <p:tgtEl>
                                          <p:spTgt spid="26"/>
                                        </p:tgtEl>
                                        <p:attrNameLst>
                                          <p:attrName>style.visibility</p:attrName>
                                        </p:attrNameLst>
                                      </p:cBhvr>
                                      <p:to>
                                        <p:strVal val="visible"/>
                                      </p:to>
                                    </p:set>
                                    <p:animEffect transition="in" filter="fade">
                                      <p:cBhvr>
                                        <p:cTn id="30" dur="250"/>
                                        <p:tgtEl>
                                          <p:spTgt spid="26"/>
                                        </p:tgtEl>
                                      </p:cBhvr>
                                    </p:animEffect>
                                  </p:childTnLst>
                                </p:cTn>
                              </p:par>
                              <p:par>
                                <p:cTn id="31" presetID="10" presetClass="entr" presetSubtype="0" fill="hold" nodeType="withEffect">
                                  <p:stCondLst>
                                    <p:cond delay="450"/>
                                  </p:stCondLst>
                                  <p:childTnLst>
                                    <p:set>
                                      <p:cBhvr>
                                        <p:cTn id="32" dur="1" fill="hold">
                                          <p:stCondLst>
                                            <p:cond delay="0"/>
                                          </p:stCondLst>
                                        </p:cTn>
                                        <p:tgtEl>
                                          <p:spTgt spid="27"/>
                                        </p:tgtEl>
                                        <p:attrNameLst>
                                          <p:attrName>style.visibility</p:attrName>
                                        </p:attrNameLst>
                                      </p:cBhvr>
                                      <p:to>
                                        <p:strVal val="visible"/>
                                      </p:to>
                                    </p:set>
                                    <p:animEffect transition="in" filter="fade">
                                      <p:cBhvr>
                                        <p:cTn id="33" dur="25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p:bldLst>
  </p:timing>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4623420" y="3209631"/>
            <a:ext cx="536909" cy="521933"/>
          </a:xfrm>
          <a:prstGeom prst="rect">
            <a:avLst/>
          </a:prstGeom>
        </p:spPr>
      </p:pic>
      <p:grpSp>
        <p:nvGrpSpPr>
          <p:cNvPr id="5" name="Group 4"/>
          <p:cNvGrpSpPr>
            <a:grpSpLocks noChangeAspect="1"/>
          </p:cNvGrpSpPr>
          <p:nvPr/>
        </p:nvGrpSpPr>
        <p:grpSpPr bwMode="auto">
          <a:xfrm>
            <a:off x="5409547" y="1366992"/>
            <a:ext cx="7817723" cy="4229120"/>
            <a:chOff x="-49688" y="-26795"/>
            <a:chExt cx="107212" cy="57998"/>
          </a:xfrm>
        </p:grpSpPr>
        <p:sp>
          <p:nvSpPr>
            <p:cNvPr id="11" name="Freeform 6"/>
            <p:cNvSpPr>
              <a:spLocks noEditPoints="1"/>
            </p:cNvSpPr>
            <p:nvPr/>
          </p:nvSpPr>
          <p:spPr bwMode="auto">
            <a:xfrm>
              <a:off x="-49688" y="-26795"/>
              <a:ext cx="107212" cy="26290"/>
            </a:xfrm>
            <a:custGeom>
              <a:avLst/>
              <a:gdLst>
                <a:gd name="T0" fmla="*/ 76 w 45383"/>
                <a:gd name="T1" fmla="*/ 670 h 11128"/>
                <a:gd name="T2" fmla="*/ 599 w 45383"/>
                <a:gd name="T3" fmla="*/ 1787 h 11128"/>
                <a:gd name="T4" fmla="*/ 533 w 45383"/>
                <a:gd name="T5" fmla="*/ 2586 h 11128"/>
                <a:gd name="T6" fmla="*/ 10 w 45383"/>
                <a:gd name="T7" fmla="*/ 3947 h 11128"/>
                <a:gd name="T8" fmla="*/ 75 w 45383"/>
                <a:gd name="T9" fmla="*/ 4814 h 11128"/>
                <a:gd name="T10" fmla="*/ 293 w 45383"/>
                <a:gd name="T11" fmla="*/ 5720 h 11128"/>
                <a:gd name="T12" fmla="*/ 533 w 45383"/>
                <a:gd name="T13" fmla="*/ 6636 h 11128"/>
                <a:gd name="T14" fmla="*/ 75 w 45383"/>
                <a:gd name="T15" fmla="*/ 7663 h 11128"/>
                <a:gd name="T16" fmla="*/ 599 w 45383"/>
                <a:gd name="T17" fmla="*/ 8608 h 11128"/>
                <a:gd name="T18" fmla="*/ 558 w 45383"/>
                <a:gd name="T19" fmla="*/ 9454 h 11128"/>
                <a:gd name="T20" fmla="*/ 724 w 45383"/>
                <a:gd name="T21" fmla="*/ 10610 h 11128"/>
                <a:gd name="T22" fmla="*/ 1605 w 45383"/>
                <a:gd name="T23" fmla="*/ 11099 h 11128"/>
                <a:gd name="T24" fmla="*/ 2791 w 45383"/>
                <a:gd name="T25" fmla="*/ 11118 h 11128"/>
                <a:gd name="T26" fmla="*/ 3659 w 45383"/>
                <a:gd name="T27" fmla="*/ 11053 h 11128"/>
                <a:gd name="T28" fmla="*/ 4514 w 45383"/>
                <a:gd name="T29" fmla="*/ 11128 h 11128"/>
                <a:gd name="T30" fmla="*/ 5735 w 45383"/>
                <a:gd name="T31" fmla="*/ 11054 h 11128"/>
                <a:gd name="T32" fmla="*/ 6558 w 45383"/>
                <a:gd name="T33" fmla="*/ 10324 h 11128"/>
                <a:gd name="T34" fmla="*/ 7069 w 45383"/>
                <a:gd name="T35" fmla="*/ 9615 h 11128"/>
                <a:gd name="T36" fmla="*/ 7730 w 45383"/>
                <a:gd name="T37" fmla="*/ 8528 h 11128"/>
                <a:gd name="T38" fmla="*/ 8819 w 45383"/>
                <a:gd name="T39" fmla="*/ 8158 h 11128"/>
                <a:gd name="T40" fmla="*/ 9604 w 45383"/>
                <a:gd name="T41" fmla="*/ 8622 h 11128"/>
                <a:gd name="T42" fmla="*/ 10739 w 45383"/>
                <a:gd name="T43" fmla="*/ 8330 h 11128"/>
                <a:gd name="T44" fmla="*/ 11391 w 45383"/>
                <a:gd name="T45" fmla="*/ 9171 h 11128"/>
                <a:gd name="T46" fmla="*/ 12053 w 45383"/>
                <a:gd name="T47" fmla="*/ 9676 h 11128"/>
                <a:gd name="T48" fmla="*/ 13243 w 45383"/>
                <a:gd name="T49" fmla="*/ 10228 h 11128"/>
                <a:gd name="T50" fmla="*/ 13956 w 45383"/>
                <a:gd name="T51" fmla="*/ 10519 h 11128"/>
                <a:gd name="T52" fmla="*/ 14662 w 45383"/>
                <a:gd name="T53" fmla="*/ 11052 h 11128"/>
                <a:gd name="T54" fmla="*/ 15779 w 45383"/>
                <a:gd name="T55" fmla="*/ 10529 h 11128"/>
                <a:gd name="T56" fmla="*/ 16641 w 45383"/>
                <a:gd name="T57" fmla="*/ 10388 h 11128"/>
                <a:gd name="T58" fmla="*/ 17466 w 45383"/>
                <a:gd name="T59" fmla="*/ 10193 h 11128"/>
                <a:gd name="T60" fmla="*/ 18397 w 45383"/>
                <a:gd name="T61" fmla="*/ 9262 h 11128"/>
                <a:gd name="T62" fmla="*/ 19117 w 45383"/>
                <a:gd name="T63" fmla="*/ 8964 h 11128"/>
                <a:gd name="T64" fmla="*/ 19941 w 45383"/>
                <a:gd name="T65" fmla="*/ 8200 h 11128"/>
                <a:gd name="T66" fmla="*/ 20981 w 45383"/>
                <a:gd name="T67" fmla="*/ 8721 h 11128"/>
                <a:gd name="T68" fmla="*/ 21947 w 45383"/>
                <a:gd name="T69" fmla="*/ 8684 h 11128"/>
                <a:gd name="T70" fmla="*/ 22724 w 45383"/>
                <a:gd name="T71" fmla="*/ 9467 h 11128"/>
                <a:gd name="T72" fmla="*/ 23304 w 45383"/>
                <a:gd name="T73" fmla="*/ 10044 h 11128"/>
                <a:gd name="T74" fmla="*/ 24124 w 45383"/>
                <a:gd name="T75" fmla="*/ 10659 h 11128"/>
                <a:gd name="T76" fmla="*/ 25206 w 45383"/>
                <a:gd name="T77" fmla="*/ 11118 h 11128"/>
                <a:gd name="T78" fmla="*/ 26074 w 45383"/>
                <a:gd name="T79" fmla="*/ 11053 h 11128"/>
                <a:gd name="T80" fmla="*/ 26929 w 45383"/>
                <a:gd name="T81" fmla="*/ 11128 h 11128"/>
                <a:gd name="T82" fmla="*/ 28211 w 45383"/>
                <a:gd name="T83" fmla="*/ 10553 h 11128"/>
                <a:gd name="T84" fmla="*/ 28677 w 45383"/>
                <a:gd name="T85" fmla="*/ 9801 h 11128"/>
                <a:gd name="T86" fmla="*/ 29357 w 45383"/>
                <a:gd name="T87" fmla="*/ 9318 h 11128"/>
                <a:gd name="T88" fmla="*/ 30004 w 45383"/>
                <a:gd name="T89" fmla="*/ 8399 h 11128"/>
                <a:gd name="T90" fmla="*/ 31304 w 45383"/>
                <a:gd name="T91" fmla="*/ 8089 h 11128"/>
                <a:gd name="T92" fmla="*/ 32002 w 45383"/>
                <a:gd name="T93" fmla="*/ 8674 h 11128"/>
                <a:gd name="T94" fmla="*/ 33268 w 45383"/>
                <a:gd name="T95" fmla="*/ 8545 h 11128"/>
                <a:gd name="T96" fmla="*/ 34220 w 45383"/>
                <a:gd name="T97" fmla="*/ 9190 h 11128"/>
                <a:gd name="T98" fmla="*/ 34786 w 45383"/>
                <a:gd name="T99" fmla="*/ 9839 h 11128"/>
                <a:gd name="T100" fmla="*/ 35255 w 45383"/>
                <a:gd name="T101" fmla="*/ 10498 h 11128"/>
                <a:gd name="T102" fmla="*/ 36189 w 45383"/>
                <a:gd name="T103" fmla="*/ 11053 h 11128"/>
                <a:gd name="T104" fmla="*/ 37134 w 45383"/>
                <a:gd name="T105" fmla="*/ 10529 h 11128"/>
                <a:gd name="T106" fmla="*/ 38163 w 45383"/>
                <a:gd name="T107" fmla="*/ 10516 h 11128"/>
                <a:gd name="T108" fmla="*/ 38769 w 45383"/>
                <a:gd name="T109" fmla="*/ 9971 h 11128"/>
                <a:gd name="T110" fmla="*/ 39647 w 45383"/>
                <a:gd name="T111" fmla="*/ 9729 h 11128"/>
                <a:gd name="T112" fmla="*/ 40352 w 45383"/>
                <a:gd name="T113" fmla="*/ 8903 h 11128"/>
                <a:gd name="T114" fmla="*/ 41330 w 45383"/>
                <a:gd name="T115" fmla="*/ 8196 h 11128"/>
                <a:gd name="T116" fmla="*/ 42600 w 45383"/>
                <a:gd name="T117" fmla="*/ 8711 h 11128"/>
                <a:gd name="T118" fmla="*/ 43384 w 45383"/>
                <a:gd name="T119" fmla="*/ 8788 h 11128"/>
                <a:gd name="T120" fmla="*/ 44314 w 45383"/>
                <a:gd name="T121" fmla="*/ 8972 h 11128"/>
                <a:gd name="T122" fmla="*/ 44953 w 45383"/>
                <a:gd name="T123" fmla="*/ 9871 h 1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5383" h="11128">
                  <a:moveTo>
                    <a:pt x="0" y="195"/>
                  </a:moveTo>
                  <a:cubicBezTo>
                    <a:pt x="0" y="134"/>
                    <a:pt x="25" y="86"/>
                    <a:pt x="75" y="52"/>
                  </a:cubicBezTo>
                  <a:cubicBezTo>
                    <a:pt x="126" y="17"/>
                    <a:pt x="198" y="0"/>
                    <a:pt x="293" y="0"/>
                  </a:cubicBezTo>
                  <a:cubicBezTo>
                    <a:pt x="397" y="0"/>
                    <a:pt x="475" y="18"/>
                    <a:pt x="529" y="54"/>
                  </a:cubicBezTo>
                  <a:cubicBezTo>
                    <a:pt x="582" y="90"/>
                    <a:pt x="609" y="142"/>
                    <a:pt x="609" y="209"/>
                  </a:cubicBezTo>
                  <a:cubicBezTo>
                    <a:pt x="609" y="339"/>
                    <a:pt x="508" y="404"/>
                    <a:pt x="307" y="404"/>
                  </a:cubicBezTo>
                  <a:cubicBezTo>
                    <a:pt x="207" y="404"/>
                    <a:pt x="131" y="385"/>
                    <a:pt x="79" y="349"/>
                  </a:cubicBezTo>
                  <a:cubicBezTo>
                    <a:pt x="27" y="312"/>
                    <a:pt x="0" y="261"/>
                    <a:pt x="0" y="195"/>
                  </a:cubicBezTo>
                  <a:close/>
                  <a:moveTo>
                    <a:pt x="533" y="205"/>
                  </a:moveTo>
                  <a:cubicBezTo>
                    <a:pt x="533" y="133"/>
                    <a:pt x="454" y="98"/>
                    <a:pt x="297" y="98"/>
                  </a:cubicBezTo>
                  <a:cubicBezTo>
                    <a:pt x="150" y="98"/>
                    <a:pt x="76" y="133"/>
                    <a:pt x="76" y="203"/>
                  </a:cubicBezTo>
                  <a:cubicBezTo>
                    <a:pt x="76" y="272"/>
                    <a:pt x="151" y="306"/>
                    <a:pt x="300" y="306"/>
                  </a:cubicBezTo>
                  <a:cubicBezTo>
                    <a:pt x="455" y="306"/>
                    <a:pt x="533" y="272"/>
                    <a:pt x="533" y="205"/>
                  </a:cubicBezTo>
                  <a:close/>
                  <a:moveTo>
                    <a:pt x="0" y="662"/>
                  </a:moveTo>
                  <a:cubicBezTo>
                    <a:pt x="0" y="601"/>
                    <a:pt x="25" y="553"/>
                    <a:pt x="75" y="519"/>
                  </a:cubicBezTo>
                  <a:cubicBezTo>
                    <a:pt x="126" y="484"/>
                    <a:pt x="198" y="467"/>
                    <a:pt x="293" y="467"/>
                  </a:cubicBezTo>
                  <a:cubicBezTo>
                    <a:pt x="397" y="467"/>
                    <a:pt x="475" y="485"/>
                    <a:pt x="529" y="521"/>
                  </a:cubicBezTo>
                  <a:cubicBezTo>
                    <a:pt x="582" y="557"/>
                    <a:pt x="609" y="609"/>
                    <a:pt x="609" y="676"/>
                  </a:cubicBezTo>
                  <a:cubicBezTo>
                    <a:pt x="609" y="806"/>
                    <a:pt x="508" y="870"/>
                    <a:pt x="307" y="870"/>
                  </a:cubicBezTo>
                  <a:cubicBezTo>
                    <a:pt x="207" y="870"/>
                    <a:pt x="131" y="852"/>
                    <a:pt x="79" y="816"/>
                  </a:cubicBezTo>
                  <a:cubicBezTo>
                    <a:pt x="27" y="779"/>
                    <a:pt x="0" y="728"/>
                    <a:pt x="0" y="662"/>
                  </a:cubicBezTo>
                  <a:close/>
                  <a:moveTo>
                    <a:pt x="533" y="672"/>
                  </a:moveTo>
                  <a:cubicBezTo>
                    <a:pt x="533" y="600"/>
                    <a:pt x="454" y="565"/>
                    <a:pt x="297" y="565"/>
                  </a:cubicBezTo>
                  <a:cubicBezTo>
                    <a:pt x="150" y="565"/>
                    <a:pt x="76" y="600"/>
                    <a:pt x="76" y="670"/>
                  </a:cubicBezTo>
                  <a:cubicBezTo>
                    <a:pt x="76" y="739"/>
                    <a:pt x="151" y="773"/>
                    <a:pt x="300" y="773"/>
                  </a:cubicBezTo>
                  <a:cubicBezTo>
                    <a:pt x="455" y="773"/>
                    <a:pt x="533" y="739"/>
                    <a:pt x="533" y="672"/>
                  </a:cubicBezTo>
                  <a:close/>
                  <a:moveTo>
                    <a:pt x="10" y="1075"/>
                  </a:moveTo>
                  <a:cubicBezTo>
                    <a:pt x="10" y="974"/>
                    <a:pt x="10" y="974"/>
                    <a:pt x="10" y="974"/>
                  </a:cubicBezTo>
                  <a:cubicBezTo>
                    <a:pt x="599" y="974"/>
                    <a:pt x="599" y="974"/>
                    <a:pt x="599" y="974"/>
                  </a:cubicBezTo>
                  <a:cubicBezTo>
                    <a:pt x="599" y="1075"/>
                    <a:pt x="599" y="1075"/>
                    <a:pt x="599" y="1075"/>
                  </a:cubicBezTo>
                  <a:lnTo>
                    <a:pt x="10" y="1075"/>
                  </a:lnTo>
                  <a:close/>
                  <a:moveTo>
                    <a:pt x="0" y="1374"/>
                  </a:moveTo>
                  <a:cubicBezTo>
                    <a:pt x="0" y="1313"/>
                    <a:pt x="25" y="1265"/>
                    <a:pt x="75" y="1231"/>
                  </a:cubicBezTo>
                  <a:cubicBezTo>
                    <a:pt x="126" y="1196"/>
                    <a:pt x="198" y="1179"/>
                    <a:pt x="293" y="1179"/>
                  </a:cubicBezTo>
                  <a:cubicBezTo>
                    <a:pt x="397" y="1179"/>
                    <a:pt x="475" y="1197"/>
                    <a:pt x="529" y="1233"/>
                  </a:cubicBezTo>
                  <a:cubicBezTo>
                    <a:pt x="582" y="1269"/>
                    <a:pt x="609" y="1321"/>
                    <a:pt x="609" y="1388"/>
                  </a:cubicBezTo>
                  <a:cubicBezTo>
                    <a:pt x="609" y="1518"/>
                    <a:pt x="508" y="1582"/>
                    <a:pt x="307" y="1582"/>
                  </a:cubicBezTo>
                  <a:cubicBezTo>
                    <a:pt x="207" y="1582"/>
                    <a:pt x="131" y="1564"/>
                    <a:pt x="79" y="1528"/>
                  </a:cubicBezTo>
                  <a:cubicBezTo>
                    <a:pt x="27" y="1491"/>
                    <a:pt x="0" y="1440"/>
                    <a:pt x="0" y="1374"/>
                  </a:cubicBezTo>
                  <a:close/>
                  <a:moveTo>
                    <a:pt x="533" y="1384"/>
                  </a:moveTo>
                  <a:cubicBezTo>
                    <a:pt x="533" y="1312"/>
                    <a:pt x="454" y="1277"/>
                    <a:pt x="297" y="1277"/>
                  </a:cubicBezTo>
                  <a:cubicBezTo>
                    <a:pt x="150" y="1277"/>
                    <a:pt x="76" y="1312"/>
                    <a:pt x="76" y="1382"/>
                  </a:cubicBezTo>
                  <a:cubicBezTo>
                    <a:pt x="76" y="1451"/>
                    <a:pt x="151" y="1485"/>
                    <a:pt x="300" y="1485"/>
                  </a:cubicBezTo>
                  <a:cubicBezTo>
                    <a:pt x="455" y="1485"/>
                    <a:pt x="533" y="1451"/>
                    <a:pt x="533" y="1384"/>
                  </a:cubicBezTo>
                  <a:close/>
                  <a:moveTo>
                    <a:pt x="10" y="1787"/>
                  </a:moveTo>
                  <a:cubicBezTo>
                    <a:pt x="10" y="1686"/>
                    <a:pt x="10" y="1686"/>
                    <a:pt x="10" y="1686"/>
                  </a:cubicBezTo>
                  <a:cubicBezTo>
                    <a:pt x="599" y="1686"/>
                    <a:pt x="599" y="1686"/>
                    <a:pt x="599" y="1686"/>
                  </a:cubicBezTo>
                  <a:cubicBezTo>
                    <a:pt x="599" y="1787"/>
                    <a:pt x="599" y="1787"/>
                    <a:pt x="599" y="1787"/>
                  </a:cubicBezTo>
                  <a:lnTo>
                    <a:pt x="10" y="1787"/>
                  </a:lnTo>
                  <a:close/>
                  <a:moveTo>
                    <a:pt x="10" y="2032"/>
                  </a:moveTo>
                  <a:cubicBezTo>
                    <a:pt x="10" y="1932"/>
                    <a:pt x="10" y="1932"/>
                    <a:pt x="10" y="1932"/>
                  </a:cubicBezTo>
                  <a:cubicBezTo>
                    <a:pt x="599" y="1932"/>
                    <a:pt x="599" y="1932"/>
                    <a:pt x="599" y="1932"/>
                  </a:cubicBezTo>
                  <a:cubicBezTo>
                    <a:pt x="599" y="2032"/>
                    <a:pt x="599" y="2032"/>
                    <a:pt x="599" y="2032"/>
                  </a:cubicBezTo>
                  <a:lnTo>
                    <a:pt x="10" y="2032"/>
                  </a:lnTo>
                  <a:close/>
                  <a:moveTo>
                    <a:pt x="10" y="2278"/>
                  </a:moveTo>
                  <a:cubicBezTo>
                    <a:pt x="10" y="2177"/>
                    <a:pt x="10" y="2177"/>
                    <a:pt x="10" y="2177"/>
                  </a:cubicBezTo>
                  <a:cubicBezTo>
                    <a:pt x="599" y="2177"/>
                    <a:pt x="599" y="2177"/>
                    <a:pt x="599" y="2177"/>
                  </a:cubicBezTo>
                  <a:cubicBezTo>
                    <a:pt x="599" y="2278"/>
                    <a:pt x="599" y="2278"/>
                    <a:pt x="599" y="2278"/>
                  </a:cubicBezTo>
                  <a:lnTo>
                    <a:pt x="10" y="2278"/>
                  </a:lnTo>
                  <a:close/>
                  <a:moveTo>
                    <a:pt x="0" y="2577"/>
                  </a:moveTo>
                  <a:cubicBezTo>
                    <a:pt x="0" y="2516"/>
                    <a:pt x="25" y="2468"/>
                    <a:pt x="75" y="2433"/>
                  </a:cubicBezTo>
                  <a:cubicBezTo>
                    <a:pt x="126" y="2399"/>
                    <a:pt x="198" y="2382"/>
                    <a:pt x="293" y="2382"/>
                  </a:cubicBezTo>
                  <a:cubicBezTo>
                    <a:pt x="397" y="2382"/>
                    <a:pt x="475" y="2400"/>
                    <a:pt x="529" y="2436"/>
                  </a:cubicBezTo>
                  <a:cubicBezTo>
                    <a:pt x="582" y="2472"/>
                    <a:pt x="609" y="2523"/>
                    <a:pt x="609" y="2591"/>
                  </a:cubicBezTo>
                  <a:cubicBezTo>
                    <a:pt x="609" y="2720"/>
                    <a:pt x="508" y="2785"/>
                    <a:pt x="307" y="2785"/>
                  </a:cubicBezTo>
                  <a:cubicBezTo>
                    <a:pt x="207" y="2785"/>
                    <a:pt x="131" y="2767"/>
                    <a:pt x="79" y="2730"/>
                  </a:cubicBezTo>
                  <a:cubicBezTo>
                    <a:pt x="27" y="2694"/>
                    <a:pt x="0" y="2643"/>
                    <a:pt x="0" y="2577"/>
                  </a:cubicBezTo>
                  <a:close/>
                  <a:moveTo>
                    <a:pt x="533" y="2586"/>
                  </a:moveTo>
                  <a:cubicBezTo>
                    <a:pt x="533" y="2515"/>
                    <a:pt x="454" y="2479"/>
                    <a:pt x="297" y="2479"/>
                  </a:cubicBezTo>
                  <a:cubicBezTo>
                    <a:pt x="150" y="2479"/>
                    <a:pt x="76" y="2514"/>
                    <a:pt x="76" y="2584"/>
                  </a:cubicBezTo>
                  <a:cubicBezTo>
                    <a:pt x="76" y="2653"/>
                    <a:pt x="151" y="2688"/>
                    <a:pt x="300" y="2688"/>
                  </a:cubicBezTo>
                  <a:cubicBezTo>
                    <a:pt x="455" y="2688"/>
                    <a:pt x="533" y="2654"/>
                    <a:pt x="533" y="2586"/>
                  </a:cubicBezTo>
                  <a:close/>
                  <a:moveTo>
                    <a:pt x="10" y="2989"/>
                  </a:moveTo>
                  <a:cubicBezTo>
                    <a:pt x="10" y="2889"/>
                    <a:pt x="10" y="2889"/>
                    <a:pt x="10" y="2889"/>
                  </a:cubicBezTo>
                  <a:cubicBezTo>
                    <a:pt x="599" y="2889"/>
                    <a:pt x="599" y="2889"/>
                    <a:pt x="599" y="2889"/>
                  </a:cubicBezTo>
                  <a:cubicBezTo>
                    <a:pt x="599" y="2989"/>
                    <a:pt x="599" y="2989"/>
                    <a:pt x="599" y="2989"/>
                  </a:cubicBezTo>
                  <a:lnTo>
                    <a:pt x="10" y="2989"/>
                  </a:lnTo>
                  <a:close/>
                  <a:moveTo>
                    <a:pt x="10" y="3234"/>
                  </a:moveTo>
                  <a:cubicBezTo>
                    <a:pt x="10" y="3134"/>
                    <a:pt x="10" y="3134"/>
                    <a:pt x="10" y="3134"/>
                  </a:cubicBezTo>
                  <a:cubicBezTo>
                    <a:pt x="599" y="3134"/>
                    <a:pt x="599" y="3134"/>
                    <a:pt x="599" y="3134"/>
                  </a:cubicBezTo>
                  <a:cubicBezTo>
                    <a:pt x="599" y="3234"/>
                    <a:pt x="599" y="3234"/>
                    <a:pt x="599" y="3234"/>
                  </a:cubicBezTo>
                  <a:lnTo>
                    <a:pt x="10" y="3234"/>
                  </a:lnTo>
                  <a:close/>
                  <a:moveTo>
                    <a:pt x="0" y="3534"/>
                  </a:moveTo>
                  <a:cubicBezTo>
                    <a:pt x="0" y="3472"/>
                    <a:pt x="25" y="3425"/>
                    <a:pt x="75" y="3390"/>
                  </a:cubicBezTo>
                  <a:cubicBezTo>
                    <a:pt x="126" y="3356"/>
                    <a:pt x="198" y="3339"/>
                    <a:pt x="293" y="3339"/>
                  </a:cubicBezTo>
                  <a:cubicBezTo>
                    <a:pt x="397" y="3339"/>
                    <a:pt x="475" y="3357"/>
                    <a:pt x="529" y="3393"/>
                  </a:cubicBezTo>
                  <a:cubicBezTo>
                    <a:pt x="582" y="3428"/>
                    <a:pt x="609" y="3480"/>
                    <a:pt x="609" y="3548"/>
                  </a:cubicBezTo>
                  <a:cubicBezTo>
                    <a:pt x="609" y="3677"/>
                    <a:pt x="508" y="3742"/>
                    <a:pt x="307" y="3742"/>
                  </a:cubicBezTo>
                  <a:cubicBezTo>
                    <a:pt x="207" y="3742"/>
                    <a:pt x="131" y="3724"/>
                    <a:pt x="79" y="3687"/>
                  </a:cubicBezTo>
                  <a:cubicBezTo>
                    <a:pt x="27" y="3651"/>
                    <a:pt x="0" y="3600"/>
                    <a:pt x="0" y="3534"/>
                  </a:cubicBezTo>
                  <a:close/>
                  <a:moveTo>
                    <a:pt x="533" y="3543"/>
                  </a:moveTo>
                  <a:cubicBezTo>
                    <a:pt x="533" y="3472"/>
                    <a:pt x="454" y="3436"/>
                    <a:pt x="297" y="3436"/>
                  </a:cubicBezTo>
                  <a:cubicBezTo>
                    <a:pt x="150" y="3436"/>
                    <a:pt x="76" y="3471"/>
                    <a:pt x="76" y="3541"/>
                  </a:cubicBezTo>
                  <a:cubicBezTo>
                    <a:pt x="76" y="3610"/>
                    <a:pt x="151" y="3645"/>
                    <a:pt x="300" y="3645"/>
                  </a:cubicBezTo>
                  <a:cubicBezTo>
                    <a:pt x="455" y="3645"/>
                    <a:pt x="533" y="3611"/>
                    <a:pt x="533" y="3543"/>
                  </a:cubicBezTo>
                  <a:close/>
                  <a:moveTo>
                    <a:pt x="10" y="3947"/>
                  </a:moveTo>
                  <a:cubicBezTo>
                    <a:pt x="10" y="3846"/>
                    <a:pt x="10" y="3846"/>
                    <a:pt x="10" y="3846"/>
                  </a:cubicBezTo>
                  <a:cubicBezTo>
                    <a:pt x="599" y="3846"/>
                    <a:pt x="599" y="3846"/>
                    <a:pt x="599" y="3846"/>
                  </a:cubicBezTo>
                  <a:cubicBezTo>
                    <a:pt x="599" y="3947"/>
                    <a:pt x="599" y="3947"/>
                    <a:pt x="599" y="3947"/>
                  </a:cubicBezTo>
                  <a:lnTo>
                    <a:pt x="10" y="3947"/>
                  </a:lnTo>
                  <a:close/>
                  <a:moveTo>
                    <a:pt x="10" y="4191"/>
                  </a:moveTo>
                  <a:cubicBezTo>
                    <a:pt x="10" y="4091"/>
                    <a:pt x="10" y="4091"/>
                    <a:pt x="10" y="4091"/>
                  </a:cubicBezTo>
                  <a:cubicBezTo>
                    <a:pt x="599" y="4091"/>
                    <a:pt x="599" y="4091"/>
                    <a:pt x="599" y="4091"/>
                  </a:cubicBezTo>
                  <a:cubicBezTo>
                    <a:pt x="599" y="4191"/>
                    <a:pt x="599" y="4191"/>
                    <a:pt x="599" y="4191"/>
                  </a:cubicBezTo>
                  <a:lnTo>
                    <a:pt x="10" y="4191"/>
                  </a:lnTo>
                  <a:close/>
                  <a:moveTo>
                    <a:pt x="0" y="4491"/>
                  </a:moveTo>
                  <a:cubicBezTo>
                    <a:pt x="0" y="4430"/>
                    <a:pt x="25" y="4382"/>
                    <a:pt x="75" y="4347"/>
                  </a:cubicBezTo>
                  <a:cubicBezTo>
                    <a:pt x="126" y="4313"/>
                    <a:pt x="198" y="4296"/>
                    <a:pt x="293" y="4296"/>
                  </a:cubicBezTo>
                  <a:cubicBezTo>
                    <a:pt x="397" y="4296"/>
                    <a:pt x="475" y="4314"/>
                    <a:pt x="529" y="4350"/>
                  </a:cubicBezTo>
                  <a:cubicBezTo>
                    <a:pt x="582" y="4386"/>
                    <a:pt x="609" y="4437"/>
                    <a:pt x="609" y="4505"/>
                  </a:cubicBezTo>
                  <a:cubicBezTo>
                    <a:pt x="609" y="4634"/>
                    <a:pt x="508" y="4699"/>
                    <a:pt x="307" y="4699"/>
                  </a:cubicBezTo>
                  <a:cubicBezTo>
                    <a:pt x="207" y="4699"/>
                    <a:pt x="131" y="4681"/>
                    <a:pt x="79" y="4644"/>
                  </a:cubicBezTo>
                  <a:cubicBezTo>
                    <a:pt x="27" y="4608"/>
                    <a:pt x="0" y="4557"/>
                    <a:pt x="0" y="4491"/>
                  </a:cubicBezTo>
                  <a:close/>
                  <a:moveTo>
                    <a:pt x="533" y="4500"/>
                  </a:moveTo>
                  <a:cubicBezTo>
                    <a:pt x="533" y="4429"/>
                    <a:pt x="454" y="4393"/>
                    <a:pt x="297" y="4393"/>
                  </a:cubicBezTo>
                  <a:cubicBezTo>
                    <a:pt x="150" y="4393"/>
                    <a:pt x="76" y="4428"/>
                    <a:pt x="76" y="4498"/>
                  </a:cubicBezTo>
                  <a:cubicBezTo>
                    <a:pt x="76" y="4567"/>
                    <a:pt x="151" y="4602"/>
                    <a:pt x="300" y="4602"/>
                  </a:cubicBezTo>
                  <a:cubicBezTo>
                    <a:pt x="455" y="4602"/>
                    <a:pt x="533" y="4568"/>
                    <a:pt x="533" y="4500"/>
                  </a:cubicBezTo>
                  <a:close/>
                  <a:moveTo>
                    <a:pt x="0" y="4958"/>
                  </a:moveTo>
                  <a:cubicBezTo>
                    <a:pt x="0" y="4897"/>
                    <a:pt x="25" y="4849"/>
                    <a:pt x="75" y="4814"/>
                  </a:cubicBezTo>
                  <a:cubicBezTo>
                    <a:pt x="126" y="4780"/>
                    <a:pt x="198" y="4763"/>
                    <a:pt x="293" y="4763"/>
                  </a:cubicBezTo>
                  <a:cubicBezTo>
                    <a:pt x="397" y="4763"/>
                    <a:pt x="475" y="4781"/>
                    <a:pt x="529" y="4817"/>
                  </a:cubicBezTo>
                  <a:cubicBezTo>
                    <a:pt x="582" y="4853"/>
                    <a:pt x="609" y="4904"/>
                    <a:pt x="609" y="4972"/>
                  </a:cubicBezTo>
                  <a:cubicBezTo>
                    <a:pt x="609" y="5101"/>
                    <a:pt x="508" y="5166"/>
                    <a:pt x="307" y="5166"/>
                  </a:cubicBezTo>
                  <a:cubicBezTo>
                    <a:pt x="207" y="5166"/>
                    <a:pt x="131" y="5148"/>
                    <a:pt x="79" y="5111"/>
                  </a:cubicBezTo>
                  <a:cubicBezTo>
                    <a:pt x="27" y="5075"/>
                    <a:pt x="0" y="5024"/>
                    <a:pt x="0" y="4958"/>
                  </a:cubicBezTo>
                  <a:close/>
                  <a:moveTo>
                    <a:pt x="533" y="4967"/>
                  </a:moveTo>
                  <a:cubicBezTo>
                    <a:pt x="533" y="4896"/>
                    <a:pt x="454" y="4860"/>
                    <a:pt x="297" y="4860"/>
                  </a:cubicBezTo>
                  <a:cubicBezTo>
                    <a:pt x="150" y="4860"/>
                    <a:pt x="76" y="4895"/>
                    <a:pt x="76" y="4965"/>
                  </a:cubicBezTo>
                  <a:cubicBezTo>
                    <a:pt x="76" y="5034"/>
                    <a:pt x="151" y="5069"/>
                    <a:pt x="300" y="5069"/>
                  </a:cubicBezTo>
                  <a:cubicBezTo>
                    <a:pt x="455" y="5069"/>
                    <a:pt x="533" y="5035"/>
                    <a:pt x="533" y="4967"/>
                  </a:cubicBezTo>
                  <a:close/>
                  <a:moveTo>
                    <a:pt x="10" y="5371"/>
                  </a:moveTo>
                  <a:cubicBezTo>
                    <a:pt x="10" y="5270"/>
                    <a:pt x="10" y="5270"/>
                    <a:pt x="10" y="5270"/>
                  </a:cubicBezTo>
                  <a:cubicBezTo>
                    <a:pt x="599" y="5270"/>
                    <a:pt x="599" y="5270"/>
                    <a:pt x="599" y="5270"/>
                  </a:cubicBezTo>
                  <a:cubicBezTo>
                    <a:pt x="599" y="5371"/>
                    <a:pt x="599" y="5371"/>
                    <a:pt x="599" y="5371"/>
                  </a:cubicBezTo>
                  <a:lnTo>
                    <a:pt x="10" y="5371"/>
                  </a:lnTo>
                  <a:close/>
                  <a:moveTo>
                    <a:pt x="10" y="5616"/>
                  </a:moveTo>
                  <a:cubicBezTo>
                    <a:pt x="10" y="5515"/>
                    <a:pt x="10" y="5515"/>
                    <a:pt x="10" y="5515"/>
                  </a:cubicBezTo>
                  <a:cubicBezTo>
                    <a:pt x="599" y="5515"/>
                    <a:pt x="599" y="5515"/>
                    <a:pt x="599" y="5515"/>
                  </a:cubicBezTo>
                  <a:cubicBezTo>
                    <a:pt x="599" y="5616"/>
                    <a:pt x="599" y="5616"/>
                    <a:pt x="599" y="5616"/>
                  </a:cubicBezTo>
                  <a:lnTo>
                    <a:pt x="10" y="5616"/>
                  </a:lnTo>
                  <a:close/>
                  <a:moveTo>
                    <a:pt x="0" y="5915"/>
                  </a:moveTo>
                  <a:cubicBezTo>
                    <a:pt x="0" y="5854"/>
                    <a:pt x="25" y="5806"/>
                    <a:pt x="75" y="5772"/>
                  </a:cubicBezTo>
                  <a:cubicBezTo>
                    <a:pt x="126" y="5737"/>
                    <a:pt x="198" y="5720"/>
                    <a:pt x="293" y="5720"/>
                  </a:cubicBezTo>
                  <a:cubicBezTo>
                    <a:pt x="397" y="5720"/>
                    <a:pt x="475" y="5738"/>
                    <a:pt x="529" y="5774"/>
                  </a:cubicBezTo>
                  <a:cubicBezTo>
                    <a:pt x="582" y="5810"/>
                    <a:pt x="609" y="5862"/>
                    <a:pt x="609" y="5929"/>
                  </a:cubicBezTo>
                  <a:cubicBezTo>
                    <a:pt x="609" y="6059"/>
                    <a:pt x="508" y="6123"/>
                    <a:pt x="307" y="6123"/>
                  </a:cubicBezTo>
                  <a:cubicBezTo>
                    <a:pt x="207" y="6123"/>
                    <a:pt x="131" y="6105"/>
                    <a:pt x="79" y="6069"/>
                  </a:cubicBezTo>
                  <a:cubicBezTo>
                    <a:pt x="27" y="6032"/>
                    <a:pt x="0" y="5981"/>
                    <a:pt x="0" y="5915"/>
                  </a:cubicBezTo>
                  <a:close/>
                  <a:moveTo>
                    <a:pt x="533" y="5925"/>
                  </a:moveTo>
                  <a:cubicBezTo>
                    <a:pt x="533" y="5853"/>
                    <a:pt x="454" y="5817"/>
                    <a:pt x="297" y="5817"/>
                  </a:cubicBezTo>
                  <a:cubicBezTo>
                    <a:pt x="150" y="5817"/>
                    <a:pt x="76" y="5853"/>
                    <a:pt x="76" y="5923"/>
                  </a:cubicBezTo>
                  <a:cubicBezTo>
                    <a:pt x="76" y="5992"/>
                    <a:pt x="151" y="6026"/>
                    <a:pt x="300" y="6026"/>
                  </a:cubicBezTo>
                  <a:cubicBezTo>
                    <a:pt x="455" y="6026"/>
                    <a:pt x="533" y="5992"/>
                    <a:pt x="533" y="5925"/>
                  </a:cubicBezTo>
                  <a:close/>
                  <a:moveTo>
                    <a:pt x="10" y="6328"/>
                  </a:moveTo>
                  <a:cubicBezTo>
                    <a:pt x="10" y="6227"/>
                    <a:pt x="10" y="6227"/>
                    <a:pt x="10" y="6227"/>
                  </a:cubicBezTo>
                  <a:cubicBezTo>
                    <a:pt x="599" y="6227"/>
                    <a:pt x="599" y="6227"/>
                    <a:pt x="599" y="6227"/>
                  </a:cubicBezTo>
                  <a:cubicBezTo>
                    <a:pt x="599" y="6328"/>
                    <a:pt x="599" y="6328"/>
                    <a:pt x="599" y="6328"/>
                  </a:cubicBezTo>
                  <a:lnTo>
                    <a:pt x="10" y="6328"/>
                  </a:lnTo>
                  <a:close/>
                  <a:moveTo>
                    <a:pt x="0" y="6627"/>
                  </a:moveTo>
                  <a:cubicBezTo>
                    <a:pt x="0" y="6566"/>
                    <a:pt x="25" y="6518"/>
                    <a:pt x="75" y="6484"/>
                  </a:cubicBezTo>
                  <a:cubicBezTo>
                    <a:pt x="126" y="6449"/>
                    <a:pt x="198" y="6432"/>
                    <a:pt x="293" y="6432"/>
                  </a:cubicBezTo>
                  <a:cubicBezTo>
                    <a:pt x="397" y="6432"/>
                    <a:pt x="475" y="6450"/>
                    <a:pt x="529" y="6486"/>
                  </a:cubicBezTo>
                  <a:cubicBezTo>
                    <a:pt x="582" y="6522"/>
                    <a:pt x="609" y="6573"/>
                    <a:pt x="609" y="6641"/>
                  </a:cubicBezTo>
                  <a:cubicBezTo>
                    <a:pt x="609" y="6770"/>
                    <a:pt x="508" y="6835"/>
                    <a:pt x="307" y="6835"/>
                  </a:cubicBezTo>
                  <a:cubicBezTo>
                    <a:pt x="207" y="6835"/>
                    <a:pt x="131" y="6817"/>
                    <a:pt x="79" y="6780"/>
                  </a:cubicBezTo>
                  <a:cubicBezTo>
                    <a:pt x="27" y="6744"/>
                    <a:pt x="0" y="6693"/>
                    <a:pt x="0" y="6627"/>
                  </a:cubicBezTo>
                  <a:close/>
                  <a:moveTo>
                    <a:pt x="533" y="6636"/>
                  </a:moveTo>
                  <a:cubicBezTo>
                    <a:pt x="533" y="6565"/>
                    <a:pt x="454" y="6529"/>
                    <a:pt x="297" y="6529"/>
                  </a:cubicBezTo>
                  <a:cubicBezTo>
                    <a:pt x="150" y="6529"/>
                    <a:pt x="76" y="6564"/>
                    <a:pt x="76" y="6634"/>
                  </a:cubicBezTo>
                  <a:cubicBezTo>
                    <a:pt x="76" y="6703"/>
                    <a:pt x="151" y="6738"/>
                    <a:pt x="300" y="6738"/>
                  </a:cubicBezTo>
                  <a:cubicBezTo>
                    <a:pt x="455" y="6738"/>
                    <a:pt x="533" y="6704"/>
                    <a:pt x="533" y="6636"/>
                  </a:cubicBezTo>
                  <a:close/>
                  <a:moveTo>
                    <a:pt x="0" y="7094"/>
                  </a:moveTo>
                  <a:cubicBezTo>
                    <a:pt x="0" y="7033"/>
                    <a:pt x="25" y="6985"/>
                    <a:pt x="75" y="6950"/>
                  </a:cubicBezTo>
                  <a:cubicBezTo>
                    <a:pt x="126" y="6916"/>
                    <a:pt x="198" y="6899"/>
                    <a:pt x="293" y="6899"/>
                  </a:cubicBezTo>
                  <a:cubicBezTo>
                    <a:pt x="397" y="6899"/>
                    <a:pt x="475" y="6917"/>
                    <a:pt x="529" y="6953"/>
                  </a:cubicBezTo>
                  <a:cubicBezTo>
                    <a:pt x="582" y="6989"/>
                    <a:pt x="609" y="7040"/>
                    <a:pt x="609" y="7108"/>
                  </a:cubicBezTo>
                  <a:cubicBezTo>
                    <a:pt x="609" y="7237"/>
                    <a:pt x="508" y="7302"/>
                    <a:pt x="307" y="7302"/>
                  </a:cubicBezTo>
                  <a:cubicBezTo>
                    <a:pt x="207" y="7302"/>
                    <a:pt x="131" y="7284"/>
                    <a:pt x="79" y="7247"/>
                  </a:cubicBezTo>
                  <a:cubicBezTo>
                    <a:pt x="27" y="7211"/>
                    <a:pt x="0" y="7160"/>
                    <a:pt x="0" y="7094"/>
                  </a:cubicBezTo>
                  <a:close/>
                  <a:moveTo>
                    <a:pt x="533" y="7103"/>
                  </a:moveTo>
                  <a:cubicBezTo>
                    <a:pt x="533" y="7032"/>
                    <a:pt x="454" y="6996"/>
                    <a:pt x="297" y="6996"/>
                  </a:cubicBezTo>
                  <a:cubicBezTo>
                    <a:pt x="150" y="6996"/>
                    <a:pt x="76" y="7031"/>
                    <a:pt x="76" y="7101"/>
                  </a:cubicBezTo>
                  <a:cubicBezTo>
                    <a:pt x="76" y="7170"/>
                    <a:pt x="151" y="7205"/>
                    <a:pt x="300" y="7205"/>
                  </a:cubicBezTo>
                  <a:cubicBezTo>
                    <a:pt x="455" y="7205"/>
                    <a:pt x="533" y="7171"/>
                    <a:pt x="533" y="7103"/>
                  </a:cubicBezTo>
                  <a:close/>
                  <a:moveTo>
                    <a:pt x="10" y="7506"/>
                  </a:moveTo>
                  <a:cubicBezTo>
                    <a:pt x="10" y="7406"/>
                    <a:pt x="10" y="7406"/>
                    <a:pt x="10" y="7406"/>
                  </a:cubicBezTo>
                  <a:cubicBezTo>
                    <a:pt x="599" y="7406"/>
                    <a:pt x="599" y="7406"/>
                    <a:pt x="599" y="7406"/>
                  </a:cubicBezTo>
                  <a:cubicBezTo>
                    <a:pt x="599" y="7506"/>
                    <a:pt x="599" y="7506"/>
                    <a:pt x="599" y="7506"/>
                  </a:cubicBezTo>
                  <a:lnTo>
                    <a:pt x="10" y="7506"/>
                  </a:lnTo>
                  <a:close/>
                  <a:moveTo>
                    <a:pt x="0" y="7806"/>
                  </a:moveTo>
                  <a:cubicBezTo>
                    <a:pt x="0" y="7745"/>
                    <a:pt x="25" y="7697"/>
                    <a:pt x="75" y="7663"/>
                  </a:cubicBezTo>
                  <a:cubicBezTo>
                    <a:pt x="126" y="7628"/>
                    <a:pt x="198" y="7611"/>
                    <a:pt x="293" y="7611"/>
                  </a:cubicBezTo>
                  <a:cubicBezTo>
                    <a:pt x="397" y="7611"/>
                    <a:pt x="475" y="7629"/>
                    <a:pt x="529" y="7665"/>
                  </a:cubicBezTo>
                  <a:cubicBezTo>
                    <a:pt x="582" y="7701"/>
                    <a:pt x="609" y="7753"/>
                    <a:pt x="609" y="7820"/>
                  </a:cubicBezTo>
                  <a:cubicBezTo>
                    <a:pt x="609" y="7950"/>
                    <a:pt x="508" y="8014"/>
                    <a:pt x="307" y="8014"/>
                  </a:cubicBezTo>
                  <a:cubicBezTo>
                    <a:pt x="207" y="8014"/>
                    <a:pt x="131" y="7996"/>
                    <a:pt x="79" y="7960"/>
                  </a:cubicBezTo>
                  <a:cubicBezTo>
                    <a:pt x="27" y="7923"/>
                    <a:pt x="0" y="7872"/>
                    <a:pt x="0" y="7806"/>
                  </a:cubicBezTo>
                  <a:close/>
                  <a:moveTo>
                    <a:pt x="533" y="7816"/>
                  </a:moveTo>
                  <a:cubicBezTo>
                    <a:pt x="533" y="7744"/>
                    <a:pt x="454" y="7709"/>
                    <a:pt x="297" y="7709"/>
                  </a:cubicBezTo>
                  <a:cubicBezTo>
                    <a:pt x="150" y="7709"/>
                    <a:pt x="76" y="7744"/>
                    <a:pt x="76" y="7814"/>
                  </a:cubicBezTo>
                  <a:cubicBezTo>
                    <a:pt x="76" y="7883"/>
                    <a:pt x="151" y="7917"/>
                    <a:pt x="300" y="7917"/>
                  </a:cubicBezTo>
                  <a:cubicBezTo>
                    <a:pt x="455" y="7917"/>
                    <a:pt x="533" y="7883"/>
                    <a:pt x="533" y="7816"/>
                  </a:cubicBezTo>
                  <a:close/>
                  <a:moveTo>
                    <a:pt x="10" y="8219"/>
                  </a:moveTo>
                  <a:cubicBezTo>
                    <a:pt x="10" y="8118"/>
                    <a:pt x="10" y="8118"/>
                    <a:pt x="10" y="8118"/>
                  </a:cubicBezTo>
                  <a:cubicBezTo>
                    <a:pt x="599" y="8118"/>
                    <a:pt x="599" y="8118"/>
                    <a:pt x="599" y="8118"/>
                  </a:cubicBezTo>
                  <a:cubicBezTo>
                    <a:pt x="599" y="8219"/>
                    <a:pt x="599" y="8219"/>
                    <a:pt x="599" y="8219"/>
                  </a:cubicBezTo>
                  <a:lnTo>
                    <a:pt x="10" y="8219"/>
                  </a:lnTo>
                  <a:close/>
                  <a:moveTo>
                    <a:pt x="10" y="8464"/>
                  </a:moveTo>
                  <a:cubicBezTo>
                    <a:pt x="10" y="8363"/>
                    <a:pt x="10" y="8363"/>
                    <a:pt x="10" y="8363"/>
                  </a:cubicBezTo>
                  <a:cubicBezTo>
                    <a:pt x="599" y="8363"/>
                    <a:pt x="599" y="8363"/>
                    <a:pt x="599" y="8363"/>
                  </a:cubicBezTo>
                  <a:cubicBezTo>
                    <a:pt x="599" y="8464"/>
                    <a:pt x="599" y="8464"/>
                    <a:pt x="599" y="8464"/>
                  </a:cubicBezTo>
                  <a:lnTo>
                    <a:pt x="10" y="8464"/>
                  </a:lnTo>
                  <a:close/>
                  <a:moveTo>
                    <a:pt x="10" y="8709"/>
                  </a:moveTo>
                  <a:cubicBezTo>
                    <a:pt x="10" y="8608"/>
                    <a:pt x="10" y="8608"/>
                    <a:pt x="10" y="8608"/>
                  </a:cubicBezTo>
                  <a:cubicBezTo>
                    <a:pt x="599" y="8608"/>
                    <a:pt x="599" y="8608"/>
                    <a:pt x="599" y="8608"/>
                  </a:cubicBezTo>
                  <a:cubicBezTo>
                    <a:pt x="599" y="8709"/>
                    <a:pt x="599" y="8709"/>
                    <a:pt x="599" y="8709"/>
                  </a:cubicBezTo>
                  <a:lnTo>
                    <a:pt x="10" y="8709"/>
                  </a:lnTo>
                  <a:close/>
                  <a:moveTo>
                    <a:pt x="0" y="9008"/>
                  </a:moveTo>
                  <a:cubicBezTo>
                    <a:pt x="0" y="8947"/>
                    <a:pt x="25" y="8899"/>
                    <a:pt x="75" y="8865"/>
                  </a:cubicBezTo>
                  <a:cubicBezTo>
                    <a:pt x="126" y="8831"/>
                    <a:pt x="198" y="8813"/>
                    <a:pt x="293" y="8813"/>
                  </a:cubicBezTo>
                  <a:cubicBezTo>
                    <a:pt x="397" y="8813"/>
                    <a:pt x="475" y="8831"/>
                    <a:pt x="529" y="8867"/>
                  </a:cubicBezTo>
                  <a:cubicBezTo>
                    <a:pt x="582" y="8903"/>
                    <a:pt x="609" y="8955"/>
                    <a:pt x="609" y="9022"/>
                  </a:cubicBezTo>
                  <a:cubicBezTo>
                    <a:pt x="609" y="9152"/>
                    <a:pt x="508" y="9217"/>
                    <a:pt x="307" y="9217"/>
                  </a:cubicBezTo>
                  <a:cubicBezTo>
                    <a:pt x="207" y="9217"/>
                    <a:pt x="131" y="9198"/>
                    <a:pt x="79" y="9162"/>
                  </a:cubicBezTo>
                  <a:cubicBezTo>
                    <a:pt x="27" y="9125"/>
                    <a:pt x="0" y="9074"/>
                    <a:pt x="0" y="9008"/>
                  </a:cubicBezTo>
                  <a:close/>
                  <a:moveTo>
                    <a:pt x="533" y="9018"/>
                  </a:moveTo>
                  <a:cubicBezTo>
                    <a:pt x="533" y="8946"/>
                    <a:pt x="454" y="8911"/>
                    <a:pt x="297" y="8911"/>
                  </a:cubicBezTo>
                  <a:cubicBezTo>
                    <a:pt x="150" y="8911"/>
                    <a:pt x="76" y="8946"/>
                    <a:pt x="76" y="9016"/>
                  </a:cubicBezTo>
                  <a:cubicBezTo>
                    <a:pt x="76" y="9085"/>
                    <a:pt x="151" y="9119"/>
                    <a:pt x="300" y="9119"/>
                  </a:cubicBezTo>
                  <a:cubicBezTo>
                    <a:pt x="455" y="9119"/>
                    <a:pt x="533" y="9085"/>
                    <a:pt x="533" y="9018"/>
                  </a:cubicBezTo>
                  <a:close/>
                  <a:moveTo>
                    <a:pt x="32" y="9543"/>
                  </a:moveTo>
                  <a:cubicBezTo>
                    <a:pt x="21" y="9483"/>
                    <a:pt x="37" y="9431"/>
                    <a:pt x="80" y="9388"/>
                  </a:cubicBezTo>
                  <a:cubicBezTo>
                    <a:pt x="123" y="9345"/>
                    <a:pt x="191" y="9315"/>
                    <a:pt x="284" y="9298"/>
                  </a:cubicBezTo>
                  <a:cubicBezTo>
                    <a:pt x="386" y="9279"/>
                    <a:pt x="467" y="9282"/>
                    <a:pt x="526" y="9307"/>
                  </a:cubicBezTo>
                  <a:cubicBezTo>
                    <a:pt x="585" y="9332"/>
                    <a:pt x="621" y="9378"/>
                    <a:pt x="633" y="9445"/>
                  </a:cubicBezTo>
                  <a:cubicBezTo>
                    <a:pt x="657" y="9572"/>
                    <a:pt x="570" y="9654"/>
                    <a:pt x="372" y="9691"/>
                  </a:cubicBezTo>
                  <a:cubicBezTo>
                    <a:pt x="274" y="9710"/>
                    <a:pt x="196" y="9706"/>
                    <a:pt x="138" y="9680"/>
                  </a:cubicBezTo>
                  <a:cubicBezTo>
                    <a:pt x="80" y="9653"/>
                    <a:pt x="45" y="9608"/>
                    <a:pt x="32" y="9543"/>
                  </a:cubicBezTo>
                  <a:close/>
                  <a:moveTo>
                    <a:pt x="558" y="9454"/>
                  </a:moveTo>
                  <a:cubicBezTo>
                    <a:pt x="544" y="9384"/>
                    <a:pt x="460" y="9364"/>
                    <a:pt x="306" y="9393"/>
                  </a:cubicBezTo>
                  <a:cubicBezTo>
                    <a:pt x="161" y="9420"/>
                    <a:pt x="95" y="9468"/>
                    <a:pt x="108" y="9537"/>
                  </a:cubicBezTo>
                  <a:cubicBezTo>
                    <a:pt x="121" y="9604"/>
                    <a:pt x="201" y="9625"/>
                    <a:pt x="348" y="9597"/>
                  </a:cubicBezTo>
                  <a:cubicBezTo>
                    <a:pt x="500" y="9568"/>
                    <a:pt x="570" y="9521"/>
                    <a:pt x="558" y="9454"/>
                  </a:cubicBezTo>
                  <a:close/>
                  <a:moveTo>
                    <a:pt x="222" y="10091"/>
                  </a:moveTo>
                  <a:cubicBezTo>
                    <a:pt x="193" y="10037"/>
                    <a:pt x="193" y="9983"/>
                    <a:pt x="221" y="9929"/>
                  </a:cubicBezTo>
                  <a:cubicBezTo>
                    <a:pt x="249" y="9876"/>
                    <a:pt x="305" y="9826"/>
                    <a:pt x="389" y="9782"/>
                  </a:cubicBezTo>
                  <a:cubicBezTo>
                    <a:pt x="481" y="9733"/>
                    <a:pt x="559" y="9712"/>
                    <a:pt x="623" y="9719"/>
                  </a:cubicBezTo>
                  <a:cubicBezTo>
                    <a:pt x="687" y="9726"/>
                    <a:pt x="735" y="9759"/>
                    <a:pt x="766" y="9819"/>
                  </a:cubicBezTo>
                  <a:cubicBezTo>
                    <a:pt x="827" y="9933"/>
                    <a:pt x="768" y="10037"/>
                    <a:pt x="591" y="10131"/>
                  </a:cubicBezTo>
                  <a:cubicBezTo>
                    <a:pt x="503" y="10178"/>
                    <a:pt x="427" y="10198"/>
                    <a:pt x="364" y="10190"/>
                  </a:cubicBezTo>
                  <a:cubicBezTo>
                    <a:pt x="300" y="10182"/>
                    <a:pt x="253" y="10149"/>
                    <a:pt x="222" y="10091"/>
                  </a:cubicBezTo>
                  <a:close/>
                  <a:moveTo>
                    <a:pt x="697" y="9850"/>
                  </a:moveTo>
                  <a:cubicBezTo>
                    <a:pt x="664" y="9787"/>
                    <a:pt x="577" y="9792"/>
                    <a:pt x="438" y="9866"/>
                  </a:cubicBezTo>
                  <a:cubicBezTo>
                    <a:pt x="308" y="9935"/>
                    <a:pt x="260" y="10001"/>
                    <a:pt x="292" y="10062"/>
                  </a:cubicBezTo>
                  <a:cubicBezTo>
                    <a:pt x="325" y="10123"/>
                    <a:pt x="407" y="10119"/>
                    <a:pt x="539" y="10049"/>
                  </a:cubicBezTo>
                  <a:cubicBezTo>
                    <a:pt x="676" y="9976"/>
                    <a:pt x="729" y="9910"/>
                    <a:pt x="697" y="9850"/>
                  </a:cubicBezTo>
                  <a:close/>
                  <a:moveTo>
                    <a:pt x="516" y="10492"/>
                  </a:moveTo>
                  <a:cubicBezTo>
                    <a:pt x="450" y="10416"/>
                    <a:pt x="450" y="10416"/>
                    <a:pt x="450" y="10416"/>
                  </a:cubicBezTo>
                  <a:cubicBezTo>
                    <a:pt x="894" y="10030"/>
                    <a:pt x="894" y="10030"/>
                    <a:pt x="894" y="10030"/>
                  </a:cubicBezTo>
                  <a:cubicBezTo>
                    <a:pt x="960" y="10106"/>
                    <a:pt x="960" y="10106"/>
                    <a:pt x="960" y="10106"/>
                  </a:cubicBezTo>
                  <a:lnTo>
                    <a:pt x="516" y="10492"/>
                  </a:lnTo>
                  <a:close/>
                  <a:moveTo>
                    <a:pt x="796" y="10755"/>
                  </a:moveTo>
                  <a:cubicBezTo>
                    <a:pt x="746" y="10719"/>
                    <a:pt x="722" y="10671"/>
                    <a:pt x="724" y="10610"/>
                  </a:cubicBezTo>
                  <a:cubicBezTo>
                    <a:pt x="725" y="10550"/>
                    <a:pt x="754" y="10481"/>
                    <a:pt x="810" y="10404"/>
                  </a:cubicBezTo>
                  <a:cubicBezTo>
                    <a:pt x="871" y="10320"/>
                    <a:pt x="931" y="10267"/>
                    <a:pt x="992" y="10245"/>
                  </a:cubicBezTo>
                  <a:cubicBezTo>
                    <a:pt x="1052" y="10223"/>
                    <a:pt x="1110" y="10232"/>
                    <a:pt x="1164" y="10271"/>
                  </a:cubicBezTo>
                  <a:cubicBezTo>
                    <a:pt x="1269" y="10347"/>
                    <a:pt x="1263" y="10467"/>
                    <a:pt x="1144" y="10630"/>
                  </a:cubicBezTo>
                  <a:cubicBezTo>
                    <a:pt x="1086" y="10710"/>
                    <a:pt x="1026" y="10761"/>
                    <a:pt x="966" y="10782"/>
                  </a:cubicBezTo>
                  <a:cubicBezTo>
                    <a:pt x="906" y="10803"/>
                    <a:pt x="849" y="10794"/>
                    <a:pt x="796" y="10755"/>
                  </a:cubicBezTo>
                  <a:close/>
                  <a:moveTo>
                    <a:pt x="1116" y="10330"/>
                  </a:moveTo>
                  <a:cubicBezTo>
                    <a:pt x="1058" y="10288"/>
                    <a:pt x="983" y="10331"/>
                    <a:pt x="891" y="10458"/>
                  </a:cubicBezTo>
                  <a:cubicBezTo>
                    <a:pt x="804" y="10577"/>
                    <a:pt x="789" y="10657"/>
                    <a:pt x="846" y="10699"/>
                  </a:cubicBezTo>
                  <a:cubicBezTo>
                    <a:pt x="902" y="10739"/>
                    <a:pt x="974" y="10699"/>
                    <a:pt x="1062" y="10578"/>
                  </a:cubicBezTo>
                  <a:cubicBezTo>
                    <a:pt x="1153" y="10452"/>
                    <a:pt x="1171" y="10370"/>
                    <a:pt x="1116" y="10330"/>
                  </a:cubicBezTo>
                  <a:close/>
                  <a:moveTo>
                    <a:pt x="1236" y="10987"/>
                  </a:moveTo>
                  <a:cubicBezTo>
                    <a:pt x="1143" y="10948"/>
                    <a:pt x="1143" y="10948"/>
                    <a:pt x="1143" y="10948"/>
                  </a:cubicBezTo>
                  <a:cubicBezTo>
                    <a:pt x="1372" y="10405"/>
                    <a:pt x="1372" y="10405"/>
                    <a:pt x="1372" y="10405"/>
                  </a:cubicBezTo>
                  <a:cubicBezTo>
                    <a:pt x="1465" y="10444"/>
                    <a:pt x="1465" y="10444"/>
                    <a:pt x="1465" y="10444"/>
                  </a:cubicBezTo>
                  <a:lnTo>
                    <a:pt x="1236" y="10987"/>
                  </a:lnTo>
                  <a:close/>
                  <a:moveTo>
                    <a:pt x="1605" y="11099"/>
                  </a:moveTo>
                  <a:cubicBezTo>
                    <a:pt x="1544" y="11089"/>
                    <a:pt x="1501" y="11056"/>
                    <a:pt x="1476" y="11001"/>
                  </a:cubicBezTo>
                  <a:cubicBezTo>
                    <a:pt x="1450" y="10946"/>
                    <a:pt x="1445" y="10872"/>
                    <a:pt x="1461" y="10778"/>
                  </a:cubicBezTo>
                  <a:cubicBezTo>
                    <a:pt x="1479" y="10676"/>
                    <a:pt x="1510" y="10601"/>
                    <a:pt x="1554" y="10555"/>
                  </a:cubicBezTo>
                  <a:cubicBezTo>
                    <a:pt x="1598" y="10508"/>
                    <a:pt x="1654" y="10490"/>
                    <a:pt x="1720" y="10502"/>
                  </a:cubicBezTo>
                  <a:cubicBezTo>
                    <a:pt x="1848" y="10523"/>
                    <a:pt x="1895" y="10633"/>
                    <a:pt x="1861" y="10832"/>
                  </a:cubicBezTo>
                  <a:cubicBezTo>
                    <a:pt x="1845" y="10930"/>
                    <a:pt x="1814" y="11002"/>
                    <a:pt x="1769" y="11047"/>
                  </a:cubicBezTo>
                  <a:cubicBezTo>
                    <a:pt x="1724" y="11093"/>
                    <a:pt x="1669" y="11110"/>
                    <a:pt x="1605" y="11099"/>
                  </a:cubicBezTo>
                  <a:close/>
                  <a:moveTo>
                    <a:pt x="1703" y="10576"/>
                  </a:moveTo>
                  <a:cubicBezTo>
                    <a:pt x="1633" y="10564"/>
                    <a:pt x="1584" y="10635"/>
                    <a:pt x="1558" y="10791"/>
                  </a:cubicBezTo>
                  <a:cubicBezTo>
                    <a:pt x="1533" y="10936"/>
                    <a:pt x="1555" y="11014"/>
                    <a:pt x="1625" y="11026"/>
                  </a:cubicBezTo>
                  <a:cubicBezTo>
                    <a:pt x="1693" y="11037"/>
                    <a:pt x="1739" y="10969"/>
                    <a:pt x="1764" y="10822"/>
                  </a:cubicBezTo>
                  <a:cubicBezTo>
                    <a:pt x="1790" y="10669"/>
                    <a:pt x="1770" y="10587"/>
                    <a:pt x="1703" y="10576"/>
                  </a:cubicBezTo>
                  <a:close/>
                  <a:moveTo>
                    <a:pt x="2079" y="11118"/>
                  </a:moveTo>
                  <a:cubicBezTo>
                    <a:pt x="1978" y="11118"/>
                    <a:pt x="1978" y="11118"/>
                    <a:pt x="1978" y="11118"/>
                  </a:cubicBezTo>
                  <a:cubicBezTo>
                    <a:pt x="1978" y="10529"/>
                    <a:pt x="1978" y="10529"/>
                    <a:pt x="1978" y="10529"/>
                  </a:cubicBezTo>
                  <a:cubicBezTo>
                    <a:pt x="2079" y="10529"/>
                    <a:pt x="2079" y="10529"/>
                    <a:pt x="2079" y="10529"/>
                  </a:cubicBezTo>
                  <a:lnTo>
                    <a:pt x="2079" y="11118"/>
                  </a:lnTo>
                  <a:close/>
                  <a:moveTo>
                    <a:pt x="2379" y="11128"/>
                  </a:moveTo>
                  <a:cubicBezTo>
                    <a:pt x="2317" y="11128"/>
                    <a:pt x="2269" y="11103"/>
                    <a:pt x="2235" y="11053"/>
                  </a:cubicBezTo>
                  <a:cubicBezTo>
                    <a:pt x="2201" y="11002"/>
                    <a:pt x="2184" y="10930"/>
                    <a:pt x="2184" y="10835"/>
                  </a:cubicBezTo>
                  <a:cubicBezTo>
                    <a:pt x="2184" y="10731"/>
                    <a:pt x="2201" y="10653"/>
                    <a:pt x="2237" y="10599"/>
                  </a:cubicBezTo>
                  <a:cubicBezTo>
                    <a:pt x="2273" y="10546"/>
                    <a:pt x="2325" y="10519"/>
                    <a:pt x="2393" y="10519"/>
                  </a:cubicBezTo>
                  <a:cubicBezTo>
                    <a:pt x="2522" y="10519"/>
                    <a:pt x="2587" y="10620"/>
                    <a:pt x="2587" y="10821"/>
                  </a:cubicBezTo>
                  <a:cubicBezTo>
                    <a:pt x="2587" y="10921"/>
                    <a:pt x="2568" y="10997"/>
                    <a:pt x="2532" y="11049"/>
                  </a:cubicBezTo>
                  <a:cubicBezTo>
                    <a:pt x="2495" y="11101"/>
                    <a:pt x="2444" y="11128"/>
                    <a:pt x="2379" y="11128"/>
                  </a:cubicBezTo>
                  <a:close/>
                  <a:moveTo>
                    <a:pt x="2388" y="10595"/>
                  </a:moveTo>
                  <a:cubicBezTo>
                    <a:pt x="2317" y="10595"/>
                    <a:pt x="2281" y="10674"/>
                    <a:pt x="2281" y="10831"/>
                  </a:cubicBezTo>
                  <a:cubicBezTo>
                    <a:pt x="2281" y="10979"/>
                    <a:pt x="2316" y="11052"/>
                    <a:pt x="2386" y="11052"/>
                  </a:cubicBezTo>
                  <a:cubicBezTo>
                    <a:pt x="2455" y="11052"/>
                    <a:pt x="2489" y="10977"/>
                    <a:pt x="2489" y="10828"/>
                  </a:cubicBezTo>
                  <a:cubicBezTo>
                    <a:pt x="2489" y="10673"/>
                    <a:pt x="2456" y="10595"/>
                    <a:pt x="2388" y="10595"/>
                  </a:cubicBezTo>
                  <a:close/>
                  <a:moveTo>
                    <a:pt x="2791" y="11118"/>
                  </a:moveTo>
                  <a:cubicBezTo>
                    <a:pt x="2690" y="11118"/>
                    <a:pt x="2690" y="11118"/>
                    <a:pt x="2690" y="11118"/>
                  </a:cubicBezTo>
                  <a:cubicBezTo>
                    <a:pt x="2690" y="10529"/>
                    <a:pt x="2690" y="10529"/>
                    <a:pt x="2690" y="10529"/>
                  </a:cubicBezTo>
                  <a:cubicBezTo>
                    <a:pt x="2791" y="10529"/>
                    <a:pt x="2791" y="10529"/>
                    <a:pt x="2791" y="10529"/>
                  </a:cubicBezTo>
                  <a:lnTo>
                    <a:pt x="2791" y="11118"/>
                  </a:lnTo>
                  <a:close/>
                  <a:moveTo>
                    <a:pt x="3091" y="11128"/>
                  </a:moveTo>
                  <a:cubicBezTo>
                    <a:pt x="3029" y="11128"/>
                    <a:pt x="2982" y="11103"/>
                    <a:pt x="2947" y="11053"/>
                  </a:cubicBezTo>
                  <a:cubicBezTo>
                    <a:pt x="2913" y="11002"/>
                    <a:pt x="2896" y="10930"/>
                    <a:pt x="2896" y="10835"/>
                  </a:cubicBezTo>
                  <a:cubicBezTo>
                    <a:pt x="2896" y="10731"/>
                    <a:pt x="2914" y="10653"/>
                    <a:pt x="2949" y="10599"/>
                  </a:cubicBezTo>
                  <a:cubicBezTo>
                    <a:pt x="2985" y="10546"/>
                    <a:pt x="3037" y="10519"/>
                    <a:pt x="3105" y="10519"/>
                  </a:cubicBezTo>
                  <a:cubicBezTo>
                    <a:pt x="3234" y="10519"/>
                    <a:pt x="3299" y="10620"/>
                    <a:pt x="3299" y="10821"/>
                  </a:cubicBezTo>
                  <a:cubicBezTo>
                    <a:pt x="3299" y="10921"/>
                    <a:pt x="3281" y="10997"/>
                    <a:pt x="3244" y="11049"/>
                  </a:cubicBezTo>
                  <a:cubicBezTo>
                    <a:pt x="3207" y="11101"/>
                    <a:pt x="3156" y="11128"/>
                    <a:pt x="3091" y="11128"/>
                  </a:cubicBezTo>
                  <a:close/>
                  <a:moveTo>
                    <a:pt x="3100" y="10595"/>
                  </a:moveTo>
                  <a:cubicBezTo>
                    <a:pt x="3029" y="10595"/>
                    <a:pt x="2993" y="10674"/>
                    <a:pt x="2993" y="10831"/>
                  </a:cubicBezTo>
                  <a:cubicBezTo>
                    <a:pt x="2993" y="10979"/>
                    <a:pt x="3028" y="11052"/>
                    <a:pt x="3098" y="11052"/>
                  </a:cubicBezTo>
                  <a:cubicBezTo>
                    <a:pt x="3167" y="11052"/>
                    <a:pt x="3202" y="10977"/>
                    <a:pt x="3202" y="10828"/>
                  </a:cubicBezTo>
                  <a:cubicBezTo>
                    <a:pt x="3202" y="10673"/>
                    <a:pt x="3168" y="10595"/>
                    <a:pt x="3100" y="10595"/>
                  </a:cubicBezTo>
                  <a:close/>
                  <a:moveTo>
                    <a:pt x="3503" y="11118"/>
                  </a:moveTo>
                  <a:cubicBezTo>
                    <a:pt x="3403" y="11118"/>
                    <a:pt x="3403" y="11118"/>
                    <a:pt x="3403" y="11118"/>
                  </a:cubicBezTo>
                  <a:cubicBezTo>
                    <a:pt x="3403" y="10529"/>
                    <a:pt x="3403" y="10529"/>
                    <a:pt x="3403" y="10529"/>
                  </a:cubicBezTo>
                  <a:cubicBezTo>
                    <a:pt x="3503" y="10529"/>
                    <a:pt x="3503" y="10529"/>
                    <a:pt x="3503" y="10529"/>
                  </a:cubicBezTo>
                  <a:lnTo>
                    <a:pt x="3503" y="11118"/>
                  </a:lnTo>
                  <a:close/>
                  <a:moveTo>
                    <a:pt x="3803" y="11128"/>
                  </a:moveTo>
                  <a:cubicBezTo>
                    <a:pt x="3741" y="11128"/>
                    <a:pt x="3694" y="11103"/>
                    <a:pt x="3659" y="11053"/>
                  </a:cubicBezTo>
                  <a:cubicBezTo>
                    <a:pt x="3625" y="11002"/>
                    <a:pt x="3608" y="10930"/>
                    <a:pt x="3608" y="10835"/>
                  </a:cubicBezTo>
                  <a:cubicBezTo>
                    <a:pt x="3608" y="10731"/>
                    <a:pt x="3626" y="10653"/>
                    <a:pt x="3662" y="10599"/>
                  </a:cubicBezTo>
                  <a:cubicBezTo>
                    <a:pt x="3697" y="10546"/>
                    <a:pt x="3749" y="10519"/>
                    <a:pt x="3817" y="10519"/>
                  </a:cubicBezTo>
                  <a:cubicBezTo>
                    <a:pt x="3946" y="10519"/>
                    <a:pt x="4011" y="10620"/>
                    <a:pt x="4011" y="10821"/>
                  </a:cubicBezTo>
                  <a:cubicBezTo>
                    <a:pt x="4011" y="10921"/>
                    <a:pt x="3993" y="10997"/>
                    <a:pt x="3956" y="11049"/>
                  </a:cubicBezTo>
                  <a:cubicBezTo>
                    <a:pt x="3920" y="11101"/>
                    <a:pt x="3868" y="11128"/>
                    <a:pt x="3803" y="11128"/>
                  </a:cubicBezTo>
                  <a:close/>
                  <a:moveTo>
                    <a:pt x="3812" y="10595"/>
                  </a:moveTo>
                  <a:cubicBezTo>
                    <a:pt x="3741" y="10595"/>
                    <a:pt x="3705" y="10674"/>
                    <a:pt x="3705" y="10831"/>
                  </a:cubicBezTo>
                  <a:cubicBezTo>
                    <a:pt x="3705" y="10979"/>
                    <a:pt x="3740" y="11052"/>
                    <a:pt x="3810" y="11052"/>
                  </a:cubicBezTo>
                  <a:cubicBezTo>
                    <a:pt x="3879" y="11052"/>
                    <a:pt x="3914" y="10977"/>
                    <a:pt x="3914" y="10828"/>
                  </a:cubicBezTo>
                  <a:cubicBezTo>
                    <a:pt x="3914" y="10673"/>
                    <a:pt x="3880" y="10595"/>
                    <a:pt x="3812" y="10595"/>
                  </a:cubicBezTo>
                  <a:close/>
                  <a:moveTo>
                    <a:pt x="4215" y="11118"/>
                  </a:moveTo>
                  <a:cubicBezTo>
                    <a:pt x="4115" y="11118"/>
                    <a:pt x="4115" y="11118"/>
                    <a:pt x="4115" y="11118"/>
                  </a:cubicBezTo>
                  <a:cubicBezTo>
                    <a:pt x="4115" y="10529"/>
                    <a:pt x="4115" y="10529"/>
                    <a:pt x="4115" y="10529"/>
                  </a:cubicBezTo>
                  <a:cubicBezTo>
                    <a:pt x="4215" y="10529"/>
                    <a:pt x="4215" y="10529"/>
                    <a:pt x="4215" y="10529"/>
                  </a:cubicBezTo>
                  <a:lnTo>
                    <a:pt x="4215" y="11118"/>
                  </a:lnTo>
                  <a:close/>
                  <a:moveTo>
                    <a:pt x="4514" y="11128"/>
                  </a:moveTo>
                  <a:cubicBezTo>
                    <a:pt x="4453" y="11128"/>
                    <a:pt x="4405" y="11103"/>
                    <a:pt x="4371" y="11053"/>
                  </a:cubicBezTo>
                  <a:cubicBezTo>
                    <a:pt x="4337" y="11002"/>
                    <a:pt x="4319" y="10930"/>
                    <a:pt x="4319" y="10835"/>
                  </a:cubicBezTo>
                  <a:cubicBezTo>
                    <a:pt x="4319" y="10731"/>
                    <a:pt x="4337" y="10653"/>
                    <a:pt x="4373" y="10599"/>
                  </a:cubicBezTo>
                  <a:cubicBezTo>
                    <a:pt x="4409" y="10546"/>
                    <a:pt x="4461" y="10519"/>
                    <a:pt x="4528" y="10519"/>
                  </a:cubicBezTo>
                  <a:cubicBezTo>
                    <a:pt x="4658" y="10519"/>
                    <a:pt x="4723" y="10620"/>
                    <a:pt x="4723" y="10821"/>
                  </a:cubicBezTo>
                  <a:cubicBezTo>
                    <a:pt x="4723" y="10921"/>
                    <a:pt x="4704" y="10997"/>
                    <a:pt x="4668" y="11049"/>
                  </a:cubicBezTo>
                  <a:cubicBezTo>
                    <a:pt x="4631" y="11101"/>
                    <a:pt x="4580" y="11128"/>
                    <a:pt x="4514" y="11128"/>
                  </a:cubicBezTo>
                  <a:close/>
                  <a:moveTo>
                    <a:pt x="4524" y="10595"/>
                  </a:moveTo>
                  <a:cubicBezTo>
                    <a:pt x="4452" y="10595"/>
                    <a:pt x="4417" y="10674"/>
                    <a:pt x="4417" y="10831"/>
                  </a:cubicBezTo>
                  <a:cubicBezTo>
                    <a:pt x="4417" y="10979"/>
                    <a:pt x="4452" y="11052"/>
                    <a:pt x="4522" y="11052"/>
                  </a:cubicBezTo>
                  <a:cubicBezTo>
                    <a:pt x="4591" y="11052"/>
                    <a:pt x="4625" y="10977"/>
                    <a:pt x="4625" y="10828"/>
                  </a:cubicBezTo>
                  <a:cubicBezTo>
                    <a:pt x="4625" y="10673"/>
                    <a:pt x="4592" y="10595"/>
                    <a:pt x="4524" y="10595"/>
                  </a:cubicBezTo>
                  <a:close/>
                  <a:moveTo>
                    <a:pt x="4927" y="11118"/>
                  </a:moveTo>
                  <a:cubicBezTo>
                    <a:pt x="4827" y="11118"/>
                    <a:pt x="4827" y="11118"/>
                    <a:pt x="4827" y="11118"/>
                  </a:cubicBezTo>
                  <a:cubicBezTo>
                    <a:pt x="4827" y="10529"/>
                    <a:pt x="4827" y="10529"/>
                    <a:pt x="4827" y="10529"/>
                  </a:cubicBezTo>
                  <a:cubicBezTo>
                    <a:pt x="4927" y="10529"/>
                    <a:pt x="4927" y="10529"/>
                    <a:pt x="4927" y="10529"/>
                  </a:cubicBezTo>
                  <a:lnTo>
                    <a:pt x="4927" y="11118"/>
                  </a:lnTo>
                  <a:close/>
                  <a:moveTo>
                    <a:pt x="5227" y="11128"/>
                  </a:moveTo>
                  <a:cubicBezTo>
                    <a:pt x="5165" y="11128"/>
                    <a:pt x="5117" y="11103"/>
                    <a:pt x="5083" y="11053"/>
                  </a:cubicBezTo>
                  <a:cubicBezTo>
                    <a:pt x="5049" y="11002"/>
                    <a:pt x="5032" y="10930"/>
                    <a:pt x="5032" y="10835"/>
                  </a:cubicBezTo>
                  <a:cubicBezTo>
                    <a:pt x="5032" y="10731"/>
                    <a:pt x="5049" y="10653"/>
                    <a:pt x="5085" y="10599"/>
                  </a:cubicBezTo>
                  <a:cubicBezTo>
                    <a:pt x="5121" y="10546"/>
                    <a:pt x="5173" y="10519"/>
                    <a:pt x="5241" y="10519"/>
                  </a:cubicBezTo>
                  <a:cubicBezTo>
                    <a:pt x="5370" y="10519"/>
                    <a:pt x="5435" y="10620"/>
                    <a:pt x="5435" y="10821"/>
                  </a:cubicBezTo>
                  <a:cubicBezTo>
                    <a:pt x="5435" y="10921"/>
                    <a:pt x="5416" y="10997"/>
                    <a:pt x="5380" y="11049"/>
                  </a:cubicBezTo>
                  <a:cubicBezTo>
                    <a:pt x="5343" y="11101"/>
                    <a:pt x="5292" y="11128"/>
                    <a:pt x="5227" y="11128"/>
                  </a:cubicBezTo>
                  <a:close/>
                  <a:moveTo>
                    <a:pt x="5236" y="10595"/>
                  </a:moveTo>
                  <a:cubicBezTo>
                    <a:pt x="5165" y="10595"/>
                    <a:pt x="5129" y="10674"/>
                    <a:pt x="5129" y="10831"/>
                  </a:cubicBezTo>
                  <a:cubicBezTo>
                    <a:pt x="5129" y="10979"/>
                    <a:pt x="5164" y="11052"/>
                    <a:pt x="5234" y="11052"/>
                  </a:cubicBezTo>
                  <a:cubicBezTo>
                    <a:pt x="5303" y="11052"/>
                    <a:pt x="5337" y="10977"/>
                    <a:pt x="5337" y="10828"/>
                  </a:cubicBezTo>
                  <a:cubicBezTo>
                    <a:pt x="5337" y="10673"/>
                    <a:pt x="5304" y="10595"/>
                    <a:pt x="5236" y="10595"/>
                  </a:cubicBezTo>
                  <a:close/>
                  <a:moveTo>
                    <a:pt x="5735" y="11054"/>
                  </a:moveTo>
                  <a:cubicBezTo>
                    <a:pt x="5638" y="11081"/>
                    <a:pt x="5638" y="11081"/>
                    <a:pt x="5638" y="11081"/>
                  </a:cubicBezTo>
                  <a:cubicBezTo>
                    <a:pt x="5478" y="10514"/>
                    <a:pt x="5478" y="10514"/>
                    <a:pt x="5478" y="10514"/>
                  </a:cubicBezTo>
                  <a:cubicBezTo>
                    <a:pt x="5575" y="10487"/>
                    <a:pt x="5575" y="10487"/>
                    <a:pt x="5575" y="10487"/>
                  </a:cubicBezTo>
                  <a:lnTo>
                    <a:pt x="5735" y="11054"/>
                  </a:lnTo>
                  <a:close/>
                  <a:moveTo>
                    <a:pt x="6043" y="10909"/>
                  </a:moveTo>
                  <a:cubicBezTo>
                    <a:pt x="5956" y="10959"/>
                    <a:pt x="5956" y="10959"/>
                    <a:pt x="5956" y="10959"/>
                  </a:cubicBezTo>
                  <a:cubicBezTo>
                    <a:pt x="5658" y="10451"/>
                    <a:pt x="5658" y="10451"/>
                    <a:pt x="5658" y="10451"/>
                  </a:cubicBezTo>
                  <a:cubicBezTo>
                    <a:pt x="5745" y="10401"/>
                    <a:pt x="5745" y="10401"/>
                    <a:pt x="5745" y="10401"/>
                  </a:cubicBezTo>
                  <a:lnTo>
                    <a:pt x="6043" y="10909"/>
                  </a:lnTo>
                  <a:close/>
                  <a:moveTo>
                    <a:pt x="6374" y="10623"/>
                  </a:moveTo>
                  <a:cubicBezTo>
                    <a:pt x="6336" y="10671"/>
                    <a:pt x="6286" y="10693"/>
                    <a:pt x="6226" y="10689"/>
                  </a:cubicBezTo>
                  <a:cubicBezTo>
                    <a:pt x="6165" y="10684"/>
                    <a:pt x="6098" y="10653"/>
                    <a:pt x="6024" y="10594"/>
                  </a:cubicBezTo>
                  <a:cubicBezTo>
                    <a:pt x="5942" y="10530"/>
                    <a:pt x="5891" y="10467"/>
                    <a:pt x="5872" y="10405"/>
                  </a:cubicBezTo>
                  <a:cubicBezTo>
                    <a:pt x="5852" y="10344"/>
                    <a:pt x="5863" y="10287"/>
                    <a:pt x="5905" y="10234"/>
                  </a:cubicBezTo>
                  <a:cubicBezTo>
                    <a:pt x="5986" y="10133"/>
                    <a:pt x="6105" y="10144"/>
                    <a:pt x="6262" y="10269"/>
                  </a:cubicBezTo>
                  <a:cubicBezTo>
                    <a:pt x="6341" y="10331"/>
                    <a:pt x="6389" y="10392"/>
                    <a:pt x="6407" y="10454"/>
                  </a:cubicBezTo>
                  <a:cubicBezTo>
                    <a:pt x="6426" y="10515"/>
                    <a:pt x="6415" y="10571"/>
                    <a:pt x="6374" y="10623"/>
                  </a:cubicBezTo>
                  <a:close/>
                  <a:moveTo>
                    <a:pt x="5962" y="10285"/>
                  </a:moveTo>
                  <a:cubicBezTo>
                    <a:pt x="5918" y="10341"/>
                    <a:pt x="5957" y="10418"/>
                    <a:pt x="6081" y="10515"/>
                  </a:cubicBezTo>
                  <a:cubicBezTo>
                    <a:pt x="6196" y="10607"/>
                    <a:pt x="6276" y="10625"/>
                    <a:pt x="6319" y="10570"/>
                  </a:cubicBezTo>
                  <a:cubicBezTo>
                    <a:pt x="6362" y="10516"/>
                    <a:pt x="6325" y="10442"/>
                    <a:pt x="6207" y="10349"/>
                  </a:cubicBezTo>
                  <a:cubicBezTo>
                    <a:pt x="6086" y="10253"/>
                    <a:pt x="6004" y="10232"/>
                    <a:pt x="5962" y="10285"/>
                  </a:cubicBezTo>
                  <a:close/>
                  <a:moveTo>
                    <a:pt x="6615" y="10240"/>
                  </a:moveTo>
                  <a:cubicBezTo>
                    <a:pt x="6558" y="10324"/>
                    <a:pt x="6558" y="10324"/>
                    <a:pt x="6558" y="10324"/>
                  </a:cubicBezTo>
                  <a:cubicBezTo>
                    <a:pt x="6070" y="9994"/>
                    <a:pt x="6070" y="9994"/>
                    <a:pt x="6070" y="9994"/>
                  </a:cubicBezTo>
                  <a:cubicBezTo>
                    <a:pt x="6127" y="9911"/>
                    <a:pt x="6127" y="9911"/>
                    <a:pt x="6127" y="9911"/>
                  </a:cubicBezTo>
                  <a:lnTo>
                    <a:pt x="6615" y="10240"/>
                  </a:lnTo>
                  <a:close/>
                  <a:moveTo>
                    <a:pt x="6755" y="10051"/>
                  </a:moveTo>
                  <a:cubicBezTo>
                    <a:pt x="6694" y="10131"/>
                    <a:pt x="6694" y="10131"/>
                    <a:pt x="6694" y="10131"/>
                  </a:cubicBezTo>
                  <a:cubicBezTo>
                    <a:pt x="6228" y="9770"/>
                    <a:pt x="6228" y="9770"/>
                    <a:pt x="6228" y="9770"/>
                  </a:cubicBezTo>
                  <a:cubicBezTo>
                    <a:pt x="6290" y="9691"/>
                    <a:pt x="6290" y="9691"/>
                    <a:pt x="6290" y="9691"/>
                  </a:cubicBezTo>
                  <a:lnTo>
                    <a:pt x="6755" y="10051"/>
                  </a:lnTo>
                  <a:close/>
                  <a:moveTo>
                    <a:pt x="6908" y="9872"/>
                  </a:moveTo>
                  <a:cubicBezTo>
                    <a:pt x="6842" y="9947"/>
                    <a:pt x="6842" y="9947"/>
                    <a:pt x="6842" y="9947"/>
                  </a:cubicBezTo>
                  <a:cubicBezTo>
                    <a:pt x="6400" y="9557"/>
                    <a:pt x="6400" y="9557"/>
                    <a:pt x="6400" y="9557"/>
                  </a:cubicBezTo>
                  <a:cubicBezTo>
                    <a:pt x="6467" y="9482"/>
                    <a:pt x="6467" y="9482"/>
                    <a:pt x="6467" y="9482"/>
                  </a:cubicBezTo>
                  <a:lnTo>
                    <a:pt x="6908" y="9872"/>
                  </a:lnTo>
                  <a:close/>
                  <a:moveTo>
                    <a:pt x="7116" y="9675"/>
                  </a:moveTo>
                  <a:cubicBezTo>
                    <a:pt x="7071" y="9717"/>
                    <a:pt x="7019" y="9731"/>
                    <a:pt x="6960" y="9718"/>
                  </a:cubicBezTo>
                  <a:cubicBezTo>
                    <a:pt x="6900" y="9705"/>
                    <a:pt x="6838" y="9664"/>
                    <a:pt x="6773" y="9595"/>
                  </a:cubicBezTo>
                  <a:cubicBezTo>
                    <a:pt x="6702" y="9519"/>
                    <a:pt x="6662" y="9450"/>
                    <a:pt x="6651" y="9386"/>
                  </a:cubicBezTo>
                  <a:cubicBezTo>
                    <a:pt x="6641" y="9323"/>
                    <a:pt x="6660" y="9268"/>
                    <a:pt x="6710" y="9222"/>
                  </a:cubicBezTo>
                  <a:cubicBezTo>
                    <a:pt x="6804" y="9133"/>
                    <a:pt x="6920" y="9162"/>
                    <a:pt x="7058" y="9309"/>
                  </a:cubicBezTo>
                  <a:cubicBezTo>
                    <a:pt x="7126" y="9382"/>
                    <a:pt x="7165" y="9450"/>
                    <a:pt x="7174" y="9513"/>
                  </a:cubicBezTo>
                  <a:cubicBezTo>
                    <a:pt x="7183" y="9576"/>
                    <a:pt x="7164" y="9630"/>
                    <a:pt x="7116" y="9675"/>
                  </a:cubicBezTo>
                  <a:close/>
                  <a:moveTo>
                    <a:pt x="6758" y="9280"/>
                  </a:moveTo>
                  <a:cubicBezTo>
                    <a:pt x="6706" y="9329"/>
                    <a:pt x="6734" y="9411"/>
                    <a:pt x="6842" y="9526"/>
                  </a:cubicBezTo>
                  <a:cubicBezTo>
                    <a:pt x="6942" y="9633"/>
                    <a:pt x="7018" y="9663"/>
                    <a:pt x="7069" y="9615"/>
                  </a:cubicBezTo>
                  <a:cubicBezTo>
                    <a:pt x="7120" y="9568"/>
                    <a:pt x="7094" y="9489"/>
                    <a:pt x="6991" y="9380"/>
                  </a:cubicBezTo>
                  <a:cubicBezTo>
                    <a:pt x="6885" y="9267"/>
                    <a:pt x="6808" y="9234"/>
                    <a:pt x="6758" y="9280"/>
                  </a:cubicBezTo>
                  <a:close/>
                  <a:moveTo>
                    <a:pt x="7414" y="9411"/>
                  </a:moveTo>
                  <a:cubicBezTo>
                    <a:pt x="7334" y="9472"/>
                    <a:pt x="7334" y="9472"/>
                    <a:pt x="7334" y="9472"/>
                  </a:cubicBezTo>
                  <a:cubicBezTo>
                    <a:pt x="6974" y="9007"/>
                    <a:pt x="6974" y="9007"/>
                    <a:pt x="6974" y="9007"/>
                  </a:cubicBezTo>
                  <a:cubicBezTo>
                    <a:pt x="7053" y="8945"/>
                    <a:pt x="7053" y="8945"/>
                    <a:pt x="7053" y="8945"/>
                  </a:cubicBezTo>
                  <a:lnTo>
                    <a:pt x="7414" y="9411"/>
                  </a:lnTo>
                  <a:close/>
                  <a:moveTo>
                    <a:pt x="7654" y="9257"/>
                  </a:moveTo>
                  <a:cubicBezTo>
                    <a:pt x="7602" y="9290"/>
                    <a:pt x="7548" y="9294"/>
                    <a:pt x="7493" y="9270"/>
                  </a:cubicBezTo>
                  <a:cubicBezTo>
                    <a:pt x="7437" y="9246"/>
                    <a:pt x="7384" y="9194"/>
                    <a:pt x="7333" y="9114"/>
                  </a:cubicBezTo>
                  <a:cubicBezTo>
                    <a:pt x="7277" y="9026"/>
                    <a:pt x="7250" y="8950"/>
                    <a:pt x="7252" y="8886"/>
                  </a:cubicBezTo>
                  <a:cubicBezTo>
                    <a:pt x="7254" y="8822"/>
                    <a:pt x="7283" y="8771"/>
                    <a:pt x="7340" y="8735"/>
                  </a:cubicBezTo>
                  <a:cubicBezTo>
                    <a:pt x="7450" y="8666"/>
                    <a:pt x="7558" y="8716"/>
                    <a:pt x="7666" y="8886"/>
                  </a:cubicBezTo>
                  <a:cubicBezTo>
                    <a:pt x="7719" y="8970"/>
                    <a:pt x="7744" y="9044"/>
                    <a:pt x="7742" y="9108"/>
                  </a:cubicBezTo>
                  <a:cubicBezTo>
                    <a:pt x="7739" y="9172"/>
                    <a:pt x="7710" y="9222"/>
                    <a:pt x="7654" y="9257"/>
                  </a:cubicBezTo>
                  <a:close/>
                  <a:moveTo>
                    <a:pt x="7377" y="8802"/>
                  </a:moveTo>
                  <a:cubicBezTo>
                    <a:pt x="7317" y="8840"/>
                    <a:pt x="7329" y="8926"/>
                    <a:pt x="7413" y="9059"/>
                  </a:cubicBezTo>
                  <a:cubicBezTo>
                    <a:pt x="7492" y="9183"/>
                    <a:pt x="7561" y="9226"/>
                    <a:pt x="7620" y="9189"/>
                  </a:cubicBezTo>
                  <a:cubicBezTo>
                    <a:pt x="7678" y="9152"/>
                    <a:pt x="7667" y="9070"/>
                    <a:pt x="7587" y="8944"/>
                  </a:cubicBezTo>
                  <a:cubicBezTo>
                    <a:pt x="7504" y="8813"/>
                    <a:pt x="7434" y="8766"/>
                    <a:pt x="7377" y="8802"/>
                  </a:cubicBezTo>
                  <a:close/>
                  <a:moveTo>
                    <a:pt x="7997" y="9053"/>
                  </a:moveTo>
                  <a:cubicBezTo>
                    <a:pt x="7907" y="9099"/>
                    <a:pt x="7907" y="9099"/>
                    <a:pt x="7907" y="9099"/>
                  </a:cubicBezTo>
                  <a:cubicBezTo>
                    <a:pt x="7640" y="8574"/>
                    <a:pt x="7640" y="8574"/>
                    <a:pt x="7640" y="8574"/>
                  </a:cubicBezTo>
                  <a:cubicBezTo>
                    <a:pt x="7730" y="8528"/>
                    <a:pt x="7730" y="8528"/>
                    <a:pt x="7730" y="8528"/>
                  </a:cubicBezTo>
                  <a:lnTo>
                    <a:pt x="7997" y="9053"/>
                  </a:lnTo>
                  <a:close/>
                  <a:moveTo>
                    <a:pt x="8261" y="8947"/>
                  </a:moveTo>
                  <a:cubicBezTo>
                    <a:pt x="8204" y="8970"/>
                    <a:pt x="8151" y="8964"/>
                    <a:pt x="8100" y="8930"/>
                  </a:cubicBezTo>
                  <a:cubicBezTo>
                    <a:pt x="8050" y="8896"/>
                    <a:pt x="8008" y="8835"/>
                    <a:pt x="7973" y="8747"/>
                  </a:cubicBezTo>
                  <a:cubicBezTo>
                    <a:pt x="7935" y="8650"/>
                    <a:pt x="7923" y="8570"/>
                    <a:pt x="7937" y="8507"/>
                  </a:cubicBezTo>
                  <a:cubicBezTo>
                    <a:pt x="7951" y="8444"/>
                    <a:pt x="7989" y="8401"/>
                    <a:pt x="8052" y="8376"/>
                  </a:cubicBezTo>
                  <a:cubicBezTo>
                    <a:pt x="8173" y="8329"/>
                    <a:pt x="8270" y="8399"/>
                    <a:pt x="8343" y="8586"/>
                  </a:cubicBezTo>
                  <a:cubicBezTo>
                    <a:pt x="8380" y="8679"/>
                    <a:pt x="8390" y="8756"/>
                    <a:pt x="8375" y="8818"/>
                  </a:cubicBezTo>
                  <a:cubicBezTo>
                    <a:pt x="8361" y="8880"/>
                    <a:pt x="8323" y="8923"/>
                    <a:pt x="8261" y="8947"/>
                  </a:cubicBezTo>
                  <a:close/>
                  <a:moveTo>
                    <a:pt x="8076" y="8448"/>
                  </a:moveTo>
                  <a:cubicBezTo>
                    <a:pt x="8009" y="8474"/>
                    <a:pt x="8005" y="8561"/>
                    <a:pt x="8062" y="8707"/>
                  </a:cubicBezTo>
                  <a:cubicBezTo>
                    <a:pt x="8116" y="8844"/>
                    <a:pt x="8175" y="8900"/>
                    <a:pt x="8241" y="8874"/>
                  </a:cubicBezTo>
                  <a:cubicBezTo>
                    <a:pt x="8305" y="8849"/>
                    <a:pt x="8310" y="8767"/>
                    <a:pt x="8255" y="8628"/>
                  </a:cubicBezTo>
                  <a:cubicBezTo>
                    <a:pt x="8198" y="8483"/>
                    <a:pt x="8139" y="8424"/>
                    <a:pt x="8076" y="8448"/>
                  </a:cubicBezTo>
                  <a:close/>
                  <a:moveTo>
                    <a:pt x="8636" y="8812"/>
                  </a:moveTo>
                  <a:cubicBezTo>
                    <a:pt x="8539" y="8840"/>
                    <a:pt x="8539" y="8840"/>
                    <a:pt x="8539" y="8840"/>
                  </a:cubicBezTo>
                  <a:cubicBezTo>
                    <a:pt x="8377" y="8274"/>
                    <a:pt x="8377" y="8274"/>
                    <a:pt x="8377" y="8274"/>
                  </a:cubicBezTo>
                  <a:cubicBezTo>
                    <a:pt x="8474" y="8246"/>
                    <a:pt x="8474" y="8246"/>
                    <a:pt x="8474" y="8246"/>
                  </a:cubicBezTo>
                  <a:lnTo>
                    <a:pt x="8636" y="8812"/>
                  </a:lnTo>
                  <a:close/>
                  <a:moveTo>
                    <a:pt x="8916" y="8759"/>
                  </a:moveTo>
                  <a:cubicBezTo>
                    <a:pt x="8856" y="8770"/>
                    <a:pt x="8804" y="8754"/>
                    <a:pt x="8761" y="8711"/>
                  </a:cubicBezTo>
                  <a:cubicBezTo>
                    <a:pt x="8719" y="8668"/>
                    <a:pt x="8688" y="8600"/>
                    <a:pt x="8671" y="8507"/>
                  </a:cubicBezTo>
                  <a:cubicBezTo>
                    <a:pt x="8652" y="8405"/>
                    <a:pt x="8655" y="8324"/>
                    <a:pt x="8681" y="8265"/>
                  </a:cubicBezTo>
                  <a:cubicBezTo>
                    <a:pt x="8707" y="8206"/>
                    <a:pt x="8753" y="8170"/>
                    <a:pt x="8819" y="8158"/>
                  </a:cubicBezTo>
                  <a:cubicBezTo>
                    <a:pt x="8946" y="8134"/>
                    <a:pt x="9028" y="8221"/>
                    <a:pt x="9065" y="8419"/>
                  </a:cubicBezTo>
                  <a:cubicBezTo>
                    <a:pt x="9083" y="8517"/>
                    <a:pt x="9079" y="8595"/>
                    <a:pt x="9053" y="8654"/>
                  </a:cubicBezTo>
                  <a:cubicBezTo>
                    <a:pt x="9026" y="8712"/>
                    <a:pt x="8981" y="8747"/>
                    <a:pt x="8916" y="8759"/>
                  </a:cubicBezTo>
                  <a:close/>
                  <a:moveTo>
                    <a:pt x="8828" y="8233"/>
                  </a:moveTo>
                  <a:cubicBezTo>
                    <a:pt x="8758" y="8246"/>
                    <a:pt x="8737" y="8330"/>
                    <a:pt x="8766" y="8485"/>
                  </a:cubicBezTo>
                  <a:cubicBezTo>
                    <a:pt x="8793" y="8630"/>
                    <a:pt x="8841" y="8696"/>
                    <a:pt x="8910" y="8683"/>
                  </a:cubicBezTo>
                  <a:cubicBezTo>
                    <a:pt x="8978" y="8671"/>
                    <a:pt x="8998" y="8591"/>
                    <a:pt x="8970" y="8443"/>
                  </a:cubicBezTo>
                  <a:cubicBezTo>
                    <a:pt x="8942" y="8291"/>
                    <a:pt x="8895" y="8221"/>
                    <a:pt x="8828" y="8233"/>
                  </a:cubicBezTo>
                  <a:close/>
                  <a:moveTo>
                    <a:pt x="9310" y="8697"/>
                  </a:moveTo>
                  <a:cubicBezTo>
                    <a:pt x="9210" y="8706"/>
                    <a:pt x="9210" y="8706"/>
                    <a:pt x="9210" y="8706"/>
                  </a:cubicBezTo>
                  <a:cubicBezTo>
                    <a:pt x="9158" y="8119"/>
                    <a:pt x="9158" y="8119"/>
                    <a:pt x="9158" y="8119"/>
                  </a:cubicBezTo>
                  <a:cubicBezTo>
                    <a:pt x="9258" y="8111"/>
                    <a:pt x="9258" y="8111"/>
                    <a:pt x="9258" y="8111"/>
                  </a:cubicBezTo>
                  <a:lnTo>
                    <a:pt x="9310" y="8697"/>
                  </a:lnTo>
                  <a:close/>
                  <a:moveTo>
                    <a:pt x="9595" y="8697"/>
                  </a:moveTo>
                  <a:cubicBezTo>
                    <a:pt x="9534" y="8696"/>
                    <a:pt x="9487" y="8671"/>
                    <a:pt x="9453" y="8620"/>
                  </a:cubicBezTo>
                  <a:cubicBezTo>
                    <a:pt x="9419" y="8570"/>
                    <a:pt x="9403" y="8497"/>
                    <a:pt x="9404" y="8403"/>
                  </a:cubicBezTo>
                  <a:cubicBezTo>
                    <a:pt x="9405" y="8299"/>
                    <a:pt x="9423" y="8220"/>
                    <a:pt x="9460" y="8167"/>
                  </a:cubicBezTo>
                  <a:cubicBezTo>
                    <a:pt x="9496" y="8114"/>
                    <a:pt x="9548" y="8088"/>
                    <a:pt x="9616" y="8089"/>
                  </a:cubicBezTo>
                  <a:cubicBezTo>
                    <a:pt x="9745" y="8090"/>
                    <a:pt x="9809" y="8191"/>
                    <a:pt x="9807" y="8393"/>
                  </a:cubicBezTo>
                  <a:cubicBezTo>
                    <a:pt x="9806" y="8492"/>
                    <a:pt x="9787" y="8568"/>
                    <a:pt x="9750" y="8620"/>
                  </a:cubicBezTo>
                  <a:cubicBezTo>
                    <a:pt x="9713" y="8672"/>
                    <a:pt x="9661" y="8698"/>
                    <a:pt x="9595" y="8697"/>
                  </a:cubicBezTo>
                  <a:close/>
                  <a:moveTo>
                    <a:pt x="9611" y="8165"/>
                  </a:moveTo>
                  <a:cubicBezTo>
                    <a:pt x="9539" y="8164"/>
                    <a:pt x="9503" y="8242"/>
                    <a:pt x="9501" y="8400"/>
                  </a:cubicBezTo>
                  <a:cubicBezTo>
                    <a:pt x="9499" y="8547"/>
                    <a:pt x="9534" y="8621"/>
                    <a:pt x="9604" y="8622"/>
                  </a:cubicBezTo>
                  <a:cubicBezTo>
                    <a:pt x="9673" y="8622"/>
                    <a:pt x="9708" y="8548"/>
                    <a:pt x="9710" y="8398"/>
                  </a:cubicBezTo>
                  <a:cubicBezTo>
                    <a:pt x="9711" y="8243"/>
                    <a:pt x="9678" y="8165"/>
                    <a:pt x="9611" y="8165"/>
                  </a:cubicBezTo>
                  <a:close/>
                  <a:moveTo>
                    <a:pt x="10042" y="8726"/>
                  </a:moveTo>
                  <a:cubicBezTo>
                    <a:pt x="9981" y="8718"/>
                    <a:pt x="9937" y="8687"/>
                    <a:pt x="9910" y="8633"/>
                  </a:cubicBezTo>
                  <a:cubicBezTo>
                    <a:pt x="9882" y="8579"/>
                    <a:pt x="9874" y="8505"/>
                    <a:pt x="9886" y="8411"/>
                  </a:cubicBezTo>
                  <a:cubicBezTo>
                    <a:pt x="9899" y="8308"/>
                    <a:pt x="9927" y="8232"/>
                    <a:pt x="9970" y="8184"/>
                  </a:cubicBezTo>
                  <a:cubicBezTo>
                    <a:pt x="10012" y="8136"/>
                    <a:pt x="10067" y="8116"/>
                    <a:pt x="10134" y="8124"/>
                  </a:cubicBezTo>
                  <a:cubicBezTo>
                    <a:pt x="10262" y="8141"/>
                    <a:pt x="10314" y="8249"/>
                    <a:pt x="10288" y="8448"/>
                  </a:cubicBezTo>
                  <a:cubicBezTo>
                    <a:pt x="10275" y="8547"/>
                    <a:pt x="10247" y="8620"/>
                    <a:pt x="10204" y="8668"/>
                  </a:cubicBezTo>
                  <a:cubicBezTo>
                    <a:pt x="10161" y="8715"/>
                    <a:pt x="10107" y="8734"/>
                    <a:pt x="10042" y="8726"/>
                  </a:cubicBezTo>
                  <a:close/>
                  <a:moveTo>
                    <a:pt x="10120" y="8199"/>
                  </a:moveTo>
                  <a:cubicBezTo>
                    <a:pt x="10049" y="8190"/>
                    <a:pt x="10003" y="8263"/>
                    <a:pt x="9983" y="8420"/>
                  </a:cubicBezTo>
                  <a:cubicBezTo>
                    <a:pt x="9964" y="8566"/>
                    <a:pt x="9990" y="8643"/>
                    <a:pt x="10059" y="8652"/>
                  </a:cubicBezTo>
                  <a:cubicBezTo>
                    <a:pt x="10128" y="8661"/>
                    <a:pt x="10171" y="8591"/>
                    <a:pt x="10191" y="8443"/>
                  </a:cubicBezTo>
                  <a:cubicBezTo>
                    <a:pt x="10210" y="8289"/>
                    <a:pt x="10187" y="8208"/>
                    <a:pt x="10120" y="8199"/>
                  </a:cubicBezTo>
                  <a:close/>
                  <a:moveTo>
                    <a:pt x="10436" y="8788"/>
                  </a:moveTo>
                  <a:cubicBezTo>
                    <a:pt x="10338" y="8766"/>
                    <a:pt x="10338" y="8766"/>
                    <a:pt x="10338" y="8766"/>
                  </a:cubicBezTo>
                  <a:cubicBezTo>
                    <a:pt x="10468" y="8192"/>
                    <a:pt x="10468" y="8192"/>
                    <a:pt x="10468" y="8192"/>
                  </a:cubicBezTo>
                  <a:cubicBezTo>
                    <a:pt x="10566" y="8214"/>
                    <a:pt x="10566" y="8214"/>
                    <a:pt x="10566" y="8214"/>
                  </a:cubicBezTo>
                  <a:lnTo>
                    <a:pt x="10436" y="8788"/>
                  </a:lnTo>
                  <a:close/>
                  <a:moveTo>
                    <a:pt x="10707" y="8876"/>
                  </a:moveTo>
                  <a:cubicBezTo>
                    <a:pt x="10649" y="8857"/>
                    <a:pt x="10612" y="8818"/>
                    <a:pt x="10595" y="8760"/>
                  </a:cubicBezTo>
                  <a:cubicBezTo>
                    <a:pt x="10578" y="8701"/>
                    <a:pt x="10584" y="8627"/>
                    <a:pt x="10614" y="8537"/>
                  </a:cubicBezTo>
                  <a:cubicBezTo>
                    <a:pt x="10646" y="8438"/>
                    <a:pt x="10688" y="8369"/>
                    <a:pt x="10739" y="8330"/>
                  </a:cubicBezTo>
                  <a:cubicBezTo>
                    <a:pt x="10790" y="8290"/>
                    <a:pt x="10847" y="8281"/>
                    <a:pt x="10911" y="8302"/>
                  </a:cubicBezTo>
                  <a:cubicBezTo>
                    <a:pt x="11034" y="8343"/>
                    <a:pt x="11064" y="8459"/>
                    <a:pt x="11001" y="8650"/>
                  </a:cubicBezTo>
                  <a:cubicBezTo>
                    <a:pt x="10970" y="8744"/>
                    <a:pt x="10929" y="8811"/>
                    <a:pt x="10878" y="8849"/>
                  </a:cubicBezTo>
                  <a:cubicBezTo>
                    <a:pt x="10826" y="8888"/>
                    <a:pt x="10770" y="8896"/>
                    <a:pt x="10707" y="8876"/>
                  </a:cubicBezTo>
                  <a:close/>
                  <a:moveTo>
                    <a:pt x="10883" y="8373"/>
                  </a:moveTo>
                  <a:cubicBezTo>
                    <a:pt x="10815" y="8351"/>
                    <a:pt x="10757" y="8414"/>
                    <a:pt x="10707" y="8564"/>
                  </a:cubicBezTo>
                  <a:cubicBezTo>
                    <a:pt x="10661" y="8704"/>
                    <a:pt x="10671" y="8784"/>
                    <a:pt x="10738" y="8806"/>
                  </a:cubicBezTo>
                  <a:cubicBezTo>
                    <a:pt x="10804" y="8828"/>
                    <a:pt x="10860" y="8768"/>
                    <a:pt x="10907" y="8626"/>
                  </a:cubicBezTo>
                  <a:cubicBezTo>
                    <a:pt x="10955" y="8478"/>
                    <a:pt x="10947" y="8394"/>
                    <a:pt x="10883" y="8373"/>
                  </a:cubicBezTo>
                  <a:close/>
                  <a:moveTo>
                    <a:pt x="11123" y="9041"/>
                  </a:moveTo>
                  <a:cubicBezTo>
                    <a:pt x="11067" y="9015"/>
                    <a:pt x="11035" y="8972"/>
                    <a:pt x="11025" y="8912"/>
                  </a:cubicBezTo>
                  <a:cubicBezTo>
                    <a:pt x="11016" y="8852"/>
                    <a:pt x="11031" y="8779"/>
                    <a:pt x="11072" y="8694"/>
                  </a:cubicBezTo>
                  <a:cubicBezTo>
                    <a:pt x="11117" y="8600"/>
                    <a:pt x="11167" y="8536"/>
                    <a:pt x="11222" y="8504"/>
                  </a:cubicBezTo>
                  <a:cubicBezTo>
                    <a:pt x="11277" y="8471"/>
                    <a:pt x="11335" y="8469"/>
                    <a:pt x="11396" y="8498"/>
                  </a:cubicBezTo>
                  <a:cubicBezTo>
                    <a:pt x="11513" y="8553"/>
                    <a:pt x="11529" y="8672"/>
                    <a:pt x="11442" y="8854"/>
                  </a:cubicBezTo>
                  <a:cubicBezTo>
                    <a:pt x="11400" y="8944"/>
                    <a:pt x="11350" y="9005"/>
                    <a:pt x="11295" y="9036"/>
                  </a:cubicBezTo>
                  <a:cubicBezTo>
                    <a:pt x="11239" y="9068"/>
                    <a:pt x="11182" y="9070"/>
                    <a:pt x="11123" y="9041"/>
                  </a:cubicBezTo>
                  <a:close/>
                  <a:moveTo>
                    <a:pt x="11360" y="8565"/>
                  </a:moveTo>
                  <a:cubicBezTo>
                    <a:pt x="11295" y="8534"/>
                    <a:pt x="11229" y="8590"/>
                    <a:pt x="11162" y="8732"/>
                  </a:cubicBezTo>
                  <a:cubicBezTo>
                    <a:pt x="11098" y="8865"/>
                    <a:pt x="11098" y="8946"/>
                    <a:pt x="11162" y="8976"/>
                  </a:cubicBezTo>
                  <a:cubicBezTo>
                    <a:pt x="11224" y="9006"/>
                    <a:pt x="11287" y="8953"/>
                    <a:pt x="11352" y="8818"/>
                  </a:cubicBezTo>
                  <a:cubicBezTo>
                    <a:pt x="11418" y="8678"/>
                    <a:pt x="11421" y="8594"/>
                    <a:pt x="11360" y="8565"/>
                  </a:cubicBezTo>
                  <a:close/>
                  <a:moveTo>
                    <a:pt x="11478" y="9223"/>
                  </a:moveTo>
                  <a:cubicBezTo>
                    <a:pt x="11391" y="9171"/>
                    <a:pt x="11391" y="9171"/>
                    <a:pt x="11391" y="9171"/>
                  </a:cubicBezTo>
                  <a:cubicBezTo>
                    <a:pt x="11693" y="8666"/>
                    <a:pt x="11693" y="8666"/>
                    <a:pt x="11693" y="8666"/>
                  </a:cubicBezTo>
                  <a:cubicBezTo>
                    <a:pt x="11780" y="8717"/>
                    <a:pt x="11780" y="8717"/>
                    <a:pt x="11780" y="8717"/>
                  </a:cubicBezTo>
                  <a:lnTo>
                    <a:pt x="11478" y="9223"/>
                  </a:lnTo>
                  <a:close/>
                  <a:moveTo>
                    <a:pt x="11709" y="9390"/>
                  </a:moveTo>
                  <a:cubicBezTo>
                    <a:pt x="11659" y="9354"/>
                    <a:pt x="11636" y="9306"/>
                    <a:pt x="11638" y="9245"/>
                  </a:cubicBezTo>
                  <a:cubicBezTo>
                    <a:pt x="11639" y="9184"/>
                    <a:pt x="11669" y="9116"/>
                    <a:pt x="11725" y="9039"/>
                  </a:cubicBezTo>
                  <a:cubicBezTo>
                    <a:pt x="11786" y="8955"/>
                    <a:pt x="11847" y="8903"/>
                    <a:pt x="11908" y="8881"/>
                  </a:cubicBezTo>
                  <a:cubicBezTo>
                    <a:pt x="11968" y="8859"/>
                    <a:pt x="12026" y="8868"/>
                    <a:pt x="12080" y="8908"/>
                  </a:cubicBezTo>
                  <a:cubicBezTo>
                    <a:pt x="12184" y="8985"/>
                    <a:pt x="12177" y="9104"/>
                    <a:pt x="12058" y="9266"/>
                  </a:cubicBezTo>
                  <a:cubicBezTo>
                    <a:pt x="11999" y="9347"/>
                    <a:pt x="11939" y="9397"/>
                    <a:pt x="11879" y="9418"/>
                  </a:cubicBezTo>
                  <a:cubicBezTo>
                    <a:pt x="11818" y="9438"/>
                    <a:pt x="11762" y="9429"/>
                    <a:pt x="11709" y="9390"/>
                  </a:cubicBezTo>
                  <a:close/>
                  <a:moveTo>
                    <a:pt x="12032" y="8967"/>
                  </a:moveTo>
                  <a:cubicBezTo>
                    <a:pt x="11974" y="8924"/>
                    <a:pt x="11899" y="8967"/>
                    <a:pt x="11805" y="9094"/>
                  </a:cubicBezTo>
                  <a:cubicBezTo>
                    <a:pt x="11718" y="9212"/>
                    <a:pt x="11703" y="9292"/>
                    <a:pt x="11759" y="9334"/>
                  </a:cubicBezTo>
                  <a:cubicBezTo>
                    <a:pt x="11815" y="9375"/>
                    <a:pt x="11887" y="9335"/>
                    <a:pt x="11976" y="9214"/>
                  </a:cubicBezTo>
                  <a:cubicBezTo>
                    <a:pt x="12067" y="9089"/>
                    <a:pt x="12086" y="9007"/>
                    <a:pt x="12032" y="8967"/>
                  </a:cubicBezTo>
                  <a:close/>
                  <a:moveTo>
                    <a:pt x="12053" y="9676"/>
                  </a:moveTo>
                  <a:cubicBezTo>
                    <a:pt x="12008" y="9634"/>
                    <a:pt x="11991" y="9583"/>
                    <a:pt x="12000" y="9523"/>
                  </a:cubicBezTo>
                  <a:cubicBezTo>
                    <a:pt x="12010" y="9463"/>
                    <a:pt x="12047" y="9399"/>
                    <a:pt x="12112" y="9330"/>
                  </a:cubicBezTo>
                  <a:cubicBezTo>
                    <a:pt x="12183" y="9254"/>
                    <a:pt x="12251" y="9210"/>
                    <a:pt x="12313" y="9195"/>
                  </a:cubicBezTo>
                  <a:cubicBezTo>
                    <a:pt x="12376" y="9181"/>
                    <a:pt x="12432" y="9197"/>
                    <a:pt x="12481" y="9244"/>
                  </a:cubicBezTo>
                  <a:cubicBezTo>
                    <a:pt x="12575" y="9333"/>
                    <a:pt x="12553" y="9450"/>
                    <a:pt x="12415" y="9597"/>
                  </a:cubicBezTo>
                  <a:cubicBezTo>
                    <a:pt x="12346" y="9669"/>
                    <a:pt x="12281" y="9712"/>
                    <a:pt x="12218" y="9725"/>
                  </a:cubicBezTo>
                  <a:cubicBezTo>
                    <a:pt x="12156" y="9738"/>
                    <a:pt x="12101" y="9722"/>
                    <a:pt x="12053" y="9676"/>
                  </a:cubicBezTo>
                  <a:close/>
                  <a:moveTo>
                    <a:pt x="12426" y="9296"/>
                  </a:moveTo>
                  <a:cubicBezTo>
                    <a:pt x="12374" y="9247"/>
                    <a:pt x="12294" y="9279"/>
                    <a:pt x="12186" y="9394"/>
                  </a:cubicBezTo>
                  <a:cubicBezTo>
                    <a:pt x="12084" y="9501"/>
                    <a:pt x="12059" y="9578"/>
                    <a:pt x="12110" y="9627"/>
                  </a:cubicBezTo>
                  <a:cubicBezTo>
                    <a:pt x="12160" y="9674"/>
                    <a:pt x="12237" y="9643"/>
                    <a:pt x="12340" y="9534"/>
                  </a:cubicBezTo>
                  <a:cubicBezTo>
                    <a:pt x="12446" y="9422"/>
                    <a:pt x="12475" y="9342"/>
                    <a:pt x="12426" y="9296"/>
                  </a:cubicBezTo>
                  <a:close/>
                  <a:moveTo>
                    <a:pt x="12335" y="9958"/>
                  </a:moveTo>
                  <a:cubicBezTo>
                    <a:pt x="12269" y="9882"/>
                    <a:pt x="12269" y="9882"/>
                    <a:pt x="12269" y="9882"/>
                  </a:cubicBezTo>
                  <a:cubicBezTo>
                    <a:pt x="12711" y="9494"/>
                    <a:pt x="12711" y="9494"/>
                    <a:pt x="12711" y="9494"/>
                  </a:cubicBezTo>
                  <a:cubicBezTo>
                    <a:pt x="12778" y="9570"/>
                    <a:pt x="12778" y="9570"/>
                    <a:pt x="12778" y="9570"/>
                  </a:cubicBezTo>
                  <a:lnTo>
                    <a:pt x="12335" y="9958"/>
                  </a:lnTo>
                  <a:close/>
                  <a:moveTo>
                    <a:pt x="12482" y="10142"/>
                  </a:moveTo>
                  <a:cubicBezTo>
                    <a:pt x="12421" y="10062"/>
                    <a:pt x="12421" y="10062"/>
                    <a:pt x="12421" y="10062"/>
                  </a:cubicBezTo>
                  <a:cubicBezTo>
                    <a:pt x="12888" y="9704"/>
                    <a:pt x="12888" y="9704"/>
                    <a:pt x="12888" y="9704"/>
                  </a:cubicBezTo>
                  <a:cubicBezTo>
                    <a:pt x="12949" y="9784"/>
                    <a:pt x="12949" y="9784"/>
                    <a:pt x="12949" y="9784"/>
                  </a:cubicBezTo>
                  <a:lnTo>
                    <a:pt x="12482" y="10142"/>
                  </a:lnTo>
                  <a:close/>
                  <a:moveTo>
                    <a:pt x="12617" y="10336"/>
                  </a:moveTo>
                  <a:cubicBezTo>
                    <a:pt x="12561" y="10252"/>
                    <a:pt x="12561" y="10252"/>
                    <a:pt x="12561" y="10252"/>
                  </a:cubicBezTo>
                  <a:cubicBezTo>
                    <a:pt x="13050" y="9925"/>
                    <a:pt x="13050" y="9925"/>
                    <a:pt x="13050" y="9925"/>
                  </a:cubicBezTo>
                  <a:cubicBezTo>
                    <a:pt x="13106" y="10008"/>
                    <a:pt x="13106" y="10008"/>
                    <a:pt x="13106" y="10008"/>
                  </a:cubicBezTo>
                  <a:lnTo>
                    <a:pt x="12617" y="10336"/>
                  </a:lnTo>
                  <a:close/>
                  <a:moveTo>
                    <a:pt x="12747" y="10546"/>
                  </a:moveTo>
                  <a:cubicBezTo>
                    <a:pt x="12693" y="10461"/>
                    <a:pt x="12693" y="10461"/>
                    <a:pt x="12693" y="10461"/>
                  </a:cubicBezTo>
                  <a:cubicBezTo>
                    <a:pt x="13189" y="10144"/>
                    <a:pt x="13189" y="10144"/>
                    <a:pt x="13189" y="10144"/>
                  </a:cubicBezTo>
                  <a:cubicBezTo>
                    <a:pt x="13243" y="10228"/>
                    <a:pt x="13243" y="10228"/>
                    <a:pt x="13243" y="10228"/>
                  </a:cubicBezTo>
                  <a:lnTo>
                    <a:pt x="12747" y="10546"/>
                  </a:lnTo>
                  <a:close/>
                  <a:moveTo>
                    <a:pt x="13046" y="10865"/>
                  </a:moveTo>
                  <a:cubicBezTo>
                    <a:pt x="12996" y="10829"/>
                    <a:pt x="12972" y="10781"/>
                    <a:pt x="12974" y="10720"/>
                  </a:cubicBezTo>
                  <a:cubicBezTo>
                    <a:pt x="12976" y="10659"/>
                    <a:pt x="13004" y="10591"/>
                    <a:pt x="13060" y="10514"/>
                  </a:cubicBezTo>
                  <a:cubicBezTo>
                    <a:pt x="13122" y="10430"/>
                    <a:pt x="13182" y="10377"/>
                    <a:pt x="13243" y="10355"/>
                  </a:cubicBezTo>
                  <a:cubicBezTo>
                    <a:pt x="13303" y="10333"/>
                    <a:pt x="13361" y="10342"/>
                    <a:pt x="13415" y="10382"/>
                  </a:cubicBezTo>
                  <a:cubicBezTo>
                    <a:pt x="13520" y="10458"/>
                    <a:pt x="13513" y="10577"/>
                    <a:pt x="13395" y="10740"/>
                  </a:cubicBezTo>
                  <a:cubicBezTo>
                    <a:pt x="13336" y="10821"/>
                    <a:pt x="13276" y="10871"/>
                    <a:pt x="13216" y="10892"/>
                  </a:cubicBezTo>
                  <a:cubicBezTo>
                    <a:pt x="13155" y="10913"/>
                    <a:pt x="13099" y="10904"/>
                    <a:pt x="13046" y="10865"/>
                  </a:cubicBezTo>
                  <a:close/>
                  <a:moveTo>
                    <a:pt x="13367" y="10441"/>
                  </a:moveTo>
                  <a:cubicBezTo>
                    <a:pt x="13309" y="10398"/>
                    <a:pt x="13234" y="10441"/>
                    <a:pt x="13141" y="10568"/>
                  </a:cubicBezTo>
                  <a:cubicBezTo>
                    <a:pt x="13055" y="10687"/>
                    <a:pt x="13040" y="10767"/>
                    <a:pt x="13096" y="10809"/>
                  </a:cubicBezTo>
                  <a:cubicBezTo>
                    <a:pt x="13152" y="10849"/>
                    <a:pt x="13224" y="10809"/>
                    <a:pt x="13312" y="10688"/>
                  </a:cubicBezTo>
                  <a:cubicBezTo>
                    <a:pt x="13403" y="10563"/>
                    <a:pt x="13422" y="10480"/>
                    <a:pt x="13367" y="10441"/>
                  </a:cubicBezTo>
                  <a:close/>
                  <a:moveTo>
                    <a:pt x="13549" y="11086"/>
                  </a:moveTo>
                  <a:cubicBezTo>
                    <a:pt x="13452" y="11060"/>
                    <a:pt x="13452" y="11060"/>
                    <a:pt x="13452" y="11060"/>
                  </a:cubicBezTo>
                  <a:cubicBezTo>
                    <a:pt x="13603" y="10491"/>
                    <a:pt x="13603" y="10491"/>
                    <a:pt x="13603" y="10491"/>
                  </a:cubicBezTo>
                  <a:cubicBezTo>
                    <a:pt x="13701" y="10517"/>
                    <a:pt x="13701" y="10517"/>
                    <a:pt x="13701" y="10517"/>
                  </a:cubicBezTo>
                  <a:lnTo>
                    <a:pt x="13549" y="11086"/>
                  </a:lnTo>
                  <a:close/>
                  <a:moveTo>
                    <a:pt x="13943" y="11128"/>
                  </a:moveTo>
                  <a:cubicBezTo>
                    <a:pt x="13881" y="11128"/>
                    <a:pt x="13833" y="11103"/>
                    <a:pt x="13799" y="11053"/>
                  </a:cubicBezTo>
                  <a:cubicBezTo>
                    <a:pt x="13765" y="11002"/>
                    <a:pt x="13747" y="10930"/>
                    <a:pt x="13747" y="10835"/>
                  </a:cubicBezTo>
                  <a:cubicBezTo>
                    <a:pt x="13747" y="10731"/>
                    <a:pt x="13765" y="10653"/>
                    <a:pt x="13801" y="10599"/>
                  </a:cubicBezTo>
                  <a:cubicBezTo>
                    <a:pt x="13837" y="10546"/>
                    <a:pt x="13889" y="10519"/>
                    <a:pt x="13956" y="10519"/>
                  </a:cubicBezTo>
                  <a:cubicBezTo>
                    <a:pt x="14086" y="10519"/>
                    <a:pt x="14151" y="10620"/>
                    <a:pt x="14151" y="10821"/>
                  </a:cubicBezTo>
                  <a:cubicBezTo>
                    <a:pt x="14151" y="10921"/>
                    <a:pt x="14132" y="10997"/>
                    <a:pt x="14096" y="11049"/>
                  </a:cubicBezTo>
                  <a:cubicBezTo>
                    <a:pt x="14059" y="11101"/>
                    <a:pt x="14008" y="11128"/>
                    <a:pt x="13943" y="11128"/>
                  </a:cubicBezTo>
                  <a:close/>
                  <a:moveTo>
                    <a:pt x="13952" y="10595"/>
                  </a:moveTo>
                  <a:cubicBezTo>
                    <a:pt x="13881" y="10595"/>
                    <a:pt x="13845" y="10674"/>
                    <a:pt x="13845" y="10831"/>
                  </a:cubicBezTo>
                  <a:cubicBezTo>
                    <a:pt x="13845" y="10979"/>
                    <a:pt x="13880" y="11052"/>
                    <a:pt x="13950" y="11052"/>
                  </a:cubicBezTo>
                  <a:cubicBezTo>
                    <a:pt x="14019" y="11052"/>
                    <a:pt x="14053" y="10977"/>
                    <a:pt x="14053" y="10828"/>
                  </a:cubicBezTo>
                  <a:cubicBezTo>
                    <a:pt x="14053" y="10673"/>
                    <a:pt x="14020" y="10595"/>
                    <a:pt x="13952" y="10595"/>
                  </a:cubicBezTo>
                  <a:close/>
                  <a:moveTo>
                    <a:pt x="14355" y="11118"/>
                  </a:moveTo>
                  <a:cubicBezTo>
                    <a:pt x="14255" y="11118"/>
                    <a:pt x="14255" y="11118"/>
                    <a:pt x="14255" y="11118"/>
                  </a:cubicBezTo>
                  <a:cubicBezTo>
                    <a:pt x="14255" y="10529"/>
                    <a:pt x="14255" y="10529"/>
                    <a:pt x="14255" y="10529"/>
                  </a:cubicBezTo>
                  <a:cubicBezTo>
                    <a:pt x="14355" y="10529"/>
                    <a:pt x="14355" y="10529"/>
                    <a:pt x="14355" y="10529"/>
                  </a:cubicBezTo>
                  <a:lnTo>
                    <a:pt x="14355" y="11118"/>
                  </a:lnTo>
                  <a:close/>
                  <a:moveTo>
                    <a:pt x="14654" y="11128"/>
                  </a:moveTo>
                  <a:cubicBezTo>
                    <a:pt x="14593" y="11128"/>
                    <a:pt x="14545" y="11103"/>
                    <a:pt x="14511" y="11053"/>
                  </a:cubicBezTo>
                  <a:cubicBezTo>
                    <a:pt x="14477" y="11002"/>
                    <a:pt x="14459" y="10930"/>
                    <a:pt x="14459" y="10835"/>
                  </a:cubicBezTo>
                  <a:cubicBezTo>
                    <a:pt x="14459" y="10731"/>
                    <a:pt x="14477" y="10653"/>
                    <a:pt x="14513" y="10599"/>
                  </a:cubicBezTo>
                  <a:cubicBezTo>
                    <a:pt x="14549" y="10546"/>
                    <a:pt x="14601" y="10519"/>
                    <a:pt x="14668" y="10519"/>
                  </a:cubicBezTo>
                  <a:cubicBezTo>
                    <a:pt x="14798" y="10519"/>
                    <a:pt x="14863" y="10620"/>
                    <a:pt x="14863" y="10821"/>
                  </a:cubicBezTo>
                  <a:cubicBezTo>
                    <a:pt x="14863" y="10921"/>
                    <a:pt x="14844" y="10997"/>
                    <a:pt x="14808" y="11049"/>
                  </a:cubicBezTo>
                  <a:cubicBezTo>
                    <a:pt x="14771" y="11101"/>
                    <a:pt x="14720" y="11128"/>
                    <a:pt x="14654" y="11128"/>
                  </a:cubicBezTo>
                  <a:close/>
                  <a:moveTo>
                    <a:pt x="14664" y="10595"/>
                  </a:moveTo>
                  <a:cubicBezTo>
                    <a:pt x="14592" y="10595"/>
                    <a:pt x="14557" y="10674"/>
                    <a:pt x="14557" y="10831"/>
                  </a:cubicBezTo>
                  <a:cubicBezTo>
                    <a:pt x="14557" y="10979"/>
                    <a:pt x="14592" y="11052"/>
                    <a:pt x="14662" y="11052"/>
                  </a:cubicBezTo>
                  <a:cubicBezTo>
                    <a:pt x="14731" y="11052"/>
                    <a:pt x="14765" y="10977"/>
                    <a:pt x="14765" y="10828"/>
                  </a:cubicBezTo>
                  <a:cubicBezTo>
                    <a:pt x="14765" y="10673"/>
                    <a:pt x="14732" y="10595"/>
                    <a:pt x="14664" y="10595"/>
                  </a:cubicBezTo>
                  <a:close/>
                  <a:moveTo>
                    <a:pt x="15067" y="11118"/>
                  </a:moveTo>
                  <a:cubicBezTo>
                    <a:pt x="14967" y="11118"/>
                    <a:pt x="14967" y="11118"/>
                    <a:pt x="14967" y="11118"/>
                  </a:cubicBezTo>
                  <a:cubicBezTo>
                    <a:pt x="14967" y="10529"/>
                    <a:pt x="14967" y="10529"/>
                    <a:pt x="14967" y="10529"/>
                  </a:cubicBezTo>
                  <a:cubicBezTo>
                    <a:pt x="15067" y="10529"/>
                    <a:pt x="15067" y="10529"/>
                    <a:pt x="15067" y="10529"/>
                  </a:cubicBezTo>
                  <a:lnTo>
                    <a:pt x="15067" y="11118"/>
                  </a:lnTo>
                  <a:close/>
                  <a:moveTo>
                    <a:pt x="15367" y="11128"/>
                  </a:moveTo>
                  <a:cubicBezTo>
                    <a:pt x="15305" y="11128"/>
                    <a:pt x="15258" y="11103"/>
                    <a:pt x="15223" y="11053"/>
                  </a:cubicBezTo>
                  <a:cubicBezTo>
                    <a:pt x="15189" y="11002"/>
                    <a:pt x="15172" y="10930"/>
                    <a:pt x="15172" y="10835"/>
                  </a:cubicBezTo>
                  <a:cubicBezTo>
                    <a:pt x="15172" y="10731"/>
                    <a:pt x="15190" y="10653"/>
                    <a:pt x="15225" y="10599"/>
                  </a:cubicBezTo>
                  <a:cubicBezTo>
                    <a:pt x="15261" y="10546"/>
                    <a:pt x="15313" y="10519"/>
                    <a:pt x="15381" y="10519"/>
                  </a:cubicBezTo>
                  <a:cubicBezTo>
                    <a:pt x="15510" y="10519"/>
                    <a:pt x="15575" y="10620"/>
                    <a:pt x="15575" y="10821"/>
                  </a:cubicBezTo>
                  <a:cubicBezTo>
                    <a:pt x="15575" y="10921"/>
                    <a:pt x="15557" y="10997"/>
                    <a:pt x="15520" y="11049"/>
                  </a:cubicBezTo>
                  <a:cubicBezTo>
                    <a:pt x="15483" y="11101"/>
                    <a:pt x="15432" y="11128"/>
                    <a:pt x="15367" y="11128"/>
                  </a:cubicBezTo>
                  <a:close/>
                  <a:moveTo>
                    <a:pt x="15376" y="10595"/>
                  </a:moveTo>
                  <a:cubicBezTo>
                    <a:pt x="15305" y="10595"/>
                    <a:pt x="15269" y="10674"/>
                    <a:pt x="15269" y="10831"/>
                  </a:cubicBezTo>
                  <a:cubicBezTo>
                    <a:pt x="15269" y="10979"/>
                    <a:pt x="15304" y="11052"/>
                    <a:pt x="15374" y="11052"/>
                  </a:cubicBezTo>
                  <a:cubicBezTo>
                    <a:pt x="15443" y="11052"/>
                    <a:pt x="15478" y="10977"/>
                    <a:pt x="15478" y="10828"/>
                  </a:cubicBezTo>
                  <a:cubicBezTo>
                    <a:pt x="15478" y="10673"/>
                    <a:pt x="15444" y="10595"/>
                    <a:pt x="15376" y="10595"/>
                  </a:cubicBezTo>
                  <a:close/>
                  <a:moveTo>
                    <a:pt x="15779" y="11118"/>
                  </a:moveTo>
                  <a:cubicBezTo>
                    <a:pt x="15679" y="11118"/>
                    <a:pt x="15679" y="11118"/>
                    <a:pt x="15679" y="11118"/>
                  </a:cubicBezTo>
                  <a:cubicBezTo>
                    <a:pt x="15679" y="10529"/>
                    <a:pt x="15679" y="10529"/>
                    <a:pt x="15679" y="10529"/>
                  </a:cubicBezTo>
                  <a:cubicBezTo>
                    <a:pt x="15779" y="10529"/>
                    <a:pt x="15779" y="10529"/>
                    <a:pt x="15779" y="10529"/>
                  </a:cubicBezTo>
                  <a:lnTo>
                    <a:pt x="15779" y="11118"/>
                  </a:lnTo>
                  <a:close/>
                  <a:moveTo>
                    <a:pt x="16024" y="11118"/>
                  </a:moveTo>
                  <a:cubicBezTo>
                    <a:pt x="15924" y="11118"/>
                    <a:pt x="15924" y="11118"/>
                    <a:pt x="15924" y="11118"/>
                  </a:cubicBezTo>
                  <a:cubicBezTo>
                    <a:pt x="15924" y="10529"/>
                    <a:pt x="15924" y="10529"/>
                    <a:pt x="15924" y="10529"/>
                  </a:cubicBezTo>
                  <a:cubicBezTo>
                    <a:pt x="16024" y="10529"/>
                    <a:pt x="16024" y="10529"/>
                    <a:pt x="16024" y="10529"/>
                  </a:cubicBezTo>
                  <a:lnTo>
                    <a:pt x="16024" y="11118"/>
                  </a:lnTo>
                  <a:close/>
                  <a:moveTo>
                    <a:pt x="16364" y="11120"/>
                  </a:moveTo>
                  <a:cubicBezTo>
                    <a:pt x="16303" y="11127"/>
                    <a:pt x="16253" y="11107"/>
                    <a:pt x="16213" y="11061"/>
                  </a:cubicBezTo>
                  <a:cubicBezTo>
                    <a:pt x="16173" y="11015"/>
                    <a:pt x="16148" y="10945"/>
                    <a:pt x="16137" y="10851"/>
                  </a:cubicBezTo>
                  <a:cubicBezTo>
                    <a:pt x="16126" y="10748"/>
                    <a:pt x="16135" y="10668"/>
                    <a:pt x="16165" y="10611"/>
                  </a:cubicBezTo>
                  <a:cubicBezTo>
                    <a:pt x="16194" y="10554"/>
                    <a:pt x="16243" y="10521"/>
                    <a:pt x="16310" y="10514"/>
                  </a:cubicBezTo>
                  <a:cubicBezTo>
                    <a:pt x="16439" y="10499"/>
                    <a:pt x="16514" y="10592"/>
                    <a:pt x="16537" y="10792"/>
                  </a:cubicBezTo>
                  <a:cubicBezTo>
                    <a:pt x="16548" y="10891"/>
                    <a:pt x="16538" y="10969"/>
                    <a:pt x="16508" y="11025"/>
                  </a:cubicBezTo>
                  <a:cubicBezTo>
                    <a:pt x="16477" y="11081"/>
                    <a:pt x="16429" y="11113"/>
                    <a:pt x="16364" y="11120"/>
                  </a:cubicBezTo>
                  <a:close/>
                  <a:moveTo>
                    <a:pt x="16314" y="10590"/>
                  </a:moveTo>
                  <a:cubicBezTo>
                    <a:pt x="16243" y="10598"/>
                    <a:pt x="16216" y="10680"/>
                    <a:pt x="16234" y="10836"/>
                  </a:cubicBezTo>
                  <a:cubicBezTo>
                    <a:pt x="16250" y="10983"/>
                    <a:pt x="16293" y="11052"/>
                    <a:pt x="16363" y="11044"/>
                  </a:cubicBezTo>
                  <a:cubicBezTo>
                    <a:pt x="16431" y="11036"/>
                    <a:pt x="16457" y="10958"/>
                    <a:pt x="16441" y="10809"/>
                  </a:cubicBezTo>
                  <a:cubicBezTo>
                    <a:pt x="16423" y="10655"/>
                    <a:pt x="16381" y="10582"/>
                    <a:pt x="16314" y="10590"/>
                  </a:cubicBezTo>
                  <a:close/>
                  <a:moveTo>
                    <a:pt x="16971" y="10899"/>
                  </a:moveTo>
                  <a:cubicBezTo>
                    <a:pt x="16920" y="10934"/>
                    <a:pt x="16867" y="10940"/>
                    <a:pt x="16810" y="10918"/>
                  </a:cubicBezTo>
                  <a:cubicBezTo>
                    <a:pt x="16754" y="10895"/>
                    <a:pt x="16699" y="10845"/>
                    <a:pt x="16646" y="10767"/>
                  </a:cubicBezTo>
                  <a:cubicBezTo>
                    <a:pt x="16587" y="10681"/>
                    <a:pt x="16558" y="10605"/>
                    <a:pt x="16558" y="10541"/>
                  </a:cubicBezTo>
                  <a:cubicBezTo>
                    <a:pt x="16557" y="10477"/>
                    <a:pt x="16585" y="10426"/>
                    <a:pt x="16641" y="10388"/>
                  </a:cubicBezTo>
                  <a:cubicBezTo>
                    <a:pt x="16748" y="10315"/>
                    <a:pt x="16858" y="10362"/>
                    <a:pt x="16971" y="10529"/>
                  </a:cubicBezTo>
                  <a:cubicBezTo>
                    <a:pt x="17027" y="10611"/>
                    <a:pt x="17055" y="10684"/>
                    <a:pt x="17054" y="10748"/>
                  </a:cubicBezTo>
                  <a:cubicBezTo>
                    <a:pt x="17053" y="10812"/>
                    <a:pt x="17025" y="10862"/>
                    <a:pt x="16971" y="10899"/>
                  </a:cubicBezTo>
                  <a:close/>
                  <a:moveTo>
                    <a:pt x="16680" y="10453"/>
                  </a:moveTo>
                  <a:cubicBezTo>
                    <a:pt x="16621" y="10493"/>
                    <a:pt x="16636" y="10578"/>
                    <a:pt x="16724" y="10709"/>
                  </a:cubicBezTo>
                  <a:cubicBezTo>
                    <a:pt x="16806" y="10831"/>
                    <a:pt x="16877" y="10872"/>
                    <a:pt x="16935" y="10833"/>
                  </a:cubicBezTo>
                  <a:cubicBezTo>
                    <a:pt x="16992" y="10794"/>
                    <a:pt x="16978" y="10713"/>
                    <a:pt x="16894" y="10589"/>
                  </a:cubicBezTo>
                  <a:cubicBezTo>
                    <a:pt x="16808" y="10460"/>
                    <a:pt x="16736" y="10415"/>
                    <a:pt x="16680" y="10453"/>
                  </a:cubicBezTo>
                  <a:close/>
                  <a:moveTo>
                    <a:pt x="17348" y="10501"/>
                  </a:moveTo>
                  <a:cubicBezTo>
                    <a:pt x="17291" y="10584"/>
                    <a:pt x="17291" y="10584"/>
                    <a:pt x="17291" y="10584"/>
                  </a:cubicBezTo>
                  <a:cubicBezTo>
                    <a:pt x="16807" y="10248"/>
                    <a:pt x="16807" y="10248"/>
                    <a:pt x="16807" y="10248"/>
                  </a:cubicBezTo>
                  <a:cubicBezTo>
                    <a:pt x="16864" y="10166"/>
                    <a:pt x="16864" y="10166"/>
                    <a:pt x="16864" y="10166"/>
                  </a:cubicBezTo>
                  <a:lnTo>
                    <a:pt x="17348" y="10501"/>
                  </a:lnTo>
                  <a:close/>
                  <a:moveTo>
                    <a:pt x="17523" y="10243"/>
                  </a:moveTo>
                  <a:cubicBezTo>
                    <a:pt x="17488" y="10293"/>
                    <a:pt x="17440" y="10318"/>
                    <a:pt x="17380" y="10317"/>
                  </a:cubicBezTo>
                  <a:cubicBezTo>
                    <a:pt x="17319" y="10317"/>
                    <a:pt x="17250" y="10289"/>
                    <a:pt x="17172" y="10235"/>
                  </a:cubicBezTo>
                  <a:cubicBezTo>
                    <a:pt x="17087" y="10175"/>
                    <a:pt x="17033" y="10115"/>
                    <a:pt x="17009" y="10055"/>
                  </a:cubicBezTo>
                  <a:cubicBezTo>
                    <a:pt x="16986" y="9995"/>
                    <a:pt x="16994" y="9938"/>
                    <a:pt x="17033" y="9882"/>
                  </a:cubicBezTo>
                  <a:cubicBezTo>
                    <a:pt x="17107" y="9776"/>
                    <a:pt x="17227" y="9781"/>
                    <a:pt x="17391" y="9896"/>
                  </a:cubicBezTo>
                  <a:cubicBezTo>
                    <a:pt x="17473" y="9953"/>
                    <a:pt x="17525" y="10012"/>
                    <a:pt x="17547" y="10072"/>
                  </a:cubicBezTo>
                  <a:cubicBezTo>
                    <a:pt x="17569" y="10132"/>
                    <a:pt x="17561" y="10189"/>
                    <a:pt x="17523" y="10243"/>
                  </a:cubicBezTo>
                  <a:close/>
                  <a:moveTo>
                    <a:pt x="17093" y="9930"/>
                  </a:moveTo>
                  <a:cubicBezTo>
                    <a:pt x="17052" y="9988"/>
                    <a:pt x="17096" y="10062"/>
                    <a:pt x="17225" y="10153"/>
                  </a:cubicBezTo>
                  <a:cubicBezTo>
                    <a:pt x="17345" y="10237"/>
                    <a:pt x="17426" y="10251"/>
                    <a:pt x="17466" y="10193"/>
                  </a:cubicBezTo>
                  <a:cubicBezTo>
                    <a:pt x="17505" y="10137"/>
                    <a:pt x="17464" y="10066"/>
                    <a:pt x="17341" y="9980"/>
                  </a:cubicBezTo>
                  <a:cubicBezTo>
                    <a:pt x="17214" y="9891"/>
                    <a:pt x="17131" y="9874"/>
                    <a:pt x="17093" y="9930"/>
                  </a:cubicBezTo>
                  <a:close/>
                  <a:moveTo>
                    <a:pt x="17761" y="9923"/>
                  </a:moveTo>
                  <a:cubicBezTo>
                    <a:pt x="17696" y="9999"/>
                    <a:pt x="17696" y="9999"/>
                    <a:pt x="17696" y="9999"/>
                  </a:cubicBezTo>
                  <a:cubicBezTo>
                    <a:pt x="17247" y="9618"/>
                    <a:pt x="17247" y="9618"/>
                    <a:pt x="17247" y="9618"/>
                  </a:cubicBezTo>
                  <a:cubicBezTo>
                    <a:pt x="17312" y="9541"/>
                    <a:pt x="17312" y="9541"/>
                    <a:pt x="17312" y="9541"/>
                  </a:cubicBezTo>
                  <a:lnTo>
                    <a:pt x="17761" y="9923"/>
                  </a:lnTo>
                  <a:close/>
                  <a:moveTo>
                    <a:pt x="17922" y="9750"/>
                  </a:moveTo>
                  <a:cubicBezTo>
                    <a:pt x="17852" y="9823"/>
                    <a:pt x="17852" y="9823"/>
                    <a:pt x="17852" y="9823"/>
                  </a:cubicBezTo>
                  <a:cubicBezTo>
                    <a:pt x="17429" y="9413"/>
                    <a:pt x="17429" y="9413"/>
                    <a:pt x="17429" y="9413"/>
                  </a:cubicBezTo>
                  <a:cubicBezTo>
                    <a:pt x="17499" y="9341"/>
                    <a:pt x="17499" y="9341"/>
                    <a:pt x="17499" y="9341"/>
                  </a:cubicBezTo>
                  <a:lnTo>
                    <a:pt x="17922" y="9750"/>
                  </a:lnTo>
                  <a:close/>
                  <a:moveTo>
                    <a:pt x="18093" y="9589"/>
                  </a:moveTo>
                  <a:cubicBezTo>
                    <a:pt x="18019" y="9656"/>
                    <a:pt x="18019" y="9656"/>
                    <a:pt x="18019" y="9656"/>
                  </a:cubicBezTo>
                  <a:cubicBezTo>
                    <a:pt x="17624" y="9220"/>
                    <a:pt x="17624" y="9220"/>
                    <a:pt x="17624" y="9220"/>
                  </a:cubicBezTo>
                  <a:cubicBezTo>
                    <a:pt x="17698" y="9152"/>
                    <a:pt x="17698" y="9152"/>
                    <a:pt x="17698" y="9152"/>
                  </a:cubicBezTo>
                  <a:lnTo>
                    <a:pt x="18093" y="9589"/>
                  </a:lnTo>
                  <a:close/>
                  <a:moveTo>
                    <a:pt x="18321" y="9417"/>
                  </a:moveTo>
                  <a:cubicBezTo>
                    <a:pt x="18272" y="9453"/>
                    <a:pt x="18218" y="9462"/>
                    <a:pt x="18161" y="9442"/>
                  </a:cubicBezTo>
                  <a:cubicBezTo>
                    <a:pt x="18103" y="9423"/>
                    <a:pt x="18046" y="9375"/>
                    <a:pt x="17990" y="9299"/>
                  </a:cubicBezTo>
                  <a:cubicBezTo>
                    <a:pt x="17927" y="9216"/>
                    <a:pt x="17895" y="9142"/>
                    <a:pt x="17891" y="9078"/>
                  </a:cubicBezTo>
                  <a:cubicBezTo>
                    <a:pt x="17888" y="9014"/>
                    <a:pt x="17914" y="8961"/>
                    <a:pt x="17968" y="8921"/>
                  </a:cubicBezTo>
                  <a:cubicBezTo>
                    <a:pt x="18071" y="8843"/>
                    <a:pt x="18183" y="8885"/>
                    <a:pt x="18304" y="9046"/>
                  </a:cubicBezTo>
                  <a:cubicBezTo>
                    <a:pt x="18364" y="9126"/>
                    <a:pt x="18394" y="9198"/>
                    <a:pt x="18397" y="9262"/>
                  </a:cubicBezTo>
                  <a:cubicBezTo>
                    <a:pt x="18399" y="9326"/>
                    <a:pt x="18374" y="9377"/>
                    <a:pt x="18321" y="9417"/>
                  </a:cubicBezTo>
                  <a:close/>
                  <a:moveTo>
                    <a:pt x="18010" y="8985"/>
                  </a:moveTo>
                  <a:cubicBezTo>
                    <a:pt x="17952" y="9027"/>
                    <a:pt x="17971" y="9112"/>
                    <a:pt x="18065" y="9238"/>
                  </a:cubicBezTo>
                  <a:cubicBezTo>
                    <a:pt x="18153" y="9356"/>
                    <a:pt x="18225" y="9394"/>
                    <a:pt x="18282" y="9352"/>
                  </a:cubicBezTo>
                  <a:cubicBezTo>
                    <a:pt x="18337" y="9310"/>
                    <a:pt x="18320" y="9230"/>
                    <a:pt x="18230" y="9110"/>
                  </a:cubicBezTo>
                  <a:cubicBezTo>
                    <a:pt x="18137" y="8986"/>
                    <a:pt x="18064" y="8944"/>
                    <a:pt x="18010" y="8985"/>
                  </a:cubicBezTo>
                  <a:close/>
                  <a:moveTo>
                    <a:pt x="18647" y="9187"/>
                  </a:moveTo>
                  <a:cubicBezTo>
                    <a:pt x="18561" y="9239"/>
                    <a:pt x="18561" y="9239"/>
                    <a:pt x="18561" y="9239"/>
                  </a:cubicBezTo>
                  <a:cubicBezTo>
                    <a:pt x="18254" y="8737"/>
                    <a:pt x="18254" y="8737"/>
                    <a:pt x="18254" y="8737"/>
                  </a:cubicBezTo>
                  <a:cubicBezTo>
                    <a:pt x="18340" y="8684"/>
                    <a:pt x="18340" y="8684"/>
                    <a:pt x="18340" y="8684"/>
                  </a:cubicBezTo>
                  <a:lnTo>
                    <a:pt x="18647" y="9187"/>
                  </a:lnTo>
                  <a:close/>
                  <a:moveTo>
                    <a:pt x="18854" y="9074"/>
                  </a:moveTo>
                  <a:cubicBezTo>
                    <a:pt x="18764" y="9120"/>
                    <a:pt x="18764" y="9120"/>
                    <a:pt x="18764" y="9120"/>
                  </a:cubicBezTo>
                  <a:cubicBezTo>
                    <a:pt x="18491" y="8599"/>
                    <a:pt x="18491" y="8599"/>
                    <a:pt x="18491" y="8599"/>
                  </a:cubicBezTo>
                  <a:cubicBezTo>
                    <a:pt x="18581" y="8552"/>
                    <a:pt x="18581" y="8552"/>
                    <a:pt x="18581" y="8552"/>
                  </a:cubicBezTo>
                  <a:lnTo>
                    <a:pt x="18854" y="9074"/>
                  </a:lnTo>
                  <a:close/>
                  <a:moveTo>
                    <a:pt x="19117" y="8964"/>
                  </a:moveTo>
                  <a:cubicBezTo>
                    <a:pt x="19060" y="8988"/>
                    <a:pt x="19007" y="8982"/>
                    <a:pt x="18956" y="8949"/>
                  </a:cubicBezTo>
                  <a:cubicBezTo>
                    <a:pt x="18905" y="8916"/>
                    <a:pt x="18862" y="8855"/>
                    <a:pt x="18826" y="8767"/>
                  </a:cubicBezTo>
                  <a:cubicBezTo>
                    <a:pt x="18787" y="8671"/>
                    <a:pt x="18774" y="8591"/>
                    <a:pt x="18787" y="8528"/>
                  </a:cubicBezTo>
                  <a:cubicBezTo>
                    <a:pt x="18800" y="8465"/>
                    <a:pt x="18838" y="8421"/>
                    <a:pt x="18901" y="8396"/>
                  </a:cubicBezTo>
                  <a:cubicBezTo>
                    <a:pt x="19020" y="8347"/>
                    <a:pt x="19118" y="8416"/>
                    <a:pt x="19194" y="8602"/>
                  </a:cubicBezTo>
                  <a:cubicBezTo>
                    <a:pt x="19232" y="8694"/>
                    <a:pt x="19244" y="8771"/>
                    <a:pt x="19230" y="8834"/>
                  </a:cubicBezTo>
                  <a:cubicBezTo>
                    <a:pt x="19215" y="8896"/>
                    <a:pt x="19178" y="8940"/>
                    <a:pt x="19117" y="8964"/>
                  </a:cubicBezTo>
                  <a:close/>
                  <a:moveTo>
                    <a:pt x="18925" y="8468"/>
                  </a:moveTo>
                  <a:cubicBezTo>
                    <a:pt x="18859" y="8495"/>
                    <a:pt x="18855" y="8581"/>
                    <a:pt x="18915" y="8727"/>
                  </a:cubicBezTo>
                  <a:cubicBezTo>
                    <a:pt x="18970" y="8863"/>
                    <a:pt x="19031" y="8918"/>
                    <a:pt x="19096" y="8892"/>
                  </a:cubicBezTo>
                  <a:cubicBezTo>
                    <a:pt x="19159" y="8866"/>
                    <a:pt x="19163" y="8783"/>
                    <a:pt x="19107" y="8645"/>
                  </a:cubicBezTo>
                  <a:cubicBezTo>
                    <a:pt x="19048" y="8501"/>
                    <a:pt x="18988" y="8442"/>
                    <a:pt x="18925" y="8468"/>
                  </a:cubicBezTo>
                  <a:close/>
                  <a:moveTo>
                    <a:pt x="19490" y="8825"/>
                  </a:moveTo>
                  <a:cubicBezTo>
                    <a:pt x="19394" y="8854"/>
                    <a:pt x="19394" y="8854"/>
                    <a:pt x="19394" y="8854"/>
                  </a:cubicBezTo>
                  <a:cubicBezTo>
                    <a:pt x="19224" y="8290"/>
                    <a:pt x="19224" y="8290"/>
                    <a:pt x="19224" y="8290"/>
                  </a:cubicBezTo>
                  <a:cubicBezTo>
                    <a:pt x="19321" y="8261"/>
                    <a:pt x="19321" y="8261"/>
                    <a:pt x="19321" y="8261"/>
                  </a:cubicBezTo>
                  <a:lnTo>
                    <a:pt x="19490" y="8825"/>
                  </a:lnTo>
                  <a:close/>
                  <a:moveTo>
                    <a:pt x="19719" y="8768"/>
                  </a:moveTo>
                  <a:cubicBezTo>
                    <a:pt x="19621" y="8790"/>
                    <a:pt x="19621" y="8790"/>
                    <a:pt x="19621" y="8790"/>
                  </a:cubicBezTo>
                  <a:cubicBezTo>
                    <a:pt x="19489" y="8216"/>
                    <a:pt x="19489" y="8216"/>
                    <a:pt x="19489" y="8216"/>
                  </a:cubicBezTo>
                  <a:cubicBezTo>
                    <a:pt x="19587" y="8194"/>
                    <a:pt x="19587" y="8194"/>
                    <a:pt x="19587" y="8194"/>
                  </a:cubicBezTo>
                  <a:lnTo>
                    <a:pt x="19719" y="8768"/>
                  </a:lnTo>
                  <a:close/>
                  <a:moveTo>
                    <a:pt x="20001" y="8729"/>
                  </a:moveTo>
                  <a:cubicBezTo>
                    <a:pt x="19941" y="8737"/>
                    <a:pt x="19890" y="8718"/>
                    <a:pt x="19849" y="8673"/>
                  </a:cubicBezTo>
                  <a:cubicBezTo>
                    <a:pt x="19809" y="8628"/>
                    <a:pt x="19782" y="8558"/>
                    <a:pt x="19770" y="8464"/>
                  </a:cubicBezTo>
                  <a:cubicBezTo>
                    <a:pt x="19756" y="8361"/>
                    <a:pt x="19764" y="8281"/>
                    <a:pt x="19793" y="8223"/>
                  </a:cubicBezTo>
                  <a:cubicBezTo>
                    <a:pt x="19821" y="8166"/>
                    <a:pt x="19869" y="8133"/>
                    <a:pt x="19936" y="8124"/>
                  </a:cubicBezTo>
                  <a:cubicBezTo>
                    <a:pt x="20064" y="8107"/>
                    <a:pt x="20142" y="8198"/>
                    <a:pt x="20168" y="8398"/>
                  </a:cubicBezTo>
                  <a:cubicBezTo>
                    <a:pt x="20181" y="8496"/>
                    <a:pt x="20173" y="8574"/>
                    <a:pt x="20143" y="8631"/>
                  </a:cubicBezTo>
                  <a:cubicBezTo>
                    <a:pt x="20114" y="8688"/>
                    <a:pt x="20067" y="8720"/>
                    <a:pt x="20001" y="8729"/>
                  </a:cubicBezTo>
                  <a:close/>
                  <a:moveTo>
                    <a:pt x="19941" y="8200"/>
                  </a:moveTo>
                  <a:cubicBezTo>
                    <a:pt x="19871" y="8209"/>
                    <a:pt x="19845" y="8292"/>
                    <a:pt x="19866" y="8448"/>
                  </a:cubicBezTo>
                  <a:cubicBezTo>
                    <a:pt x="19885" y="8594"/>
                    <a:pt x="19929" y="8662"/>
                    <a:pt x="19999" y="8653"/>
                  </a:cubicBezTo>
                  <a:cubicBezTo>
                    <a:pt x="20067" y="8644"/>
                    <a:pt x="20092" y="8565"/>
                    <a:pt x="20072" y="8417"/>
                  </a:cubicBezTo>
                  <a:cubicBezTo>
                    <a:pt x="20052" y="8263"/>
                    <a:pt x="20008" y="8191"/>
                    <a:pt x="19941" y="8200"/>
                  </a:cubicBezTo>
                  <a:close/>
                  <a:moveTo>
                    <a:pt x="20449" y="8697"/>
                  </a:moveTo>
                  <a:cubicBezTo>
                    <a:pt x="20387" y="8698"/>
                    <a:pt x="20339" y="8673"/>
                    <a:pt x="20304" y="8624"/>
                  </a:cubicBezTo>
                  <a:cubicBezTo>
                    <a:pt x="20269" y="8574"/>
                    <a:pt x="20252" y="8502"/>
                    <a:pt x="20251" y="8407"/>
                  </a:cubicBezTo>
                  <a:cubicBezTo>
                    <a:pt x="20249" y="8303"/>
                    <a:pt x="20266" y="8224"/>
                    <a:pt x="20302" y="8170"/>
                  </a:cubicBezTo>
                  <a:cubicBezTo>
                    <a:pt x="20337" y="8117"/>
                    <a:pt x="20388" y="8089"/>
                    <a:pt x="20456" y="8089"/>
                  </a:cubicBezTo>
                  <a:cubicBezTo>
                    <a:pt x="20586" y="8087"/>
                    <a:pt x="20651" y="8187"/>
                    <a:pt x="20654" y="8388"/>
                  </a:cubicBezTo>
                  <a:cubicBezTo>
                    <a:pt x="20655" y="8488"/>
                    <a:pt x="20637" y="8564"/>
                    <a:pt x="20601" y="8617"/>
                  </a:cubicBezTo>
                  <a:cubicBezTo>
                    <a:pt x="20565" y="8670"/>
                    <a:pt x="20514" y="8697"/>
                    <a:pt x="20449" y="8697"/>
                  </a:cubicBezTo>
                  <a:close/>
                  <a:moveTo>
                    <a:pt x="20452" y="8165"/>
                  </a:moveTo>
                  <a:cubicBezTo>
                    <a:pt x="20381" y="8165"/>
                    <a:pt x="20346" y="8245"/>
                    <a:pt x="20348" y="8402"/>
                  </a:cubicBezTo>
                  <a:cubicBezTo>
                    <a:pt x="20349" y="8549"/>
                    <a:pt x="20385" y="8622"/>
                    <a:pt x="20455" y="8622"/>
                  </a:cubicBezTo>
                  <a:cubicBezTo>
                    <a:pt x="20524" y="8621"/>
                    <a:pt x="20558" y="8546"/>
                    <a:pt x="20556" y="8396"/>
                  </a:cubicBezTo>
                  <a:cubicBezTo>
                    <a:pt x="20555" y="8241"/>
                    <a:pt x="20520" y="8164"/>
                    <a:pt x="20452" y="8165"/>
                  </a:cubicBezTo>
                  <a:close/>
                  <a:moveTo>
                    <a:pt x="20847" y="8705"/>
                  </a:moveTo>
                  <a:cubicBezTo>
                    <a:pt x="20746" y="8696"/>
                    <a:pt x="20746" y="8696"/>
                    <a:pt x="20746" y="8696"/>
                  </a:cubicBezTo>
                  <a:cubicBezTo>
                    <a:pt x="20797" y="8110"/>
                    <a:pt x="20797" y="8110"/>
                    <a:pt x="20797" y="8110"/>
                  </a:cubicBezTo>
                  <a:cubicBezTo>
                    <a:pt x="20897" y="8119"/>
                    <a:pt x="20897" y="8119"/>
                    <a:pt x="20897" y="8119"/>
                  </a:cubicBezTo>
                  <a:lnTo>
                    <a:pt x="20847" y="8705"/>
                  </a:lnTo>
                  <a:close/>
                  <a:moveTo>
                    <a:pt x="21080" y="8736"/>
                  </a:moveTo>
                  <a:cubicBezTo>
                    <a:pt x="20981" y="8721"/>
                    <a:pt x="20981" y="8721"/>
                    <a:pt x="20981" y="8721"/>
                  </a:cubicBezTo>
                  <a:cubicBezTo>
                    <a:pt x="21070" y="8139"/>
                    <a:pt x="21070" y="8139"/>
                    <a:pt x="21070" y="8139"/>
                  </a:cubicBezTo>
                  <a:cubicBezTo>
                    <a:pt x="21169" y="8154"/>
                    <a:pt x="21169" y="8154"/>
                    <a:pt x="21169" y="8154"/>
                  </a:cubicBezTo>
                  <a:lnTo>
                    <a:pt x="21080" y="8736"/>
                  </a:lnTo>
                  <a:close/>
                  <a:moveTo>
                    <a:pt x="21357" y="8804"/>
                  </a:moveTo>
                  <a:cubicBezTo>
                    <a:pt x="21298" y="8789"/>
                    <a:pt x="21257" y="8753"/>
                    <a:pt x="21236" y="8696"/>
                  </a:cubicBezTo>
                  <a:cubicBezTo>
                    <a:pt x="21215" y="8639"/>
                    <a:pt x="21216" y="8565"/>
                    <a:pt x="21239" y="8473"/>
                  </a:cubicBezTo>
                  <a:cubicBezTo>
                    <a:pt x="21265" y="8372"/>
                    <a:pt x="21301" y="8300"/>
                    <a:pt x="21349" y="8257"/>
                  </a:cubicBezTo>
                  <a:cubicBezTo>
                    <a:pt x="21397" y="8214"/>
                    <a:pt x="21454" y="8201"/>
                    <a:pt x="21519" y="8218"/>
                  </a:cubicBezTo>
                  <a:cubicBezTo>
                    <a:pt x="21645" y="8249"/>
                    <a:pt x="21683" y="8362"/>
                    <a:pt x="21634" y="8558"/>
                  </a:cubicBezTo>
                  <a:cubicBezTo>
                    <a:pt x="21610" y="8654"/>
                    <a:pt x="21573" y="8723"/>
                    <a:pt x="21525" y="8765"/>
                  </a:cubicBezTo>
                  <a:cubicBezTo>
                    <a:pt x="21477" y="8807"/>
                    <a:pt x="21421" y="8820"/>
                    <a:pt x="21357" y="8804"/>
                  </a:cubicBezTo>
                  <a:close/>
                  <a:moveTo>
                    <a:pt x="21496" y="8290"/>
                  </a:moveTo>
                  <a:cubicBezTo>
                    <a:pt x="21427" y="8273"/>
                    <a:pt x="21373" y="8340"/>
                    <a:pt x="21335" y="8493"/>
                  </a:cubicBezTo>
                  <a:cubicBezTo>
                    <a:pt x="21299" y="8636"/>
                    <a:pt x="21315" y="8716"/>
                    <a:pt x="21383" y="8733"/>
                  </a:cubicBezTo>
                  <a:cubicBezTo>
                    <a:pt x="21450" y="8750"/>
                    <a:pt x="21501" y="8685"/>
                    <a:pt x="21538" y="8540"/>
                  </a:cubicBezTo>
                  <a:cubicBezTo>
                    <a:pt x="21576" y="8390"/>
                    <a:pt x="21562" y="8307"/>
                    <a:pt x="21496" y="8290"/>
                  </a:cubicBezTo>
                  <a:close/>
                  <a:moveTo>
                    <a:pt x="21741" y="8912"/>
                  </a:moveTo>
                  <a:cubicBezTo>
                    <a:pt x="21646" y="8879"/>
                    <a:pt x="21646" y="8879"/>
                    <a:pt x="21646" y="8879"/>
                  </a:cubicBezTo>
                  <a:cubicBezTo>
                    <a:pt x="21843" y="8324"/>
                    <a:pt x="21843" y="8324"/>
                    <a:pt x="21843" y="8324"/>
                  </a:cubicBezTo>
                  <a:cubicBezTo>
                    <a:pt x="21938" y="8358"/>
                    <a:pt x="21938" y="8358"/>
                    <a:pt x="21938" y="8358"/>
                  </a:cubicBezTo>
                  <a:lnTo>
                    <a:pt x="21741" y="8912"/>
                  </a:lnTo>
                  <a:close/>
                  <a:moveTo>
                    <a:pt x="22000" y="9032"/>
                  </a:moveTo>
                  <a:cubicBezTo>
                    <a:pt x="21944" y="9006"/>
                    <a:pt x="21911" y="8963"/>
                    <a:pt x="21902" y="8903"/>
                  </a:cubicBezTo>
                  <a:cubicBezTo>
                    <a:pt x="21892" y="8843"/>
                    <a:pt x="21907" y="8770"/>
                    <a:pt x="21947" y="8684"/>
                  </a:cubicBezTo>
                  <a:cubicBezTo>
                    <a:pt x="21991" y="8590"/>
                    <a:pt x="22040" y="8526"/>
                    <a:pt x="22096" y="8493"/>
                  </a:cubicBezTo>
                  <a:cubicBezTo>
                    <a:pt x="22151" y="8460"/>
                    <a:pt x="22209" y="8458"/>
                    <a:pt x="22270" y="8486"/>
                  </a:cubicBezTo>
                  <a:cubicBezTo>
                    <a:pt x="22387" y="8541"/>
                    <a:pt x="22403" y="8660"/>
                    <a:pt x="22318" y="8842"/>
                  </a:cubicBezTo>
                  <a:cubicBezTo>
                    <a:pt x="22276" y="8932"/>
                    <a:pt x="22227" y="8993"/>
                    <a:pt x="22172" y="9025"/>
                  </a:cubicBezTo>
                  <a:cubicBezTo>
                    <a:pt x="22117" y="9057"/>
                    <a:pt x="22059" y="9059"/>
                    <a:pt x="22000" y="9032"/>
                  </a:cubicBezTo>
                  <a:close/>
                  <a:moveTo>
                    <a:pt x="22234" y="8553"/>
                  </a:moveTo>
                  <a:cubicBezTo>
                    <a:pt x="22169" y="8523"/>
                    <a:pt x="22103" y="8579"/>
                    <a:pt x="22037" y="8722"/>
                  </a:cubicBezTo>
                  <a:cubicBezTo>
                    <a:pt x="21974" y="8855"/>
                    <a:pt x="21975" y="8937"/>
                    <a:pt x="22038" y="8966"/>
                  </a:cubicBezTo>
                  <a:cubicBezTo>
                    <a:pt x="22101" y="8996"/>
                    <a:pt x="22164" y="8942"/>
                    <a:pt x="22227" y="8807"/>
                  </a:cubicBezTo>
                  <a:cubicBezTo>
                    <a:pt x="22293" y="8666"/>
                    <a:pt x="22295" y="8582"/>
                    <a:pt x="22234" y="8553"/>
                  </a:cubicBezTo>
                  <a:close/>
                  <a:moveTo>
                    <a:pt x="22393" y="9245"/>
                  </a:moveTo>
                  <a:cubicBezTo>
                    <a:pt x="22341" y="9213"/>
                    <a:pt x="22314" y="9166"/>
                    <a:pt x="22311" y="9105"/>
                  </a:cubicBezTo>
                  <a:cubicBezTo>
                    <a:pt x="22309" y="9044"/>
                    <a:pt x="22333" y="8974"/>
                    <a:pt x="22383" y="8894"/>
                  </a:cubicBezTo>
                  <a:cubicBezTo>
                    <a:pt x="22439" y="8806"/>
                    <a:pt x="22496" y="8749"/>
                    <a:pt x="22555" y="8723"/>
                  </a:cubicBezTo>
                  <a:cubicBezTo>
                    <a:pt x="22613" y="8697"/>
                    <a:pt x="22671" y="8702"/>
                    <a:pt x="22729" y="8738"/>
                  </a:cubicBezTo>
                  <a:cubicBezTo>
                    <a:pt x="22838" y="8807"/>
                    <a:pt x="22839" y="8926"/>
                    <a:pt x="22732" y="9096"/>
                  </a:cubicBezTo>
                  <a:cubicBezTo>
                    <a:pt x="22679" y="9181"/>
                    <a:pt x="22623" y="9235"/>
                    <a:pt x="22564" y="9260"/>
                  </a:cubicBezTo>
                  <a:cubicBezTo>
                    <a:pt x="22506" y="9285"/>
                    <a:pt x="22448" y="9280"/>
                    <a:pt x="22393" y="9245"/>
                  </a:cubicBezTo>
                  <a:close/>
                  <a:moveTo>
                    <a:pt x="22684" y="8800"/>
                  </a:moveTo>
                  <a:cubicBezTo>
                    <a:pt x="22624" y="8761"/>
                    <a:pt x="22552" y="8809"/>
                    <a:pt x="22468" y="8942"/>
                  </a:cubicBezTo>
                  <a:cubicBezTo>
                    <a:pt x="22389" y="9067"/>
                    <a:pt x="22380" y="9148"/>
                    <a:pt x="22439" y="9185"/>
                  </a:cubicBezTo>
                  <a:cubicBezTo>
                    <a:pt x="22498" y="9222"/>
                    <a:pt x="22567" y="9177"/>
                    <a:pt x="22646" y="9050"/>
                  </a:cubicBezTo>
                  <a:cubicBezTo>
                    <a:pt x="22729" y="8919"/>
                    <a:pt x="22742" y="8836"/>
                    <a:pt x="22684" y="8800"/>
                  </a:cubicBezTo>
                  <a:close/>
                  <a:moveTo>
                    <a:pt x="22724" y="9467"/>
                  </a:moveTo>
                  <a:cubicBezTo>
                    <a:pt x="22644" y="9405"/>
                    <a:pt x="22644" y="9405"/>
                    <a:pt x="22644" y="9405"/>
                  </a:cubicBezTo>
                  <a:cubicBezTo>
                    <a:pt x="23003" y="8939"/>
                    <a:pt x="23003" y="8939"/>
                    <a:pt x="23003" y="8939"/>
                  </a:cubicBezTo>
                  <a:cubicBezTo>
                    <a:pt x="23083" y="9000"/>
                    <a:pt x="23083" y="9000"/>
                    <a:pt x="23083" y="9000"/>
                  </a:cubicBezTo>
                  <a:lnTo>
                    <a:pt x="22724" y="9467"/>
                  </a:lnTo>
                  <a:close/>
                  <a:moveTo>
                    <a:pt x="22934" y="9660"/>
                  </a:moveTo>
                  <a:cubicBezTo>
                    <a:pt x="22889" y="9618"/>
                    <a:pt x="22871" y="9567"/>
                    <a:pt x="22880" y="9507"/>
                  </a:cubicBezTo>
                  <a:cubicBezTo>
                    <a:pt x="22889" y="9447"/>
                    <a:pt x="22926" y="9383"/>
                    <a:pt x="22990" y="9313"/>
                  </a:cubicBezTo>
                  <a:cubicBezTo>
                    <a:pt x="23061" y="9237"/>
                    <a:pt x="23128" y="9192"/>
                    <a:pt x="23191" y="9177"/>
                  </a:cubicBezTo>
                  <a:cubicBezTo>
                    <a:pt x="23253" y="9163"/>
                    <a:pt x="23309" y="9179"/>
                    <a:pt x="23359" y="9225"/>
                  </a:cubicBezTo>
                  <a:cubicBezTo>
                    <a:pt x="23454" y="9313"/>
                    <a:pt x="23432" y="9431"/>
                    <a:pt x="23295" y="9578"/>
                  </a:cubicBezTo>
                  <a:cubicBezTo>
                    <a:pt x="23227" y="9651"/>
                    <a:pt x="23162" y="9694"/>
                    <a:pt x="23099" y="9707"/>
                  </a:cubicBezTo>
                  <a:cubicBezTo>
                    <a:pt x="23037" y="9721"/>
                    <a:pt x="22982" y="9705"/>
                    <a:pt x="22934" y="9660"/>
                  </a:cubicBezTo>
                  <a:close/>
                  <a:moveTo>
                    <a:pt x="23304" y="9277"/>
                  </a:moveTo>
                  <a:cubicBezTo>
                    <a:pt x="23252" y="9228"/>
                    <a:pt x="23172" y="9262"/>
                    <a:pt x="23064" y="9377"/>
                  </a:cubicBezTo>
                  <a:cubicBezTo>
                    <a:pt x="22964" y="9484"/>
                    <a:pt x="22939" y="9562"/>
                    <a:pt x="22991" y="9610"/>
                  </a:cubicBezTo>
                  <a:cubicBezTo>
                    <a:pt x="23041" y="9657"/>
                    <a:pt x="23117" y="9626"/>
                    <a:pt x="23219" y="9516"/>
                  </a:cubicBezTo>
                  <a:cubicBezTo>
                    <a:pt x="23325" y="9403"/>
                    <a:pt x="23353" y="9323"/>
                    <a:pt x="23304" y="9277"/>
                  </a:cubicBezTo>
                  <a:close/>
                  <a:moveTo>
                    <a:pt x="23218" y="9940"/>
                  </a:moveTo>
                  <a:cubicBezTo>
                    <a:pt x="23151" y="9865"/>
                    <a:pt x="23151" y="9865"/>
                    <a:pt x="23151" y="9865"/>
                  </a:cubicBezTo>
                  <a:cubicBezTo>
                    <a:pt x="23591" y="9474"/>
                    <a:pt x="23591" y="9474"/>
                    <a:pt x="23591" y="9474"/>
                  </a:cubicBezTo>
                  <a:cubicBezTo>
                    <a:pt x="23658" y="9549"/>
                    <a:pt x="23658" y="9549"/>
                    <a:pt x="23658" y="9549"/>
                  </a:cubicBezTo>
                  <a:lnTo>
                    <a:pt x="23218" y="9940"/>
                  </a:lnTo>
                  <a:close/>
                  <a:moveTo>
                    <a:pt x="23366" y="10123"/>
                  </a:moveTo>
                  <a:cubicBezTo>
                    <a:pt x="23304" y="10044"/>
                    <a:pt x="23304" y="10044"/>
                    <a:pt x="23304" y="10044"/>
                  </a:cubicBezTo>
                  <a:cubicBezTo>
                    <a:pt x="23769" y="9683"/>
                    <a:pt x="23769" y="9683"/>
                    <a:pt x="23769" y="9683"/>
                  </a:cubicBezTo>
                  <a:cubicBezTo>
                    <a:pt x="23831" y="9762"/>
                    <a:pt x="23831" y="9762"/>
                    <a:pt x="23831" y="9762"/>
                  </a:cubicBezTo>
                  <a:lnTo>
                    <a:pt x="23366" y="10123"/>
                  </a:lnTo>
                  <a:close/>
                  <a:moveTo>
                    <a:pt x="23502" y="10316"/>
                  </a:moveTo>
                  <a:cubicBezTo>
                    <a:pt x="23445" y="10233"/>
                    <a:pt x="23445" y="10233"/>
                    <a:pt x="23445" y="10233"/>
                  </a:cubicBezTo>
                  <a:cubicBezTo>
                    <a:pt x="23933" y="9902"/>
                    <a:pt x="23933" y="9902"/>
                    <a:pt x="23933" y="9902"/>
                  </a:cubicBezTo>
                  <a:cubicBezTo>
                    <a:pt x="23989" y="9986"/>
                    <a:pt x="23989" y="9986"/>
                    <a:pt x="23989" y="9986"/>
                  </a:cubicBezTo>
                  <a:lnTo>
                    <a:pt x="23502" y="10316"/>
                  </a:lnTo>
                  <a:close/>
                  <a:moveTo>
                    <a:pt x="23676" y="10603"/>
                  </a:moveTo>
                  <a:cubicBezTo>
                    <a:pt x="23638" y="10554"/>
                    <a:pt x="23629" y="10501"/>
                    <a:pt x="23647" y="10443"/>
                  </a:cubicBezTo>
                  <a:cubicBezTo>
                    <a:pt x="23666" y="10385"/>
                    <a:pt x="23712" y="10327"/>
                    <a:pt x="23787" y="10269"/>
                  </a:cubicBezTo>
                  <a:cubicBezTo>
                    <a:pt x="23869" y="10206"/>
                    <a:pt x="23942" y="10172"/>
                    <a:pt x="24007" y="10167"/>
                  </a:cubicBezTo>
                  <a:cubicBezTo>
                    <a:pt x="24071" y="10163"/>
                    <a:pt x="24124" y="10187"/>
                    <a:pt x="24165" y="10241"/>
                  </a:cubicBezTo>
                  <a:cubicBezTo>
                    <a:pt x="24244" y="10343"/>
                    <a:pt x="24205" y="10456"/>
                    <a:pt x="24046" y="10579"/>
                  </a:cubicBezTo>
                  <a:cubicBezTo>
                    <a:pt x="23967" y="10640"/>
                    <a:pt x="23896" y="10672"/>
                    <a:pt x="23832" y="10676"/>
                  </a:cubicBezTo>
                  <a:cubicBezTo>
                    <a:pt x="23768" y="10679"/>
                    <a:pt x="23716" y="10655"/>
                    <a:pt x="23676" y="10603"/>
                  </a:cubicBezTo>
                  <a:close/>
                  <a:moveTo>
                    <a:pt x="24102" y="10284"/>
                  </a:moveTo>
                  <a:cubicBezTo>
                    <a:pt x="24058" y="10227"/>
                    <a:pt x="23974" y="10247"/>
                    <a:pt x="23850" y="10344"/>
                  </a:cubicBezTo>
                  <a:cubicBezTo>
                    <a:pt x="23734" y="10434"/>
                    <a:pt x="23697" y="10507"/>
                    <a:pt x="23740" y="10562"/>
                  </a:cubicBezTo>
                  <a:cubicBezTo>
                    <a:pt x="23782" y="10617"/>
                    <a:pt x="23862" y="10598"/>
                    <a:pt x="23981" y="10506"/>
                  </a:cubicBezTo>
                  <a:cubicBezTo>
                    <a:pt x="24103" y="10411"/>
                    <a:pt x="24144" y="10337"/>
                    <a:pt x="24102" y="10284"/>
                  </a:cubicBezTo>
                  <a:close/>
                  <a:moveTo>
                    <a:pt x="24182" y="11005"/>
                  </a:moveTo>
                  <a:cubicBezTo>
                    <a:pt x="24126" y="10980"/>
                    <a:pt x="24093" y="10938"/>
                    <a:pt x="24082" y="10878"/>
                  </a:cubicBezTo>
                  <a:cubicBezTo>
                    <a:pt x="24071" y="10818"/>
                    <a:pt x="24085" y="10745"/>
                    <a:pt x="24124" y="10659"/>
                  </a:cubicBezTo>
                  <a:cubicBezTo>
                    <a:pt x="24167" y="10564"/>
                    <a:pt x="24216" y="10500"/>
                    <a:pt x="24271" y="10466"/>
                  </a:cubicBezTo>
                  <a:cubicBezTo>
                    <a:pt x="24325" y="10432"/>
                    <a:pt x="24384" y="10429"/>
                    <a:pt x="24445" y="10457"/>
                  </a:cubicBezTo>
                  <a:cubicBezTo>
                    <a:pt x="24563" y="10510"/>
                    <a:pt x="24581" y="10628"/>
                    <a:pt x="24498" y="10812"/>
                  </a:cubicBezTo>
                  <a:cubicBezTo>
                    <a:pt x="24457" y="10902"/>
                    <a:pt x="24409" y="10964"/>
                    <a:pt x="24354" y="10997"/>
                  </a:cubicBezTo>
                  <a:cubicBezTo>
                    <a:pt x="24299" y="11030"/>
                    <a:pt x="24242" y="11032"/>
                    <a:pt x="24182" y="11005"/>
                  </a:cubicBezTo>
                  <a:close/>
                  <a:moveTo>
                    <a:pt x="24410" y="10524"/>
                  </a:moveTo>
                  <a:cubicBezTo>
                    <a:pt x="24345" y="10495"/>
                    <a:pt x="24280" y="10552"/>
                    <a:pt x="24215" y="10695"/>
                  </a:cubicBezTo>
                  <a:cubicBezTo>
                    <a:pt x="24154" y="10829"/>
                    <a:pt x="24156" y="10911"/>
                    <a:pt x="24220" y="10940"/>
                  </a:cubicBezTo>
                  <a:cubicBezTo>
                    <a:pt x="24282" y="10968"/>
                    <a:pt x="24345" y="10914"/>
                    <a:pt x="24406" y="10778"/>
                  </a:cubicBezTo>
                  <a:cubicBezTo>
                    <a:pt x="24470" y="10636"/>
                    <a:pt x="24471" y="10552"/>
                    <a:pt x="24410" y="10524"/>
                  </a:cubicBezTo>
                  <a:close/>
                  <a:moveTo>
                    <a:pt x="24790" y="11128"/>
                  </a:moveTo>
                  <a:cubicBezTo>
                    <a:pt x="24729" y="11127"/>
                    <a:pt x="24681" y="11102"/>
                    <a:pt x="24647" y="11052"/>
                  </a:cubicBezTo>
                  <a:cubicBezTo>
                    <a:pt x="24613" y="11001"/>
                    <a:pt x="24597" y="10929"/>
                    <a:pt x="24597" y="10834"/>
                  </a:cubicBezTo>
                  <a:cubicBezTo>
                    <a:pt x="24598" y="10730"/>
                    <a:pt x="24616" y="10651"/>
                    <a:pt x="24653" y="10598"/>
                  </a:cubicBezTo>
                  <a:cubicBezTo>
                    <a:pt x="24689" y="10545"/>
                    <a:pt x="24741" y="10519"/>
                    <a:pt x="24808" y="10519"/>
                  </a:cubicBezTo>
                  <a:cubicBezTo>
                    <a:pt x="24938" y="10520"/>
                    <a:pt x="25002" y="10621"/>
                    <a:pt x="25001" y="10822"/>
                  </a:cubicBezTo>
                  <a:cubicBezTo>
                    <a:pt x="25000" y="10922"/>
                    <a:pt x="24981" y="10998"/>
                    <a:pt x="24944" y="11050"/>
                  </a:cubicBezTo>
                  <a:cubicBezTo>
                    <a:pt x="24907" y="11102"/>
                    <a:pt x="24856" y="11128"/>
                    <a:pt x="24790" y="11128"/>
                  </a:cubicBezTo>
                  <a:close/>
                  <a:moveTo>
                    <a:pt x="24803" y="10595"/>
                  </a:moveTo>
                  <a:cubicBezTo>
                    <a:pt x="24732" y="10595"/>
                    <a:pt x="24696" y="10673"/>
                    <a:pt x="24695" y="10831"/>
                  </a:cubicBezTo>
                  <a:cubicBezTo>
                    <a:pt x="24694" y="10978"/>
                    <a:pt x="24728" y="11052"/>
                    <a:pt x="24798" y="11052"/>
                  </a:cubicBezTo>
                  <a:cubicBezTo>
                    <a:pt x="24867" y="11053"/>
                    <a:pt x="24902" y="10978"/>
                    <a:pt x="24903" y="10828"/>
                  </a:cubicBezTo>
                  <a:cubicBezTo>
                    <a:pt x="24904" y="10673"/>
                    <a:pt x="24871" y="10596"/>
                    <a:pt x="24803" y="10595"/>
                  </a:cubicBezTo>
                  <a:close/>
                  <a:moveTo>
                    <a:pt x="25206" y="11118"/>
                  </a:moveTo>
                  <a:cubicBezTo>
                    <a:pt x="25105" y="11118"/>
                    <a:pt x="25105" y="11118"/>
                    <a:pt x="25105" y="11118"/>
                  </a:cubicBezTo>
                  <a:cubicBezTo>
                    <a:pt x="25105" y="10529"/>
                    <a:pt x="25105" y="10529"/>
                    <a:pt x="25105" y="10529"/>
                  </a:cubicBezTo>
                  <a:cubicBezTo>
                    <a:pt x="25206" y="10529"/>
                    <a:pt x="25206" y="10529"/>
                    <a:pt x="25206" y="10529"/>
                  </a:cubicBezTo>
                  <a:lnTo>
                    <a:pt x="25206" y="11118"/>
                  </a:lnTo>
                  <a:close/>
                  <a:moveTo>
                    <a:pt x="25505" y="11128"/>
                  </a:moveTo>
                  <a:cubicBezTo>
                    <a:pt x="25444" y="11128"/>
                    <a:pt x="25396" y="11103"/>
                    <a:pt x="25362" y="11053"/>
                  </a:cubicBezTo>
                  <a:cubicBezTo>
                    <a:pt x="25327" y="11002"/>
                    <a:pt x="25310" y="10930"/>
                    <a:pt x="25310" y="10835"/>
                  </a:cubicBezTo>
                  <a:cubicBezTo>
                    <a:pt x="25310" y="10731"/>
                    <a:pt x="25328" y="10653"/>
                    <a:pt x="25364" y="10599"/>
                  </a:cubicBezTo>
                  <a:cubicBezTo>
                    <a:pt x="25400" y="10546"/>
                    <a:pt x="25451" y="10519"/>
                    <a:pt x="25519" y="10519"/>
                  </a:cubicBezTo>
                  <a:cubicBezTo>
                    <a:pt x="25649" y="10519"/>
                    <a:pt x="25713" y="10620"/>
                    <a:pt x="25713" y="10821"/>
                  </a:cubicBezTo>
                  <a:cubicBezTo>
                    <a:pt x="25713" y="10921"/>
                    <a:pt x="25695" y="10997"/>
                    <a:pt x="25658" y="11049"/>
                  </a:cubicBezTo>
                  <a:cubicBezTo>
                    <a:pt x="25622" y="11101"/>
                    <a:pt x="25571" y="11128"/>
                    <a:pt x="25505" y="11128"/>
                  </a:cubicBezTo>
                  <a:close/>
                  <a:moveTo>
                    <a:pt x="25515" y="10595"/>
                  </a:moveTo>
                  <a:cubicBezTo>
                    <a:pt x="25443" y="10595"/>
                    <a:pt x="25407" y="10674"/>
                    <a:pt x="25407" y="10831"/>
                  </a:cubicBezTo>
                  <a:cubicBezTo>
                    <a:pt x="25407" y="10979"/>
                    <a:pt x="25442" y="11052"/>
                    <a:pt x="25512" y="11052"/>
                  </a:cubicBezTo>
                  <a:cubicBezTo>
                    <a:pt x="25581" y="11052"/>
                    <a:pt x="25616" y="10977"/>
                    <a:pt x="25616" y="10828"/>
                  </a:cubicBezTo>
                  <a:cubicBezTo>
                    <a:pt x="25616" y="10673"/>
                    <a:pt x="25582" y="10595"/>
                    <a:pt x="25515" y="10595"/>
                  </a:cubicBezTo>
                  <a:close/>
                  <a:moveTo>
                    <a:pt x="25918" y="11118"/>
                  </a:moveTo>
                  <a:cubicBezTo>
                    <a:pt x="25817" y="11118"/>
                    <a:pt x="25817" y="11118"/>
                    <a:pt x="25817" y="11118"/>
                  </a:cubicBezTo>
                  <a:cubicBezTo>
                    <a:pt x="25817" y="10529"/>
                    <a:pt x="25817" y="10529"/>
                    <a:pt x="25817" y="10529"/>
                  </a:cubicBezTo>
                  <a:cubicBezTo>
                    <a:pt x="25918" y="10529"/>
                    <a:pt x="25918" y="10529"/>
                    <a:pt x="25918" y="10529"/>
                  </a:cubicBezTo>
                  <a:lnTo>
                    <a:pt x="25918" y="11118"/>
                  </a:lnTo>
                  <a:close/>
                  <a:moveTo>
                    <a:pt x="26217" y="11128"/>
                  </a:moveTo>
                  <a:cubicBezTo>
                    <a:pt x="26156" y="11128"/>
                    <a:pt x="26108" y="11103"/>
                    <a:pt x="26074" y="11053"/>
                  </a:cubicBezTo>
                  <a:cubicBezTo>
                    <a:pt x="26039" y="11002"/>
                    <a:pt x="26022" y="10930"/>
                    <a:pt x="26022" y="10835"/>
                  </a:cubicBezTo>
                  <a:cubicBezTo>
                    <a:pt x="26022" y="10731"/>
                    <a:pt x="26040" y="10653"/>
                    <a:pt x="26076" y="10599"/>
                  </a:cubicBezTo>
                  <a:cubicBezTo>
                    <a:pt x="26112" y="10546"/>
                    <a:pt x="26164" y="10519"/>
                    <a:pt x="26231" y="10519"/>
                  </a:cubicBezTo>
                  <a:cubicBezTo>
                    <a:pt x="26361" y="10519"/>
                    <a:pt x="26425" y="10620"/>
                    <a:pt x="26425" y="10821"/>
                  </a:cubicBezTo>
                  <a:cubicBezTo>
                    <a:pt x="26425" y="10921"/>
                    <a:pt x="26407" y="10997"/>
                    <a:pt x="26371" y="11049"/>
                  </a:cubicBezTo>
                  <a:cubicBezTo>
                    <a:pt x="26334" y="11101"/>
                    <a:pt x="26283" y="11128"/>
                    <a:pt x="26217" y="11128"/>
                  </a:cubicBezTo>
                  <a:close/>
                  <a:moveTo>
                    <a:pt x="26227" y="10595"/>
                  </a:moveTo>
                  <a:cubicBezTo>
                    <a:pt x="26155" y="10595"/>
                    <a:pt x="26119" y="10674"/>
                    <a:pt x="26119" y="10831"/>
                  </a:cubicBezTo>
                  <a:cubicBezTo>
                    <a:pt x="26119" y="10979"/>
                    <a:pt x="26155" y="11052"/>
                    <a:pt x="26225" y="11052"/>
                  </a:cubicBezTo>
                  <a:cubicBezTo>
                    <a:pt x="26294" y="11052"/>
                    <a:pt x="26328" y="10977"/>
                    <a:pt x="26328" y="10828"/>
                  </a:cubicBezTo>
                  <a:cubicBezTo>
                    <a:pt x="26328" y="10673"/>
                    <a:pt x="26294" y="10595"/>
                    <a:pt x="26227" y="10595"/>
                  </a:cubicBezTo>
                  <a:close/>
                  <a:moveTo>
                    <a:pt x="26630" y="11118"/>
                  </a:moveTo>
                  <a:cubicBezTo>
                    <a:pt x="26530" y="11118"/>
                    <a:pt x="26530" y="11118"/>
                    <a:pt x="26530" y="11118"/>
                  </a:cubicBezTo>
                  <a:cubicBezTo>
                    <a:pt x="26530" y="10529"/>
                    <a:pt x="26530" y="10529"/>
                    <a:pt x="26530" y="10529"/>
                  </a:cubicBezTo>
                  <a:cubicBezTo>
                    <a:pt x="26630" y="10529"/>
                    <a:pt x="26630" y="10529"/>
                    <a:pt x="26630" y="10529"/>
                  </a:cubicBezTo>
                  <a:lnTo>
                    <a:pt x="26630" y="11118"/>
                  </a:lnTo>
                  <a:close/>
                  <a:moveTo>
                    <a:pt x="26929" y="11128"/>
                  </a:moveTo>
                  <a:cubicBezTo>
                    <a:pt x="26868" y="11128"/>
                    <a:pt x="26820" y="11103"/>
                    <a:pt x="26786" y="11053"/>
                  </a:cubicBezTo>
                  <a:cubicBezTo>
                    <a:pt x="26751" y="11002"/>
                    <a:pt x="26734" y="10930"/>
                    <a:pt x="26734" y="10835"/>
                  </a:cubicBezTo>
                  <a:cubicBezTo>
                    <a:pt x="26734" y="10731"/>
                    <a:pt x="26752" y="10653"/>
                    <a:pt x="26788" y="10599"/>
                  </a:cubicBezTo>
                  <a:cubicBezTo>
                    <a:pt x="26824" y="10546"/>
                    <a:pt x="26876" y="10519"/>
                    <a:pt x="26943" y="10519"/>
                  </a:cubicBezTo>
                  <a:cubicBezTo>
                    <a:pt x="27073" y="10519"/>
                    <a:pt x="27137" y="10620"/>
                    <a:pt x="27137" y="10821"/>
                  </a:cubicBezTo>
                  <a:cubicBezTo>
                    <a:pt x="27137" y="10921"/>
                    <a:pt x="27119" y="10997"/>
                    <a:pt x="27083" y="11049"/>
                  </a:cubicBezTo>
                  <a:cubicBezTo>
                    <a:pt x="27046" y="11101"/>
                    <a:pt x="26995" y="11128"/>
                    <a:pt x="26929" y="11128"/>
                  </a:cubicBezTo>
                  <a:close/>
                  <a:moveTo>
                    <a:pt x="26939" y="10595"/>
                  </a:moveTo>
                  <a:cubicBezTo>
                    <a:pt x="26867" y="10595"/>
                    <a:pt x="26831" y="10674"/>
                    <a:pt x="26831" y="10831"/>
                  </a:cubicBezTo>
                  <a:cubicBezTo>
                    <a:pt x="26831" y="10979"/>
                    <a:pt x="26866" y="11052"/>
                    <a:pt x="26937" y="11052"/>
                  </a:cubicBezTo>
                  <a:cubicBezTo>
                    <a:pt x="27006" y="11052"/>
                    <a:pt x="27040" y="10977"/>
                    <a:pt x="27040" y="10828"/>
                  </a:cubicBezTo>
                  <a:cubicBezTo>
                    <a:pt x="27040" y="10673"/>
                    <a:pt x="27006" y="10595"/>
                    <a:pt x="26939" y="10595"/>
                  </a:cubicBezTo>
                  <a:close/>
                  <a:moveTo>
                    <a:pt x="27406" y="11087"/>
                  </a:moveTo>
                  <a:cubicBezTo>
                    <a:pt x="27307" y="11105"/>
                    <a:pt x="27307" y="11105"/>
                    <a:pt x="27307" y="11105"/>
                  </a:cubicBezTo>
                  <a:cubicBezTo>
                    <a:pt x="27202" y="10526"/>
                    <a:pt x="27202" y="10526"/>
                    <a:pt x="27202" y="10526"/>
                  </a:cubicBezTo>
                  <a:cubicBezTo>
                    <a:pt x="27301" y="10508"/>
                    <a:pt x="27301" y="10508"/>
                    <a:pt x="27301" y="10508"/>
                  </a:cubicBezTo>
                  <a:lnTo>
                    <a:pt x="27406" y="11087"/>
                  </a:lnTo>
                  <a:close/>
                  <a:moveTo>
                    <a:pt x="27815" y="10934"/>
                  </a:moveTo>
                  <a:cubicBezTo>
                    <a:pt x="27763" y="10966"/>
                    <a:pt x="27709" y="10969"/>
                    <a:pt x="27653" y="10944"/>
                  </a:cubicBezTo>
                  <a:cubicBezTo>
                    <a:pt x="27598" y="10919"/>
                    <a:pt x="27546" y="10867"/>
                    <a:pt x="27496" y="10786"/>
                  </a:cubicBezTo>
                  <a:cubicBezTo>
                    <a:pt x="27442" y="10697"/>
                    <a:pt x="27416" y="10621"/>
                    <a:pt x="27419" y="10556"/>
                  </a:cubicBezTo>
                  <a:cubicBezTo>
                    <a:pt x="27422" y="10492"/>
                    <a:pt x="27452" y="10442"/>
                    <a:pt x="27510" y="10407"/>
                  </a:cubicBezTo>
                  <a:cubicBezTo>
                    <a:pt x="27620" y="10340"/>
                    <a:pt x="27728" y="10392"/>
                    <a:pt x="27833" y="10563"/>
                  </a:cubicBezTo>
                  <a:cubicBezTo>
                    <a:pt x="27885" y="10649"/>
                    <a:pt x="27909" y="10723"/>
                    <a:pt x="27905" y="10787"/>
                  </a:cubicBezTo>
                  <a:cubicBezTo>
                    <a:pt x="27901" y="10850"/>
                    <a:pt x="27871" y="10899"/>
                    <a:pt x="27815" y="10934"/>
                  </a:cubicBezTo>
                  <a:close/>
                  <a:moveTo>
                    <a:pt x="27546" y="10474"/>
                  </a:moveTo>
                  <a:cubicBezTo>
                    <a:pt x="27485" y="10511"/>
                    <a:pt x="27495" y="10597"/>
                    <a:pt x="27577" y="10732"/>
                  </a:cubicBezTo>
                  <a:cubicBezTo>
                    <a:pt x="27654" y="10857"/>
                    <a:pt x="27722" y="10902"/>
                    <a:pt x="27782" y="10865"/>
                  </a:cubicBezTo>
                  <a:cubicBezTo>
                    <a:pt x="27841" y="10829"/>
                    <a:pt x="27831" y="10748"/>
                    <a:pt x="27753" y="10620"/>
                  </a:cubicBezTo>
                  <a:cubicBezTo>
                    <a:pt x="27673" y="10488"/>
                    <a:pt x="27603" y="10439"/>
                    <a:pt x="27546" y="10474"/>
                  </a:cubicBezTo>
                  <a:close/>
                  <a:moveTo>
                    <a:pt x="28211" y="10553"/>
                  </a:moveTo>
                  <a:cubicBezTo>
                    <a:pt x="28150" y="10633"/>
                    <a:pt x="28150" y="10633"/>
                    <a:pt x="28150" y="10633"/>
                  </a:cubicBezTo>
                  <a:cubicBezTo>
                    <a:pt x="27682" y="10276"/>
                    <a:pt x="27682" y="10276"/>
                    <a:pt x="27682" y="10276"/>
                  </a:cubicBezTo>
                  <a:cubicBezTo>
                    <a:pt x="27743" y="10196"/>
                    <a:pt x="27743" y="10196"/>
                    <a:pt x="27743" y="10196"/>
                  </a:cubicBezTo>
                  <a:lnTo>
                    <a:pt x="28211" y="10553"/>
                  </a:lnTo>
                  <a:close/>
                  <a:moveTo>
                    <a:pt x="28397" y="10279"/>
                  </a:moveTo>
                  <a:cubicBezTo>
                    <a:pt x="28362" y="10330"/>
                    <a:pt x="28314" y="10355"/>
                    <a:pt x="28254" y="10355"/>
                  </a:cubicBezTo>
                  <a:cubicBezTo>
                    <a:pt x="28193" y="10355"/>
                    <a:pt x="28123" y="10329"/>
                    <a:pt x="28045" y="10275"/>
                  </a:cubicBezTo>
                  <a:cubicBezTo>
                    <a:pt x="27959" y="10217"/>
                    <a:pt x="27904" y="10158"/>
                    <a:pt x="27880" y="10098"/>
                  </a:cubicBezTo>
                  <a:cubicBezTo>
                    <a:pt x="27856" y="10038"/>
                    <a:pt x="27864" y="9981"/>
                    <a:pt x="27902" y="9925"/>
                  </a:cubicBezTo>
                  <a:cubicBezTo>
                    <a:pt x="27975" y="9818"/>
                    <a:pt x="28094" y="9821"/>
                    <a:pt x="28260" y="9934"/>
                  </a:cubicBezTo>
                  <a:cubicBezTo>
                    <a:pt x="28343" y="9990"/>
                    <a:pt x="28395" y="10048"/>
                    <a:pt x="28418" y="10108"/>
                  </a:cubicBezTo>
                  <a:cubicBezTo>
                    <a:pt x="28441" y="10168"/>
                    <a:pt x="28434" y="10225"/>
                    <a:pt x="28397" y="10279"/>
                  </a:cubicBezTo>
                  <a:close/>
                  <a:moveTo>
                    <a:pt x="27962" y="9971"/>
                  </a:moveTo>
                  <a:cubicBezTo>
                    <a:pt x="27922" y="10030"/>
                    <a:pt x="27966" y="10104"/>
                    <a:pt x="28097" y="10193"/>
                  </a:cubicBezTo>
                  <a:cubicBezTo>
                    <a:pt x="28218" y="10276"/>
                    <a:pt x="28299" y="10288"/>
                    <a:pt x="28338" y="10230"/>
                  </a:cubicBezTo>
                  <a:cubicBezTo>
                    <a:pt x="28377" y="10173"/>
                    <a:pt x="28335" y="10103"/>
                    <a:pt x="28211" y="10018"/>
                  </a:cubicBezTo>
                  <a:cubicBezTo>
                    <a:pt x="28083" y="9931"/>
                    <a:pt x="28000" y="9915"/>
                    <a:pt x="27962" y="9971"/>
                  </a:cubicBezTo>
                  <a:close/>
                  <a:moveTo>
                    <a:pt x="28630" y="9956"/>
                  </a:moveTo>
                  <a:cubicBezTo>
                    <a:pt x="28566" y="10033"/>
                    <a:pt x="28566" y="10033"/>
                    <a:pt x="28566" y="10033"/>
                  </a:cubicBezTo>
                  <a:cubicBezTo>
                    <a:pt x="28113" y="9657"/>
                    <a:pt x="28113" y="9657"/>
                    <a:pt x="28113" y="9657"/>
                  </a:cubicBezTo>
                  <a:cubicBezTo>
                    <a:pt x="28177" y="9580"/>
                    <a:pt x="28177" y="9580"/>
                    <a:pt x="28177" y="9580"/>
                  </a:cubicBezTo>
                  <a:lnTo>
                    <a:pt x="28630" y="9956"/>
                  </a:lnTo>
                  <a:close/>
                  <a:moveTo>
                    <a:pt x="28831" y="9753"/>
                  </a:moveTo>
                  <a:cubicBezTo>
                    <a:pt x="28788" y="9796"/>
                    <a:pt x="28736" y="9812"/>
                    <a:pt x="28677" y="9801"/>
                  </a:cubicBezTo>
                  <a:cubicBezTo>
                    <a:pt x="28617" y="9790"/>
                    <a:pt x="28554" y="9751"/>
                    <a:pt x="28487" y="9684"/>
                  </a:cubicBezTo>
                  <a:cubicBezTo>
                    <a:pt x="28413" y="9610"/>
                    <a:pt x="28370" y="9542"/>
                    <a:pt x="28358" y="9479"/>
                  </a:cubicBezTo>
                  <a:cubicBezTo>
                    <a:pt x="28346" y="9415"/>
                    <a:pt x="28364" y="9360"/>
                    <a:pt x="28412" y="9312"/>
                  </a:cubicBezTo>
                  <a:cubicBezTo>
                    <a:pt x="28503" y="9221"/>
                    <a:pt x="28620" y="9246"/>
                    <a:pt x="28762" y="9389"/>
                  </a:cubicBezTo>
                  <a:cubicBezTo>
                    <a:pt x="28833" y="9459"/>
                    <a:pt x="28873" y="9526"/>
                    <a:pt x="28884" y="9589"/>
                  </a:cubicBezTo>
                  <a:cubicBezTo>
                    <a:pt x="28896" y="9652"/>
                    <a:pt x="28878" y="9707"/>
                    <a:pt x="28831" y="9753"/>
                  </a:cubicBezTo>
                  <a:close/>
                  <a:moveTo>
                    <a:pt x="28462" y="9369"/>
                  </a:moveTo>
                  <a:cubicBezTo>
                    <a:pt x="28411" y="9420"/>
                    <a:pt x="28442" y="9501"/>
                    <a:pt x="28553" y="9612"/>
                  </a:cubicBezTo>
                  <a:cubicBezTo>
                    <a:pt x="28657" y="9716"/>
                    <a:pt x="28734" y="9744"/>
                    <a:pt x="28783" y="9694"/>
                  </a:cubicBezTo>
                  <a:cubicBezTo>
                    <a:pt x="28832" y="9646"/>
                    <a:pt x="28804" y="9568"/>
                    <a:pt x="28698" y="9462"/>
                  </a:cubicBezTo>
                  <a:cubicBezTo>
                    <a:pt x="28588" y="9353"/>
                    <a:pt x="28510" y="9322"/>
                    <a:pt x="28462" y="9369"/>
                  </a:cubicBezTo>
                  <a:close/>
                  <a:moveTo>
                    <a:pt x="29121" y="9480"/>
                  </a:moveTo>
                  <a:cubicBezTo>
                    <a:pt x="29043" y="9544"/>
                    <a:pt x="29043" y="9544"/>
                    <a:pt x="29043" y="9544"/>
                  </a:cubicBezTo>
                  <a:cubicBezTo>
                    <a:pt x="28669" y="9090"/>
                    <a:pt x="28669" y="9090"/>
                    <a:pt x="28669" y="9090"/>
                  </a:cubicBezTo>
                  <a:cubicBezTo>
                    <a:pt x="28746" y="9026"/>
                    <a:pt x="28746" y="9026"/>
                    <a:pt x="28746" y="9026"/>
                  </a:cubicBezTo>
                  <a:lnTo>
                    <a:pt x="29121" y="9480"/>
                  </a:lnTo>
                  <a:close/>
                  <a:moveTo>
                    <a:pt x="29357" y="9318"/>
                  </a:moveTo>
                  <a:cubicBezTo>
                    <a:pt x="29306" y="9353"/>
                    <a:pt x="29252" y="9359"/>
                    <a:pt x="29196" y="9337"/>
                  </a:cubicBezTo>
                  <a:cubicBezTo>
                    <a:pt x="29139" y="9314"/>
                    <a:pt x="29084" y="9264"/>
                    <a:pt x="29031" y="9186"/>
                  </a:cubicBezTo>
                  <a:cubicBezTo>
                    <a:pt x="28973" y="9100"/>
                    <a:pt x="28943" y="9024"/>
                    <a:pt x="28943" y="8960"/>
                  </a:cubicBezTo>
                  <a:cubicBezTo>
                    <a:pt x="28943" y="8896"/>
                    <a:pt x="28971" y="8845"/>
                    <a:pt x="29027" y="8807"/>
                  </a:cubicBezTo>
                  <a:cubicBezTo>
                    <a:pt x="29134" y="8734"/>
                    <a:pt x="29244" y="8781"/>
                    <a:pt x="29357" y="8948"/>
                  </a:cubicBezTo>
                  <a:cubicBezTo>
                    <a:pt x="29413" y="9030"/>
                    <a:pt x="29440" y="9103"/>
                    <a:pt x="29439" y="9167"/>
                  </a:cubicBezTo>
                  <a:cubicBezTo>
                    <a:pt x="29439" y="9231"/>
                    <a:pt x="29411" y="9282"/>
                    <a:pt x="29357" y="9318"/>
                  </a:cubicBezTo>
                  <a:close/>
                  <a:moveTo>
                    <a:pt x="29066" y="8872"/>
                  </a:moveTo>
                  <a:cubicBezTo>
                    <a:pt x="29007" y="8912"/>
                    <a:pt x="29021" y="8997"/>
                    <a:pt x="29109" y="9128"/>
                  </a:cubicBezTo>
                  <a:cubicBezTo>
                    <a:pt x="29192" y="9250"/>
                    <a:pt x="29262" y="9291"/>
                    <a:pt x="29320" y="9252"/>
                  </a:cubicBezTo>
                  <a:cubicBezTo>
                    <a:pt x="29377" y="9213"/>
                    <a:pt x="29364" y="9132"/>
                    <a:pt x="29280" y="9008"/>
                  </a:cubicBezTo>
                  <a:cubicBezTo>
                    <a:pt x="29193" y="8879"/>
                    <a:pt x="29122" y="8834"/>
                    <a:pt x="29066" y="8872"/>
                  </a:cubicBezTo>
                  <a:close/>
                  <a:moveTo>
                    <a:pt x="29692" y="9104"/>
                  </a:moveTo>
                  <a:cubicBezTo>
                    <a:pt x="29604" y="9153"/>
                    <a:pt x="29604" y="9153"/>
                    <a:pt x="29604" y="9153"/>
                  </a:cubicBezTo>
                  <a:cubicBezTo>
                    <a:pt x="29322" y="8636"/>
                    <a:pt x="29322" y="8636"/>
                    <a:pt x="29322" y="8636"/>
                  </a:cubicBezTo>
                  <a:cubicBezTo>
                    <a:pt x="29410" y="8588"/>
                    <a:pt x="29410" y="8588"/>
                    <a:pt x="29410" y="8588"/>
                  </a:cubicBezTo>
                  <a:lnTo>
                    <a:pt x="29692" y="9104"/>
                  </a:lnTo>
                  <a:close/>
                  <a:moveTo>
                    <a:pt x="29904" y="9001"/>
                  </a:moveTo>
                  <a:cubicBezTo>
                    <a:pt x="29813" y="9043"/>
                    <a:pt x="29813" y="9043"/>
                    <a:pt x="29813" y="9043"/>
                  </a:cubicBezTo>
                  <a:cubicBezTo>
                    <a:pt x="29565" y="8509"/>
                    <a:pt x="29565" y="8509"/>
                    <a:pt x="29565" y="8509"/>
                  </a:cubicBezTo>
                  <a:cubicBezTo>
                    <a:pt x="29656" y="8467"/>
                    <a:pt x="29656" y="8467"/>
                    <a:pt x="29656" y="8467"/>
                  </a:cubicBezTo>
                  <a:lnTo>
                    <a:pt x="29904" y="9001"/>
                  </a:lnTo>
                  <a:close/>
                  <a:moveTo>
                    <a:pt x="30173" y="8904"/>
                  </a:moveTo>
                  <a:cubicBezTo>
                    <a:pt x="30115" y="8925"/>
                    <a:pt x="30061" y="8917"/>
                    <a:pt x="30012" y="8881"/>
                  </a:cubicBezTo>
                  <a:cubicBezTo>
                    <a:pt x="29963" y="8845"/>
                    <a:pt x="29923" y="8783"/>
                    <a:pt x="29891" y="8694"/>
                  </a:cubicBezTo>
                  <a:cubicBezTo>
                    <a:pt x="29857" y="8596"/>
                    <a:pt x="29847" y="8515"/>
                    <a:pt x="29863" y="8453"/>
                  </a:cubicBezTo>
                  <a:cubicBezTo>
                    <a:pt x="29879" y="8391"/>
                    <a:pt x="29919" y="8348"/>
                    <a:pt x="29983" y="8326"/>
                  </a:cubicBezTo>
                  <a:cubicBezTo>
                    <a:pt x="30105" y="8283"/>
                    <a:pt x="30200" y="8356"/>
                    <a:pt x="30267" y="8546"/>
                  </a:cubicBezTo>
                  <a:cubicBezTo>
                    <a:pt x="30300" y="8640"/>
                    <a:pt x="30308" y="8717"/>
                    <a:pt x="30291" y="8779"/>
                  </a:cubicBezTo>
                  <a:cubicBezTo>
                    <a:pt x="30274" y="8841"/>
                    <a:pt x="30235" y="8882"/>
                    <a:pt x="30173" y="8904"/>
                  </a:cubicBezTo>
                  <a:close/>
                  <a:moveTo>
                    <a:pt x="30004" y="8399"/>
                  </a:moveTo>
                  <a:cubicBezTo>
                    <a:pt x="29937" y="8423"/>
                    <a:pt x="29929" y="8509"/>
                    <a:pt x="29982" y="8657"/>
                  </a:cubicBezTo>
                  <a:cubicBezTo>
                    <a:pt x="30031" y="8796"/>
                    <a:pt x="30088" y="8854"/>
                    <a:pt x="30154" y="8831"/>
                  </a:cubicBezTo>
                  <a:cubicBezTo>
                    <a:pt x="30220" y="8808"/>
                    <a:pt x="30227" y="8726"/>
                    <a:pt x="30177" y="8584"/>
                  </a:cubicBezTo>
                  <a:cubicBezTo>
                    <a:pt x="30126" y="8438"/>
                    <a:pt x="30068" y="8376"/>
                    <a:pt x="30004" y="8399"/>
                  </a:cubicBezTo>
                  <a:close/>
                  <a:moveTo>
                    <a:pt x="30552" y="8782"/>
                  </a:moveTo>
                  <a:cubicBezTo>
                    <a:pt x="30454" y="8806"/>
                    <a:pt x="30454" y="8806"/>
                    <a:pt x="30454" y="8806"/>
                  </a:cubicBezTo>
                  <a:cubicBezTo>
                    <a:pt x="30312" y="8235"/>
                    <a:pt x="30312" y="8235"/>
                    <a:pt x="30312" y="8235"/>
                  </a:cubicBezTo>
                  <a:cubicBezTo>
                    <a:pt x="30410" y="8211"/>
                    <a:pt x="30410" y="8211"/>
                    <a:pt x="30410" y="8211"/>
                  </a:cubicBezTo>
                  <a:lnTo>
                    <a:pt x="30552" y="8782"/>
                  </a:lnTo>
                  <a:close/>
                  <a:moveTo>
                    <a:pt x="30783" y="8736"/>
                  </a:moveTo>
                  <a:cubicBezTo>
                    <a:pt x="30684" y="8754"/>
                    <a:pt x="30684" y="8754"/>
                    <a:pt x="30684" y="8754"/>
                  </a:cubicBezTo>
                  <a:cubicBezTo>
                    <a:pt x="30579" y="8174"/>
                    <a:pt x="30579" y="8174"/>
                    <a:pt x="30579" y="8174"/>
                  </a:cubicBezTo>
                  <a:cubicBezTo>
                    <a:pt x="30678" y="8157"/>
                    <a:pt x="30678" y="8157"/>
                    <a:pt x="30678" y="8157"/>
                  </a:cubicBezTo>
                  <a:lnTo>
                    <a:pt x="30783" y="8736"/>
                  </a:lnTo>
                  <a:close/>
                  <a:moveTo>
                    <a:pt x="31016" y="8705"/>
                  </a:moveTo>
                  <a:cubicBezTo>
                    <a:pt x="30917" y="8716"/>
                    <a:pt x="30917" y="8716"/>
                    <a:pt x="30917" y="8716"/>
                  </a:cubicBezTo>
                  <a:cubicBezTo>
                    <a:pt x="30850" y="8131"/>
                    <a:pt x="30850" y="8131"/>
                    <a:pt x="30850" y="8131"/>
                  </a:cubicBezTo>
                  <a:cubicBezTo>
                    <a:pt x="30950" y="8120"/>
                    <a:pt x="30950" y="8120"/>
                    <a:pt x="30950" y="8120"/>
                  </a:cubicBezTo>
                  <a:lnTo>
                    <a:pt x="31016" y="8705"/>
                  </a:lnTo>
                  <a:close/>
                  <a:moveTo>
                    <a:pt x="31302" y="8698"/>
                  </a:moveTo>
                  <a:cubicBezTo>
                    <a:pt x="31241" y="8699"/>
                    <a:pt x="31192" y="8675"/>
                    <a:pt x="31157" y="8626"/>
                  </a:cubicBezTo>
                  <a:cubicBezTo>
                    <a:pt x="31122" y="8576"/>
                    <a:pt x="31103" y="8504"/>
                    <a:pt x="31101" y="8409"/>
                  </a:cubicBezTo>
                  <a:cubicBezTo>
                    <a:pt x="31099" y="8305"/>
                    <a:pt x="31116" y="8226"/>
                    <a:pt x="31150" y="8172"/>
                  </a:cubicBezTo>
                  <a:cubicBezTo>
                    <a:pt x="31185" y="8118"/>
                    <a:pt x="31236" y="8091"/>
                    <a:pt x="31304" y="8089"/>
                  </a:cubicBezTo>
                  <a:cubicBezTo>
                    <a:pt x="31433" y="8087"/>
                    <a:pt x="31500" y="8186"/>
                    <a:pt x="31504" y="8387"/>
                  </a:cubicBezTo>
                  <a:cubicBezTo>
                    <a:pt x="31506" y="8487"/>
                    <a:pt x="31489" y="8563"/>
                    <a:pt x="31454" y="8616"/>
                  </a:cubicBezTo>
                  <a:cubicBezTo>
                    <a:pt x="31418" y="8669"/>
                    <a:pt x="31368" y="8697"/>
                    <a:pt x="31302" y="8698"/>
                  </a:cubicBezTo>
                  <a:close/>
                  <a:moveTo>
                    <a:pt x="31301" y="8165"/>
                  </a:moveTo>
                  <a:cubicBezTo>
                    <a:pt x="31230" y="8167"/>
                    <a:pt x="31195" y="8246"/>
                    <a:pt x="31198" y="8403"/>
                  </a:cubicBezTo>
                  <a:cubicBezTo>
                    <a:pt x="31201" y="8551"/>
                    <a:pt x="31238" y="8624"/>
                    <a:pt x="31308" y="8622"/>
                  </a:cubicBezTo>
                  <a:cubicBezTo>
                    <a:pt x="31377" y="8621"/>
                    <a:pt x="31410" y="8545"/>
                    <a:pt x="31407" y="8396"/>
                  </a:cubicBezTo>
                  <a:cubicBezTo>
                    <a:pt x="31404" y="8241"/>
                    <a:pt x="31369" y="8164"/>
                    <a:pt x="31301" y="8165"/>
                  </a:cubicBezTo>
                  <a:close/>
                  <a:moveTo>
                    <a:pt x="31701" y="8701"/>
                  </a:moveTo>
                  <a:cubicBezTo>
                    <a:pt x="31600" y="8694"/>
                    <a:pt x="31600" y="8694"/>
                    <a:pt x="31600" y="8694"/>
                  </a:cubicBezTo>
                  <a:cubicBezTo>
                    <a:pt x="31644" y="8106"/>
                    <a:pt x="31644" y="8106"/>
                    <a:pt x="31644" y="8106"/>
                  </a:cubicBezTo>
                  <a:cubicBezTo>
                    <a:pt x="31744" y="8114"/>
                    <a:pt x="31744" y="8114"/>
                    <a:pt x="31744" y="8114"/>
                  </a:cubicBezTo>
                  <a:lnTo>
                    <a:pt x="31701" y="8701"/>
                  </a:lnTo>
                  <a:close/>
                  <a:moveTo>
                    <a:pt x="31982" y="8747"/>
                  </a:moveTo>
                  <a:cubicBezTo>
                    <a:pt x="31922" y="8737"/>
                    <a:pt x="31879" y="8704"/>
                    <a:pt x="31854" y="8649"/>
                  </a:cubicBezTo>
                  <a:cubicBezTo>
                    <a:pt x="31828" y="8594"/>
                    <a:pt x="31823" y="8520"/>
                    <a:pt x="31839" y="8426"/>
                  </a:cubicBezTo>
                  <a:cubicBezTo>
                    <a:pt x="31857" y="8324"/>
                    <a:pt x="31888" y="8249"/>
                    <a:pt x="31932" y="8203"/>
                  </a:cubicBezTo>
                  <a:cubicBezTo>
                    <a:pt x="31976" y="8156"/>
                    <a:pt x="32032" y="8138"/>
                    <a:pt x="32098" y="8150"/>
                  </a:cubicBezTo>
                  <a:cubicBezTo>
                    <a:pt x="32226" y="8172"/>
                    <a:pt x="32273" y="8282"/>
                    <a:pt x="32239" y="8480"/>
                  </a:cubicBezTo>
                  <a:cubicBezTo>
                    <a:pt x="32222" y="8578"/>
                    <a:pt x="32192" y="8650"/>
                    <a:pt x="32147" y="8696"/>
                  </a:cubicBezTo>
                  <a:cubicBezTo>
                    <a:pt x="32102" y="8741"/>
                    <a:pt x="32047" y="8758"/>
                    <a:pt x="31982" y="8747"/>
                  </a:cubicBezTo>
                  <a:close/>
                  <a:moveTo>
                    <a:pt x="32081" y="8224"/>
                  </a:moveTo>
                  <a:cubicBezTo>
                    <a:pt x="32011" y="8212"/>
                    <a:pt x="31962" y="8284"/>
                    <a:pt x="31936" y="8439"/>
                  </a:cubicBezTo>
                  <a:cubicBezTo>
                    <a:pt x="31911" y="8584"/>
                    <a:pt x="31933" y="8662"/>
                    <a:pt x="32002" y="8674"/>
                  </a:cubicBezTo>
                  <a:cubicBezTo>
                    <a:pt x="32070" y="8686"/>
                    <a:pt x="32117" y="8618"/>
                    <a:pt x="32142" y="8470"/>
                  </a:cubicBezTo>
                  <a:cubicBezTo>
                    <a:pt x="32168" y="8317"/>
                    <a:pt x="32148" y="8235"/>
                    <a:pt x="32081" y="8224"/>
                  </a:cubicBezTo>
                  <a:close/>
                  <a:moveTo>
                    <a:pt x="32373" y="8825"/>
                  </a:moveTo>
                  <a:cubicBezTo>
                    <a:pt x="32276" y="8799"/>
                    <a:pt x="32276" y="8799"/>
                    <a:pt x="32276" y="8799"/>
                  </a:cubicBezTo>
                  <a:cubicBezTo>
                    <a:pt x="32429" y="8230"/>
                    <a:pt x="32429" y="8230"/>
                    <a:pt x="32429" y="8230"/>
                  </a:cubicBezTo>
                  <a:cubicBezTo>
                    <a:pt x="32526" y="8257"/>
                    <a:pt x="32526" y="8257"/>
                    <a:pt x="32526" y="8257"/>
                  </a:cubicBezTo>
                  <a:lnTo>
                    <a:pt x="32373" y="8825"/>
                  </a:lnTo>
                  <a:close/>
                  <a:moveTo>
                    <a:pt x="32640" y="8924"/>
                  </a:moveTo>
                  <a:cubicBezTo>
                    <a:pt x="32583" y="8902"/>
                    <a:pt x="32547" y="8862"/>
                    <a:pt x="32533" y="8803"/>
                  </a:cubicBezTo>
                  <a:cubicBezTo>
                    <a:pt x="32518" y="8744"/>
                    <a:pt x="32527" y="8670"/>
                    <a:pt x="32561" y="8582"/>
                  </a:cubicBezTo>
                  <a:cubicBezTo>
                    <a:pt x="32597" y="8484"/>
                    <a:pt x="32642" y="8417"/>
                    <a:pt x="32694" y="8380"/>
                  </a:cubicBezTo>
                  <a:cubicBezTo>
                    <a:pt x="32746" y="8342"/>
                    <a:pt x="32804" y="8335"/>
                    <a:pt x="32867" y="8359"/>
                  </a:cubicBezTo>
                  <a:cubicBezTo>
                    <a:pt x="32989" y="8405"/>
                    <a:pt x="33014" y="8522"/>
                    <a:pt x="32943" y="8710"/>
                  </a:cubicBezTo>
                  <a:cubicBezTo>
                    <a:pt x="32908" y="8803"/>
                    <a:pt x="32864" y="8868"/>
                    <a:pt x="32812" y="8904"/>
                  </a:cubicBezTo>
                  <a:cubicBezTo>
                    <a:pt x="32759" y="8940"/>
                    <a:pt x="32702" y="8947"/>
                    <a:pt x="32640" y="8924"/>
                  </a:cubicBezTo>
                  <a:close/>
                  <a:moveTo>
                    <a:pt x="32837" y="8429"/>
                  </a:moveTo>
                  <a:cubicBezTo>
                    <a:pt x="32770" y="8404"/>
                    <a:pt x="32709" y="8465"/>
                    <a:pt x="32653" y="8612"/>
                  </a:cubicBezTo>
                  <a:cubicBezTo>
                    <a:pt x="32601" y="8750"/>
                    <a:pt x="32608" y="8831"/>
                    <a:pt x="32674" y="8856"/>
                  </a:cubicBezTo>
                  <a:cubicBezTo>
                    <a:pt x="32738" y="8880"/>
                    <a:pt x="32797" y="8822"/>
                    <a:pt x="32850" y="8682"/>
                  </a:cubicBezTo>
                  <a:cubicBezTo>
                    <a:pt x="32904" y="8537"/>
                    <a:pt x="32900" y="8452"/>
                    <a:pt x="32837" y="8429"/>
                  </a:cubicBezTo>
                  <a:close/>
                  <a:moveTo>
                    <a:pt x="33009" y="9074"/>
                  </a:moveTo>
                  <a:cubicBezTo>
                    <a:pt x="32919" y="9030"/>
                    <a:pt x="32919" y="9030"/>
                    <a:pt x="32919" y="9030"/>
                  </a:cubicBezTo>
                  <a:cubicBezTo>
                    <a:pt x="33177" y="8501"/>
                    <a:pt x="33177" y="8501"/>
                    <a:pt x="33177" y="8501"/>
                  </a:cubicBezTo>
                  <a:cubicBezTo>
                    <a:pt x="33268" y="8545"/>
                    <a:pt x="33268" y="8545"/>
                    <a:pt x="33268" y="8545"/>
                  </a:cubicBezTo>
                  <a:lnTo>
                    <a:pt x="33009" y="9074"/>
                  </a:lnTo>
                  <a:close/>
                  <a:moveTo>
                    <a:pt x="33254" y="9222"/>
                  </a:moveTo>
                  <a:cubicBezTo>
                    <a:pt x="33201" y="9190"/>
                    <a:pt x="33174" y="9144"/>
                    <a:pt x="33171" y="9083"/>
                  </a:cubicBezTo>
                  <a:cubicBezTo>
                    <a:pt x="33167" y="9022"/>
                    <a:pt x="33191" y="8952"/>
                    <a:pt x="33240" y="8871"/>
                  </a:cubicBezTo>
                  <a:cubicBezTo>
                    <a:pt x="33294" y="8782"/>
                    <a:pt x="33351" y="8725"/>
                    <a:pt x="33409" y="8698"/>
                  </a:cubicBezTo>
                  <a:cubicBezTo>
                    <a:pt x="33468" y="8671"/>
                    <a:pt x="33526" y="8675"/>
                    <a:pt x="33583" y="8711"/>
                  </a:cubicBezTo>
                  <a:cubicBezTo>
                    <a:pt x="33694" y="8778"/>
                    <a:pt x="33696" y="8898"/>
                    <a:pt x="33591" y="9069"/>
                  </a:cubicBezTo>
                  <a:cubicBezTo>
                    <a:pt x="33539" y="9154"/>
                    <a:pt x="33484" y="9210"/>
                    <a:pt x="33425" y="9235"/>
                  </a:cubicBezTo>
                  <a:cubicBezTo>
                    <a:pt x="33367" y="9261"/>
                    <a:pt x="33310" y="9256"/>
                    <a:pt x="33254" y="9222"/>
                  </a:cubicBezTo>
                  <a:close/>
                  <a:moveTo>
                    <a:pt x="33540" y="8773"/>
                  </a:moveTo>
                  <a:cubicBezTo>
                    <a:pt x="33479" y="8736"/>
                    <a:pt x="33407" y="8784"/>
                    <a:pt x="33325" y="8918"/>
                  </a:cubicBezTo>
                  <a:cubicBezTo>
                    <a:pt x="33248" y="9044"/>
                    <a:pt x="33240" y="9125"/>
                    <a:pt x="33299" y="9162"/>
                  </a:cubicBezTo>
                  <a:cubicBezTo>
                    <a:pt x="33358" y="9198"/>
                    <a:pt x="33427" y="9152"/>
                    <a:pt x="33505" y="9024"/>
                  </a:cubicBezTo>
                  <a:cubicBezTo>
                    <a:pt x="33586" y="8892"/>
                    <a:pt x="33597" y="8808"/>
                    <a:pt x="33540" y="8773"/>
                  </a:cubicBezTo>
                  <a:close/>
                  <a:moveTo>
                    <a:pt x="33587" y="9439"/>
                  </a:moveTo>
                  <a:cubicBezTo>
                    <a:pt x="33507" y="9379"/>
                    <a:pt x="33507" y="9379"/>
                    <a:pt x="33507" y="9379"/>
                  </a:cubicBezTo>
                  <a:cubicBezTo>
                    <a:pt x="33860" y="8908"/>
                    <a:pt x="33860" y="8908"/>
                    <a:pt x="33860" y="8908"/>
                  </a:cubicBezTo>
                  <a:cubicBezTo>
                    <a:pt x="33941" y="8969"/>
                    <a:pt x="33941" y="8969"/>
                    <a:pt x="33941" y="8969"/>
                  </a:cubicBezTo>
                  <a:lnTo>
                    <a:pt x="33587" y="9439"/>
                  </a:lnTo>
                  <a:close/>
                  <a:moveTo>
                    <a:pt x="33800" y="9631"/>
                  </a:moveTo>
                  <a:cubicBezTo>
                    <a:pt x="33754" y="9590"/>
                    <a:pt x="33736" y="9539"/>
                    <a:pt x="33744" y="9479"/>
                  </a:cubicBezTo>
                  <a:cubicBezTo>
                    <a:pt x="33753" y="9418"/>
                    <a:pt x="33789" y="9353"/>
                    <a:pt x="33852" y="9283"/>
                  </a:cubicBezTo>
                  <a:cubicBezTo>
                    <a:pt x="33922" y="9206"/>
                    <a:pt x="33989" y="9160"/>
                    <a:pt x="34051" y="9145"/>
                  </a:cubicBezTo>
                  <a:cubicBezTo>
                    <a:pt x="34113" y="9130"/>
                    <a:pt x="34170" y="9145"/>
                    <a:pt x="34220" y="9190"/>
                  </a:cubicBezTo>
                  <a:cubicBezTo>
                    <a:pt x="34315" y="9277"/>
                    <a:pt x="34296" y="9395"/>
                    <a:pt x="34160" y="9544"/>
                  </a:cubicBezTo>
                  <a:cubicBezTo>
                    <a:pt x="34093" y="9618"/>
                    <a:pt x="34028" y="9662"/>
                    <a:pt x="33966" y="9676"/>
                  </a:cubicBezTo>
                  <a:cubicBezTo>
                    <a:pt x="33904" y="9690"/>
                    <a:pt x="33848" y="9675"/>
                    <a:pt x="33800" y="9631"/>
                  </a:cubicBezTo>
                  <a:close/>
                  <a:moveTo>
                    <a:pt x="34165" y="9243"/>
                  </a:moveTo>
                  <a:cubicBezTo>
                    <a:pt x="34112" y="9195"/>
                    <a:pt x="34033" y="9229"/>
                    <a:pt x="33927" y="9346"/>
                  </a:cubicBezTo>
                  <a:cubicBezTo>
                    <a:pt x="33828" y="9455"/>
                    <a:pt x="33804" y="9533"/>
                    <a:pt x="33856" y="9580"/>
                  </a:cubicBezTo>
                  <a:cubicBezTo>
                    <a:pt x="33907" y="9626"/>
                    <a:pt x="33983" y="9594"/>
                    <a:pt x="34084" y="9483"/>
                  </a:cubicBezTo>
                  <a:cubicBezTo>
                    <a:pt x="34188" y="9369"/>
                    <a:pt x="34215" y="9289"/>
                    <a:pt x="34165" y="9243"/>
                  </a:cubicBezTo>
                  <a:close/>
                  <a:moveTo>
                    <a:pt x="34112" y="9951"/>
                  </a:moveTo>
                  <a:cubicBezTo>
                    <a:pt x="34072" y="9905"/>
                    <a:pt x="34060" y="9852"/>
                    <a:pt x="34075" y="9793"/>
                  </a:cubicBezTo>
                  <a:cubicBezTo>
                    <a:pt x="34091" y="9735"/>
                    <a:pt x="34135" y="9675"/>
                    <a:pt x="34207" y="9613"/>
                  </a:cubicBezTo>
                  <a:cubicBezTo>
                    <a:pt x="34286" y="9545"/>
                    <a:pt x="34357" y="9508"/>
                    <a:pt x="34421" y="9500"/>
                  </a:cubicBezTo>
                  <a:cubicBezTo>
                    <a:pt x="34485" y="9492"/>
                    <a:pt x="34539" y="9514"/>
                    <a:pt x="34583" y="9566"/>
                  </a:cubicBezTo>
                  <a:cubicBezTo>
                    <a:pt x="34667" y="9664"/>
                    <a:pt x="34633" y="9779"/>
                    <a:pt x="34480" y="9910"/>
                  </a:cubicBezTo>
                  <a:cubicBezTo>
                    <a:pt x="34405" y="9974"/>
                    <a:pt x="34335" y="10010"/>
                    <a:pt x="34271" y="10016"/>
                  </a:cubicBezTo>
                  <a:cubicBezTo>
                    <a:pt x="34208" y="10023"/>
                    <a:pt x="34155" y="10001"/>
                    <a:pt x="34112" y="9951"/>
                  </a:cubicBezTo>
                  <a:close/>
                  <a:moveTo>
                    <a:pt x="34522" y="9612"/>
                  </a:moveTo>
                  <a:cubicBezTo>
                    <a:pt x="34476" y="9557"/>
                    <a:pt x="34393" y="9582"/>
                    <a:pt x="34273" y="9684"/>
                  </a:cubicBezTo>
                  <a:cubicBezTo>
                    <a:pt x="34161" y="9780"/>
                    <a:pt x="34128" y="9854"/>
                    <a:pt x="34174" y="9908"/>
                  </a:cubicBezTo>
                  <a:cubicBezTo>
                    <a:pt x="34219" y="9960"/>
                    <a:pt x="34298" y="9937"/>
                    <a:pt x="34412" y="9840"/>
                  </a:cubicBezTo>
                  <a:cubicBezTo>
                    <a:pt x="34529" y="9739"/>
                    <a:pt x="34566" y="9663"/>
                    <a:pt x="34522" y="9612"/>
                  </a:cubicBezTo>
                  <a:close/>
                  <a:moveTo>
                    <a:pt x="34363" y="10261"/>
                  </a:moveTo>
                  <a:cubicBezTo>
                    <a:pt x="34305" y="10178"/>
                    <a:pt x="34305" y="10178"/>
                    <a:pt x="34305" y="10178"/>
                  </a:cubicBezTo>
                  <a:cubicBezTo>
                    <a:pt x="34786" y="9839"/>
                    <a:pt x="34786" y="9839"/>
                    <a:pt x="34786" y="9839"/>
                  </a:cubicBezTo>
                  <a:cubicBezTo>
                    <a:pt x="34844" y="9921"/>
                    <a:pt x="34844" y="9921"/>
                    <a:pt x="34844" y="9921"/>
                  </a:cubicBezTo>
                  <a:lnTo>
                    <a:pt x="34363" y="10261"/>
                  </a:lnTo>
                  <a:close/>
                  <a:moveTo>
                    <a:pt x="34518" y="10525"/>
                  </a:moveTo>
                  <a:cubicBezTo>
                    <a:pt x="34484" y="10474"/>
                    <a:pt x="34479" y="10420"/>
                    <a:pt x="34501" y="10364"/>
                  </a:cubicBezTo>
                  <a:cubicBezTo>
                    <a:pt x="34524" y="10308"/>
                    <a:pt x="34574" y="10253"/>
                    <a:pt x="34653" y="10200"/>
                  </a:cubicBezTo>
                  <a:cubicBezTo>
                    <a:pt x="34739" y="10143"/>
                    <a:pt x="34815" y="10114"/>
                    <a:pt x="34879" y="10114"/>
                  </a:cubicBezTo>
                  <a:cubicBezTo>
                    <a:pt x="34943" y="10114"/>
                    <a:pt x="34994" y="10142"/>
                    <a:pt x="35032" y="10198"/>
                  </a:cubicBezTo>
                  <a:cubicBezTo>
                    <a:pt x="35104" y="10306"/>
                    <a:pt x="35056" y="10416"/>
                    <a:pt x="34889" y="10527"/>
                  </a:cubicBezTo>
                  <a:cubicBezTo>
                    <a:pt x="34806" y="10583"/>
                    <a:pt x="34733" y="10610"/>
                    <a:pt x="34669" y="10609"/>
                  </a:cubicBezTo>
                  <a:cubicBezTo>
                    <a:pt x="34605" y="10608"/>
                    <a:pt x="34555" y="10580"/>
                    <a:pt x="34518" y="10525"/>
                  </a:cubicBezTo>
                  <a:close/>
                  <a:moveTo>
                    <a:pt x="34966" y="10237"/>
                  </a:moveTo>
                  <a:cubicBezTo>
                    <a:pt x="34926" y="10177"/>
                    <a:pt x="34841" y="10191"/>
                    <a:pt x="34710" y="10279"/>
                  </a:cubicBezTo>
                  <a:cubicBezTo>
                    <a:pt x="34588" y="10361"/>
                    <a:pt x="34546" y="10431"/>
                    <a:pt x="34585" y="10489"/>
                  </a:cubicBezTo>
                  <a:cubicBezTo>
                    <a:pt x="34624" y="10546"/>
                    <a:pt x="34705" y="10534"/>
                    <a:pt x="34829" y="10450"/>
                  </a:cubicBezTo>
                  <a:cubicBezTo>
                    <a:pt x="34958" y="10364"/>
                    <a:pt x="35004" y="10293"/>
                    <a:pt x="34966" y="10237"/>
                  </a:cubicBezTo>
                  <a:close/>
                  <a:moveTo>
                    <a:pt x="34993" y="10962"/>
                  </a:moveTo>
                  <a:cubicBezTo>
                    <a:pt x="34939" y="10933"/>
                    <a:pt x="34909" y="10888"/>
                    <a:pt x="34903" y="10828"/>
                  </a:cubicBezTo>
                  <a:cubicBezTo>
                    <a:pt x="34897" y="10767"/>
                    <a:pt x="34916" y="10695"/>
                    <a:pt x="34961" y="10612"/>
                  </a:cubicBezTo>
                  <a:cubicBezTo>
                    <a:pt x="35011" y="10521"/>
                    <a:pt x="35064" y="10460"/>
                    <a:pt x="35121" y="10430"/>
                  </a:cubicBezTo>
                  <a:cubicBezTo>
                    <a:pt x="35178" y="10400"/>
                    <a:pt x="35236" y="10401"/>
                    <a:pt x="35296" y="10434"/>
                  </a:cubicBezTo>
                  <a:cubicBezTo>
                    <a:pt x="35409" y="10495"/>
                    <a:pt x="35418" y="10615"/>
                    <a:pt x="35323" y="10791"/>
                  </a:cubicBezTo>
                  <a:cubicBezTo>
                    <a:pt x="35275" y="10879"/>
                    <a:pt x="35223" y="10937"/>
                    <a:pt x="35166" y="10966"/>
                  </a:cubicBezTo>
                  <a:cubicBezTo>
                    <a:pt x="35109" y="10995"/>
                    <a:pt x="35051" y="10993"/>
                    <a:pt x="34993" y="10962"/>
                  </a:cubicBezTo>
                  <a:close/>
                  <a:moveTo>
                    <a:pt x="35255" y="10498"/>
                  </a:moveTo>
                  <a:cubicBezTo>
                    <a:pt x="35193" y="10464"/>
                    <a:pt x="35124" y="10516"/>
                    <a:pt x="35049" y="10655"/>
                  </a:cubicBezTo>
                  <a:cubicBezTo>
                    <a:pt x="34979" y="10784"/>
                    <a:pt x="34974" y="10866"/>
                    <a:pt x="35036" y="10899"/>
                  </a:cubicBezTo>
                  <a:cubicBezTo>
                    <a:pt x="35097" y="10932"/>
                    <a:pt x="35163" y="10883"/>
                    <a:pt x="35234" y="10751"/>
                  </a:cubicBezTo>
                  <a:cubicBezTo>
                    <a:pt x="35308" y="10615"/>
                    <a:pt x="35315" y="10530"/>
                    <a:pt x="35255" y="10498"/>
                  </a:cubicBezTo>
                  <a:close/>
                  <a:moveTo>
                    <a:pt x="35520" y="11113"/>
                  </a:moveTo>
                  <a:cubicBezTo>
                    <a:pt x="35421" y="11100"/>
                    <a:pt x="35421" y="11100"/>
                    <a:pt x="35421" y="11100"/>
                  </a:cubicBezTo>
                  <a:cubicBezTo>
                    <a:pt x="35496" y="10517"/>
                    <a:pt x="35496" y="10517"/>
                    <a:pt x="35496" y="10517"/>
                  </a:cubicBezTo>
                  <a:cubicBezTo>
                    <a:pt x="35595" y="10529"/>
                    <a:pt x="35595" y="10529"/>
                    <a:pt x="35595" y="10529"/>
                  </a:cubicBezTo>
                  <a:lnTo>
                    <a:pt x="35520" y="11113"/>
                  </a:lnTo>
                  <a:close/>
                  <a:moveTo>
                    <a:pt x="35866" y="11128"/>
                  </a:moveTo>
                  <a:cubicBezTo>
                    <a:pt x="35804" y="11128"/>
                    <a:pt x="35756" y="11103"/>
                    <a:pt x="35722" y="11053"/>
                  </a:cubicBezTo>
                  <a:cubicBezTo>
                    <a:pt x="35688" y="11002"/>
                    <a:pt x="35670" y="10930"/>
                    <a:pt x="35670" y="10835"/>
                  </a:cubicBezTo>
                  <a:cubicBezTo>
                    <a:pt x="35670" y="10731"/>
                    <a:pt x="35688" y="10653"/>
                    <a:pt x="35724" y="10599"/>
                  </a:cubicBezTo>
                  <a:cubicBezTo>
                    <a:pt x="35760" y="10546"/>
                    <a:pt x="35812" y="10519"/>
                    <a:pt x="35879" y="10519"/>
                  </a:cubicBezTo>
                  <a:cubicBezTo>
                    <a:pt x="36009" y="10519"/>
                    <a:pt x="36074" y="10620"/>
                    <a:pt x="36074" y="10821"/>
                  </a:cubicBezTo>
                  <a:cubicBezTo>
                    <a:pt x="36074" y="10921"/>
                    <a:pt x="36055" y="10997"/>
                    <a:pt x="36019" y="11049"/>
                  </a:cubicBezTo>
                  <a:cubicBezTo>
                    <a:pt x="35982" y="11101"/>
                    <a:pt x="35931" y="11128"/>
                    <a:pt x="35866" y="11128"/>
                  </a:cubicBezTo>
                  <a:close/>
                  <a:moveTo>
                    <a:pt x="35875" y="10595"/>
                  </a:moveTo>
                  <a:cubicBezTo>
                    <a:pt x="35804" y="10595"/>
                    <a:pt x="35768" y="10674"/>
                    <a:pt x="35768" y="10831"/>
                  </a:cubicBezTo>
                  <a:cubicBezTo>
                    <a:pt x="35768" y="10979"/>
                    <a:pt x="35803" y="11052"/>
                    <a:pt x="35873" y="11052"/>
                  </a:cubicBezTo>
                  <a:cubicBezTo>
                    <a:pt x="35942" y="11052"/>
                    <a:pt x="35976" y="10977"/>
                    <a:pt x="35976" y="10828"/>
                  </a:cubicBezTo>
                  <a:cubicBezTo>
                    <a:pt x="35976" y="10673"/>
                    <a:pt x="35943" y="10595"/>
                    <a:pt x="35875" y="10595"/>
                  </a:cubicBezTo>
                  <a:close/>
                  <a:moveTo>
                    <a:pt x="36332" y="11128"/>
                  </a:moveTo>
                  <a:cubicBezTo>
                    <a:pt x="36271" y="11128"/>
                    <a:pt x="36223" y="11103"/>
                    <a:pt x="36189" y="11053"/>
                  </a:cubicBezTo>
                  <a:cubicBezTo>
                    <a:pt x="36154" y="11002"/>
                    <a:pt x="36137" y="10930"/>
                    <a:pt x="36137" y="10835"/>
                  </a:cubicBezTo>
                  <a:cubicBezTo>
                    <a:pt x="36137" y="10731"/>
                    <a:pt x="36155" y="10653"/>
                    <a:pt x="36191" y="10599"/>
                  </a:cubicBezTo>
                  <a:cubicBezTo>
                    <a:pt x="36227" y="10546"/>
                    <a:pt x="36279" y="10519"/>
                    <a:pt x="36346" y="10519"/>
                  </a:cubicBezTo>
                  <a:cubicBezTo>
                    <a:pt x="36476" y="10519"/>
                    <a:pt x="36540" y="10620"/>
                    <a:pt x="36540" y="10821"/>
                  </a:cubicBezTo>
                  <a:cubicBezTo>
                    <a:pt x="36540" y="10921"/>
                    <a:pt x="36522" y="10997"/>
                    <a:pt x="36486" y="11049"/>
                  </a:cubicBezTo>
                  <a:cubicBezTo>
                    <a:pt x="36449" y="11101"/>
                    <a:pt x="36398" y="11128"/>
                    <a:pt x="36332" y="11128"/>
                  </a:cubicBezTo>
                  <a:close/>
                  <a:moveTo>
                    <a:pt x="36342" y="10595"/>
                  </a:moveTo>
                  <a:cubicBezTo>
                    <a:pt x="36270" y="10595"/>
                    <a:pt x="36235" y="10674"/>
                    <a:pt x="36235" y="10831"/>
                  </a:cubicBezTo>
                  <a:cubicBezTo>
                    <a:pt x="36235" y="10979"/>
                    <a:pt x="36270" y="11052"/>
                    <a:pt x="36340" y="11052"/>
                  </a:cubicBezTo>
                  <a:cubicBezTo>
                    <a:pt x="36409" y="11052"/>
                    <a:pt x="36443" y="10977"/>
                    <a:pt x="36443" y="10828"/>
                  </a:cubicBezTo>
                  <a:cubicBezTo>
                    <a:pt x="36443" y="10673"/>
                    <a:pt x="36409" y="10595"/>
                    <a:pt x="36342" y="10595"/>
                  </a:cubicBezTo>
                  <a:close/>
                  <a:moveTo>
                    <a:pt x="36745" y="11118"/>
                  </a:moveTo>
                  <a:cubicBezTo>
                    <a:pt x="36644" y="11118"/>
                    <a:pt x="36644" y="11118"/>
                    <a:pt x="36644" y="11118"/>
                  </a:cubicBezTo>
                  <a:cubicBezTo>
                    <a:pt x="36644" y="10529"/>
                    <a:pt x="36644" y="10529"/>
                    <a:pt x="36644" y="10529"/>
                  </a:cubicBezTo>
                  <a:cubicBezTo>
                    <a:pt x="36745" y="10529"/>
                    <a:pt x="36745" y="10529"/>
                    <a:pt x="36745" y="10529"/>
                  </a:cubicBezTo>
                  <a:lnTo>
                    <a:pt x="36745" y="11118"/>
                  </a:lnTo>
                  <a:close/>
                  <a:moveTo>
                    <a:pt x="36990" y="11118"/>
                  </a:moveTo>
                  <a:cubicBezTo>
                    <a:pt x="36890" y="11118"/>
                    <a:pt x="36890" y="11118"/>
                    <a:pt x="36890" y="11118"/>
                  </a:cubicBezTo>
                  <a:cubicBezTo>
                    <a:pt x="36890" y="10529"/>
                    <a:pt x="36890" y="10529"/>
                    <a:pt x="36890" y="10529"/>
                  </a:cubicBezTo>
                  <a:cubicBezTo>
                    <a:pt x="36990" y="10529"/>
                    <a:pt x="36990" y="10529"/>
                    <a:pt x="36990" y="10529"/>
                  </a:cubicBezTo>
                  <a:lnTo>
                    <a:pt x="36990" y="11118"/>
                  </a:lnTo>
                  <a:close/>
                  <a:moveTo>
                    <a:pt x="37235" y="11118"/>
                  </a:moveTo>
                  <a:cubicBezTo>
                    <a:pt x="37134" y="11118"/>
                    <a:pt x="37134" y="11118"/>
                    <a:pt x="37134" y="11118"/>
                  </a:cubicBezTo>
                  <a:cubicBezTo>
                    <a:pt x="37134" y="10529"/>
                    <a:pt x="37134" y="10529"/>
                    <a:pt x="37134" y="10529"/>
                  </a:cubicBezTo>
                  <a:cubicBezTo>
                    <a:pt x="37235" y="10529"/>
                    <a:pt x="37235" y="10529"/>
                    <a:pt x="37235" y="10529"/>
                  </a:cubicBezTo>
                  <a:lnTo>
                    <a:pt x="37235" y="11118"/>
                  </a:lnTo>
                  <a:close/>
                  <a:moveTo>
                    <a:pt x="37480" y="11118"/>
                  </a:moveTo>
                  <a:cubicBezTo>
                    <a:pt x="37379" y="11118"/>
                    <a:pt x="37379" y="11118"/>
                    <a:pt x="37379" y="11118"/>
                  </a:cubicBezTo>
                  <a:cubicBezTo>
                    <a:pt x="37379" y="10529"/>
                    <a:pt x="37379" y="10529"/>
                    <a:pt x="37379" y="10529"/>
                  </a:cubicBezTo>
                  <a:cubicBezTo>
                    <a:pt x="37480" y="10529"/>
                    <a:pt x="37480" y="10529"/>
                    <a:pt x="37480" y="10529"/>
                  </a:cubicBezTo>
                  <a:lnTo>
                    <a:pt x="37480" y="11118"/>
                  </a:lnTo>
                  <a:close/>
                  <a:moveTo>
                    <a:pt x="37780" y="11128"/>
                  </a:moveTo>
                  <a:cubicBezTo>
                    <a:pt x="37718" y="11128"/>
                    <a:pt x="37671" y="11103"/>
                    <a:pt x="37636" y="11053"/>
                  </a:cubicBezTo>
                  <a:cubicBezTo>
                    <a:pt x="37602" y="11002"/>
                    <a:pt x="37585" y="10930"/>
                    <a:pt x="37585" y="10835"/>
                  </a:cubicBezTo>
                  <a:cubicBezTo>
                    <a:pt x="37585" y="10731"/>
                    <a:pt x="37603" y="10653"/>
                    <a:pt x="37639" y="10599"/>
                  </a:cubicBezTo>
                  <a:cubicBezTo>
                    <a:pt x="37674" y="10546"/>
                    <a:pt x="37726" y="10519"/>
                    <a:pt x="37794" y="10519"/>
                  </a:cubicBezTo>
                  <a:cubicBezTo>
                    <a:pt x="37923" y="10519"/>
                    <a:pt x="37988" y="10620"/>
                    <a:pt x="37988" y="10821"/>
                  </a:cubicBezTo>
                  <a:cubicBezTo>
                    <a:pt x="37988" y="10921"/>
                    <a:pt x="37970" y="10997"/>
                    <a:pt x="37933" y="11049"/>
                  </a:cubicBezTo>
                  <a:cubicBezTo>
                    <a:pt x="37897" y="11101"/>
                    <a:pt x="37845" y="11128"/>
                    <a:pt x="37780" y="11128"/>
                  </a:cubicBezTo>
                  <a:close/>
                  <a:moveTo>
                    <a:pt x="37789" y="10595"/>
                  </a:moveTo>
                  <a:cubicBezTo>
                    <a:pt x="37718" y="10595"/>
                    <a:pt x="37682" y="10674"/>
                    <a:pt x="37682" y="10831"/>
                  </a:cubicBezTo>
                  <a:cubicBezTo>
                    <a:pt x="37682" y="10979"/>
                    <a:pt x="37717" y="11052"/>
                    <a:pt x="37787" y="11052"/>
                  </a:cubicBezTo>
                  <a:cubicBezTo>
                    <a:pt x="37856" y="11052"/>
                    <a:pt x="37891" y="10977"/>
                    <a:pt x="37891" y="10828"/>
                  </a:cubicBezTo>
                  <a:cubicBezTo>
                    <a:pt x="37891" y="10673"/>
                    <a:pt x="37857" y="10595"/>
                    <a:pt x="37789" y="10595"/>
                  </a:cubicBezTo>
                  <a:close/>
                  <a:moveTo>
                    <a:pt x="38240" y="11100"/>
                  </a:moveTo>
                  <a:cubicBezTo>
                    <a:pt x="38140" y="11113"/>
                    <a:pt x="38140" y="11113"/>
                    <a:pt x="38140" y="11113"/>
                  </a:cubicBezTo>
                  <a:cubicBezTo>
                    <a:pt x="38064" y="10529"/>
                    <a:pt x="38064" y="10529"/>
                    <a:pt x="38064" y="10529"/>
                  </a:cubicBezTo>
                  <a:cubicBezTo>
                    <a:pt x="38163" y="10516"/>
                    <a:pt x="38163" y="10516"/>
                    <a:pt x="38163" y="10516"/>
                  </a:cubicBezTo>
                  <a:lnTo>
                    <a:pt x="38240" y="11100"/>
                  </a:lnTo>
                  <a:close/>
                  <a:moveTo>
                    <a:pt x="38656" y="10967"/>
                  </a:moveTo>
                  <a:cubicBezTo>
                    <a:pt x="38602" y="10996"/>
                    <a:pt x="38548" y="10997"/>
                    <a:pt x="38494" y="10969"/>
                  </a:cubicBezTo>
                  <a:cubicBezTo>
                    <a:pt x="38439" y="10942"/>
                    <a:pt x="38390" y="10886"/>
                    <a:pt x="38344" y="10803"/>
                  </a:cubicBezTo>
                  <a:cubicBezTo>
                    <a:pt x="38295" y="10712"/>
                    <a:pt x="38273" y="10634"/>
                    <a:pt x="38279" y="10570"/>
                  </a:cubicBezTo>
                  <a:cubicBezTo>
                    <a:pt x="38285" y="10506"/>
                    <a:pt x="38317" y="10458"/>
                    <a:pt x="38377" y="10426"/>
                  </a:cubicBezTo>
                  <a:cubicBezTo>
                    <a:pt x="38491" y="10364"/>
                    <a:pt x="38595" y="10421"/>
                    <a:pt x="38692" y="10598"/>
                  </a:cubicBezTo>
                  <a:cubicBezTo>
                    <a:pt x="38739" y="10685"/>
                    <a:pt x="38760" y="10761"/>
                    <a:pt x="38753" y="10824"/>
                  </a:cubicBezTo>
                  <a:cubicBezTo>
                    <a:pt x="38746" y="10888"/>
                    <a:pt x="38713" y="10935"/>
                    <a:pt x="38656" y="10967"/>
                  </a:cubicBezTo>
                  <a:close/>
                  <a:moveTo>
                    <a:pt x="38409" y="10494"/>
                  </a:moveTo>
                  <a:cubicBezTo>
                    <a:pt x="38346" y="10529"/>
                    <a:pt x="38353" y="10615"/>
                    <a:pt x="38428" y="10753"/>
                  </a:cubicBezTo>
                  <a:cubicBezTo>
                    <a:pt x="38498" y="10882"/>
                    <a:pt x="38564" y="10930"/>
                    <a:pt x="38626" y="10897"/>
                  </a:cubicBezTo>
                  <a:cubicBezTo>
                    <a:pt x="38686" y="10864"/>
                    <a:pt x="38681" y="10781"/>
                    <a:pt x="38609" y="10650"/>
                  </a:cubicBezTo>
                  <a:cubicBezTo>
                    <a:pt x="38535" y="10514"/>
                    <a:pt x="38469" y="10462"/>
                    <a:pt x="38409" y="10494"/>
                  </a:cubicBezTo>
                  <a:close/>
                  <a:moveTo>
                    <a:pt x="39070" y="10606"/>
                  </a:moveTo>
                  <a:cubicBezTo>
                    <a:pt x="39005" y="10683"/>
                    <a:pt x="39005" y="10683"/>
                    <a:pt x="39005" y="10683"/>
                  </a:cubicBezTo>
                  <a:cubicBezTo>
                    <a:pt x="38555" y="10303"/>
                    <a:pt x="38555" y="10303"/>
                    <a:pt x="38555" y="10303"/>
                  </a:cubicBezTo>
                  <a:cubicBezTo>
                    <a:pt x="38620" y="10226"/>
                    <a:pt x="38620" y="10226"/>
                    <a:pt x="38620" y="10226"/>
                  </a:cubicBezTo>
                  <a:lnTo>
                    <a:pt x="39070" y="10606"/>
                  </a:lnTo>
                  <a:close/>
                  <a:moveTo>
                    <a:pt x="39268" y="10319"/>
                  </a:moveTo>
                  <a:cubicBezTo>
                    <a:pt x="39234" y="10370"/>
                    <a:pt x="39187" y="10396"/>
                    <a:pt x="39126" y="10397"/>
                  </a:cubicBezTo>
                  <a:cubicBezTo>
                    <a:pt x="39065" y="10398"/>
                    <a:pt x="38996" y="10372"/>
                    <a:pt x="38917" y="10320"/>
                  </a:cubicBezTo>
                  <a:cubicBezTo>
                    <a:pt x="38830" y="10262"/>
                    <a:pt x="38774" y="10204"/>
                    <a:pt x="38750" y="10145"/>
                  </a:cubicBezTo>
                  <a:cubicBezTo>
                    <a:pt x="38725" y="10085"/>
                    <a:pt x="38731" y="10027"/>
                    <a:pt x="38769" y="9971"/>
                  </a:cubicBezTo>
                  <a:cubicBezTo>
                    <a:pt x="38840" y="9863"/>
                    <a:pt x="38960" y="9865"/>
                    <a:pt x="39127" y="9976"/>
                  </a:cubicBezTo>
                  <a:cubicBezTo>
                    <a:pt x="39210" y="10031"/>
                    <a:pt x="39264" y="10088"/>
                    <a:pt x="39287" y="10147"/>
                  </a:cubicBezTo>
                  <a:cubicBezTo>
                    <a:pt x="39311" y="10207"/>
                    <a:pt x="39304" y="10264"/>
                    <a:pt x="39268" y="10319"/>
                  </a:cubicBezTo>
                  <a:close/>
                  <a:moveTo>
                    <a:pt x="38829" y="10017"/>
                  </a:moveTo>
                  <a:cubicBezTo>
                    <a:pt x="38790" y="10076"/>
                    <a:pt x="38836" y="10149"/>
                    <a:pt x="38967" y="10236"/>
                  </a:cubicBezTo>
                  <a:cubicBezTo>
                    <a:pt x="39090" y="10318"/>
                    <a:pt x="39171" y="10329"/>
                    <a:pt x="39209" y="10271"/>
                  </a:cubicBezTo>
                  <a:cubicBezTo>
                    <a:pt x="39247" y="10213"/>
                    <a:pt x="39204" y="10143"/>
                    <a:pt x="39079" y="10060"/>
                  </a:cubicBezTo>
                  <a:cubicBezTo>
                    <a:pt x="38950" y="9975"/>
                    <a:pt x="38867" y="9960"/>
                    <a:pt x="38829" y="10017"/>
                  </a:cubicBezTo>
                  <a:close/>
                  <a:moveTo>
                    <a:pt x="39497" y="9993"/>
                  </a:moveTo>
                  <a:cubicBezTo>
                    <a:pt x="39434" y="10071"/>
                    <a:pt x="39434" y="10071"/>
                    <a:pt x="39434" y="10071"/>
                  </a:cubicBezTo>
                  <a:cubicBezTo>
                    <a:pt x="38976" y="9701"/>
                    <a:pt x="38976" y="9701"/>
                    <a:pt x="38976" y="9701"/>
                  </a:cubicBezTo>
                  <a:cubicBezTo>
                    <a:pt x="39039" y="9623"/>
                    <a:pt x="39039" y="9623"/>
                    <a:pt x="39039" y="9623"/>
                  </a:cubicBezTo>
                  <a:lnTo>
                    <a:pt x="39497" y="9993"/>
                  </a:lnTo>
                  <a:close/>
                  <a:moveTo>
                    <a:pt x="39696" y="9787"/>
                  </a:moveTo>
                  <a:cubicBezTo>
                    <a:pt x="39653" y="9831"/>
                    <a:pt x="39602" y="9848"/>
                    <a:pt x="39542" y="9837"/>
                  </a:cubicBezTo>
                  <a:cubicBezTo>
                    <a:pt x="39482" y="9827"/>
                    <a:pt x="39418" y="9789"/>
                    <a:pt x="39350" y="9723"/>
                  </a:cubicBezTo>
                  <a:cubicBezTo>
                    <a:pt x="39276" y="9650"/>
                    <a:pt x="39232" y="9582"/>
                    <a:pt x="39219" y="9519"/>
                  </a:cubicBezTo>
                  <a:cubicBezTo>
                    <a:pt x="39206" y="9456"/>
                    <a:pt x="39223" y="9400"/>
                    <a:pt x="39270" y="9352"/>
                  </a:cubicBezTo>
                  <a:cubicBezTo>
                    <a:pt x="39361" y="9259"/>
                    <a:pt x="39478" y="9283"/>
                    <a:pt x="39622" y="9424"/>
                  </a:cubicBezTo>
                  <a:cubicBezTo>
                    <a:pt x="39693" y="9494"/>
                    <a:pt x="39735" y="9560"/>
                    <a:pt x="39747" y="9623"/>
                  </a:cubicBezTo>
                  <a:cubicBezTo>
                    <a:pt x="39759" y="9685"/>
                    <a:pt x="39742" y="9740"/>
                    <a:pt x="39696" y="9787"/>
                  </a:cubicBezTo>
                  <a:close/>
                  <a:moveTo>
                    <a:pt x="39321" y="9408"/>
                  </a:moveTo>
                  <a:cubicBezTo>
                    <a:pt x="39271" y="9459"/>
                    <a:pt x="39303" y="9540"/>
                    <a:pt x="39415" y="9650"/>
                  </a:cubicBezTo>
                  <a:cubicBezTo>
                    <a:pt x="39521" y="9753"/>
                    <a:pt x="39598" y="9779"/>
                    <a:pt x="39647" y="9729"/>
                  </a:cubicBezTo>
                  <a:cubicBezTo>
                    <a:pt x="39695" y="9680"/>
                    <a:pt x="39666" y="9603"/>
                    <a:pt x="39558" y="9498"/>
                  </a:cubicBezTo>
                  <a:cubicBezTo>
                    <a:pt x="39448" y="9390"/>
                    <a:pt x="39369" y="9360"/>
                    <a:pt x="39321" y="9408"/>
                  </a:cubicBezTo>
                  <a:close/>
                  <a:moveTo>
                    <a:pt x="39982" y="9510"/>
                  </a:moveTo>
                  <a:cubicBezTo>
                    <a:pt x="39905" y="9575"/>
                    <a:pt x="39905" y="9575"/>
                    <a:pt x="39905" y="9575"/>
                  </a:cubicBezTo>
                  <a:cubicBezTo>
                    <a:pt x="39524" y="9126"/>
                    <a:pt x="39524" y="9126"/>
                    <a:pt x="39524" y="9126"/>
                  </a:cubicBezTo>
                  <a:cubicBezTo>
                    <a:pt x="39601" y="9061"/>
                    <a:pt x="39601" y="9061"/>
                    <a:pt x="39601" y="9061"/>
                  </a:cubicBezTo>
                  <a:lnTo>
                    <a:pt x="39982" y="9510"/>
                  </a:lnTo>
                  <a:close/>
                  <a:moveTo>
                    <a:pt x="40169" y="9366"/>
                  </a:moveTo>
                  <a:cubicBezTo>
                    <a:pt x="40088" y="9426"/>
                    <a:pt x="40088" y="9426"/>
                    <a:pt x="40088" y="9426"/>
                  </a:cubicBezTo>
                  <a:cubicBezTo>
                    <a:pt x="39737" y="8953"/>
                    <a:pt x="39737" y="8953"/>
                    <a:pt x="39737" y="8953"/>
                  </a:cubicBezTo>
                  <a:cubicBezTo>
                    <a:pt x="39818" y="8893"/>
                    <a:pt x="39818" y="8893"/>
                    <a:pt x="39818" y="8893"/>
                  </a:cubicBezTo>
                  <a:lnTo>
                    <a:pt x="40169" y="9366"/>
                  </a:lnTo>
                  <a:close/>
                  <a:moveTo>
                    <a:pt x="40412" y="9217"/>
                  </a:moveTo>
                  <a:cubicBezTo>
                    <a:pt x="40359" y="9249"/>
                    <a:pt x="40305" y="9252"/>
                    <a:pt x="40250" y="9227"/>
                  </a:cubicBezTo>
                  <a:cubicBezTo>
                    <a:pt x="40195" y="9202"/>
                    <a:pt x="40143" y="9149"/>
                    <a:pt x="40094" y="9068"/>
                  </a:cubicBezTo>
                  <a:cubicBezTo>
                    <a:pt x="40040" y="8979"/>
                    <a:pt x="40015" y="8902"/>
                    <a:pt x="40018" y="8838"/>
                  </a:cubicBezTo>
                  <a:cubicBezTo>
                    <a:pt x="40021" y="8774"/>
                    <a:pt x="40051" y="8724"/>
                    <a:pt x="40109" y="8689"/>
                  </a:cubicBezTo>
                  <a:cubicBezTo>
                    <a:pt x="40220" y="8622"/>
                    <a:pt x="40327" y="8675"/>
                    <a:pt x="40431" y="8847"/>
                  </a:cubicBezTo>
                  <a:cubicBezTo>
                    <a:pt x="40483" y="8932"/>
                    <a:pt x="40507" y="9007"/>
                    <a:pt x="40502" y="9071"/>
                  </a:cubicBezTo>
                  <a:cubicBezTo>
                    <a:pt x="40498" y="9134"/>
                    <a:pt x="40468" y="9183"/>
                    <a:pt x="40412" y="9217"/>
                  </a:cubicBezTo>
                  <a:close/>
                  <a:moveTo>
                    <a:pt x="40145" y="8757"/>
                  </a:moveTo>
                  <a:cubicBezTo>
                    <a:pt x="40083" y="8794"/>
                    <a:pt x="40094" y="8879"/>
                    <a:pt x="40175" y="9014"/>
                  </a:cubicBezTo>
                  <a:cubicBezTo>
                    <a:pt x="40251" y="9140"/>
                    <a:pt x="40319" y="9185"/>
                    <a:pt x="40379" y="9149"/>
                  </a:cubicBezTo>
                  <a:cubicBezTo>
                    <a:pt x="40438" y="9113"/>
                    <a:pt x="40429" y="9031"/>
                    <a:pt x="40352" y="8903"/>
                  </a:cubicBezTo>
                  <a:cubicBezTo>
                    <a:pt x="40271" y="8770"/>
                    <a:pt x="40202" y="8722"/>
                    <a:pt x="40145" y="8757"/>
                  </a:cubicBezTo>
                  <a:close/>
                  <a:moveTo>
                    <a:pt x="40808" y="9010"/>
                  </a:moveTo>
                  <a:cubicBezTo>
                    <a:pt x="40752" y="9034"/>
                    <a:pt x="40698" y="9031"/>
                    <a:pt x="40646" y="8999"/>
                  </a:cubicBezTo>
                  <a:cubicBezTo>
                    <a:pt x="40595" y="8967"/>
                    <a:pt x="40549" y="8908"/>
                    <a:pt x="40511" y="8822"/>
                  </a:cubicBezTo>
                  <a:cubicBezTo>
                    <a:pt x="40469" y="8727"/>
                    <a:pt x="40453" y="8648"/>
                    <a:pt x="40464" y="8584"/>
                  </a:cubicBezTo>
                  <a:cubicBezTo>
                    <a:pt x="40475" y="8521"/>
                    <a:pt x="40511" y="8475"/>
                    <a:pt x="40573" y="8448"/>
                  </a:cubicBezTo>
                  <a:cubicBezTo>
                    <a:pt x="40692" y="8395"/>
                    <a:pt x="40792" y="8461"/>
                    <a:pt x="40873" y="8645"/>
                  </a:cubicBezTo>
                  <a:cubicBezTo>
                    <a:pt x="40914" y="8736"/>
                    <a:pt x="40928" y="8813"/>
                    <a:pt x="40916" y="8875"/>
                  </a:cubicBezTo>
                  <a:cubicBezTo>
                    <a:pt x="40904" y="8938"/>
                    <a:pt x="40868" y="8983"/>
                    <a:pt x="40808" y="9010"/>
                  </a:cubicBezTo>
                  <a:close/>
                  <a:moveTo>
                    <a:pt x="40600" y="8519"/>
                  </a:moveTo>
                  <a:cubicBezTo>
                    <a:pt x="40535" y="8548"/>
                    <a:pt x="40534" y="8635"/>
                    <a:pt x="40598" y="8778"/>
                  </a:cubicBezTo>
                  <a:cubicBezTo>
                    <a:pt x="40658" y="8913"/>
                    <a:pt x="40720" y="8966"/>
                    <a:pt x="40784" y="8938"/>
                  </a:cubicBezTo>
                  <a:cubicBezTo>
                    <a:pt x="40847" y="8909"/>
                    <a:pt x="40848" y="8827"/>
                    <a:pt x="40787" y="8690"/>
                  </a:cubicBezTo>
                  <a:cubicBezTo>
                    <a:pt x="40724" y="8549"/>
                    <a:pt x="40662" y="8492"/>
                    <a:pt x="40600" y="8519"/>
                  </a:cubicBezTo>
                  <a:close/>
                  <a:moveTo>
                    <a:pt x="41176" y="8858"/>
                  </a:moveTo>
                  <a:cubicBezTo>
                    <a:pt x="41081" y="8890"/>
                    <a:pt x="41081" y="8890"/>
                    <a:pt x="41081" y="8890"/>
                  </a:cubicBezTo>
                  <a:cubicBezTo>
                    <a:pt x="40894" y="8332"/>
                    <a:pt x="40894" y="8332"/>
                    <a:pt x="40894" y="8332"/>
                  </a:cubicBezTo>
                  <a:cubicBezTo>
                    <a:pt x="40989" y="8300"/>
                    <a:pt x="40989" y="8300"/>
                    <a:pt x="40989" y="8300"/>
                  </a:cubicBezTo>
                  <a:lnTo>
                    <a:pt x="41176" y="8858"/>
                  </a:lnTo>
                  <a:close/>
                  <a:moveTo>
                    <a:pt x="41454" y="8792"/>
                  </a:moveTo>
                  <a:cubicBezTo>
                    <a:pt x="41394" y="8806"/>
                    <a:pt x="41342" y="8792"/>
                    <a:pt x="41297" y="8751"/>
                  </a:cubicBezTo>
                  <a:cubicBezTo>
                    <a:pt x="41252" y="8710"/>
                    <a:pt x="41219" y="8643"/>
                    <a:pt x="41198" y="8551"/>
                  </a:cubicBezTo>
                  <a:cubicBezTo>
                    <a:pt x="41174" y="8450"/>
                    <a:pt x="41174" y="8369"/>
                    <a:pt x="41197" y="8309"/>
                  </a:cubicBezTo>
                  <a:cubicBezTo>
                    <a:pt x="41220" y="8249"/>
                    <a:pt x="41264" y="8211"/>
                    <a:pt x="41330" y="8196"/>
                  </a:cubicBezTo>
                  <a:cubicBezTo>
                    <a:pt x="41456" y="8167"/>
                    <a:pt x="41542" y="8250"/>
                    <a:pt x="41587" y="8446"/>
                  </a:cubicBezTo>
                  <a:cubicBezTo>
                    <a:pt x="41610" y="8543"/>
                    <a:pt x="41609" y="8621"/>
                    <a:pt x="41585" y="8680"/>
                  </a:cubicBezTo>
                  <a:cubicBezTo>
                    <a:pt x="41562" y="8740"/>
                    <a:pt x="41518" y="8777"/>
                    <a:pt x="41454" y="8792"/>
                  </a:cubicBezTo>
                  <a:close/>
                  <a:moveTo>
                    <a:pt x="41343" y="8271"/>
                  </a:moveTo>
                  <a:cubicBezTo>
                    <a:pt x="41273" y="8287"/>
                    <a:pt x="41256" y="8372"/>
                    <a:pt x="41292" y="8525"/>
                  </a:cubicBezTo>
                  <a:cubicBezTo>
                    <a:pt x="41325" y="8669"/>
                    <a:pt x="41376" y="8732"/>
                    <a:pt x="41444" y="8716"/>
                  </a:cubicBezTo>
                  <a:cubicBezTo>
                    <a:pt x="41511" y="8701"/>
                    <a:pt x="41528" y="8620"/>
                    <a:pt x="41494" y="8474"/>
                  </a:cubicBezTo>
                  <a:cubicBezTo>
                    <a:pt x="41459" y="8323"/>
                    <a:pt x="41408" y="8256"/>
                    <a:pt x="41343" y="8271"/>
                  </a:cubicBezTo>
                  <a:close/>
                  <a:moveTo>
                    <a:pt x="41844" y="8713"/>
                  </a:moveTo>
                  <a:cubicBezTo>
                    <a:pt x="41745" y="8726"/>
                    <a:pt x="41745" y="8726"/>
                    <a:pt x="41745" y="8726"/>
                  </a:cubicBezTo>
                  <a:cubicBezTo>
                    <a:pt x="41667" y="8142"/>
                    <a:pt x="41667" y="8142"/>
                    <a:pt x="41667" y="8142"/>
                  </a:cubicBezTo>
                  <a:cubicBezTo>
                    <a:pt x="41766" y="8129"/>
                    <a:pt x="41766" y="8129"/>
                    <a:pt x="41766" y="8129"/>
                  </a:cubicBezTo>
                  <a:lnTo>
                    <a:pt x="41844" y="8713"/>
                  </a:lnTo>
                  <a:close/>
                  <a:moveTo>
                    <a:pt x="42079" y="8692"/>
                  </a:moveTo>
                  <a:cubicBezTo>
                    <a:pt x="41979" y="8699"/>
                    <a:pt x="41979" y="8699"/>
                    <a:pt x="41979" y="8699"/>
                  </a:cubicBezTo>
                  <a:cubicBezTo>
                    <a:pt x="41939" y="8112"/>
                    <a:pt x="41939" y="8112"/>
                    <a:pt x="41939" y="8112"/>
                  </a:cubicBezTo>
                  <a:cubicBezTo>
                    <a:pt x="42039" y="8105"/>
                    <a:pt x="42039" y="8105"/>
                    <a:pt x="42039" y="8105"/>
                  </a:cubicBezTo>
                  <a:lnTo>
                    <a:pt x="42079" y="8692"/>
                  </a:lnTo>
                  <a:close/>
                  <a:moveTo>
                    <a:pt x="42315" y="8687"/>
                  </a:moveTo>
                  <a:cubicBezTo>
                    <a:pt x="42215" y="8688"/>
                    <a:pt x="42215" y="8688"/>
                    <a:pt x="42215" y="8688"/>
                  </a:cubicBezTo>
                  <a:cubicBezTo>
                    <a:pt x="42209" y="8099"/>
                    <a:pt x="42209" y="8099"/>
                    <a:pt x="42209" y="8099"/>
                  </a:cubicBezTo>
                  <a:cubicBezTo>
                    <a:pt x="42309" y="8098"/>
                    <a:pt x="42309" y="8098"/>
                    <a:pt x="42309" y="8098"/>
                  </a:cubicBezTo>
                  <a:lnTo>
                    <a:pt x="42315" y="8687"/>
                  </a:lnTo>
                  <a:close/>
                  <a:moveTo>
                    <a:pt x="42600" y="8711"/>
                  </a:moveTo>
                  <a:cubicBezTo>
                    <a:pt x="42539" y="8706"/>
                    <a:pt x="42493" y="8677"/>
                    <a:pt x="42464" y="8624"/>
                  </a:cubicBezTo>
                  <a:cubicBezTo>
                    <a:pt x="42434" y="8571"/>
                    <a:pt x="42423" y="8497"/>
                    <a:pt x="42432" y="8403"/>
                  </a:cubicBezTo>
                  <a:cubicBezTo>
                    <a:pt x="42441" y="8299"/>
                    <a:pt x="42466" y="8222"/>
                    <a:pt x="42507" y="8172"/>
                  </a:cubicBezTo>
                  <a:cubicBezTo>
                    <a:pt x="42547" y="8122"/>
                    <a:pt x="42601" y="8100"/>
                    <a:pt x="42668" y="8107"/>
                  </a:cubicBezTo>
                  <a:cubicBezTo>
                    <a:pt x="42797" y="8118"/>
                    <a:pt x="42853" y="8224"/>
                    <a:pt x="42835" y="8425"/>
                  </a:cubicBezTo>
                  <a:cubicBezTo>
                    <a:pt x="42826" y="8524"/>
                    <a:pt x="42801" y="8598"/>
                    <a:pt x="42759" y="8647"/>
                  </a:cubicBezTo>
                  <a:cubicBezTo>
                    <a:pt x="42718" y="8696"/>
                    <a:pt x="42665" y="8717"/>
                    <a:pt x="42600" y="8711"/>
                  </a:cubicBezTo>
                  <a:close/>
                  <a:moveTo>
                    <a:pt x="42657" y="8182"/>
                  </a:moveTo>
                  <a:cubicBezTo>
                    <a:pt x="42586" y="8175"/>
                    <a:pt x="42543" y="8251"/>
                    <a:pt x="42529" y="8407"/>
                  </a:cubicBezTo>
                  <a:cubicBezTo>
                    <a:pt x="42516" y="8554"/>
                    <a:pt x="42544" y="8630"/>
                    <a:pt x="42614" y="8637"/>
                  </a:cubicBezTo>
                  <a:cubicBezTo>
                    <a:pt x="42683" y="8643"/>
                    <a:pt x="42724" y="8571"/>
                    <a:pt x="42737" y="8422"/>
                  </a:cubicBezTo>
                  <a:cubicBezTo>
                    <a:pt x="42751" y="8268"/>
                    <a:pt x="42724" y="8188"/>
                    <a:pt x="42657" y="8182"/>
                  </a:cubicBezTo>
                  <a:close/>
                  <a:moveTo>
                    <a:pt x="42996" y="8758"/>
                  </a:moveTo>
                  <a:cubicBezTo>
                    <a:pt x="42897" y="8740"/>
                    <a:pt x="42897" y="8740"/>
                    <a:pt x="42897" y="8740"/>
                  </a:cubicBezTo>
                  <a:cubicBezTo>
                    <a:pt x="43005" y="8161"/>
                    <a:pt x="43005" y="8161"/>
                    <a:pt x="43005" y="8161"/>
                  </a:cubicBezTo>
                  <a:cubicBezTo>
                    <a:pt x="43104" y="8179"/>
                    <a:pt x="43104" y="8179"/>
                    <a:pt x="43104" y="8179"/>
                  </a:cubicBezTo>
                  <a:lnTo>
                    <a:pt x="42996" y="8758"/>
                  </a:lnTo>
                  <a:close/>
                  <a:moveTo>
                    <a:pt x="43225" y="8812"/>
                  </a:moveTo>
                  <a:cubicBezTo>
                    <a:pt x="43127" y="8787"/>
                    <a:pt x="43127" y="8787"/>
                    <a:pt x="43127" y="8787"/>
                  </a:cubicBezTo>
                  <a:cubicBezTo>
                    <a:pt x="43273" y="8217"/>
                    <a:pt x="43273" y="8217"/>
                    <a:pt x="43273" y="8217"/>
                  </a:cubicBezTo>
                  <a:cubicBezTo>
                    <a:pt x="43370" y="8242"/>
                    <a:pt x="43370" y="8242"/>
                    <a:pt x="43370" y="8242"/>
                  </a:cubicBezTo>
                  <a:lnTo>
                    <a:pt x="43225" y="8812"/>
                  </a:lnTo>
                  <a:close/>
                  <a:moveTo>
                    <a:pt x="43494" y="8908"/>
                  </a:moveTo>
                  <a:cubicBezTo>
                    <a:pt x="43436" y="8887"/>
                    <a:pt x="43400" y="8847"/>
                    <a:pt x="43384" y="8788"/>
                  </a:cubicBezTo>
                  <a:cubicBezTo>
                    <a:pt x="43369" y="8729"/>
                    <a:pt x="43377" y="8655"/>
                    <a:pt x="43410" y="8566"/>
                  </a:cubicBezTo>
                  <a:cubicBezTo>
                    <a:pt x="43445" y="8469"/>
                    <a:pt x="43488" y="8401"/>
                    <a:pt x="43540" y="8362"/>
                  </a:cubicBezTo>
                  <a:cubicBezTo>
                    <a:pt x="43592" y="8324"/>
                    <a:pt x="43650" y="8317"/>
                    <a:pt x="43713" y="8340"/>
                  </a:cubicBezTo>
                  <a:cubicBezTo>
                    <a:pt x="43835" y="8384"/>
                    <a:pt x="43862" y="8500"/>
                    <a:pt x="43794" y="8690"/>
                  </a:cubicBezTo>
                  <a:cubicBezTo>
                    <a:pt x="43760" y="8783"/>
                    <a:pt x="43717" y="8849"/>
                    <a:pt x="43665" y="8886"/>
                  </a:cubicBezTo>
                  <a:cubicBezTo>
                    <a:pt x="43613" y="8922"/>
                    <a:pt x="43556" y="8930"/>
                    <a:pt x="43494" y="8908"/>
                  </a:cubicBezTo>
                  <a:close/>
                  <a:moveTo>
                    <a:pt x="43683" y="8410"/>
                  </a:moveTo>
                  <a:cubicBezTo>
                    <a:pt x="43616" y="8386"/>
                    <a:pt x="43556" y="8447"/>
                    <a:pt x="43502" y="8596"/>
                  </a:cubicBezTo>
                  <a:cubicBezTo>
                    <a:pt x="43453" y="8734"/>
                    <a:pt x="43461" y="8815"/>
                    <a:pt x="43526" y="8839"/>
                  </a:cubicBezTo>
                  <a:cubicBezTo>
                    <a:pt x="43591" y="8862"/>
                    <a:pt x="43649" y="8804"/>
                    <a:pt x="43700" y="8663"/>
                  </a:cubicBezTo>
                  <a:cubicBezTo>
                    <a:pt x="43753" y="8517"/>
                    <a:pt x="43747" y="8433"/>
                    <a:pt x="43683" y="8410"/>
                  </a:cubicBezTo>
                  <a:close/>
                  <a:moveTo>
                    <a:pt x="43865" y="9053"/>
                  </a:moveTo>
                  <a:cubicBezTo>
                    <a:pt x="43774" y="9010"/>
                    <a:pt x="43774" y="9010"/>
                    <a:pt x="43774" y="9010"/>
                  </a:cubicBezTo>
                  <a:cubicBezTo>
                    <a:pt x="44025" y="8478"/>
                    <a:pt x="44025" y="8478"/>
                    <a:pt x="44025" y="8478"/>
                  </a:cubicBezTo>
                  <a:cubicBezTo>
                    <a:pt x="44116" y="8521"/>
                    <a:pt x="44116" y="8521"/>
                    <a:pt x="44116" y="8521"/>
                  </a:cubicBezTo>
                  <a:lnTo>
                    <a:pt x="43865" y="9053"/>
                  </a:lnTo>
                  <a:close/>
                  <a:moveTo>
                    <a:pt x="44073" y="9164"/>
                  </a:moveTo>
                  <a:cubicBezTo>
                    <a:pt x="43985" y="9115"/>
                    <a:pt x="43985" y="9115"/>
                    <a:pt x="43985" y="9115"/>
                  </a:cubicBezTo>
                  <a:cubicBezTo>
                    <a:pt x="44270" y="8600"/>
                    <a:pt x="44270" y="8600"/>
                    <a:pt x="44270" y="8600"/>
                  </a:cubicBezTo>
                  <a:cubicBezTo>
                    <a:pt x="44358" y="8649"/>
                    <a:pt x="44358" y="8649"/>
                    <a:pt x="44358" y="8649"/>
                  </a:cubicBezTo>
                  <a:lnTo>
                    <a:pt x="44073" y="9164"/>
                  </a:lnTo>
                  <a:close/>
                  <a:moveTo>
                    <a:pt x="44309" y="9324"/>
                  </a:moveTo>
                  <a:cubicBezTo>
                    <a:pt x="44258" y="9289"/>
                    <a:pt x="44233" y="9241"/>
                    <a:pt x="44233" y="9181"/>
                  </a:cubicBezTo>
                  <a:cubicBezTo>
                    <a:pt x="44233" y="9120"/>
                    <a:pt x="44260" y="9051"/>
                    <a:pt x="44314" y="8972"/>
                  </a:cubicBezTo>
                  <a:cubicBezTo>
                    <a:pt x="44373" y="8887"/>
                    <a:pt x="44432" y="8832"/>
                    <a:pt x="44492" y="8808"/>
                  </a:cubicBezTo>
                  <a:cubicBezTo>
                    <a:pt x="44551" y="8785"/>
                    <a:pt x="44609" y="8792"/>
                    <a:pt x="44665" y="8830"/>
                  </a:cubicBezTo>
                  <a:cubicBezTo>
                    <a:pt x="44772" y="8903"/>
                    <a:pt x="44768" y="9023"/>
                    <a:pt x="44654" y="9189"/>
                  </a:cubicBezTo>
                  <a:cubicBezTo>
                    <a:pt x="44598" y="9271"/>
                    <a:pt x="44540" y="9323"/>
                    <a:pt x="44480" y="9346"/>
                  </a:cubicBezTo>
                  <a:cubicBezTo>
                    <a:pt x="44420" y="9368"/>
                    <a:pt x="44363" y="9361"/>
                    <a:pt x="44309" y="9324"/>
                  </a:cubicBezTo>
                  <a:close/>
                  <a:moveTo>
                    <a:pt x="44618" y="8890"/>
                  </a:moveTo>
                  <a:cubicBezTo>
                    <a:pt x="44559" y="8850"/>
                    <a:pt x="44485" y="8894"/>
                    <a:pt x="44396" y="9024"/>
                  </a:cubicBezTo>
                  <a:cubicBezTo>
                    <a:pt x="44313" y="9146"/>
                    <a:pt x="44300" y="9226"/>
                    <a:pt x="44358" y="9266"/>
                  </a:cubicBezTo>
                  <a:cubicBezTo>
                    <a:pt x="44415" y="9305"/>
                    <a:pt x="44486" y="9263"/>
                    <a:pt x="44570" y="9139"/>
                  </a:cubicBezTo>
                  <a:cubicBezTo>
                    <a:pt x="44658" y="9011"/>
                    <a:pt x="44674" y="8928"/>
                    <a:pt x="44618" y="8890"/>
                  </a:cubicBezTo>
                  <a:close/>
                  <a:moveTo>
                    <a:pt x="44662" y="9599"/>
                  </a:moveTo>
                  <a:cubicBezTo>
                    <a:pt x="44616" y="9558"/>
                    <a:pt x="44597" y="9507"/>
                    <a:pt x="44604" y="9447"/>
                  </a:cubicBezTo>
                  <a:cubicBezTo>
                    <a:pt x="44612" y="9387"/>
                    <a:pt x="44647" y="9321"/>
                    <a:pt x="44710" y="9250"/>
                  </a:cubicBezTo>
                  <a:cubicBezTo>
                    <a:pt x="44779" y="9173"/>
                    <a:pt x="44844" y="9126"/>
                    <a:pt x="44907" y="9109"/>
                  </a:cubicBezTo>
                  <a:cubicBezTo>
                    <a:pt x="44969" y="9093"/>
                    <a:pt x="45025" y="9108"/>
                    <a:pt x="45076" y="9152"/>
                  </a:cubicBezTo>
                  <a:cubicBezTo>
                    <a:pt x="45173" y="9238"/>
                    <a:pt x="45154" y="9356"/>
                    <a:pt x="45021" y="9507"/>
                  </a:cubicBezTo>
                  <a:cubicBezTo>
                    <a:pt x="44955" y="9582"/>
                    <a:pt x="44891" y="9626"/>
                    <a:pt x="44829" y="9641"/>
                  </a:cubicBezTo>
                  <a:cubicBezTo>
                    <a:pt x="44767" y="9656"/>
                    <a:pt x="44711" y="9642"/>
                    <a:pt x="44662" y="9599"/>
                  </a:cubicBezTo>
                  <a:close/>
                  <a:moveTo>
                    <a:pt x="45022" y="9206"/>
                  </a:moveTo>
                  <a:cubicBezTo>
                    <a:pt x="44969" y="9159"/>
                    <a:pt x="44890" y="9194"/>
                    <a:pt x="44785" y="9312"/>
                  </a:cubicBezTo>
                  <a:cubicBezTo>
                    <a:pt x="44688" y="9422"/>
                    <a:pt x="44665" y="9500"/>
                    <a:pt x="44717" y="9547"/>
                  </a:cubicBezTo>
                  <a:cubicBezTo>
                    <a:pt x="44769" y="9593"/>
                    <a:pt x="44844" y="9559"/>
                    <a:pt x="44944" y="9447"/>
                  </a:cubicBezTo>
                  <a:cubicBezTo>
                    <a:pt x="45047" y="9331"/>
                    <a:pt x="45073" y="9251"/>
                    <a:pt x="45022" y="9206"/>
                  </a:cubicBezTo>
                  <a:close/>
                  <a:moveTo>
                    <a:pt x="44953" y="9871"/>
                  </a:moveTo>
                  <a:cubicBezTo>
                    <a:pt x="44884" y="9798"/>
                    <a:pt x="44884" y="9798"/>
                    <a:pt x="44884" y="9798"/>
                  </a:cubicBezTo>
                  <a:cubicBezTo>
                    <a:pt x="45314" y="9396"/>
                    <a:pt x="45314" y="9396"/>
                    <a:pt x="45314" y="9396"/>
                  </a:cubicBezTo>
                  <a:cubicBezTo>
                    <a:pt x="45383" y="9469"/>
                    <a:pt x="45383" y="9469"/>
                    <a:pt x="45383" y="9469"/>
                  </a:cubicBezTo>
                  <a:lnTo>
                    <a:pt x="44953" y="9871"/>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12" name="Freeform 7"/>
            <p:cNvSpPr>
              <a:spLocks noEditPoints="1"/>
            </p:cNvSpPr>
            <p:nvPr/>
          </p:nvSpPr>
          <p:spPr bwMode="auto">
            <a:xfrm>
              <a:off x="-49688" y="4914"/>
              <a:ext cx="107212" cy="26289"/>
            </a:xfrm>
            <a:custGeom>
              <a:avLst/>
              <a:gdLst>
                <a:gd name="T0" fmla="*/ 297 w 45383"/>
                <a:gd name="T1" fmla="*/ 10564 h 11128"/>
                <a:gd name="T2" fmla="*/ 10 w 45383"/>
                <a:gd name="T3" fmla="*/ 9341 h 11128"/>
                <a:gd name="T4" fmla="*/ 300 w 45383"/>
                <a:gd name="T5" fmla="*/ 8440 h 11128"/>
                <a:gd name="T6" fmla="*/ 599 w 45383"/>
                <a:gd name="T7" fmla="*/ 7182 h 11128"/>
                <a:gd name="T8" fmla="*/ 307 w 45383"/>
                <a:gd name="T9" fmla="*/ 5962 h 11128"/>
                <a:gd name="T10" fmla="*/ 609 w 45383"/>
                <a:gd name="T11" fmla="*/ 5199 h 11128"/>
                <a:gd name="T12" fmla="*/ 300 w 45383"/>
                <a:gd name="T13" fmla="*/ 4390 h 11128"/>
                <a:gd name="T14" fmla="*/ 307 w 45383"/>
                <a:gd name="T15" fmla="*/ 3114 h 11128"/>
                <a:gd name="T16" fmla="*/ 10 w 45383"/>
                <a:gd name="T17" fmla="*/ 2520 h 11128"/>
                <a:gd name="T18" fmla="*/ 348 w 45383"/>
                <a:gd name="T19" fmla="*/ 1531 h 11128"/>
                <a:gd name="T20" fmla="*/ 1144 w 45383"/>
                <a:gd name="T21" fmla="*/ 499 h 11128"/>
                <a:gd name="T22" fmla="*/ 1769 w 45383"/>
                <a:gd name="T23" fmla="*/ 81 h 11128"/>
                <a:gd name="T24" fmla="*/ 2791 w 45383"/>
                <a:gd name="T25" fmla="*/ 599 h 11128"/>
                <a:gd name="T26" fmla="*/ 4011 w 45383"/>
                <a:gd name="T27" fmla="*/ 307 h 11128"/>
                <a:gd name="T28" fmla="*/ 4668 w 45383"/>
                <a:gd name="T29" fmla="*/ 79 h 11128"/>
                <a:gd name="T30" fmla="*/ 5575 w 45383"/>
                <a:gd name="T31" fmla="*/ 641 h 11128"/>
                <a:gd name="T32" fmla="*/ 6070 w 45383"/>
                <a:gd name="T33" fmla="*/ 1134 h 11128"/>
                <a:gd name="T34" fmla="*/ 6842 w 45383"/>
                <a:gd name="T35" fmla="*/ 1603 h 11128"/>
                <a:gd name="T36" fmla="*/ 7997 w 45383"/>
                <a:gd name="T37" fmla="*/ 2075 h 11128"/>
                <a:gd name="T38" fmla="*/ 8671 w 45383"/>
                <a:gd name="T39" fmla="*/ 2621 h 11128"/>
                <a:gd name="T40" fmla="*/ 9501 w 45383"/>
                <a:gd name="T41" fmla="*/ 2729 h 11128"/>
                <a:gd name="T42" fmla="*/ 10739 w 45383"/>
                <a:gd name="T43" fmla="*/ 2798 h 11128"/>
                <a:gd name="T44" fmla="*/ 11693 w 45383"/>
                <a:gd name="T45" fmla="*/ 2463 h 11128"/>
                <a:gd name="T46" fmla="*/ 12218 w 45383"/>
                <a:gd name="T47" fmla="*/ 1404 h 11128"/>
                <a:gd name="T48" fmla="*/ 12747 w 45383"/>
                <a:gd name="T49" fmla="*/ 582 h 11128"/>
                <a:gd name="T50" fmla="*/ 13747 w 45383"/>
                <a:gd name="T51" fmla="*/ 293 h 11128"/>
                <a:gd name="T52" fmla="*/ 14557 w 45383"/>
                <a:gd name="T53" fmla="*/ 297 h 11128"/>
                <a:gd name="T54" fmla="*/ 15780 w 45383"/>
                <a:gd name="T55" fmla="*/ 10 h 11128"/>
                <a:gd name="T56" fmla="*/ 16646 w 45383"/>
                <a:gd name="T57" fmla="*/ 361 h 11128"/>
                <a:gd name="T58" fmla="*/ 17225 w 45383"/>
                <a:gd name="T59" fmla="*/ 975 h 11128"/>
                <a:gd name="T60" fmla="*/ 18321 w 45383"/>
                <a:gd name="T61" fmla="*/ 1712 h 11128"/>
                <a:gd name="T62" fmla="*/ 19230 w 45383"/>
                <a:gd name="T63" fmla="*/ 2294 h 11128"/>
                <a:gd name="T64" fmla="*/ 20072 w 45383"/>
                <a:gd name="T65" fmla="*/ 2711 h 11128"/>
                <a:gd name="T66" fmla="*/ 21070 w 45383"/>
                <a:gd name="T67" fmla="*/ 2989 h 11128"/>
                <a:gd name="T68" fmla="*/ 22270 w 45383"/>
                <a:gd name="T69" fmla="*/ 2642 h 11128"/>
                <a:gd name="T70" fmla="*/ 23083 w 45383"/>
                <a:gd name="T71" fmla="*/ 2128 h 11128"/>
                <a:gd name="T72" fmla="*/ 23769 w 45383"/>
                <a:gd name="T73" fmla="*/ 1446 h 11128"/>
                <a:gd name="T74" fmla="*/ 24445 w 45383"/>
                <a:gd name="T75" fmla="*/ 671 h 11128"/>
                <a:gd name="T76" fmla="*/ 25206 w 45383"/>
                <a:gd name="T77" fmla="*/ 599 h 11128"/>
                <a:gd name="T78" fmla="*/ 26425 w 45383"/>
                <a:gd name="T79" fmla="*/ 307 h 11128"/>
                <a:gd name="T80" fmla="*/ 27083 w 45383"/>
                <a:gd name="T81" fmla="*/ 79 h 11128"/>
                <a:gd name="T82" fmla="*/ 27743 w 45383"/>
                <a:gd name="T83" fmla="*/ 932 h 11128"/>
                <a:gd name="T84" fmla="*/ 28762 w 45383"/>
                <a:gd name="T85" fmla="*/ 1739 h 11128"/>
                <a:gd name="T86" fmla="*/ 29439 w 45383"/>
                <a:gd name="T87" fmla="*/ 1961 h 11128"/>
                <a:gd name="T88" fmla="*/ 30177 w 45383"/>
                <a:gd name="T89" fmla="*/ 2544 h 11128"/>
                <a:gd name="T90" fmla="*/ 31102 w 45383"/>
                <a:gd name="T91" fmla="*/ 2719 h 11128"/>
                <a:gd name="T92" fmla="*/ 31936 w 45383"/>
                <a:gd name="T93" fmla="*/ 2689 h 11128"/>
                <a:gd name="T94" fmla="*/ 33010 w 45383"/>
                <a:gd name="T95" fmla="*/ 2054 h 11128"/>
                <a:gd name="T96" fmla="*/ 33852 w 45383"/>
                <a:gd name="T97" fmla="*/ 1845 h 11128"/>
                <a:gd name="T98" fmla="*/ 34305 w 45383"/>
                <a:gd name="T99" fmla="*/ 949 h 11128"/>
                <a:gd name="T100" fmla="*/ 35234 w 45383"/>
                <a:gd name="T101" fmla="*/ 377 h 11128"/>
                <a:gd name="T102" fmla="*/ 36540 w 45383"/>
                <a:gd name="T103" fmla="*/ 307 h 11128"/>
                <a:gd name="T104" fmla="*/ 37135 w 45383"/>
                <a:gd name="T105" fmla="*/ 10 h 11128"/>
                <a:gd name="T106" fmla="*/ 38240 w 45383"/>
                <a:gd name="T107" fmla="*/ 28 h 11128"/>
                <a:gd name="T108" fmla="*/ 38917 w 45383"/>
                <a:gd name="T109" fmla="*/ 808 h 11128"/>
                <a:gd name="T110" fmla="*/ 39415 w 45383"/>
                <a:gd name="T111" fmla="*/ 1478 h 11128"/>
                <a:gd name="T112" fmla="*/ 40145 w 45383"/>
                <a:gd name="T113" fmla="*/ 2372 h 11128"/>
                <a:gd name="T114" fmla="*/ 41198 w 45383"/>
                <a:gd name="T115" fmla="*/ 2577 h 11128"/>
                <a:gd name="T116" fmla="*/ 42759 w 45383"/>
                <a:gd name="T117" fmla="*/ 2481 h 11128"/>
                <a:gd name="T118" fmla="*/ 43794 w 45383"/>
                <a:gd name="T119" fmla="*/ 2439 h 11128"/>
                <a:gd name="T120" fmla="*/ 44665 w 45383"/>
                <a:gd name="T121" fmla="*/ 2298 h 11128"/>
                <a:gd name="T122" fmla="*/ 45383 w 45383"/>
                <a:gd name="T123" fmla="*/ 1659 h 1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5383" h="11128">
                  <a:moveTo>
                    <a:pt x="79" y="10779"/>
                  </a:moveTo>
                  <a:cubicBezTo>
                    <a:pt x="131" y="10743"/>
                    <a:pt x="207" y="10725"/>
                    <a:pt x="307" y="10725"/>
                  </a:cubicBezTo>
                  <a:cubicBezTo>
                    <a:pt x="508" y="10725"/>
                    <a:pt x="609" y="10789"/>
                    <a:pt x="609" y="10919"/>
                  </a:cubicBezTo>
                  <a:cubicBezTo>
                    <a:pt x="609" y="10986"/>
                    <a:pt x="582" y="11038"/>
                    <a:pt x="529" y="11074"/>
                  </a:cubicBezTo>
                  <a:cubicBezTo>
                    <a:pt x="475" y="11110"/>
                    <a:pt x="397" y="11128"/>
                    <a:pt x="293" y="11128"/>
                  </a:cubicBezTo>
                  <a:cubicBezTo>
                    <a:pt x="198" y="11128"/>
                    <a:pt x="126" y="11111"/>
                    <a:pt x="75" y="11076"/>
                  </a:cubicBezTo>
                  <a:cubicBezTo>
                    <a:pt x="25" y="11042"/>
                    <a:pt x="0" y="10994"/>
                    <a:pt x="0" y="10933"/>
                  </a:cubicBezTo>
                  <a:cubicBezTo>
                    <a:pt x="0" y="10867"/>
                    <a:pt x="27" y="10816"/>
                    <a:pt x="79" y="10779"/>
                  </a:cubicBezTo>
                  <a:close/>
                  <a:moveTo>
                    <a:pt x="300" y="10822"/>
                  </a:moveTo>
                  <a:cubicBezTo>
                    <a:pt x="151" y="10822"/>
                    <a:pt x="76" y="10856"/>
                    <a:pt x="76" y="10925"/>
                  </a:cubicBezTo>
                  <a:cubicBezTo>
                    <a:pt x="76" y="10996"/>
                    <a:pt x="150" y="11031"/>
                    <a:pt x="297" y="11031"/>
                  </a:cubicBezTo>
                  <a:cubicBezTo>
                    <a:pt x="454" y="11031"/>
                    <a:pt x="533" y="10995"/>
                    <a:pt x="533" y="10923"/>
                  </a:cubicBezTo>
                  <a:cubicBezTo>
                    <a:pt x="533" y="10856"/>
                    <a:pt x="455" y="10822"/>
                    <a:pt x="300" y="10822"/>
                  </a:cubicBezTo>
                  <a:close/>
                  <a:moveTo>
                    <a:pt x="79" y="10313"/>
                  </a:moveTo>
                  <a:cubicBezTo>
                    <a:pt x="131" y="10276"/>
                    <a:pt x="207" y="10258"/>
                    <a:pt x="307" y="10258"/>
                  </a:cubicBezTo>
                  <a:cubicBezTo>
                    <a:pt x="508" y="10258"/>
                    <a:pt x="609" y="10322"/>
                    <a:pt x="609" y="10452"/>
                  </a:cubicBezTo>
                  <a:cubicBezTo>
                    <a:pt x="609" y="10520"/>
                    <a:pt x="582" y="10571"/>
                    <a:pt x="529" y="10607"/>
                  </a:cubicBezTo>
                  <a:cubicBezTo>
                    <a:pt x="475" y="10643"/>
                    <a:pt x="397" y="10661"/>
                    <a:pt x="293" y="10661"/>
                  </a:cubicBezTo>
                  <a:cubicBezTo>
                    <a:pt x="198" y="10661"/>
                    <a:pt x="126" y="10644"/>
                    <a:pt x="75" y="10609"/>
                  </a:cubicBezTo>
                  <a:cubicBezTo>
                    <a:pt x="25" y="10575"/>
                    <a:pt x="0" y="10527"/>
                    <a:pt x="0" y="10466"/>
                  </a:cubicBezTo>
                  <a:cubicBezTo>
                    <a:pt x="0" y="10400"/>
                    <a:pt x="27" y="10349"/>
                    <a:pt x="79" y="10313"/>
                  </a:cubicBezTo>
                  <a:close/>
                  <a:moveTo>
                    <a:pt x="300" y="10355"/>
                  </a:moveTo>
                  <a:cubicBezTo>
                    <a:pt x="151" y="10355"/>
                    <a:pt x="76" y="10390"/>
                    <a:pt x="76" y="10459"/>
                  </a:cubicBezTo>
                  <a:cubicBezTo>
                    <a:pt x="76" y="10529"/>
                    <a:pt x="150" y="10564"/>
                    <a:pt x="297" y="10564"/>
                  </a:cubicBezTo>
                  <a:cubicBezTo>
                    <a:pt x="454" y="10564"/>
                    <a:pt x="533" y="10528"/>
                    <a:pt x="533" y="10456"/>
                  </a:cubicBezTo>
                  <a:cubicBezTo>
                    <a:pt x="533" y="10389"/>
                    <a:pt x="455" y="10355"/>
                    <a:pt x="300" y="10355"/>
                  </a:cubicBezTo>
                  <a:close/>
                  <a:moveTo>
                    <a:pt x="599" y="10053"/>
                  </a:moveTo>
                  <a:cubicBezTo>
                    <a:pt x="599" y="10154"/>
                    <a:pt x="599" y="10154"/>
                    <a:pt x="599" y="10154"/>
                  </a:cubicBezTo>
                  <a:cubicBezTo>
                    <a:pt x="10" y="10154"/>
                    <a:pt x="10" y="10154"/>
                    <a:pt x="10" y="10154"/>
                  </a:cubicBezTo>
                  <a:cubicBezTo>
                    <a:pt x="10" y="10053"/>
                    <a:pt x="10" y="10053"/>
                    <a:pt x="10" y="10053"/>
                  </a:cubicBezTo>
                  <a:lnTo>
                    <a:pt x="599" y="10053"/>
                  </a:lnTo>
                  <a:close/>
                  <a:moveTo>
                    <a:pt x="79" y="9601"/>
                  </a:moveTo>
                  <a:cubicBezTo>
                    <a:pt x="131" y="9564"/>
                    <a:pt x="207" y="9546"/>
                    <a:pt x="307" y="9546"/>
                  </a:cubicBezTo>
                  <a:cubicBezTo>
                    <a:pt x="508" y="9546"/>
                    <a:pt x="609" y="9610"/>
                    <a:pt x="609" y="9740"/>
                  </a:cubicBezTo>
                  <a:cubicBezTo>
                    <a:pt x="609" y="9808"/>
                    <a:pt x="582" y="9859"/>
                    <a:pt x="529" y="9895"/>
                  </a:cubicBezTo>
                  <a:cubicBezTo>
                    <a:pt x="475" y="9931"/>
                    <a:pt x="397" y="9949"/>
                    <a:pt x="293" y="9949"/>
                  </a:cubicBezTo>
                  <a:cubicBezTo>
                    <a:pt x="198" y="9949"/>
                    <a:pt x="126" y="9932"/>
                    <a:pt x="75" y="9897"/>
                  </a:cubicBezTo>
                  <a:cubicBezTo>
                    <a:pt x="25" y="9863"/>
                    <a:pt x="0" y="9815"/>
                    <a:pt x="0" y="9754"/>
                  </a:cubicBezTo>
                  <a:cubicBezTo>
                    <a:pt x="0" y="9688"/>
                    <a:pt x="27" y="9637"/>
                    <a:pt x="79" y="9601"/>
                  </a:cubicBezTo>
                  <a:close/>
                  <a:moveTo>
                    <a:pt x="300" y="9643"/>
                  </a:moveTo>
                  <a:cubicBezTo>
                    <a:pt x="151" y="9643"/>
                    <a:pt x="76" y="9677"/>
                    <a:pt x="76" y="9746"/>
                  </a:cubicBezTo>
                  <a:cubicBezTo>
                    <a:pt x="76" y="9817"/>
                    <a:pt x="150" y="9852"/>
                    <a:pt x="297" y="9852"/>
                  </a:cubicBezTo>
                  <a:cubicBezTo>
                    <a:pt x="454" y="9852"/>
                    <a:pt x="533" y="9816"/>
                    <a:pt x="533" y="9744"/>
                  </a:cubicBezTo>
                  <a:cubicBezTo>
                    <a:pt x="533" y="9677"/>
                    <a:pt x="455" y="9643"/>
                    <a:pt x="300" y="9643"/>
                  </a:cubicBezTo>
                  <a:close/>
                  <a:moveTo>
                    <a:pt x="599" y="9341"/>
                  </a:moveTo>
                  <a:cubicBezTo>
                    <a:pt x="599" y="9442"/>
                    <a:pt x="599" y="9442"/>
                    <a:pt x="599" y="9442"/>
                  </a:cubicBezTo>
                  <a:cubicBezTo>
                    <a:pt x="10" y="9442"/>
                    <a:pt x="10" y="9442"/>
                    <a:pt x="10" y="9442"/>
                  </a:cubicBezTo>
                  <a:cubicBezTo>
                    <a:pt x="10" y="9341"/>
                    <a:pt x="10" y="9341"/>
                    <a:pt x="10" y="9341"/>
                  </a:cubicBezTo>
                  <a:lnTo>
                    <a:pt x="599" y="9341"/>
                  </a:lnTo>
                  <a:close/>
                  <a:moveTo>
                    <a:pt x="599" y="9096"/>
                  </a:moveTo>
                  <a:cubicBezTo>
                    <a:pt x="599" y="9196"/>
                    <a:pt x="599" y="9196"/>
                    <a:pt x="599" y="9196"/>
                  </a:cubicBezTo>
                  <a:cubicBezTo>
                    <a:pt x="10" y="9196"/>
                    <a:pt x="10" y="9196"/>
                    <a:pt x="10" y="9196"/>
                  </a:cubicBezTo>
                  <a:cubicBezTo>
                    <a:pt x="10" y="9096"/>
                    <a:pt x="10" y="9096"/>
                    <a:pt x="10" y="9096"/>
                  </a:cubicBezTo>
                  <a:lnTo>
                    <a:pt x="599" y="9096"/>
                  </a:lnTo>
                  <a:close/>
                  <a:moveTo>
                    <a:pt x="599" y="8851"/>
                  </a:moveTo>
                  <a:cubicBezTo>
                    <a:pt x="599" y="8951"/>
                    <a:pt x="599" y="8951"/>
                    <a:pt x="599" y="8951"/>
                  </a:cubicBezTo>
                  <a:cubicBezTo>
                    <a:pt x="10" y="8951"/>
                    <a:pt x="10" y="8951"/>
                    <a:pt x="10" y="8951"/>
                  </a:cubicBezTo>
                  <a:cubicBezTo>
                    <a:pt x="10" y="8851"/>
                    <a:pt x="10" y="8851"/>
                    <a:pt x="10" y="8851"/>
                  </a:cubicBezTo>
                  <a:lnTo>
                    <a:pt x="599" y="8851"/>
                  </a:lnTo>
                  <a:close/>
                  <a:moveTo>
                    <a:pt x="79" y="8398"/>
                  </a:moveTo>
                  <a:cubicBezTo>
                    <a:pt x="131" y="8361"/>
                    <a:pt x="207" y="8343"/>
                    <a:pt x="307" y="8343"/>
                  </a:cubicBezTo>
                  <a:cubicBezTo>
                    <a:pt x="508" y="8343"/>
                    <a:pt x="609" y="8408"/>
                    <a:pt x="609" y="8537"/>
                  </a:cubicBezTo>
                  <a:cubicBezTo>
                    <a:pt x="609" y="8605"/>
                    <a:pt x="582" y="8657"/>
                    <a:pt x="529" y="8692"/>
                  </a:cubicBezTo>
                  <a:cubicBezTo>
                    <a:pt x="475" y="8728"/>
                    <a:pt x="397" y="8746"/>
                    <a:pt x="293" y="8746"/>
                  </a:cubicBezTo>
                  <a:cubicBezTo>
                    <a:pt x="198" y="8746"/>
                    <a:pt x="126" y="8729"/>
                    <a:pt x="75" y="8695"/>
                  </a:cubicBezTo>
                  <a:cubicBezTo>
                    <a:pt x="25" y="8660"/>
                    <a:pt x="0" y="8613"/>
                    <a:pt x="0" y="8551"/>
                  </a:cubicBezTo>
                  <a:cubicBezTo>
                    <a:pt x="0" y="8486"/>
                    <a:pt x="27" y="8434"/>
                    <a:pt x="79" y="8398"/>
                  </a:cubicBezTo>
                  <a:close/>
                  <a:moveTo>
                    <a:pt x="300" y="8440"/>
                  </a:moveTo>
                  <a:cubicBezTo>
                    <a:pt x="151" y="8440"/>
                    <a:pt x="76" y="8475"/>
                    <a:pt x="76" y="8544"/>
                  </a:cubicBezTo>
                  <a:cubicBezTo>
                    <a:pt x="76" y="8614"/>
                    <a:pt x="150" y="8649"/>
                    <a:pt x="297" y="8649"/>
                  </a:cubicBezTo>
                  <a:cubicBezTo>
                    <a:pt x="454" y="8649"/>
                    <a:pt x="533" y="8613"/>
                    <a:pt x="533" y="8542"/>
                  </a:cubicBezTo>
                  <a:cubicBezTo>
                    <a:pt x="533" y="8474"/>
                    <a:pt x="455" y="8440"/>
                    <a:pt x="300" y="8440"/>
                  </a:cubicBezTo>
                  <a:close/>
                  <a:moveTo>
                    <a:pt x="599" y="8139"/>
                  </a:moveTo>
                  <a:cubicBezTo>
                    <a:pt x="599" y="8239"/>
                    <a:pt x="599" y="8239"/>
                    <a:pt x="599" y="8239"/>
                  </a:cubicBezTo>
                  <a:cubicBezTo>
                    <a:pt x="10" y="8239"/>
                    <a:pt x="10" y="8239"/>
                    <a:pt x="10" y="8239"/>
                  </a:cubicBezTo>
                  <a:cubicBezTo>
                    <a:pt x="10" y="8139"/>
                    <a:pt x="10" y="8139"/>
                    <a:pt x="10" y="8139"/>
                  </a:cubicBezTo>
                  <a:lnTo>
                    <a:pt x="599" y="8139"/>
                  </a:lnTo>
                  <a:close/>
                  <a:moveTo>
                    <a:pt x="599" y="7894"/>
                  </a:moveTo>
                  <a:cubicBezTo>
                    <a:pt x="599" y="7994"/>
                    <a:pt x="599" y="7994"/>
                    <a:pt x="599" y="7994"/>
                  </a:cubicBezTo>
                  <a:cubicBezTo>
                    <a:pt x="10" y="7994"/>
                    <a:pt x="10" y="7994"/>
                    <a:pt x="10" y="7994"/>
                  </a:cubicBezTo>
                  <a:cubicBezTo>
                    <a:pt x="10" y="7894"/>
                    <a:pt x="10" y="7894"/>
                    <a:pt x="10" y="7894"/>
                  </a:cubicBezTo>
                  <a:lnTo>
                    <a:pt x="599" y="7894"/>
                  </a:lnTo>
                  <a:close/>
                  <a:moveTo>
                    <a:pt x="79" y="7441"/>
                  </a:moveTo>
                  <a:cubicBezTo>
                    <a:pt x="131" y="7404"/>
                    <a:pt x="207" y="7386"/>
                    <a:pt x="307" y="7386"/>
                  </a:cubicBezTo>
                  <a:cubicBezTo>
                    <a:pt x="508" y="7386"/>
                    <a:pt x="609" y="7451"/>
                    <a:pt x="609" y="7580"/>
                  </a:cubicBezTo>
                  <a:cubicBezTo>
                    <a:pt x="609" y="7648"/>
                    <a:pt x="582" y="7700"/>
                    <a:pt x="529" y="7736"/>
                  </a:cubicBezTo>
                  <a:cubicBezTo>
                    <a:pt x="475" y="7771"/>
                    <a:pt x="397" y="7789"/>
                    <a:pt x="293" y="7789"/>
                  </a:cubicBezTo>
                  <a:cubicBezTo>
                    <a:pt x="198" y="7789"/>
                    <a:pt x="126" y="7772"/>
                    <a:pt x="75" y="7738"/>
                  </a:cubicBezTo>
                  <a:cubicBezTo>
                    <a:pt x="25" y="7704"/>
                    <a:pt x="0" y="7656"/>
                    <a:pt x="0" y="7594"/>
                  </a:cubicBezTo>
                  <a:cubicBezTo>
                    <a:pt x="0" y="7529"/>
                    <a:pt x="27" y="7478"/>
                    <a:pt x="79" y="7441"/>
                  </a:cubicBezTo>
                  <a:close/>
                  <a:moveTo>
                    <a:pt x="300" y="7483"/>
                  </a:moveTo>
                  <a:cubicBezTo>
                    <a:pt x="151" y="7483"/>
                    <a:pt x="76" y="7518"/>
                    <a:pt x="76" y="7587"/>
                  </a:cubicBezTo>
                  <a:cubicBezTo>
                    <a:pt x="76" y="7657"/>
                    <a:pt x="150" y="7692"/>
                    <a:pt x="297" y="7692"/>
                  </a:cubicBezTo>
                  <a:cubicBezTo>
                    <a:pt x="454" y="7692"/>
                    <a:pt x="533" y="7656"/>
                    <a:pt x="533" y="7585"/>
                  </a:cubicBezTo>
                  <a:cubicBezTo>
                    <a:pt x="533" y="7517"/>
                    <a:pt x="455" y="7483"/>
                    <a:pt x="300" y="7483"/>
                  </a:cubicBezTo>
                  <a:close/>
                  <a:moveTo>
                    <a:pt x="599" y="7182"/>
                  </a:moveTo>
                  <a:cubicBezTo>
                    <a:pt x="599" y="7282"/>
                    <a:pt x="599" y="7282"/>
                    <a:pt x="599" y="7282"/>
                  </a:cubicBezTo>
                  <a:cubicBezTo>
                    <a:pt x="10" y="7282"/>
                    <a:pt x="10" y="7282"/>
                    <a:pt x="10" y="7282"/>
                  </a:cubicBezTo>
                  <a:cubicBezTo>
                    <a:pt x="10" y="7182"/>
                    <a:pt x="10" y="7182"/>
                    <a:pt x="10" y="7182"/>
                  </a:cubicBezTo>
                  <a:lnTo>
                    <a:pt x="599" y="7182"/>
                  </a:lnTo>
                  <a:close/>
                  <a:moveTo>
                    <a:pt x="599" y="6937"/>
                  </a:moveTo>
                  <a:cubicBezTo>
                    <a:pt x="599" y="7037"/>
                    <a:pt x="599" y="7037"/>
                    <a:pt x="599" y="7037"/>
                  </a:cubicBezTo>
                  <a:cubicBezTo>
                    <a:pt x="10" y="7037"/>
                    <a:pt x="10" y="7037"/>
                    <a:pt x="10" y="7037"/>
                  </a:cubicBezTo>
                  <a:cubicBezTo>
                    <a:pt x="10" y="6937"/>
                    <a:pt x="10" y="6937"/>
                    <a:pt x="10" y="6937"/>
                  </a:cubicBezTo>
                  <a:lnTo>
                    <a:pt x="599" y="6937"/>
                  </a:lnTo>
                  <a:close/>
                  <a:moveTo>
                    <a:pt x="79" y="6484"/>
                  </a:moveTo>
                  <a:cubicBezTo>
                    <a:pt x="131" y="6447"/>
                    <a:pt x="207" y="6429"/>
                    <a:pt x="307" y="6429"/>
                  </a:cubicBezTo>
                  <a:cubicBezTo>
                    <a:pt x="508" y="6429"/>
                    <a:pt x="609" y="6494"/>
                    <a:pt x="609" y="6623"/>
                  </a:cubicBezTo>
                  <a:cubicBezTo>
                    <a:pt x="609" y="6691"/>
                    <a:pt x="582" y="6743"/>
                    <a:pt x="529" y="6778"/>
                  </a:cubicBezTo>
                  <a:cubicBezTo>
                    <a:pt x="475" y="6814"/>
                    <a:pt x="397" y="6832"/>
                    <a:pt x="293" y="6832"/>
                  </a:cubicBezTo>
                  <a:cubicBezTo>
                    <a:pt x="198" y="6832"/>
                    <a:pt x="126" y="6815"/>
                    <a:pt x="75" y="6781"/>
                  </a:cubicBezTo>
                  <a:cubicBezTo>
                    <a:pt x="25" y="6746"/>
                    <a:pt x="0" y="6699"/>
                    <a:pt x="0" y="6637"/>
                  </a:cubicBezTo>
                  <a:cubicBezTo>
                    <a:pt x="0" y="6572"/>
                    <a:pt x="27" y="6520"/>
                    <a:pt x="79" y="6484"/>
                  </a:cubicBezTo>
                  <a:close/>
                  <a:moveTo>
                    <a:pt x="300" y="6526"/>
                  </a:moveTo>
                  <a:cubicBezTo>
                    <a:pt x="151" y="6526"/>
                    <a:pt x="76" y="6561"/>
                    <a:pt x="76" y="6630"/>
                  </a:cubicBezTo>
                  <a:cubicBezTo>
                    <a:pt x="76" y="6700"/>
                    <a:pt x="150" y="6735"/>
                    <a:pt x="297" y="6735"/>
                  </a:cubicBezTo>
                  <a:cubicBezTo>
                    <a:pt x="454" y="6735"/>
                    <a:pt x="533" y="6699"/>
                    <a:pt x="533" y="6628"/>
                  </a:cubicBezTo>
                  <a:cubicBezTo>
                    <a:pt x="533" y="6560"/>
                    <a:pt x="455" y="6526"/>
                    <a:pt x="300" y="6526"/>
                  </a:cubicBezTo>
                  <a:close/>
                  <a:moveTo>
                    <a:pt x="79" y="6017"/>
                  </a:moveTo>
                  <a:cubicBezTo>
                    <a:pt x="131" y="5980"/>
                    <a:pt x="207" y="5962"/>
                    <a:pt x="307" y="5962"/>
                  </a:cubicBezTo>
                  <a:cubicBezTo>
                    <a:pt x="508" y="5962"/>
                    <a:pt x="609" y="6027"/>
                    <a:pt x="609" y="6156"/>
                  </a:cubicBezTo>
                  <a:cubicBezTo>
                    <a:pt x="609" y="6224"/>
                    <a:pt x="582" y="6276"/>
                    <a:pt x="529" y="6311"/>
                  </a:cubicBezTo>
                  <a:cubicBezTo>
                    <a:pt x="475" y="6347"/>
                    <a:pt x="397" y="6365"/>
                    <a:pt x="293" y="6365"/>
                  </a:cubicBezTo>
                  <a:cubicBezTo>
                    <a:pt x="198" y="6365"/>
                    <a:pt x="126" y="6348"/>
                    <a:pt x="75" y="6314"/>
                  </a:cubicBezTo>
                  <a:cubicBezTo>
                    <a:pt x="25" y="6279"/>
                    <a:pt x="0" y="6232"/>
                    <a:pt x="0" y="6170"/>
                  </a:cubicBezTo>
                  <a:cubicBezTo>
                    <a:pt x="0" y="6105"/>
                    <a:pt x="27" y="6053"/>
                    <a:pt x="79" y="6017"/>
                  </a:cubicBezTo>
                  <a:close/>
                  <a:moveTo>
                    <a:pt x="300" y="6059"/>
                  </a:moveTo>
                  <a:cubicBezTo>
                    <a:pt x="151" y="6059"/>
                    <a:pt x="76" y="6094"/>
                    <a:pt x="76" y="6163"/>
                  </a:cubicBezTo>
                  <a:cubicBezTo>
                    <a:pt x="76" y="6233"/>
                    <a:pt x="150" y="6268"/>
                    <a:pt x="297" y="6268"/>
                  </a:cubicBezTo>
                  <a:cubicBezTo>
                    <a:pt x="454" y="6268"/>
                    <a:pt x="533" y="6232"/>
                    <a:pt x="533" y="6161"/>
                  </a:cubicBezTo>
                  <a:cubicBezTo>
                    <a:pt x="533" y="6093"/>
                    <a:pt x="455" y="6059"/>
                    <a:pt x="300" y="6059"/>
                  </a:cubicBezTo>
                  <a:close/>
                  <a:moveTo>
                    <a:pt x="599" y="5758"/>
                  </a:moveTo>
                  <a:cubicBezTo>
                    <a:pt x="599" y="5858"/>
                    <a:pt x="599" y="5858"/>
                    <a:pt x="599" y="5858"/>
                  </a:cubicBezTo>
                  <a:cubicBezTo>
                    <a:pt x="10" y="5858"/>
                    <a:pt x="10" y="5858"/>
                    <a:pt x="10" y="5858"/>
                  </a:cubicBezTo>
                  <a:cubicBezTo>
                    <a:pt x="10" y="5758"/>
                    <a:pt x="10" y="5758"/>
                    <a:pt x="10" y="5758"/>
                  </a:cubicBezTo>
                  <a:lnTo>
                    <a:pt x="599" y="5758"/>
                  </a:lnTo>
                  <a:close/>
                  <a:moveTo>
                    <a:pt x="599" y="5512"/>
                  </a:moveTo>
                  <a:cubicBezTo>
                    <a:pt x="599" y="5613"/>
                    <a:pt x="599" y="5613"/>
                    <a:pt x="599" y="5613"/>
                  </a:cubicBezTo>
                  <a:cubicBezTo>
                    <a:pt x="10" y="5613"/>
                    <a:pt x="10" y="5613"/>
                    <a:pt x="10" y="5613"/>
                  </a:cubicBezTo>
                  <a:cubicBezTo>
                    <a:pt x="10" y="5512"/>
                    <a:pt x="10" y="5512"/>
                    <a:pt x="10" y="5512"/>
                  </a:cubicBezTo>
                  <a:lnTo>
                    <a:pt x="599" y="5512"/>
                  </a:lnTo>
                  <a:close/>
                  <a:moveTo>
                    <a:pt x="79" y="5060"/>
                  </a:moveTo>
                  <a:cubicBezTo>
                    <a:pt x="131" y="5023"/>
                    <a:pt x="207" y="5005"/>
                    <a:pt x="307" y="5005"/>
                  </a:cubicBezTo>
                  <a:cubicBezTo>
                    <a:pt x="508" y="5005"/>
                    <a:pt x="609" y="5070"/>
                    <a:pt x="609" y="5199"/>
                  </a:cubicBezTo>
                  <a:cubicBezTo>
                    <a:pt x="609" y="5267"/>
                    <a:pt x="582" y="5318"/>
                    <a:pt x="529" y="5354"/>
                  </a:cubicBezTo>
                  <a:cubicBezTo>
                    <a:pt x="475" y="5390"/>
                    <a:pt x="397" y="5408"/>
                    <a:pt x="293" y="5408"/>
                  </a:cubicBezTo>
                  <a:cubicBezTo>
                    <a:pt x="198" y="5408"/>
                    <a:pt x="126" y="5391"/>
                    <a:pt x="75" y="5356"/>
                  </a:cubicBezTo>
                  <a:cubicBezTo>
                    <a:pt x="25" y="5322"/>
                    <a:pt x="0" y="5274"/>
                    <a:pt x="0" y="5213"/>
                  </a:cubicBezTo>
                  <a:cubicBezTo>
                    <a:pt x="0" y="5147"/>
                    <a:pt x="27" y="5096"/>
                    <a:pt x="79" y="5060"/>
                  </a:cubicBezTo>
                  <a:close/>
                  <a:moveTo>
                    <a:pt x="300" y="5102"/>
                  </a:moveTo>
                  <a:cubicBezTo>
                    <a:pt x="151" y="5102"/>
                    <a:pt x="76" y="5137"/>
                    <a:pt x="76" y="5206"/>
                  </a:cubicBezTo>
                  <a:cubicBezTo>
                    <a:pt x="76" y="5276"/>
                    <a:pt x="150" y="5311"/>
                    <a:pt x="297" y="5311"/>
                  </a:cubicBezTo>
                  <a:cubicBezTo>
                    <a:pt x="454" y="5311"/>
                    <a:pt x="533" y="5275"/>
                    <a:pt x="533" y="5204"/>
                  </a:cubicBezTo>
                  <a:cubicBezTo>
                    <a:pt x="533" y="5136"/>
                    <a:pt x="455" y="5102"/>
                    <a:pt x="300" y="5102"/>
                  </a:cubicBezTo>
                  <a:close/>
                  <a:moveTo>
                    <a:pt x="599" y="4800"/>
                  </a:moveTo>
                  <a:cubicBezTo>
                    <a:pt x="599" y="4901"/>
                    <a:pt x="599" y="4901"/>
                    <a:pt x="599" y="4901"/>
                  </a:cubicBezTo>
                  <a:cubicBezTo>
                    <a:pt x="10" y="4901"/>
                    <a:pt x="10" y="4901"/>
                    <a:pt x="10" y="4901"/>
                  </a:cubicBezTo>
                  <a:cubicBezTo>
                    <a:pt x="10" y="4800"/>
                    <a:pt x="10" y="4800"/>
                    <a:pt x="10" y="4800"/>
                  </a:cubicBezTo>
                  <a:lnTo>
                    <a:pt x="599" y="4800"/>
                  </a:lnTo>
                  <a:close/>
                  <a:moveTo>
                    <a:pt x="79" y="4348"/>
                  </a:moveTo>
                  <a:cubicBezTo>
                    <a:pt x="131" y="4311"/>
                    <a:pt x="207" y="4293"/>
                    <a:pt x="307" y="4293"/>
                  </a:cubicBezTo>
                  <a:cubicBezTo>
                    <a:pt x="508" y="4293"/>
                    <a:pt x="609" y="4358"/>
                    <a:pt x="609" y="4487"/>
                  </a:cubicBezTo>
                  <a:cubicBezTo>
                    <a:pt x="609" y="4555"/>
                    <a:pt x="582" y="4607"/>
                    <a:pt x="529" y="4642"/>
                  </a:cubicBezTo>
                  <a:cubicBezTo>
                    <a:pt x="475" y="4678"/>
                    <a:pt x="397" y="4696"/>
                    <a:pt x="293" y="4696"/>
                  </a:cubicBezTo>
                  <a:cubicBezTo>
                    <a:pt x="198" y="4696"/>
                    <a:pt x="126" y="4679"/>
                    <a:pt x="75" y="4645"/>
                  </a:cubicBezTo>
                  <a:cubicBezTo>
                    <a:pt x="25" y="4610"/>
                    <a:pt x="0" y="4562"/>
                    <a:pt x="0" y="4501"/>
                  </a:cubicBezTo>
                  <a:cubicBezTo>
                    <a:pt x="0" y="4435"/>
                    <a:pt x="27" y="4384"/>
                    <a:pt x="79" y="4348"/>
                  </a:cubicBezTo>
                  <a:close/>
                  <a:moveTo>
                    <a:pt x="300" y="4390"/>
                  </a:moveTo>
                  <a:cubicBezTo>
                    <a:pt x="151" y="4390"/>
                    <a:pt x="76" y="4425"/>
                    <a:pt x="76" y="4494"/>
                  </a:cubicBezTo>
                  <a:cubicBezTo>
                    <a:pt x="76" y="4564"/>
                    <a:pt x="150" y="4599"/>
                    <a:pt x="297" y="4599"/>
                  </a:cubicBezTo>
                  <a:cubicBezTo>
                    <a:pt x="454" y="4599"/>
                    <a:pt x="533" y="4563"/>
                    <a:pt x="533" y="4492"/>
                  </a:cubicBezTo>
                  <a:cubicBezTo>
                    <a:pt x="533" y="4424"/>
                    <a:pt x="455" y="4390"/>
                    <a:pt x="300" y="4390"/>
                  </a:cubicBezTo>
                  <a:close/>
                  <a:moveTo>
                    <a:pt x="79" y="3881"/>
                  </a:moveTo>
                  <a:cubicBezTo>
                    <a:pt x="131" y="3844"/>
                    <a:pt x="207" y="3826"/>
                    <a:pt x="307" y="3826"/>
                  </a:cubicBezTo>
                  <a:cubicBezTo>
                    <a:pt x="508" y="3826"/>
                    <a:pt x="609" y="3891"/>
                    <a:pt x="609" y="4020"/>
                  </a:cubicBezTo>
                  <a:cubicBezTo>
                    <a:pt x="609" y="4088"/>
                    <a:pt x="582" y="4140"/>
                    <a:pt x="529" y="4175"/>
                  </a:cubicBezTo>
                  <a:cubicBezTo>
                    <a:pt x="475" y="4211"/>
                    <a:pt x="397" y="4229"/>
                    <a:pt x="293" y="4229"/>
                  </a:cubicBezTo>
                  <a:cubicBezTo>
                    <a:pt x="198" y="4229"/>
                    <a:pt x="126" y="4212"/>
                    <a:pt x="75" y="4178"/>
                  </a:cubicBezTo>
                  <a:cubicBezTo>
                    <a:pt x="25" y="4143"/>
                    <a:pt x="0" y="4096"/>
                    <a:pt x="0" y="4034"/>
                  </a:cubicBezTo>
                  <a:cubicBezTo>
                    <a:pt x="0" y="3969"/>
                    <a:pt x="27" y="3917"/>
                    <a:pt x="79" y="3881"/>
                  </a:cubicBezTo>
                  <a:close/>
                  <a:moveTo>
                    <a:pt x="300" y="3923"/>
                  </a:moveTo>
                  <a:cubicBezTo>
                    <a:pt x="151" y="3923"/>
                    <a:pt x="76" y="3958"/>
                    <a:pt x="76" y="4027"/>
                  </a:cubicBezTo>
                  <a:cubicBezTo>
                    <a:pt x="76" y="4097"/>
                    <a:pt x="150" y="4132"/>
                    <a:pt x="297" y="4132"/>
                  </a:cubicBezTo>
                  <a:cubicBezTo>
                    <a:pt x="454" y="4132"/>
                    <a:pt x="533" y="4096"/>
                    <a:pt x="533" y="4025"/>
                  </a:cubicBezTo>
                  <a:cubicBezTo>
                    <a:pt x="533" y="3957"/>
                    <a:pt x="455" y="3923"/>
                    <a:pt x="300" y="3923"/>
                  </a:cubicBezTo>
                  <a:close/>
                  <a:moveTo>
                    <a:pt x="599" y="3622"/>
                  </a:moveTo>
                  <a:cubicBezTo>
                    <a:pt x="599" y="3722"/>
                    <a:pt x="599" y="3722"/>
                    <a:pt x="599" y="3722"/>
                  </a:cubicBezTo>
                  <a:cubicBezTo>
                    <a:pt x="10" y="3722"/>
                    <a:pt x="10" y="3722"/>
                    <a:pt x="10" y="3722"/>
                  </a:cubicBezTo>
                  <a:cubicBezTo>
                    <a:pt x="10" y="3622"/>
                    <a:pt x="10" y="3622"/>
                    <a:pt x="10" y="3622"/>
                  </a:cubicBezTo>
                  <a:lnTo>
                    <a:pt x="599" y="3622"/>
                  </a:lnTo>
                  <a:close/>
                  <a:moveTo>
                    <a:pt x="79" y="3169"/>
                  </a:moveTo>
                  <a:cubicBezTo>
                    <a:pt x="131" y="3132"/>
                    <a:pt x="207" y="3114"/>
                    <a:pt x="307" y="3114"/>
                  </a:cubicBezTo>
                  <a:cubicBezTo>
                    <a:pt x="508" y="3114"/>
                    <a:pt x="609" y="3179"/>
                    <a:pt x="609" y="3308"/>
                  </a:cubicBezTo>
                  <a:cubicBezTo>
                    <a:pt x="609" y="3376"/>
                    <a:pt x="582" y="3427"/>
                    <a:pt x="529" y="3463"/>
                  </a:cubicBezTo>
                  <a:cubicBezTo>
                    <a:pt x="475" y="3499"/>
                    <a:pt x="397" y="3517"/>
                    <a:pt x="293" y="3517"/>
                  </a:cubicBezTo>
                  <a:cubicBezTo>
                    <a:pt x="198" y="3517"/>
                    <a:pt x="126" y="3500"/>
                    <a:pt x="75" y="3465"/>
                  </a:cubicBezTo>
                  <a:cubicBezTo>
                    <a:pt x="25" y="3431"/>
                    <a:pt x="0" y="3383"/>
                    <a:pt x="0" y="3322"/>
                  </a:cubicBezTo>
                  <a:cubicBezTo>
                    <a:pt x="0" y="3256"/>
                    <a:pt x="27" y="3205"/>
                    <a:pt x="79" y="3169"/>
                  </a:cubicBezTo>
                  <a:close/>
                  <a:moveTo>
                    <a:pt x="300" y="3211"/>
                  </a:moveTo>
                  <a:cubicBezTo>
                    <a:pt x="151" y="3211"/>
                    <a:pt x="76" y="3246"/>
                    <a:pt x="76" y="3315"/>
                  </a:cubicBezTo>
                  <a:cubicBezTo>
                    <a:pt x="76" y="3385"/>
                    <a:pt x="150" y="3420"/>
                    <a:pt x="297" y="3420"/>
                  </a:cubicBezTo>
                  <a:cubicBezTo>
                    <a:pt x="454" y="3420"/>
                    <a:pt x="533" y="3384"/>
                    <a:pt x="533" y="3312"/>
                  </a:cubicBezTo>
                  <a:cubicBezTo>
                    <a:pt x="533" y="3245"/>
                    <a:pt x="455" y="3211"/>
                    <a:pt x="300" y="3211"/>
                  </a:cubicBezTo>
                  <a:close/>
                  <a:moveTo>
                    <a:pt x="599" y="2909"/>
                  </a:moveTo>
                  <a:cubicBezTo>
                    <a:pt x="599" y="3010"/>
                    <a:pt x="599" y="3010"/>
                    <a:pt x="599" y="3010"/>
                  </a:cubicBezTo>
                  <a:cubicBezTo>
                    <a:pt x="10" y="3010"/>
                    <a:pt x="10" y="3010"/>
                    <a:pt x="10" y="3010"/>
                  </a:cubicBezTo>
                  <a:cubicBezTo>
                    <a:pt x="10" y="2909"/>
                    <a:pt x="10" y="2909"/>
                    <a:pt x="10" y="2909"/>
                  </a:cubicBezTo>
                  <a:lnTo>
                    <a:pt x="599" y="2909"/>
                  </a:lnTo>
                  <a:close/>
                  <a:moveTo>
                    <a:pt x="599" y="2665"/>
                  </a:moveTo>
                  <a:cubicBezTo>
                    <a:pt x="599" y="2765"/>
                    <a:pt x="599" y="2765"/>
                    <a:pt x="599" y="2765"/>
                  </a:cubicBezTo>
                  <a:cubicBezTo>
                    <a:pt x="10" y="2765"/>
                    <a:pt x="10" y="2765"/>
                    <a:pt x="10" y="2765"/>
                  </a:cubicBezTo>
                  <a:cubicBezTo>
                    <a:pt x="10" y="2665"/>
                    <a:pt x="10" y="2665"/>
                    <a:pt x="10" y="2665"/>
                  </a:cubicBezTo>
                  <a:lnTo>
                    <a:pt x="599" y="2665"/>
                  </a:lnTo>
                  <a:close/>
                  <a:moveTo>
                    <a:pt x="599" y="2419"/>
                  </a:moveTo>
                  <a:cubicBezTo>
                    <a:pt x="599" y="2520"/>
                    <a:pt x="599" y="2520"/>
                    <a:pt x="599" y="2520"/>
                  </a:cubicBezTo>
                  <a:cubicBezTo>
                    <a:pt x="10" y="2520"/>
                    <a:pt x="10" y="2520"/>
                    <a:pt x="10" y="2520"/>
                  </a:cubicBezTo>
                  <a:cubicBezTo>
                    <a:pt x="10" y="2419"/>
                    <a:pt x="10" y="2419"/>
                    <a:pt x="10" y="2419"/>
                  </a:cubicBezTo>
                  <a:lnTo>
                    <a:pt x="599" y="2419"/>
                  </a:lnTo>
                  <a:close/>
                  <a:moveTo>
                    <a:pt x="79" y="1966"/>
                  </a:moveTo>
                  <a:cubicBezTo>
                    <a:pt x="131" y="1930"/>
                    <a:pt x="207" y="1912"/>
                    <a:pt x="307" y="1912"/>
                  </a:cubicBezTo>
                  <a:cubicBezTo>
                    <a:pt x="508" y="1912"/>
                    <a:pt x="609" y="1976"/>
                    <a:pt x="609" y="2106"/>
                  </a:cubicBezTo>
                  <a:cubicBezTo>
                    <a:pt x="609" y="2173"/>
                    <a:pt x="582" y="2225"/>
                    <a:pt x="529" y="2261"/>
                  </a:cubicBezTo>
                  <a:cubicBezTo>
                    <a:pt x="475" y="2297"/>
                    <a:pt x="397" y="2315"/>
                    <a:pt x="293" y="2315"/>
                  </a:cubicBezTo>
                  <a:cubicBezTo>
                    <a:pt x="198" y="2315"/>
                    <a:pt x="126" y="2298"/>
                    <a:pt x="75" y="2263"/>
                  </a:cubicBezTo>
                  <a:cubicBezTo>
                    <a:pt x="25" y="2229"/>
                    <a:pt x="0" y="2181"/>
                    <a:pt x="0" y="2120"/>
                  </a:cubicBezTo>
                  <a:cubicBezTo>
                    <a:pt x="0" y="2054"/>
                    <a:pt x="27" y="2003"/>
                    <a:pt x="79" y="1966"/>
                  </a:cubicBezTo>
                  <a:close/>
                  <a:moveTo>
                    <a:pt x="300" y="2009"/>
                  </a:moveTo>
                  <a:cubicBezTo>
                    <a:pt x="151" y="2009"/>
                    <a:pt x="76" y="2043"/>
                    <a:pt x="76" y="2112"/>
                  </a:cubicBezTo>
                  <a:cubicBezTo>
                    <a:pt x="76" y="2182"/>
                    <a:pt x="150" y="2218"/>
                    <a:pt x="297" y="2218"/>
                  </a:cubicBezTo>
                  <a:cubicBezTo>
                    <a:pt x="454" y="2218"/>
                    <a:pt x="533" y="2182"/>
                    <a:pt x="533" y="2110"/>
                  </a:cubicBezTo>
                  <a:cubicBezTo>
                    <a:pt x="533" y="2043"/>
                    <a:pt x="455" y="2009"/>
                    <a:pt x="300" y="2009"/>
                  </a:cubicBezTo>
                  <a:close/>
                  <a:moveTo>
                    <a:pt x="138" y="1449"/>
                  </a:moveTo>
                  <a:cubicBezTo>
                    <a:pt x="196" y="1422"/>
                    <a:pt x="274" y="1418"/>
                    <a:pt x="372" y="1437"/>
                  </a:cubicBezTo>
                  <a:cubicBezTo>
                    <a:pt x="570" y="1474"/>
                    <a:pt x="657" y="1556"/>
                    <a:pt x="633" y="1683"/>
                  </a:cubicBezTo>
                  <a:cubicBezTo>
                    <a:pt x="621" y="1750"/>
                    <a:pt x="585" y="1796"/>
                    <a:pt x="526" y="1821"/>
                  </a:cubicBezTo>
                  <a:cubicBezTo>
                    <a:pt x="467" y="1846"/>
                    <a:pt x="386" y="1850"/>
                    <a:pt x="284" y="1830"/>
                  </a:cubicBezTo>
                  <a:cubicBezTo>
                    <a:pt x="191" y="1813"/>
                    <a:pt x="123" y="1783"/>
                    <a:pt x="80" y="1740"/>
                  </a:cubicBezTo>
                  <a:cubicBezTo>
                    <a:pt x="37" y="1697"/>
                    <a:pt x="21" y="1645"/>
                    <a:pt x="32" y="1585"/>
                  </a:cubicBezTo>
                  <a:cubicBezTo>
                    <a:pt x="45" y="1520"/>
                    <a:pt x="80" y="1475"/>
                    <a:pt x="138" y="1449"/>
                  </a:cubicBezTo>
                  <a:close/>
                  <a:moveTo>
                    <a:pt x="348" y="1531"/>
                  </a:moveTo>
                  <a:cubicBezTo>
                    <a:pt x="201" y="1504"/>
                    <a:pt x="121" y="1524"/>
                    <a:pt x="108" y="1592"/>
                  </a:cubicBezTo>
                  <a:cubicBezTo>
                    <a:pt x="95" y="1660"/>
                    <a:pt x="161" y="1708"/>
                    <a:pt x="306" y="1736"/>
                  </a:cubicBezTo>
                  <a:cubicBezTo>
                    <a:pt x="460" y="1765"/>
                    <a:pt x="544" y="1744"/>
                    <a:pt x="558" y="1674"/>
                  </a:cubicBezTo>
                  <a:cubicBezTo>
                    <a:pt x="570" y="1607"/>
                    <a:pt x="500" y="1560"/>
                    <a:pt x="348" y="1531"/>
                  </a:cubicBezTo>
                  <a:close/>
                  <a:moveTo>
                    <a:pt x="363" y="938"/>
                  </a:moveTo>
                  <a:cubicBezTo>
                    <a:pt x="427" y="931"/>
                    <a:pt x="502" y="950"/>
                    <a:pt x="591" y="997"/>
                  </a:cubicBezTo>
                  <a:cubicBezTo>
                    <a:pt x="768" y="1091"/>
                    <a:pt x="827" y="1196"/>
                    <a:pt x="766" y="1310"/>
                  </a:cubicBezTo>
                  <a:cubicBezTo>
                    <a:pt x="734" y="1370"/>
                    <a:pt x="687" y="1403"/>
                    <a:pt x="623" y="1409"/>
                  </a:cubicBezTo>
                  <a:cubicBezTo>
                    <a:pt x="559" y="1416"/>
                    <a:pt x="481" y="1395"/>
                    <a:pt x="389" y="1346"/>
                  </a:cubicBezTo>
                  <a:cubicBezTo>
                    <a:pt x="305" y="1302"/>
                    <a:pt x="249" y="1253"/>
                    <a:pt x="221" y="1199"/>
                  </a:cubicBezTo>
                  <a:cubicBezTo>
                    <a:pt x="193" y="1145"/>
                    <a:pt x="193" y="1091"/>
                    <a:pt x="222" y="1037"/>
                  </a:cubicBezTo>
                  <a:cubicBezTo>
                    <a:pt x="253" y="979"/>
                    <a:pt x="300" y="946"/>
                    <a:pt x="363" y="938"/>
                  </a:cubicBezTo>
                  <a:close/>
                  <a:moveTo>
                    <a:pt x="539" y="1080"/>
                  </a:moveTo>
                  <a:cubicBezTo>
                    <a:pt x="407" y="1010"/>
                    <a:pt x="325" y="1005"/>
                    <a:pt x="292" y="1066"/>
                  </a:cubicBezTo>
                  <a:cubicBezTo>
                    <a:pt x="259" y="1128"/>
                    <a:pt x="308" y="1193"/>
                    <a:pt x="438" y="1262"/>
                  </a:cubicBezTo>
                  <a:cubicBezTo>
                    <a:pt x="577" y="1336"/>
                    <a:pt x="663" y="1341"/>
                    <a:pt x="697" y="1278"/>
                  </a:cubicBezTo>
                  <a:cubicBezTo>
                    <a:pt x="729" y="1219"/>
                    <a:pt x="676" y="1152"/>
                    <a:pt x="539" y="1080"/>
                  </a:cubicBezTo>
                  <a:close/>
                  <a:moveTo>
                    <a:pt x="960" y="1022"/>
                  </a:moveTo>
                  <a:cubicBezTo>
                    <a:pt x="894" y="1098"/>
                    <a:pt x="894" y="1098"/>
                    <a:pt x="894" y="1098"/>
                  </a:cubicBezTo>
                  <a:cubicBezTo>
                    <a:pt x="450" y="712"/>
                    <a:pt x="450" y="712"/>
                    <a:pt x="450" y="712"/>
                  </a:cubicBezTo>
                  <a:cubicBezTo>
                    <a:pt x="516" y="636"/>
                    <a:pt x="516" y="636"/>
                    <a:pt x="516" y="636"/>
                  </a:cubicBezTo>
                  <a:lnTo>
                    <a:pt x="960" y="1022"/>
                  </a:lnTo>
                  <a:close/>
                  <a:moveTo>
                    <a:pt x="966" y="346"/>
                  </a:moveTo>
                  <a:cubicBezTo>
                    <a:pt x="1026" y="367"/>
                    <a:pt x="1086" y="418"/>
                    <a:pt x="1144" y="499"/>
                  </a:cubicBezTo>
                  <a:cubicBezTo>
                    <a:pt x="1263" y="661"/>
                    <a:pt x="1269" y="781"/>
                    <a:pt x="1164" y="857"/>
                  </a:cubicBezTo>
                  <a:cubicBezTo>
                    <a:pt x="1110" y="897"/>
                    <a:pt x="1052" y="905"/>
                    <a:pt x="992" y="883"/>
                  </a:cubicBezTo>
                  <a:cubicBezTo>
                    <a:pt x="931" y="861"/>
                    <a:pt x="871" y="808"/>
                    <a:pt x="810" y="724"/>
                  </a:cubicBezTo>
                  <a:cubicBezTo>
                    <a:pt x="754" y="647"/>
                    <a:pt x="725" y="579"/>
                    <a:pt x="724" y="518"/>
                  </a:cubicBezTo>
                  <a:cubicBezTo>
                    <a:pt x="722" y="457"/>
                    <a:pt x="746" y="409"/>
                    <a:pt x="796" y="373"/>
                  </a:cubicBezTo>
                  <a:cubicBezTo>
                    <a:pt x="849" y="334"/>
                    <a:pt x="906" y="325"/>
                    <a:pt x="966" y="346"/>
                  </a:cubicBezTo>
                  <a:close/>
                  <a:moveTo>
                    <a:pt x="1062" y="550"/>
                  </a:moveTo>
                  <a:cubicBezTo>
                    <a:pt x="974" y="429"/>
                    <a:pt x="902" y="389"/>
                    <a:pt x="846" y="430"/>
                  </a:cubicBezTo>
                  <a:cubicBezTo>
                    <a:pt x="789" y="471"/>
                    <a:pt x="804" y="551"/>
                    <a:pt x="891" y="670"/>
                  </a:cubicBezTo>
                  <a:cubicBezTo>
                    <a:pt x="983" y="797"/>
                    <a:pt x="1058" y="840"/>
                    <a:pt x="1116" y="798"/>
                  </a:cubicBezTo>
                  <a:cubicBezTo>
                    <a:pt x="1171" y="758"/>
                    <a:pt x="1153" y="676"/>
                    <a:pt x="1062" y="550"/>
                  </a:cubicBezTo>
                  <a:close/>
                  <a:moveTo>
                    <a:pt x="1465" y="684"/>
                  </a:moveTo>
                  <a:cubicBezTo>
                    <a:pt x="1372" y="723"/>
                    <a:pt x="1372" y="723"/>
                    <a:pt x="1372" y="723"/>
                  </a:cubicBezTo>
                  <a:cubicBezTo>
                    <a:pt x="1143" y="180"/>
                    <a:pt x="1143" y="180"/>
                    <a:pt x="1143" y="180"/>
                  </a:cubicBezTo>
                  <a:cubicBezTo>
                    <a:pt x="1236" y="141"/>
                    <a:pt x="1236" y="141"/>
                    <a:pt x="1236" y="141"/>
                  </a:cubicBezTo>
                  <a:lnTo>
                    <a:pt x="1465" y="684"/>
                  </a:lnTo>
                  <a:close/>
                  <a:moveTo>
                    <a:pt x="1769" y="81"/>
                  </a:moveTo>
                  <a:cubicBezTo>
                    <a:pt x="1814" y="126"/>
                    <a:pt x="1845" y="198"/>
                    <a:pt x="1861" y="297"/>
                  </a:cubicBezTo>
                  <a:cubicBezTo>
                    <a:pt x="1895" y="495"/>
                    <a:pt x="1848" y="605"/>
                    <a:pt x="1720" y="627"/>
                  </a:cubicBezTo>
                  <a:cubicBezTo>
                    <a:pt x="1654" y="638"/>
                    <a:pt x="1598" y="620"/>
                    <a:pt x="1554" y="574"/>
                  </a:cubicBezTo>
                  <a:cubicBezTo>
                    <a:pt x="1510" y="527"/>
                    <a:pt x="1479" y="452"/>
                    <a:pt x="1461" y="350"/>
                  </a:cubicBezTo>
                  <a:cubicBezTo>
                    <a:pt x="1445" y="257"/>
                    <a:pt x="1450" y="182"/>
                    <a:pt x="1476" y="127"/>
                  </a:cubicBezTo>
                  <a:cubicBezTo>
                    <a:pt x="1501" y="72"/>
                    <a:pt x="1544" y="39"/>
                    <a:pt x="1605" y="29"/>
                  </a:cubicBezTo>
                  <a:cubicBezTo>
                    <a:pt x="1669" y="18"/>
                    <a:pt x="1724" y="35"/>
                    <a:pt x="1769" y="81"/>
                  </a:cubicBezTo>
                  <a:close/>
                  <a:moveTo>
                    <a:pt x="1764" y="306"/>
                  </a:moveTo>
                  <a:cubicBezTo>
                    <a:pt x="1739" y="159"/>
                    <a:pt x="1693" y="91"/>
                    <a:pt x="1625" y="102"/>
                  </a:cubicBezTo>
                  <a:cubicBezTo>
                    <a:pt x="1555" y="114"/>
                    <a:pt x="1533" y="192"/>
                    <a:pt x="1558" y="338"/>
                  </a:cubicBezTo>
                  <a:cubicBezTo>
                    <a:pt x="1584" y="493"/>
                    <a:pt x="1633" y="564"/>
                    <a:pt x="1703" y="552"/>
                  </a:cubicBezTo>
                  <a:cubicBezTo>
                    <a:pt x="1770" y="541"/>
                    <a:pt x="1790" y="459"/>
                    <a:pt x="1764" y="306"/>
                  </a:cubicBezTo>
                  <a:close/>
                  <a:moveTo>
                    <a:pt x="2079" y="599"/>
                  </a:moveTo>
                  <a:cubicBezTo>
                    <a:pt x="1978" y="599"/>
                    <a:pt x="1978" y="599"/>
                    <a:pt x="1978" y="599"/>
                  </a:cubicBezTo>
                  <a:cubicBezTo>
                    <a:pt x="1978" y="10"/>
                    <a:pt x="1978" y="10"/>
                    <a:pt x="1978" y="10"/>
                  </a:cubicBezTo>
                  <a:cubicBezTo>
                    <a:pt x="2079" y="10"/>
                    <a:pt x="2079" y="10"/>
                    <a:pt x="2079" y="10"/>
                  </a:cubicBezTo>
                  <a:lnTo>
                    <a:pt x="2079" y="599"/>
                  </a:lnTo>
                  <a:close/>
                  <a:moveTo>
                    <a:pt x="2532" y="79"/>
                  </a:moveTo>
                  <a:cubicBezTo>
                    <a:pt x="2568" y="132"/>
                    <a:pt x="2587" y="208"/>
                    <a:pt x="2587" y="307"/>
                  </a:cubicBezTo>
                  <a:cubicBezTo>
                    <a:pt x="2587" y="508"/>
                    <a:pt x="2522" y="609"/>
                    <a:pt x="2393" y="609"/>
                  </a:cubicBezTo>
                  <a:cubicBezTo>
                    <a:pt x="2325" y="609"/>
                    <a:pt x="2273" y="582"/>
                    <a:pt x="2237" y="529"/>
                  </a:cubicBezTo>
                  <a:cubicBezTo>
                    <a:pt x="2201" y="476"/>
                    <a:pt x="2184" y="397"/>
                    <a:pt x="2184" y="293"/>
                  </a:cubicBezTo>
                  <a:cubicBezTo>
                    <a:pt x="2184" y="198"/>
                    <a:pt x="2201" y="126"/>
                    <a:pt x="2235" y="76"/>
                  </a:cubicBezTo>
                  <a:cubicBezTo>
                    <a:pt x="2269" y="26"/>
                    <a:pt x="2317" y="0"/>
                    <a:pt x="2379" y="0"/>
                  </a:cubicBezTo>
                  <a:cubicBezTo>
                    <a:pt x="2444" y="0"/>
                    <a:pt x="2495" y="27"/>
                    <a:pt x="2532" y="79"/>
                  </a:cubicBezTo>
                  <a:close/>
                  <a:moveTo>
                    <a:pt x="2489" y="301"/>
                  </a:moveTo>
                  <a:cubicBezTo>
                    <a:pt x="2489" y="151"/>
                    <a:pt x="2455" y="76"/>
                    <a:pt x="2386" y="76"/>
                  </a:cubicBezTo>
                  <a:cubicBezTo>
                    <a:pt x="2316" y="76"/>
                    <a:pt x="2281" y="150"/>
                    <a:pt x="2281" y="297"/>
                  </a:cubicBezTo>
                  <a:cubicBezTo>
                    <a:pt x="2281" y="454"/>
                    <a:pt x="2317" y="533"/>
                    <a:pt x="2388" y="533"/>
                  </a:cubicBezTo>
                  <a:cubicBezTo>
                    <a:pt x="2456" y="533"/>
                    <a:pt x="2489" y="456"/>
                    <a:pt x="2489" y="301"/>
                  </a:cubicBezTo>
                  <a:close/>
                  <a:moveTo>
                    <a:pt x="2791" y="599"/>
                  </a:moveTo>
                  <a:cubicBezTo>
                    <a:pt x="2690" y="599"/>
                    <a:pt x="2690" y="599"/>
                    <a:pt x="2690" y="599"/>
                  </a:cubicBezTo>
                  <a:cubicBezTo>
                    <a:pt x="2690" y="10"/>
                    <a:pt x="2690" y="10"/>
                    <a:pt x="2690" y="10"/>
                  </a:cubicBezTo>
                  <a:cubicBezTo>
                    <a:pt x="2791" y="10"/>
                    <a:pt x="2791" y="10"/>
                    <a:pt x="2791" y="10"/>
                  </a:cubicBezTo>
                  <a:lnTo>
                    <a:pt x="2791" y="599"/>
                  </a:lnTo>
                  <a:close/>
                  <a:moveTo>
                    <a:pt x="3244" y="79"/>
                  </a:moveTo>
                  <a:cubicBezTo>
                    <a:pt x="3281" y="132"/>
                    <a:pt x="3299" y="208"/>
                    <a:pt x="3299" y="307"/>
                  </a:cubicBezTo>
                  <a:cubicBezTo>
                    <a:pt x="3299" y="508"/>
                    <a:pt x="3234" y="609"/>
                    <a:pt x="3105" y="609"/>
                  </a:cubicBezTo>
                  <a:cubicBezTo>
                    <a:pt x="3037" y="609"/>
                    <a:pt x="2985" y="582"/>
                    <a:pt x="2949" y="529"/>
                  </a:cubicBezTo>
                  <a:cubicBezTo>
                    <a:pt x="2914" y="476"/>
                    <a:pt x="2896" y="397"/>
                    <a:pt x="2896" y="293"/>
                  </a:cubicBezTo>
                  <a:cubicBezTo>
                    <a:pt x="2896" y="198"/>
                    <a:pt x="2913" y="126"/>
                    <a:pt x="2947" y="76"/>
                  </a:cubicBezTo>
                  <a:cubicBezTo>
                    <a:pt x="2982" y="26"/>
                    <a:pt x="3029" y="0"/>
                    <a:pt x="3091" y="0"/>
                  </a:cubicBezTo>
                  <a:cubicBezTo>
                    <a:pt x="3156" y="0"/>
                    <a:pt x="3207" y="27"/>
                    <a:pt x="3244" y="79"/>
                  </a:cubicBezTo>
                  <a:close/>
                  <a:moveTo>
                    <a:pt x="3202" y="301"/>
                  </a:moveTo>
                  <a:cubicBezTo>
                    <a:pt x="3202" y="151"/>
                    <a:pt x="3167" y="76"/>
                    <a:pt x="3098" y="76"/>
                  </a:cubicBezTo>
                  <a:cubicBezTo>
                    <a:pt x="3028" y="76"/>
                    <a:pt x="2993" y="150"/>
                    <a:pt x="2993" y="297"/>
                  </a:cubicBezTo>
                  <a:cubicBezTo>
                    <a:pt x="2993" y="454"/>
                    <a:pt x="3029" y="533"/>
                    <a:pt x="3100" y="533"/>
                  </a:cubicBezTo>
                  <a:cubicBezTo>
                    <a:pt x="3168" y="533"/>
                    <a:pt x="3202" y="456"/>
                    <a:pt x="3202" y="301"/>
                  </a:cubicBezTo>
                  <a:close/>
                  <a:moveTo>
                    <a:pt x="3503" y="599"/>
                  </a:moveTo>
                  <a:cubicBezTo>
                    <a:pt x="3403" y="599"/>
                    <a:pt x="3403" y="599"/>
                    <a:pt x="3403" y="599"/>
                  </a:cubicBezTo>
                  <a:cubicBezTo>
                    <a:pt x="3403" y="10"/>
                    <a:pt x="3403" y="10"/>
                    <a:pt x="3403" y="10"/>
                  </a:cubicBezTo>
                  <a:cubicBezTo>
                    <a:pt x="3503" y="10"/>
                    <a:pt x="3503" y="10"/>
                    <a:pt x="3503" y="10"/>
                  </a:cubicBezTo>
                  <a:lnTo>
                    <a:pt x="3503" y="599"/>
                  </a:lnTo>
                  <a:close/>
                  <a:moveTo>
                    <a:pt x="3956" y="79"/>
                  </a:moveTo>
                  <a:cubicBezTo>
                    <a:pt x="3993" y="132"/>
                    <a:pt x="4011" y="208"/>
                    <a:pt x="4011" y="307"/>
                  </a:cubicBezTo>
                  <a:cubicBezTo>
                    <a:pt x="4011" y="508"/>
                    <a:pt x="3946" y="609"/>
                    <a:pt x="3817" y="609"/>
                  </a:cubicBezTo>
                  <a:cubicBezTo>
                    <a:pt x="3749" y="609"/>
                    <a:pt x="3697" y="582"/>
                    <a:pt x="3662" y="529"/>
                  </a:cubicBezTo>
                  <a:cubicBezTo>
                    <a:pt x="3626" y="476"/>
                    <a:pt x="3608" y="397"/>
                    <a:pt x="3608" y="293"/>
                  </a:cubicBezTo>
                  <a:cubicBezTo>
                    <a:pt x="3608" y="198"/>
                    <a:pt x="3625" y="126"/>
                    <a:pt x="3659" y="76"/>
                  </a:cubicBezTo>
                  <a:cubicBezTo>
                    <a:pt x="3694" y="26"/>
                    <a:pt x="3741" y="0"/>
                    <a:pt x="3803" y="0"/>
                  </a:cubicBezTo>
                  <a:cubicBezTo>
                    <a:pt x="3868" y="0"/>
                    <a:pt x="3920" y="27"/>
                    <a:pt x="3956" y="79"/>
                  </a:cubicBezTo>
                  <a:close/>
                  <a:moveTo>
                    <a:pt x="3914" y="301"/>
                  </a:moveTo>
                  <a:cubicBezTo>
                    <a:pt x="3914" y="151"/>
                    <a:pt x="3879" y="76"/>
                    <a:pt x="3810" y="76"/>
                  </a:cubicBezTo>
                  <a:cubicBezTo>
                    <a:pt x="3740" y="76"/>
                    <a:pt x="3705" y="150"/>
                    <a:pt x="3705" y="297"/>
                  </a:cubicBezTo>
                  <a:cubicBezTo>
                    <a:pt x="3705" y="454"/>
                    <a:pt x="3741" y="533"/>
                    <a:pt x="3812" y="533"/>
                  </a:cubicBezTo>
                  <a:cubicBezTo>
                    <a:pt x="3880" y="533"/>
                    <a:pt x="3914" y="456"/>
                    <a:pt x="3914" y="301"/>
                  </a:cubicBezTo>
                  <a:close/>
                  <a:moveTo>
                    <a:pt x="4215" y="599"/>
                  </a:moveTo>
                  <a:cubicBezTo>
                    <a:pt x="4115" y="599"/>
                    <a:pt x="4115" y="599"/>
                    <a:pt x="4115" y="599"/>
                  </a:cubicBezTo>
                  <a:cubicBezTo>
                    <a:pt x="4115" y="10"/>
                    <a:pt x="4115" y="10"/>
                    <a:pt x="4115" y="10"/>
                  </a:cubicBezTo>
                  <a:cubicBezTo>
                    <a:pt x="4215" y="10"/>
                    <a:pt x="4215" y="10"/>
                    <a:pt x="4215" y="10"/>
                  </a:cubicBezTo>
                  <a:lnTo>
                    <a:pt x="4215" y="599"/>
                  </a:lnTo>
                  <a:close/>
                  <a:moveTo>
                    <a:pt x="4668" y="79"/>
                  </a:moveTo>
                  <a:cubicBezTo>
                    <a:pt x="4704" y="132"/>
                    <a:pt x="4723" y="208"/>
                    <a:pt x="4723" y="307"/>
                  </a:cubicBezTo>
                  <a:cubicBezTo>
                    <a:pt x="4723" y="508"/>
                    <a:pt x="4658" y="609"/>
                    <a:pt x="4528" y="609"/>
                  </a:cubicBezTo>
                  <a:cubicBezTo>
                    <a:pt x="4461" y="609"/>
                    <a:pt x="4409" y="582"/>
                    <a:pt x="4373" y="529"/>
                  </a:cubicBezTo>
                  <a:cubicBezTo>
                    <a:pt x="4337" y="476"/>
                    <a:pt x="4319" y="397"/>
                    <a:pt x="4319" y="293"/>
                  </a:cubicBezTo>
                  <a:cubicBezTo>
                    <a:pt x="4319" y="198"/>
                    <a:pt x="4337" y="126"/>
                    <a:pt x="4371" y="76"/>
                  </a:cubicBezTo>
                  <a:cubicBezTo>
                    <a:pt x="4405" y="26"/>
                    <a:pt x="4453" y="0"/>
                    <a:pt x="4514" y="0"/>
                  </a:cubicBezTo>
                  <a:cubicBezTo>
                    <a:pt x="4580" y="0"/>
                    <a:pt x="4631" y="27"/>
                    <a:pt x="4668" y="79"/>
                  </a:cubicBezTo>
                  <a:close/>
                  <a:moveTo>
                    <a:pt x="4625" y="301"/>
                  </a:moveTo>
                  <a:cubicBezTo>
                    <a:pt x="4625" y="151"/>
                    <a:pt x="4591" y="76"/>
                    <a:pt x="4522" y="76"/>
                  </a:cubicBezTo>
                  <a:cubicBezTo>
                    <a:pt x="4452" y="76"/>
                    <a:pt x="4417" y="150"/>
                    <a:pt x="4417" y="297"/>
                  </a:cubicBezTo>
                  <a:cubicBezTo>
                    <a:pt x="4417" y="454"/>
                    <a:pt x="4452" y="533"/>
                    <a:pt x="4524" y="533"/>
                  </a:cubicBezTo>
                  <a:cubicBezTo>
                    <a:pt x="4592" y="533"/>
                    <a:pt x="4625" y="456"/>
                    <a:pt x="4625" y="301"/>
                  </a:cubicBezTo>
                  <a:close/>
                  <a:moveTo>
                    <a:pt x="4927" y="599"/>
                  </a:moveTo>
                  <a:cubicBezTo>
                    <a:pt x="4827" y="599"/>
                    <a:pt x="4827" y="599"/>
                    <a:pt x="4827" y="599"/>
                  </a:cubicBezTo>
                  <a:cubicBezTo>
                    <a:pt x="4827" y="10"/>
                    <a:pt x="4827" y="10"/>
                    <a:pt x="4827" y="10"/>
                  </a:cubicBezTo>
                  <a:cubicBezTo>
                    <a:pt x="4927" y="10"/>
                    <a:pt x="4927" y="10"/>
                    <a:pt x="4927" y="10"/>
                  </a:cubicBezTo>
                  <a:lnTo>
                    <a:pt x="4927" y="599"/>
                  </a:lnTo>
                  <a:close/>
                  <a:moveTo>
                    <a:pt x="5380" y="79"/>
                  </a:moveTo>
                  <a:cubicBezTo>
                    <a:pt x="5416" y="132"/>
                    <a:pt x="5435" y="208"/>
                    <a:pt x="5435" y="307"/>
                  </a:cubicBezTo>
                  <a:cubicBezTo>
                    <a:pt x="5435" y="508"/>
                    <a:pt x="5370" y="609"/>
                    <a:pt x="5241" y="609"/>
                  </a:cubicBezTo>
                  <a:cubicBezTo>
                    <a:pt x="5173" y="609"/>
                    <a:pt x="5121" y="582"/>
                    <a:pt x="5085" y="529"/>
                  </a:cubicBezTo>
                  <a:cubicBezTo>
                    <a:pt x="5049" y="476"/>
                    <a:pt x="5032" y="397"/>
                    <a:pt x="5032" y="293"/>
                  </a:cubicBezTo>
                  <a:cubicBezTo>
                    <a:pt x="5032" y="198"/>
                    <a:pt x="5049" y="126"/>
                    <a:pt x="5083" y="76"/>
                  </a:cubicBezTo>
                  <a:cubicBezTo>
                    <a:pt x="5117" y="26"/>
                    <a:pt x="5165" y="0"/>
                    <a:pt x="5227" y="0"/>
                  </a:cubicBezTo>
                  <a:cubicBezTo>
                    <a:pt x="5292" y="0"/>
                    <a:pt x="5343" y="27"/>
                    <a:pt x="5380" y="79"/>
                  </a:cubicBezTo>
                  <a:close/>
                  <a:moveTo>
                    <a:pt x="5337" y="301"/>
                  </a:moveTo>
                  <a:cubicBezTo>
                    <a:pt x="5337" y="151"/>
                    <a:pt x="5303" y="76"/>
                    <a:pt x="5234" y="76"/>
                  </a:cubicBezTo>
                  <a:cubicBezTo>
                    <a:pt x="5164" y="76"/>
                    <a:pt x="5129" y="150"/>
                    <a:pt x="5129" y="297"/>
                  </a:cubicBezTo>
                  <a:cubicBezTo>
                    <a:pt x="5129" y="454"/>
                    <a:pt x="5165" y="533"/>
                    <a:pt x="5236" y="533"/>
                  </a:cubicBezTo>
                  <a:cubicBezTo>
                    <a:pt x="5304" y="533"/>
                    <a:pt x="5337" y="456"/>
                    <a:pt x="5337" y="301"/>
                  </a:cubicBezTo>
                  <a:close/>
                  <a:moveTo>
                    <a:pt x="5575" y="641"/>
                  </a:moveTo>
                  <a:cubicBezTo>
                    <a:pt x="5478" y="614"/>
                    <a:pt x="5478" y="614"/>
                    <a:pt x="5478" y="614"/>
                  </a:cubicBezTo>
                  <a:cubicBezTo>
                    <a:pt x="5638" y="47"/>
                    <a:pt x="5638" y="47"/>
                    <a:pt x="5638" y="47"/>
                  </a:cubicBezTo>
                  <a:cubicBezTo>
                    <a:pt x="5735" y="75"/>
                    <a:pt x="5735" y="75"/>
                    <a:pt x="5735" y="75"/>
                  </a:cubicBezTo>
                  <a:lnTo>
                    <a:pt x="5575" y="641"/>
                  </a:lnTo>
                  <a:close/>
                  <a:moveTo>
                    <a:pt x="5745" y="728"/>
                  </a:moveTo>
                  <a:cubicBezTo>
                    <a:pt x="5658" y="677"/>
                    <a:pt x="5658" y="677"/>
                    <a:pt x="5658" y="677"/>
                  </a:cubicBezTo>
                  <a:cubicBezTo>
                    <a:pt x="5956" y="169"/>
                    <a:pt x="5956" y="169"/>
                    <a:pt x="5956" y="169"/>
                  </a:cubicBezTo>
                  <a:cubicBezTo>
                    <a:pt x="6043" y="220"/>
                    <a:pt x="6043" y="220"/>
                    <a:pt x="6043" y="220"/>
                  </a:cubicBezTo>
                  <a:lnTo>
                    <a:pt x="5745" y="728"/>
                  </a:lnTo>
                  <a:close/>
                  <a:moveTo>
                    <a:pt x="6407" y="675"/>
                  </a:moveTo>
                  <a:cubicBezTo>
                    <a:pt x="6389" y="736"/>
                    <a:pt x="6341" y="797"/>
                    <a:pt x="6262" y="859"/>
                  </a:cubicBezTo>
                  <a:cubicBezTo>
                    <a:pt x="6105" y="984"/>
                    <a:pt x="5986" y="996"/>
                    <a:pt x="5905" y="894"/>
                  </a:cubicBezTo>
                  <a:cubicBezTo>
                    <a:pt x="5863" y="841"/>
                    <a:pt x="5852" y="784"/>
                    <a:pt x="5872" y="723"/>
                  </a:cubicBezTo>
                  <a:cubicBezTo>
                    <a:pt x="5891" y="661"/>
                    <a:pt x="5942" y="599"/>
                    <a:pt x="6024" y="534"/>
                  </a:cubicBezTo>
                  <a:cubicBezTo>
                    <a:pt x="6098" y="475"/>
                    <a:pt x="6165" y="444"/>
                    <a:pt x="6226" y="440"/>
                  </a:cubicBezTo>
                  <a:cubicBezTo>
                    <a:pt x="6286" y="435"/>
                    <a:pt x="6336" y="457"/>
                    <a:pt x="6374" y="506"/>
                  </a:cubicBezTo>
                  <a:cubicBezTo>
                    <a:pt x="6415" y="557"/>
                    <a:pt x="6426" y="613"/>
                    <a:pt x="6407" y="675"/>
                  </a:cubicBezTo>
                  <a:close/>
                  <a:moveTo>
                    <a:pt x="6207" y="779"/>
                  </a:moveTo>
                  <a:cubicBezTo>
                    <a:pt x="6325" y="686"/>
                    <a:pt x="6362" y="612"/>
                    <a:pt x="6319" y="558"/>
                  </a:cubicBezTo>
                  <a:cubicBezTo>
                    <a:pt x="6276" y="503"/>
                    <a:pt x="6196" y="521"/>
                    <a:pt x="6081" y="613"/>
                  </a:cubicBezTo>
                  <a:cubicBezTo>
                    <a:pt x="5957" y="710"/>
                    <a:pt x="5918" y="787"/>
                    <a:pt x="5962" y="843"/>
                  </a:cubicBezTo>
                  <a:cubicBezTo>
                    <a:pt x="6004" y="896"/>
                    <a:pt x="6086" y="875"/>
                    <a:pt x="6207" y="779"/>
                  </a:cubicBezTo>
                  <a:close/>
                  <a:moveTo>
                    <a:pt x="6127" y="1217"/>
                  </a:moveTo>
                  <a:cubicBezTo>
                    <a:pt x="6070" y="1134"/>
                    <a:pt x="6070" y="1134"/>
                    <a:pt x="6070" y="1134"/>
                  </a:cubicBezTo>
                  <a:cubicBezTo>
                    <a:pt x="6558" y="805"/>
                    <a:pt x="6558" y="805"/>
                    <a:pt x="6558" y="805"/>
                  </a:cubicBezTo>
                  <a:cubicBezTo>
                    <a:pt x="6615" y="888"/>
                    <a:pt x="6615" y="888"/>
                    <a:pt x="6615" y="888"/>
                  </a:cubicBezTo>
                  <a:lnTo>
                    <a:pt x="6127" y="1217"/>
                  </a:lnTo>
                  <a:close/>
                  <a:moveTo>
                    <a:pt x="6290" y="1438"/>
                  </a:moveTo>
                  <a:cubicBezTo>
                    <a:pt x="6229" y="1358"/>
                    <a:pt x="6229" y="1358"/>
                    <a:pt x="6229" y="1358"/>
                  </a:cubicBezTo>
                  <a:cubicBezTo>
                    <a:pt x="6694" y="998"/>
                    <a:pt x="6694" y="998"/>
                    <a:pt x="6694" y="998"/>
                  </a:cubicBezTo>
                  <a:cubicBezTo>
                    <a:pt x="6756" y="1077"/>
                    <a:pt x="6756" y="1077"/>
                    <a:pt x="6756" y="1077"/>
                  </a:cubicBezTo>
                  <a:lnTo>
                    <a:pt x="6290" y="1438"/>
                  </a:lnTo>
                  <a:close/>
                  <a:moveTo>
                    <a:pt x="6467" y="1647"/>
                  </a:moveTo>
                  <a:cubicBezTo>
                    <a:pt x="6401" y="1571"/>
                    <a:pt x="6401" y="1571"/>
                    <a:pt x="6401" y="1571"/>
                  </a:cubicBezTo>
                  <a:cubicBezTo>
                    <a:pt x="6842" y="1182"/>
                    <a:pt x="6842" y="1182"/>
                    <a:pt x="6842" y="1182"/>
                  </a:cubicBezTo>
                  <a:cubicBezTo>
                    <a:pt x="6908" y="1257"/>
                    <a:pt x="6908" y="1257"/>
                    <a:pt x="6908" y="1257"/>
                  </a:cubicBezTo>
                  <a:lnTo>
                    <a:pt x="6467" y="1647"/>
                  </a:lnTo>
                  <a:close/>
                  <a:moveTo>
                    <a:pt x="7174" y="1615"/>
                  </a:moveTo>
                  <a:cubicBezTo>
                    <a:pt x="7165" y="1679"/>
                    <a:pt x="7126" y="1747"/>
                    <a:pt x="7058" y="1819"/>
                  </a:cubicBezTo>
                  <a:cubicBezTo>
                    <a:pt x="6920" y="1966"/>
                    <a:pt x="6804" y="1995"/>
                    <a:pt x="6710" y="1907"/>
                  </a:cubicBezTo>
                  <a:cubicBezTo>
                    <a:pt x="6660" y="1860"/>
                    <a:pt x="6641" y="1806"/>
                    <a:pt x="6651" y="1742"/>
                  </a:cubicBezTo>
                  <a:cubicBezTo>
                    <a:pt x="6662" y="1679"/>
                    <a:pt x="6702" y="1609"/>
                    <a:pt x="6773" y="1533"/>
                  </a:cubicBezTo>
                  <a:cubicBezTo>
                    <a:pt x="6838" y="1464"/>
                    <a:pt x="6900" y="1423"/>
                    <a:pt x="6960" y="1410"/>
                  </a:cubicBezTo>
                  <a:cubicBezTo>
                    <a:pt x="7019" y="1397"/>
                    <a:pt x="7071" y="1411"/>
                    <a:pt x="7116" y="1453"/>
                  </a:cubicBezTo>
                  <a:cubicBezTo>
                    <a:pt x="7164" y="1498"/>
                    <a:pt x="7183" y="1552"/>
                    <a:pt x="7174" y="1615"/>
                  </a:cubicBezTo>
                  <a:close/>
                  <a:moveTo>
                    <a:pt x="6991" y="1748"/>
                  </a:moveTo>
                  <a:cubicBezTo>
                    <a:pt x="7094" y="1639"/>
                    <a:pt x="7120" y="1560"/>
                    <a:pt x="7069" y="1513"/>
                  </a:cubicBezTo>
                  <a:cubicBezTo>
                    <a:pt x="7018" y="1465"/>
                    <a:pt x="6942" y="1495"/>
                    <a:pt x="6842" y="1603"/>
                  </a:cubicBezTo>
                  <a:cubicBezTo>
                    <a:pt x="6734" y="1717"/>
                    <a:pt x="6706" y="1799"/>
                    <a:pt x="6758" y="1848"/>
                  </a:cubicBezTo>
                  <a:cubicBezTo>
                    <a:pt x="6808" y="1894"/>
                    <a:pt x="6885" y="1861"/>
                    <a:pt x="6991" y="1748"/>
                  </a:cubicBezTo>
                  <a:close/>
                  <a:moveTo>
                    <a:pt x="7053" y="2183"/>
                  </a:moveTo>
                  <a:cubicBezTo>
                    <a:pt x="6974" y="2122"/>
                    <a:pt x="6974" y="2122"/>
                    <a:pt x="6974" y="2122"/>
                  </a:cubicBezTo>
                  <a:cubicBezTo>
                    <a:pt x="7334" y="1656"/>
                    <a:pt x="7334" y="1656"/>
                    <a:pt x="7334" y="1656"/>
                  </a:cubicBezTo>
                  <a:cubicBezTo>
                    <a:pt x="7414" y="1717"/>
                    <a:pt x="7414" y="1717"/>
                    <a:pt x="7414" y="1717"/>
                  </a:cubicBezTo>
                  <a:lnTo>
                    <a:pt x="7053" y="2183"/>
                  </a:lnTo>
                  <a:close/>
                  <a:moveTo>
                    <a:pt x="7742" y="2020"/>
                  </a:moveTo>
                  <a:cubicBezTo>
                    <a:pt x="7744" y="2084"/>
                    <a:pt x="7719" y="2158"/>
                    <a:pt x="7666" y="2242"/>
                  </a:cubicBezTo>
                  <a:cubicBezTo>
                    <a:pt x="7558" y="2412"/>
                    <a:pt x="7450" y="2462"/>
                    <a:pt x="7340" y="2393"/>
                  </a:cubicBezTo>
                  <a:cubicBezTo>
                    <a:pt x="7283" y="2357"/>
                    <a:pt x="7254" y="2307"/>
                    <a:pt x="7252" y="2242"/>
                  </a:cubicBezTo>
                  <a:cubicBezTo>
                    <a:pt x="7250" y="2178"/>
                    <a:pt x="7277" y="2102"/>
                    <a:pt x="7333" y="2014"/>
                  </a:cubicBezTo>
                  <a:cubicBezTo>
                    <a:pt x="7384" y="1934"/>
                    <a:pt x="7437" y="1882"/>
                    <a:pt x="7493" y="1858"/>
                  </a:cubicBezTo>
                  <a:cubicBezTo>
                    <a:pt x="7548" y="1834"/>
                    <a:pt x="7602" y="1839"/>
                    <a:pt x="7654" y="1871"/>
                  </a:cubicBezTo>
                  <a:cubicBezTo>
                    <a:pt x="7710" y="1907"/>
                    <a:pt x="7739" y="1956"/>
                    <a:pt x="7742" y="2020"/>
                  </a:cubicBezTo>
                  <a:close/>
                  <a:moveTo>
                    <a:pt x="7587" y="2184"/>
                  </a:moveTo>
                  <a:cubicBezTo>
                    <a:pt x="7667" y="2058"/>
                    <a:pt x="7678" y="1976"/>
                    <a:pt x="7620" y="1939"/>
                  </a:cubicBezTo>
                  <a:cubicBezTo>
                    <a:pt x="7561" y="1902"/>
                    <a:pt x="7492" y="1945"/>
                    <a:pt x="7413" y="2070"/>
                  </a:cubicBezTo>
                  <a:cubicBezTo>
                    <a:pt x="7329" y="2203"/>
                    <a:pt x="7317" y="2288"/>
                    <a:pt x="7377" y="2326"/>
                  </a:cubicBezTo>
                  <a:cubicBezTo>
                    <a:pt x="7434" y="2363"/>
                    <a:pt x="7504" y="2315"/>
                    <a:pt x="7587" y="2184"/>
                  </a:cubicBezTo>
                  <a:close/>
                  <a:moveTo>
                    <a:pt x="7730" y="2600"/>
                  </a:moveTo>
                  <a:cubicBezTo>
                    <a:pt x="7640" y="2555"/>
                    <a:pt x="7640" y="2555"/>
                    <a:pt x="7640" y="2555"/>
                  </a:cubicBezTo>
                  <a:cubicBezTo>
                    <a:pt x="7907" y="2029"/>
                    <a:pt x="7907" y="2029"/>
                    <a:pt x="7907" y="2029"/>
                  </a:cubicBezTo>
                  <a:cubicBezTo>
                    <a:pt x="7997" y="2075"/>
                    <a:pt x="7997" y="2075"/>
                    <a:pt x="7997" y="2075"/>
                  </a:cubicBezTo>
                  <a:lnTo>
                    <a:pt x="7730" y="2600"/>
                  </a:lnTo>
                  <a:close/>
                  <a:moveTo>
                    <a:pt x="8375" y="2310"/>
                  </a:moveTo>
                  <a:cubicBezTo>
                    <a:pt x="8390" y="2372"/>
                    <a:pt x="8380" y="2450"/>
                    <a:pt x="8343" y="2542"/>
                  </a:cubicBezTo>
                  <a:cubicBezTo>
                    <a:pt x="8270" y="2730"/>
                    <a:pt x="8173" y="2800"/>
                    <a:pt x="8052" y="2752"/>
                  </a:cubicBezTo>
                  <a:cubicBezTo>
                    <a:pt x="7989" y="2728"/>
                    <a:pt x="7951" y="2684"/>
                    <a:pt x="7937" y="2621"/>
                  </a:cubicBezTo>
                  <a:cubicBezTo>
                    <a:pt x="7923" y="2558"/>
                    <a:pt x="7935" y="2478"/>
                    <a:pt x="7973" y="2382"/>
                  </a:cubicBezTo>
                  <a:cubicBezTo>
                    <a:pt x="8008" y="2293"/>
                    <a:pt x="8050" y="2232"/>
                    <a:pt x="8100" y="2198"/>
                  </a:cubicBezTo>
                  <a:cubicBezTo>
                    <a:pt x="8151" y="2164"/>
                    <a:pt x="8204" y="2158"/>
                    <a:pt x="8261" y="2181"/>
                  </a:cubicBezTo>
                  <a:cubicBezTo>
                    <a:pt x="8323" y="2205"/>
                    <a:pt x="8361" y="2248"/>
                    <a:pt x="8375" y="2310"/>
                  </a:cubicBezTo>
                  <a:close/>
                  <a:moveTo>
                    <a:pt x="8255" y="2501"/>
                  </a:moveTo>
                  <a:cubicBezTo>
                    <a:pt x="8310" y="2361"/>
                    <a:pt x="8305" y="2279"/>
                    <a:pt x="8241" y="2254"/>
                  </a:cubicBezTo>
                  <a:cubicBezTo>
                    <a:pt x="8175" y="2228"/>
                    <a:pt x="8116" y="2284"/>
                    <a:pt x="8062" y="2421"/>
                  </a:cubicBezTo>
                  <a:cubicBezTo>
                    <a:pt x="8005" y="2567"/>
                    <a:pt x="8009" y="2654"/>
                    <a:pt x="8076" y="2680"/>
                  </a:cubicBezTo>
                  <a:cubicBezTo>
                    <a:pt x="8139" y="2705"/>
                    <a:pt x="8198" y="2645"/>
                    <a:pt x="8255" y="2501"/>
                  </a:cubicBezTo>
                  <a:close/>
                  <a:moveTo>
                    <a:pt x="8475" y="2882"/>
                  </a:moveTo>
                  <a:cubicBezTo>
                    <a:pt x="8378" y="2854"/>
                    <a:pt x="8378" y="2854"/>
                    <a:pt x="8378" y="2854"/>
                  </a:cubicBezTo>
                  <a:cubicBezTo>
                    <a:pt x="8540" y="2288"/>
                    <a:pt x="8540" y="2288"/>
                    <a:pt x="8540" y="2288"/>
                  </a:cubicBezTo>
                  <a:cubicBezTo>
                    <a:pt x="8636" y="2316"/>
                    <a:pt x="8636" y="2316"/>
                    <a:pt x="8636" y="2316"/>
                  </a:cubicBezTo>
                  <a:lnTo>
                    <a:pt x="8475" y="2882"/>
                  </a:lnTo>
                  <a:close/>
                  <a:moveTo>
                    <a:pt x="9053" y="2475"/>
                  </a:moveTo>
                  <a:cubicBezTo>
                    <a:pt x="9079" y="2533"/>
                    <a:pt x="9083" y="2611"/>
                    <a:pt x="9065" y="2709"/>
                  </a:cubicBezTo>
                  <a:cubicBezTo>
                    <a:pt x="9028" y="2907"/>
                    <a:pt x="8946" y="2994"/>
                    <a:pt x="8819" y="2970"/>
                  </a:cubicBezTo>
                  <a:cubicBezTo>
                    <a:pt x="8753" y="2958"/>
                    <a:pt x="8707" y="2922"/>
                    <a:pt x="8681" y="2863"/>
                  </a:cubicBezTo>
                  <a:cubicBezTo>
                    <a:pt x="8655" y="2804"/>
                    <a:pt x="8652" y="2724"/>
                    <a:pt x="8671" y="2621"/>
                  </a:cubicBezTo>
                  <a:cubicBezTo>
                    <a:pt x="8688" y="2528"/>
                    <a:pt x="8719" y="2460"/>
                    <a:pt x="8761" y="2417"/>
                  </a:cubicBezTo>
                  <a:cubicBezTo>
                    <a:pt x="8804" y="2374"/>
                    <a:pt x="8856" y="2358"/>
                    <a:pt x="8916" y="2369"/>
                  </a:cubicBezTo>
                  <a:cubicBezTo>
                    <a:pt x="8981" y="2381"/>
                    <a:pt x="9026" y="2416"/>
                    <a:pt x="9053" y="2475"/>
                  </a:cubicBezTo>
                  <a:close/>
                  <a:moveTo>
                    <a:pt x="8970" y="2685"/>
                  </a:moveTo>
                  <a:cubicBezTo>
                    <a:pt x="8998" y="2537"/>
                    <a:pt x="8978" y="2458"/>
                    <a:pt x="8910" y="2445"/>
                  </a:cubicBezTo>
                  <a:cubicBezTo>
                    <a:pt x="8841" y="2432"/>
                    <a:pt x="8793" y="2498"/>
                    <a:pt x="8766" y="2643"/>
                  </a:cubicBezTo>
                  <a:cubicBezTo>
                    <a:pt x="8737" y="2798"/>
                    <a:pt x="8758" y="2882"/>
                    <a:pt x="8828" y="2895"/>
                  </a:cubicBezTo>
                  <a:cubicBezTo>
                    <a:pt x="8895" y="2907"/>
                    <a:pt x="8942" y="2837"/>
                    <a:pt x="8970" y="2685"/>
                  </a:cubicBezTo>
                  <a:close/>
                  <a:moveTo>
                    <a:pt x="9258" y="3018"/>
                  </a:moveTo>
                  <a:cubicBezTo>
                    <a:pt x="9158" y="3009"/>
                    <a:pt x="9158" y="3009"/>
                    <a:pt x="9158" y="3009"/>
                  </a:cubicBezTo>
                  <a:cubicBezTo>
                    <a:pt x="9210" y="2422"/>
                    <a:pt x="9210" y="2422"/>
                    <a:pt x="9210" y="2422"/>
                  </a:cubicBezTo>
                  <a:cubicBezTo>
                    <a:pt x="9310" y="2431"/>
                    <a:pt x="9310" y="2431"/>
                    <a:pt x="9310" y="2431"/>
                  </a:cubicBezTo>
                  <a:lnTo>
                    <a:pt x="9258" y="3018"/>
                  </a:lnTo>
                  <a:close/>
                  <a:moveTo>
                    <a:pt x="9750" y="2508"/>
                  </a:moveTo>
                  <a:cubicBezTo>
                    <a:pt x="9787" y="2560"/>
                    <a:pt x="9806" y="2636"/>
                    <a:pt x="9807" y="2736"/>
                  </a:cubicBezTo>
                  <a:cubicBezTo>
                    <a:pt x="9809" y="2937"/>
                    <a:pt x="9745" y="3038"/>
                    <a:pt x="9616" y="3039"/>
                  </a:cubicBezTo>
                  <a:cubicBezTo>
                    <a:pt x="9548" y="3040"/>
                    <a:pt x="9496" y="3014"/>
                    <a:pt x="9460" y="2961"/>
                  </a:cubicBezTo>
                  <a:cubicBezTo>
                    <a:pt x="9423" y="2908"/>
                    <a:pt x="9405" y="2829"/>
                    <a:pt x="9404" y="2725"/>
                  </a:cubicBezTo>
                  <a:cubicBezTo>
                    <a:pt x="9403" y="2631"/>
                    <a:pt x="9419" y="2558"/>
                    <a:pt x="9453" y="2508"/>
                  </a:cubicBezTo>
                  <a:cubicBezTo>
                    <a:pt x="9487" y="2457"/>
                    <a:pt x="9534" y="2432"/>
                    <a:pt x="9595" y="2431"/>
                  </a:cubicBezTo>
                  <a:cubicBezTo>
                    <a:pt x="9661" y="2430"/>
                    <a:pt x="9713" y="2456"/>
                    <a:pt x="9750" y="2508"/>
                  </a:cubicBezTo>
                  <a:close/>
                  <a:moveTo>
                    <a:pt x="9710" y="2730"/>
                  </a:moveTo>
                  <a:cubicBezTo>
                    <a:pt x="9708" y="2580"/>
                    <a:pt x="9673" y="2506"/>
                    <a:pt x="9604" y="2507"/>
                  </a:cubicBezTo>
                  <a:cubicBezTo>
                    <a:pt x="9534" y="2507"/>
                    <a:pt x="9499" y="2581"/>
                    <a:pt x="9501" y="2729"/>
                  </a:cubicBezTo>
                  <a:cubicBezTo>
                    <a:pt x="9503" y="2886"/>
                    <a:pt x="9539" y="2964"/>
                    <a:pt x="9611" y="2963"/>
                  </a:cubicBezTo>
                  <a:cubicBezTo>
                    <a:pt x="9678" y="2963"/>
                    <a:pt x="9711" y="2885"/>
                    <a:pt x="9710" y="2730"/>
                  </a:cubicBezTo>
                  <a:close/>
                  <a:moveTo>
                    <a:pt x="10204" y="2461"/>
                  </a:moveTo>
                  <a:cubicBezTo>
                    <a:pt x="10247" y="2508"/>
                    <a:pt x="10275" y="2581"/>
                    <a:pt x="10288" y="2680"/>
                  </a:cubicBezTo>
                  <a:cubicBezTo>
                    <a:pt x="10314" y="2879"/>
                    <a:pt x="10262" y="2987"/>
                    <a:pt x="10134" y="3004"/>
                  </a:cubicBezTo>
                  <a:cubicBezTo>
                    <a:pt x="10067" y="3012"/>
                    <a:pt x="10012" y="2993"/>
                    <a:pt x="9970" y="2944"/>
                  </a:cubicBezTo>
                  <a:cubicBezTo>
                    <a:pt x="9927" y="2896"/>
                    <a:pt x="9899" y="2820"/>
                    <a:pt x="9886" y="2717"/>
                  </a:cubicBezTo>
                  <a:cubicBezTo>
                    <a:pt x="9874" y="2623"/>
                    <a:pt x="9882" y="2549"/>
                    <a:pt x="9910" y="2495"/>
                  </a:cubicBezTo>
                  <a:cubicBezTo>
                    <a:pt x="9937" y="2441"/>
                    <a:pt x="9981" y="2410"/>
                    <a:pt x="10042" y="2402"/>
                  </a:cubicBezTo>
                  <a:cubicBezTo>
                    <a:pt x="10107" y="2394"/>
                    <a:pt x="10161" y="2413"/>
                    <a:pt x="10204" y="2461"/>
                  </a:cubicBezTo>
                  <a:close/>
                  <a:moveTo>
                    <a:pt x="10191" y="2686"/>
                  </a:moveTo>
                  <a:cubicBezTo>
                    <a:pt x="10171" y="2537"/>
                    <a:pt x="10128" y="2467"/>
                    <a:pt x="10059" y="2476"/>
                  </a:cubicBezTo>
                  <a:cubicBezTo>
                    <a:pt x="9990" y="2485"/>
                    <a:pt x="9964" y="2563"/>
                    <a:pt x="9983" y="2709"/>
                  </a:cubicBezTo>
                  <a:cubicBezTo>
                    <a:pt x="10003" y="2865"/>
                    <a:pt x="10049" y="2938"/>
                    <a:pt x="10120" y="2929"/>
                  </a:cubicBezTo>
                  <a:cubicBezTo>
                    <a:pt x="10187" y="2920"/>
                    <a:pt x="10210" y="2839"/>
                    <a:pt x="10191" y="2686"/>
                  </a:cubicBezTo>
                  <a:close/>
                  <a:moveTo>
                    <a:pt x="10566" y="2914"/>
                  </a:moveTo>
                  <a:cubicBezTo>
                    <a:pt x="10468" y="2937"/>
                    <a:pt x="10468" y="2937"/>
                    <a:pt x="10468" y="2937"/>
                  </a:cubicBezTo>
                  <a:cubicBezTo>
                    <a:pt x="10338" y="2362"/>
                    <a:pt x="10338" y="2362"/>
                    <a:pt x="10338" y="2362"/>
                  </a:cubicBezTo>
                  <a:cubicBezTo>
                    <a:pt x="10436" y="2340"/>
                    <a:pt x="10436" y="2340"/>
                    <a:pt x="10436" y="2340"/>
                  </a:cubicBezTo>
                  <a:lnTo>
                    <a:pt x="10566" y="2914"/>
                  </a:lnTo>
                  <a:close/>
                  <a:moveTo>
                    <a:pt x="10878" y="2279"/>
                  </a:moveTo>
                  <a:cubicBezTo>
                    <a:pt x="10929" y="2317"/>
                    <a:pt x="10970" y="2384"/>
                    <a:pt x="11001" y="2478"/>
                  </a:cubicBezTo>
                  <a:cubicBezTo>
                    <a:pt x="11064" y="2669"/>
                    <a:pt x="11034" y="2785"/>
                    <a:pt x="10911" y="2826"/>
                  </a:cubicBezTo>
                  <a:cubicBezTo>
                    <a:pt x="10847" y="2847"/>
                    <a:pt x="10790" y="2838"/>
                    <a:pt x="10739" y="2798"/>
                  </a:cubicBezTo>
                  <a:cubicBezTo>
                    <a:pt x="10688" y="2759"/>
                    <a:pt x="10646" y="2690"/>
                    <a:pt x="10614" y="2591"/>
                  </a:cubicBezTo>
                  <a:cubicBezTo>
                    <a:pt x="10584" y="2501"/>
                    <a:pt x="10578" y="2427"/>
                    <a:pt x="10595" y="2369"/>
                  </a:cubicBezTo>
                  <a:cubicBezTo>
                    <a:pt x="10612" y="2310"/>
                    <a:pt x="10649" y="2272"/>
                    <a:pt x="10707" y="2252"/>
                  </a:cubicBezTo>
                  <a:cubicBezTo>
                    <a:pt x="10770" y="2232"/>
                    <a:pt x="10826" y="2241"/>
                    <a:pt x="10878" y="2279"/>
                  </a:cubicBezTo>
                  <a:close/>
                  <a:moveTo>
                    <a:pt x="10907" y="2503"/>
                  </a:moveTo>
                  <a:cubicBezTo>
                    <a:pt x="10860" y="2360"/>
                    <a:pt x="10804" y="2300"/>
                    <a:pt x="10738" y="2322"/>
                  </a:cubicBezTo>
                  <a:cubicBezTo>
                    <a:pt x="10671" y="2344"/>
                    <a:pt x="10661" y="2425"/>
                    <a:pt x="10707" y="2564"/>
                  </a:cubicBezTo>
                  <a:cubicBezTo>
                    <a:pt x="10757" y="2714"/>
                    <a:pt x="10815" y="2777"/>
                    <a:pt x="10883" y="2755"/>
                  </a:cubicBezTo>
                  <a:cubicBezTo>
                    <a:pt x="10947" y="2734"/>
                    <a:pt x="10955" y="2650"/>
                    <a:pt x="10907" y="2503"/>
                  </a:cubicBezTo>
                  <a:close/>
                  <a:moveTo>
                    <a:pt x="11295" y="2092"/>
                  </a:moveTo>
                  <a:cubicBezTo>
                    <a:pt x="11350" y="2124"/>
                    <a:pt x="11400" y="2184"/>
                    <a:pt x="11442" y="2274"/>
                  </a:cubicBezTo>
                  <a:cubicBezTo>
                    <a:pt x="11529" y="2456"/>
                    <a:pt x="11513" y="2575"/>
                    <a:pt x="11396" y="2630"/>
                  </a:cubicBezTo>
                  <a:cubicBezTo>
                    <a:pt x="11335" y="2659"/>
                    <a:pt x="11277" y="2657"/>
                    <a:pt x="11222" y="2625"/>
                  </a:cubicBezTo>
                  <a:cubicBezTo>
                    <a:pt x="11167" y="2592"/>
                    <a:pt x="11117" y="2528"/>
                    <a:pt x="11072" y="2434"/>
                  </a:cubicBezTo>
                  <a:cubicBezTo>
                    <a:pt x="11031" y="2349"/>
                    <a:pt x="11016" y="2276"/>
                    <a:pt x="11025" y="2216"/>
                  </a:cubicBezTo>
                  <a:cubicBezTo>
                    <a:pt x="11035" y="2156"/>
                    <a:pt x="11067" y="2113"/>
                    <a:pt x="11123" y="2087"/>
                  </a:cubicBezTo>
                  <a:cubicBezTo>
                    <a:pt x="11182" y="2059"/>
                    <a:pt x="11239" y="2060"/>
                    <a:pt x="11295" y="2092"/>
                  </a:cubicBezTo>
                  <a:close/>
                  <a:moveTo>
                    <a:pt x="11352" y="2310"/>
                  </a:moveTo>
                  <a:cubicBezTo>
                    <a:pt x="11287" y="2175"/>
                    <a:pt x="11224" y="2122"/>
                    <a:pt x="11162" y="2152"/>
                  </a:cubicBezTo>
                  <a:cubicBezTo>
                    <a:pt x="11098" y="2182"/>
                    <a:pt x="11098" y="2263"/>
                    <a:pt x="11162" y="2396"/>
                  </a:cubicBezTo>
                  <a:cubicBezTo>
                    <a:pt x="11229" y="2539"/>
                    <a:pt x="11295" y="2594"/>
                    <a:pt x="11360" y="2564"/>
                  </a:cubicBezTo>
                  <a:cubicBezTo>
                    <a:pt x="11421" y="2535"/>
                    <a:pt x="11418" y="2450"/>
                    <a:pt x="11352" y="2310"/>
                  </a:cubicBezTo>
                  <a:close/>
                  <a:moveTo>
                    <a:pt x="11780" y="2411"/>
                  </a:moveTo>
                  <a:cubicBezTo>
                    <a:pt x="11693" y="2463"/>
                    <a:pt x="11693" y="2463"/>
                    <a:pt x="11693" y="2463"/>
                  </a:cubicBezTo>
                  <a:cubicBezTo>
                    <a:pt x="11391" y="1957"/>
                    <a:pt x="11391" y="1957"/>
                    <a:pt x="11391" y="1957"/>
                  </a:cubicBezTo>
                  <a:cubicBezTo>
                    <a:pt x="11478" y="1906"/>
                    <a:pt x="11478" y="1906"/>
                    <a:pt x="11478" y="1906"/>
                  </a:cubicBezTo>
                  <a:lnTo>
                    <a:pt x="11780" y="2411"/>
                  </a:lnTo>
                  <a:close/>
                  <a:moveTo>
                    <a:pt x="11879" y="1710"/>
                  </a:moveTo>
                  <a:cubicBezTo>
                    <a:pt x="11939" y="1731"/>
                    <a:pt x="11999" y="1782"/>
                    <a:pt x="12058" y="1862"/>
                  </a:cubicBezTo>
                  <a:cubicBezTo>
                    <a:pt x="12177" y="2024"/>
                    <a:pt x="12184" y="2143"/>
                    <a:pt x="12080" y="2220"/>
                  </a:cubicBezTo>
                  <a:cubicBezTo>
                    <a:pt x="12026" y="2260"/>
                    <a:pt x="11968" y="2269"/>
                    <a:pt x="11908" y="2247"/>
                  </a:cubicBezTo>
                  <a:cubicBezTo>
                    <a:pt x="11847" y="2226"/>
                    <a:pt x="11786" y="2173"/>
                    <a:pt x="11725" y="2089"/>
                  </a:cubicBezTo>
                  <a:cubicBezTo>
                    <a:pt x="11669" y="2013"/>
                    <a:pt x="11639" y="1944"/>
                    <a:pt x="11638" y="1883"/>
                  </a:cubicBezTo>
                  <a:cubicBezTo>
                    <a:pt x="11636" y="1823"/>
                    <a:pt x="11659" y="1774"/>
                    <a:pt x="11709" y="1738"/>
                  </a:cubicBezTo>
                  <a:cubicBezTo>
                    <a:pt x="11762" y="1699"/>
                    <a:pt x="11818" y="1690"/>
                    <a:pt x="11879" y="1710"/>
                  </a:cubicBezTo>
                  <a:close/>
                  <a:moveTo>
                    <a:pt x="11976" y="1914"/>
                  </a:moveTo>
                  <a:cubicBezTo>
                    <a:pt x="11887" y="1793"/>
                    <a:pt x="11815" y="1754"/>
                    <a:pt x="11759" y="1794"/>
                  </a:cubicBezTo>
                  <a:cubicBezTo>
                    <a:pt x="11703" y="1836"/>
                    <a:pt x="11718" y="1916"/>
                    <a:pt x="11805" y="2035"/>
                  </a:cubicBezTo>
                  <a:cubicBezTo>
                    <a:pt x="11899" y="2161"/>
                    <a:pt x="11974" y="2204"/>
                    <a:pt x="12032" y="2161"/>
                  </a:cubicBezTo>
                  <a:cubicBezTo>
                    <a:pt x="12086" y="2121"/>
                    <a:pt x="12067" y="2039"/>
                    <a:pt x="11976" y="1914"/>
                  </a:cubicBezTo>
                  <a:close/>
                  <a:moveTo>
                    <a:pt x="12218" y="1404"/>
                  </a:moveTo>
                  <a:cubicBezTo>
                    <a:pt x="12281" y="1417"/>
                    <a:pt x="12346" y="1459"/>
                    <a:pt x="12415" y="1532"/>
                  </a:cubicBezTo>
                  <a:cubicBezTo>
                    <a:pt x="12553" y="1678"/>
                    <a:pt x="12575" y="1795"/>
                    <a:pt x="12481" y="1884"/>
                  </a:cubicBezTo>
                  <a:cubicBezTo>
                    <a:pt x="12432" y="1931"/>
                    <a:pt x="12376" y="1947"/>
                    <a:pt x="12313" y="1933"/>
                  </a:cubicBezTo>
                  <a:cubicBezTo>
                    <a:pt x="12251" y="1919"/>
                    <a:pt x="12183" y="1874"/>
                    <a:pt x="12112" y="1798"/>
                  </a:cubicBezTo>
                  <a:cubicBezTo>
                    <a:pt x="12047" y="1729"/>
                    <a:pt x="12010" y="1665"/>
                    <a:pt x="12000" y="1605"/>
                  </a:cubicBezTo>
                  <a:cubicBezTo>
                    <a:pt x="11991" y="1545"/>
                    <a:pt x="12008" y="1494"/>
                    <a:pt x="12053" y="1452"/>
                  </a:cubicBezTo>
                  <a:cubicBezTo>
                    <a:pt x="12101" y="1407"/>
                    <a:pt x="12156" y="1391"/>
                    <a:pt x="12218" y="1404"/>
                  </a:cubicBezTo>
                  <a:close/>
                  <a:moveTo>
                    <a:pt x="12340" y="1594"/>
                  </a:moveTo>
                  <a:cubicBezTo>
                    <a:pt x="12237" y="1485"/>
                    <a:pt x="12160" y="1454"/>
                    <a:pt x="12110" y="1502"/>
                  </a:cubicBezTo>
                  <a:cubicBezTo>
                    <a:pt x="12059" y="1550"/>
                    <a:pt x="12084" y="1627"/>
                    <a:pt x="12186" y="1734"/>
                  </a:cubicBezTo>
                  <a:cubicBezTo>
                    <a:pt x="12294" y="1849"/>
                    <a:pt x="12374" y="1881"/>
                    <a:pt x="12426" y="1832"/>
                  </a:cubicBezTo>
                  <a:cubicBezTo>
                    <a:pt x="12475" y="1786"/>
                    <a:pt x="12446" y="1706"/>
                    <a:pt x="12340" y="1594"/>
                  </a:cubicBezTo>
                  <a:close/>
                  <a:moveTo>
                    <a:pt x="12778" y="1558"/>
                  </a:moveTo>
                  <a:cubicBezTo>
                    <a:pt x="12711" y="1634"/>
                    <a:pt x="12711" y="1634"/>
                    <a:pt x="12711" y="1634"/>
                  </a:cubicBezTo>
                  <a:cubicBezTo>
                    <a:pt x="12269" y="1246"/>
                    <a:pt x="12269" y="1246"/>
                    <a:pt x="12269" y="1246"/>
                  </a:cubicBezTo>
                  <a:cubicBezTo>
                    <a:pt x="12335" y="1170"/>
                    <a:pt x="12335" y="1170"/>
                    <a:pt x="12335" y="1170"/>
                  </a:cubicBezTo>
                  <a:lnTo>
                    <a:pt x="12778" y="1558"/>
                  </a:lnTo>
                  <a:close/>
                  <a:moveTo>
                    <a:pt x="12949" y="1344"/>
                  </a:moveTo>
                  <a:cubicBezTo>
                    <a:pt x="12888" y="1424"/>
                    <a:pt x="12888" y="1424"/>
                    <a:pt x="12888" y="1424"/>
                  </a:cubicBezTo>
                  <a:cubicBezTo>
                    <a:pt x="12421" y="1066"/>
                    <a:pt x="12421" y="1066"/>
                    <a:pt x="12421" y="1066"/>
                  </a:cubicBezTo>
                  <a:cubicBezTo>
                    <a:pt x="12482" y="986"/>
                    <a:pt x="12482" y="986"/>
                    <a:pt x="12482" y="986"/>
                  </a:cubicBezTo>
                  <a:lnTo>
                    <a:pt x="12949" y="1344"/>
                  </a:lnTo>
                  <a:close/>
                  <a:moveTo>
                    <a:pt x="13106" y="1120"/>
                  </a:moveTo>
                  <a:cubicBezTo>
                    <a:pt x="13050" y="1203"/>
                    <a:pt x="13050" y="1203"/>
                    <a:pt x="13050" y="1203"/>
                  </a:cubicBezTo>
                  <a:cubicBezTo>
                    <a:pt x="12561" y="876"/>
                    <a:pt x="12561" y="876"/>
                    <a:pt x="12561" y="876"/>
                  </a:cubicBezTo>
                  <a:cubicBezTo>
                    <a:pt x="12617" y="792"/>
                    <a:pt x="12617" y="792"/>
                    <a:pt x="12617" y="792"/>
                  </a:cubicBezTo>
                  <a:lnTo>
                    <a:pt x="13106" y="1120"/>
                  </a:lnTo>
                  <a:close/>
                  <a:moveTo>
                    <a:pt x="13243" y="900"/>
                  </a:moveTo>
                  <a:cubicBezTo>
                    <a:pt x="13189" y="984"/>
                    <a:pt x="13189" y="984"/>
                    <a:pt x="13189" y="984"/>
                  </a:cubicBezTo>
                  <a:cubicBezTo>
                    <a:pt x="12693" y="667"/>
                    <a:pt x="12693" y="667"/>
                    <a:pt x="12693" y="667"/>
                  </a:cubicBezTo>
                  <a:cubicBezTo>
                    <a:pt x="12747" y="582"/>
                    <a:pt x="12747" y="582"/>
                    <a:pt x="12747" y="582"/>
                  </a:cubicBezTo>
                  <a:lnTo>
                    <a:pt x="13243" y="900"/>
                  </a:lnTo>
                  <a:close/>
                  <a:moveTo>
                    <a:pt x="13216" y="236"/>
                  </a:moveTo>
                  <a:cubicBezTo>
                    <a:pt x="13276" y="257"/>
                    <a:pt x="13336" y="308"/>
                    <a:pt x="13395" y="388"/>
                  </a:cubicBezTo>
                  <a:cubicBezTo>
                    <a:pt x="13513" y="551"/>
                    <a:pt x="13520" y="670"/>
                    <a:pt x="13415" y="746"/>
                  </a:cubicBezTo>
                  <a:cubicBezTo>
                    <a:pt x="13361" y="786"/>
                    <a:pt x="13303" y="795"/>
                    <a:pt x="13243" y="773"/>
                  </a:cubicBezTo>
                  <a:cubicBezTo>
                    <a:pt x="13182" y="751"/>
                    <a:pt x="13122" y="698"/>
                    <a:pt x="13060" y="614"/>
                  </a:cubicBezTo>
                  <a:cubicBezTo>
                    <a:pt x="13004" y="537"/>
                    <a:pt x="12976" y="469"/>
                    <a:pt x="12974" y="408"/>
                  </a:cubicBezTo>
                  <a:cubicBezTo>
                    <a:pt x="12972" y="347"/>
                    <a:pt x="12996" y="299"/>
                    <a:pt x="13046" y="263"/>
                  </a:cubicBezTo>
                  <a:cubicBezTo>
                    <a:pt x="13099" y="224"/>
                    <a:pt x="13155" y="215"/>
                    <a:pt x="13216" y="236"/>
                  </a:cubicBezTo>
                  <a:close/>
                  <a:moveTo>
                    <a:pt x="13312" y="440"/>
                  </a:moveTo>
                  <a:cubicBezTo>
                    <a:pt x="13224" y="319"/>
                    <a:pt x="13152" y="279"/>
                    <a:pt x="13096" y="320"/>
                  </a:cubicBezTo>
                  <a:cubicBezTo>
                    <a:pt x="13039" y="361"/>
                    <a:pt x="13055" y="441"/>
                    <a:pt x="13141" y="560"/>
                  </a:cubicBezTo>
                  <a:cubicBezTo>
                    <a:pt x="13234" y="687"/>
                    <a:pt x="13309" y="730"/>
                    <a:pt x="13367" y="688"/>
                  </a:cubicBezTo>
                  <a:cubicBezTo>
                    <a:pt x="13422" y="648"/>
                    <a:pt x="13403" y="565"/>
                    <a:pt x="13312" y="440"/>
                  </a:cubicBezTo>
                  <a:close/>
                  <a:moveTo>
                    <a:pt x="13701" y="611"/>
                  </a:moveTo>
                  <a:cubicBezTo>
                    <a:pt x="13603" y="637"/>
                    <a:pt x="13603" y="637"/>
                    <a:pt x="13603" y="637"/>
                  </a:cubicBezTo>
                  <a:cubicBezTo>
                    <a:pt x="13452" y="68"/>
                    <a:pt x="13452" y="68"/>
                    <a:pt x="13452" y="68"/>
                  </a:cubicBezTo>
                  <a:cubicBezTo>
                    <a:pt x="13549" y="42"/>
                    <a:pt x="13549" y="42"/>
                    <a:pt x="13549" y="42"/>
                  </a:cubicBezTo>
                  <a:lnTo>
                    <a:pt x="13701" y="611"/>
                  </a:lnTo>
                  <a:close/>
                  <a:moveTo>
                    <a:pt x="14096" y="79"/>
                  </a:moveTo>
                  <a:cubicBezTo>
                    <a:pt x="14132" y="132"/>
                    <a:pt x="14151" y="208"/>
                    <a:pt x="14151" y="307"/>
                  </a:cubicBezTo>
                  <a:cubicBezTo>
                    <a:pt x="14151" y="508"/>
                    <a:pt x="14086" y="609"/>
                    <a:pt x="13956" y="609"/>
                  </a:cubicBezTo>
                  <a:cubicBezTo>
                    <a:pt x="13889" y="609"/>
                    <a:pt x="13837" y="582"/>
                    <a:pt x="13801" y="529"/>
                  </a:cubicBezTo>
                  <a:cubicBezTo>
                    <a:pt x="13765" y="476"/>
                    <a:pt x="13747" y="397"/>
                    <a:pt x="13747" y="293"/>
                  </a:cubicBezTo>
                  <a:cubicBezTo>
                    <a:pt x="13747" y="198"/>
                    <a:pt x="13765" y="126"/>
                    <a:pt x="13799" y="76"/>
                  </a:cubicBezTo>
                  <a:cubicBezTo>
                    <a:pt x="13833" y="26"/>
                    <a:pt x="13881" y="0"/>
                    <a:pt x="13943" y="0"/>
                  </a:cubicBezTo>
                  <a:cubicBezTo>
                    <a:pt x="14008" y="0"/>
                    <a:pt x="14059" y="27"/>
                    <a:pt x="14096" y="79"/>
                  </a:cubicBezTo>
                  <a:close/>
                  <a:moveTo>
                    <a:pt x="14053" y="301"/>
                  </a:moveTo>
                  <a:cubicBezTo>
                    <a:pt x="14053" y="151"/>
                    <a:pt x="14019" y="76"/>
                    <a:pt x="13950" y="76"/>
                  </a:cubicBezTo>
                  <a:cubicBezTo>
                    <a:pt x="13880" y="76"/>
                    <a:pt x="13845" y="150"/>
                    <a:pt x="13845" y="297"/>
                  </a:cubicBezTo>
                  <a:cubicBezTo>
                    <a:pt x="13845" y="454"/>
                    <a:pt x="13881" y="533"/>
                    <a:pt x="13952" y="533"/>
                  </a:cubicBezTo>
                  <a:cubicBezTo>
                    <a:pt x="14020" y="533"/>
                    <a:pt x="14053" y="456"/>
                    <a:pt x="14053" y="301"/>
                  </a:cubicBezTo>
                  <a:close/>
                  <a:moveTo>
                    <a:pt x="14356" y="599"/>
                  </a:moveTo>
                  <a:cubicBezTo>
                    <a:pt x="14255" y="599"/>
                    <a:pt x="14255" y="599"/>
                    <a:pt x="14255" y="599"/>
                  </a:cubicBezTo>
                  <a:cubicBezTo>
                    <a:pt x="14255" y="10"/>
                    <a:pt x="14255" y="10"/>
                    <a:pt x="14255" y="10"/>
                  </a:cubicBezTo>
                  <a:cubicBezTo>
                    <a:pt x="14356" y="10"/>
                    <a:pt x="14356" y="10"/>
                    <a:pt x="14356" y="10"/>
                  </a:cubicBezTo>
                  <a:lnTo>
                    <a:pt x="14356" y="599"/>
                  </a:lnTo>
                  <a:close/>
                  <a:moveTo>
                    <a:pt x="14808" y="79"/>
                  </a:moveTo>
                  <a:cubicBezTo>
                    <a:pt x="14844" y="132"/>
                    <a:pt x="14863" y="208"/>
                    <a:pt x="14863" y="307"/>
                  </a:cubicBezTo>
                  <a:cubicBezTo>
                    <a:pt x="14863" y="508"/>
                    <a:pt x="14798" y="609"/>
                    <a:pt x="14668" y="609"/>
                  </a:cubicBezTo>
                  <a:cubicBezTo>
                    <a:pt x="14601" y="609"/>
                    <a:pt x="14549" y="582"/>
                    <a:pt x="14513" y="529"/>
                  </a:cubicBezTo>
                  <a:cubicBezTo>
                    <a:pt x="14477" y="476"/>
                    <a:pt x="14459" y="397"/>
                    <a:pt x="14459" y="293"/>
                  </a:cubicBezTo>
                  <a:cubicBezTo>
                    <a:pt x="14459" y="198"/>
                    <a:pt x="14477" y="126"/>
                    <a:pt x="14511" y="76"/>
                  </a:cubicBezTo>
                  <a:cubicBezTo>
                    <a:pt x="14545" y="26"/>
                    <a:pt x="14593" y="0"/>
                    <a:pt x="14654" y="0"/>
                  </a:cubicBezTo>
                  <a:cubicBezTo>
                    <a:pt x="14720" y="0"/>
                    <a:pt x="14771" y="27"/>
                    <a:pt x="14808" y="79"/>
                  </a:cubicBezTo>
                  <a:close/>
                  <a:moveTo>
                    <a:pt x="14765" y="301"/>
                  </a:moveTo>
                  <a:cubicBezTo>
                    <a:pt x="14765" y="151"/>
                    <a:pt x="14731" y="76"/>
                    <a:pt x="14662" y="76"/>
                  </a:cubicBezTo>
                  <a:cubicBezTo>
                    <a:pt x="14592" y="76"/>
                    <a:pt x="14557" y="150"/>
                    <a:pt x="14557" y="297"/>
                  </a:cubicBezTo>
                  <a:cubicBezTo>
                    <a:pt x="14557" y="454"/>
                    <a:pt x="14592" y="533"/>
                    <a:pt x="14664" y="533"/>
                  </a:cubicBezTo>
                  <a:cubicBezTo>
                    <a:pt x="14732" y="533"/>
                    <a:pt x="14765" y="456"/>
                    <a:pt x="14765" y="301"/>
                  </a:cubicBezTo>
                  <a:close/>
                  <a:moveTo>
                    <a:pt x="15067" y="599"/>
                  </a:moveTo>
                  <a:cubicBezTo>
                    <a:pt x="14967" y="599"/>
                    <a:pt x="14967" y="599"/>
                    <a:pt x="14967" y="599"/>
                  </a:cubicBezTo>
                  <a:cubicBezTo>
                    <a:pt x="14967" y="10"/>
                    <a:pt x="14967" y="10"/>
                    <a:pt x="14967" y="10"/>
                  </a:cubicBezTo>
                  <a:cubicBezTo>
                    <a:pt x="15067" y="10"/>
                    <a:pt x="15067" y="10"/>
                    <a:pt x="15067" y="10"/>
                  </a:cubicBezTo>
                  <a:lnTo>
                    <a:pt x="15067" y="599"/>
                  </a:lnTo>
                  <a:close/>
                  <a:moveTo>
                    <a:pt x="15520" y="79"/>
                  </a:moveTo>
                  <a:cubicBezTo>
                    <a:pt x="15557" y="132"/>
                    <a:pt x="15575" y="208"/>
                    <a:pt x="15575" y="307"/>
                  </a:cubicBezTo>
                  <a:cubicBezTo>
                    <a:pt x="15575" y="508"/>
                    <a:pt x="15510" y="609"/>
                    <a:pt x="15381" y="609"/>
                  </a:cubicBezTo>
                  <a:cubicBezTo>
                    <a:pt x="15313" y="609"/>
                    <a:pt x="15261" y="582"/>
                    <a:pt x="15225" y="529"/>
                  </a:cubicBezTo>
                  <a:cubicBezTo>
                    <a:pt x="15190" y="476"/>
                    <a:pt x="15172" y="397"/>
                    <a:pt x="15172" y="293"/>
                  </a:cubicBezTo>
                  <a:cubicBezTo>
                    <a:pt x="15172" y="198"/>
                    <a:pt x="15189" y="126"/>
                    <a:pt x="15223" y="76"/>
                  </a:cubicBezTo>
                  <a:cubicBezTo>
                    <a:pt x="15258" y="26"/>
                    <a:pt x="15305" y="0"/>
                    <a:pt x="15367" y="0"/>
                  </a:cubicBezTo>
                  <a:cubicBezTo>
                    <a:pt x="15432" y="0"/>
                    <a:pt x="15483" y="27"/>
                    <a:pt x="15520" y="79"/>
                  </a:cubicBezTo>
                  <a:close/>
                  <a:moveTo>
                    <a:pt x="15478" y="301"/>
                  </a:moveTo>
                  <a:cubicBezTo>
                    <a:pt x="15478" y="151"/>
                    <a:pt x="15443" y="76"/>
                    <a:pt x="15374" y="76"/>
                  </a:cubicBezTo>
                  <a:cubicBezTo>
                    <a:pt x="15304" y="76"/>
                    <a:pt x="15269" y="150"/>
                    <a:pt x="15269" y="297"/>
                  </a:cubicBezTo>
                  <a:cubicBezTo>
                    <a:pt x="15269" y="454"/>
                    <a:pt x="15305" y="533"/>
                    <a:pt x="15376" y="533"/>
                  </a:cubicBezTo>
                  <a:cubicBezTo>
                    <a:pt x="15444" y="533"/>
                    <a:pt x="15478" y="456"/>
                    <a:pt x="15478" y="301"/>
                  </a:cubicBezTo>
                  <a:close/>
                  <a:moveTo>
                    <a:pt x="15780" y="599"/>
                  </a:moveTo>
                  <a:cubicBezTo>
                    <a:pt x="15679" y="599"/>
                    <a:pt x="15679" y="599"/>
                    <a:pt x="15679" y="599"/>
                  </a:cubicBezTo>
                  <a:cubicBezTo>
                    <a:pt x="15679" y="10"/>
                    <a:pt x="15679" y="10"/>
                    <a:pt x="15679" y="10"/>
                  </a:cubicBezTo>
                  <a:cubicBezTo>
                    <a:pt x="15780" y="10"/>
                    <a:pt x="15780" y="10"/>
                    <a:pt x="15780" y="10"/>
                  </a:cubicBezTo>
                  <a:lnTo>
                    <a:pt x="15780" y="599"/>
                  </a:lnTo>
                  <a:close/>
                  <a:moveTo>
                    <a:pt x="16024" y="599"/>
                  </a:moveTo>
                  <a:cubicBezTo>
                    <a:pt x="15924" y="599"/>
                    <a:pt x="15924" y="599"/>
                    <a:pt x="15924" y="599"/>
                  </a:cubicBezTo>
                  <a:cubicBezTo>
                    <a:pt x="15924" y="10"/>
                    <a:pt x="15924" y="10"/>
                    <a:pt x="15924" y="10"/>
                  </a:cubicBezTo>
                  <a:cubicBezTo>
                    <a:pt x="16024" y="10"/>
                    <a:pt x="16024" y="10"/>
                    <a:pt x="16024" y="10"/>
                  </a:cubicBezTo>
                  <a:lnTo>
                    <a:pt x="16024" y="599"/>
                  </a:lnTo>
                  <a:close/>
                  <a:moveTo>
                    <a:pt x="16508" y="103"/>
                  </a:moveTo>
                  <a:cubicBezTo>
                    <a:pt x="16538" y="160"/>
                    <a:pt x="16548" y="237"/>
                    <a:pt x="16537" y="336"/>
                  </a:cubicBezTo>
                  <a:cubicBezTo>
                    <a:pt x="16514" y="536"/>
                    <a:pt x="16439" y="629"/>
                    <a:pt x="16310" y="614"/>
                  </a:cubicBezTo>
                  <a:cubicBezTo>
                    <a:pt x="16243" y="607"/>
                    <a:pt x="16195" y="575"/>
                    <a:pt x="16165" y="518"/>
                  </a:cubicBezTo>
                  <a:cubicBezTo>
                    <a:pt x="16135" y="460"/>
                    <a:pt x="16126" y="380"/>
                    <a:pt x="16138" y="277"/>
                  </a:cubicBezTo>
                  <a:cubicBezTo>
                    <a:pt x="16148" y="183"/>
                    <a:pt x="16174" y="113"/>
                    <a:pt x="16213" y="67"/>
                  </a:cubicBezTo>
                  <a:cubicBezTo>
                    <a:pt x="16253" y="21"/>
                    <a:pt x="16303" y="1"/>
                    <a:pt x="16364" y="8"/>
                  </a:cubicBezTo>
                  <a:cubicBezTo>
                    <a:pt x="16430" y="16"/>
                    <a:pt x="16477" y="47"/>
                    <a:pt x="16508" y="103"/>
                  </a:cubicBezTo>
                  <a:close/>
                  <a:moveTo>
                    <a:pt x="16441" y="319"/>
                  </a:moveTo>
                  <a:cubicBezTo>
                    <a:pt x="16458" y="170"/>
                    <a:pt x="16432" y="92"/>
                    <a:pt x="16363" y="84"/>
                  </a:cubicBezTo>
                  <a:cubicBezTo>
                    <a:pt x="16294" y="76"/>
                    <a:pt x="16250" y="146"/>
                    <a:pt x="16234" y="292"/>
                  </a:cubicBezTo>
                  <a:cubicBezTo>
                    <a:pt x="16216" y="448"/>
                    <a:pt x="16243" y="530"/>
                    <a:pt x="16314" y="538"/>
                  </a:cubicBezTo>
                  <a:cubicBezTo>
                    <a:pt x="16381" y="546"/>
                    <a:pt x="16424" y="473"/>
                    <a:pt x="16441" y="319"/>
                  </a:cubicBezTo>
                  <a:close/>
                  <a:moveTo>
                    <a:pt x="17054" y="380"/>
                  </a:moveTo>
                  <a:cubicBezTo>
                    <a:pt x="17055" y="444"/>
                    <a:pt x="17027" y="517"/>
                    <a:pt x="16971" y="600"/>
                  </a:cubicBezTo>
                  <a:cubicBezTo>
                    <a:pt x="16858" y="766"/>
                    <a:pt x="16748" y="813"/>
                    <a:pt x="16641" y="740"/>
                  </a:cubicBezTo>
                  <a:cubicBezTo>
                    <a:pt x="16585" y="702"/>
                    <a:pt x="16557" y="651"/>
                    <a:pt x="16558" y="587"/>
                  </a:cubicBezTo>
                  <a:cubicBezTo>
                    <a:pt x="16558" y="523"/>
                    <a:pt x="16587" y="448"/>
                    <a:pt x="16646" y="361"/>
                  </a:cubicBezTo>
                  <a:cubicBezTo>
                    <a:pt x="16699" y="283"/>
                    <a:pt x="16754" y="233"/>
                    <a:pt x="16810" y="211"/>
                  </a:cubicBezTo>
                  <a:cubicBezTo>
                    <a:pt x="16867" y="188"/>
                    <a:pt x="16920" y="194"/>
                    <a:pt x="16971" y="229"/>
                  </a:cubicBezTo>
                  <a:cubicBezTo>
                    <a:pt x="17025" y="266"/>
                    <a:pt x="17053" y="316"/>
                    <a:pt x="17054" y="380"/>
                  </a:cubicBezTo>
                  <a:close/>
                  <a:moveTo>
                    <a:pt x="16894" y="539"/>
                  </a:moveTo>
                  <a:cubicBezTo>
                    <a:pt x="16978" y="416"/>
                    <a:pt x="16992" y="334"/>
                    <a:pt x="16935" y="296"/>
                  </a:cubicBezTo>
                  <a:cubicBezTo>
                    <a:pt x="16877" y="256"/>
                    <a:pt x="16806" y="297"/>
                    <a:pt x="16724" y="419"/>
                  </a:cubicBezTo>
                  <a:cubicBezTo>
                    <a:pt x="16636" y="550"/>
                    <a:pt x="16621" y="635"/>
                    <a:pt x="16680" y="675"/>
                  </a:cubicBezTo>
                  <a:cubicBezTo>
                    <a:pt x="16736" y="713"/>
                    <a:pt x="16807" y="668"/>
                    <a:pt x="16894" y="539"/>
                  </a:cubicBezTo>
                  <a:close/>
                  <a:moveTo>
                    <a:pt x="16864" y="963"/>
                  </a:moveTo>
                  <a:cubicBezTo>
                    <a:pt x="16807" y="880"/>
                    <a:pt x="16807" y="880"/>
                    <a:pt x="16807" y="880"/>
                  </a:cubicBezTo>
                  <a:cubicBezTo>
                    <a:pt x="17291" y="544"/>
                    <a:pt x="17291" y="544"/>
                    <a:pt x="17291" y="544"/>
                  </a:cubicBezTo>
                  <a:cubicBezTo>
                    <a:pt x="17348" y="627"/>
                    <a:pt x="17348" y="627"/>
                    <a:pt x="17348" y="627"/>
                  </a:cubicBezTo>
                  <a:lnTo>
                    <a:pt x="16864" y="963"/>
                  </a:lnTo>
                  <a:close/>
                  <a:moveTo>
                    <a:pt x="17547" y="1056"/>
                  </a:moveTo>
                  <a:cubicBezTo>
                    <a:pt x="17525" y="1116"/>
                    <a:pt x="17473" y="1175"/>
                    <a:pt x="17391" y="1232"/>
                  </a:cubicBezTo>
                  <a:cubicBezTo>
                    <a:pt x="17227" y="1347"/>
                    <a:pt x="17107" y="1352"/>
                    <a:pt x="17033" y="1246"/>
                  </a:cubicBezTo>
                  <a:cubicBezTo>
                    <a:pt x="16994" y="1190"/>
                    <a:pt x="16986" y="1133"/>
                    <a:pt x="17009" y="1073"/>
                  </a:cubicBezTo>
                  <a:cubicBezTo>
                    <a:pt x="17033" y="1013"/>
                    <a:pt x="17087" y="953"/>
                    <a:pt x="17172" y="893"/>
                  </a:cubicBezTo>
                  <a:cubicBezTo>
                    <a:pt x="17250" y="839"/>
                    <a:pt x="17319" y="812"/>
                    <a:pt x="17380" y="811"/>
                  </a:cubicBezTo>
                  <a:cubicBezTo>
                    <a:pt x="17440" y="811"/>
                    <a:pt x="17488" y="835"/>
                    <a:pt x="17523" y="886"/>
                  </a:cubicBezTo>
                  <a:cubicBezTo>
                    <a:pt x="17561" y="939"/>
                    <a:pt x="17569" y="996"/>
                    <a:pt x="17547" y="1056"/>
                  </a:cubicBezTo>
                  <a:close/>
                  <a:moveTo>
                    <a:pt x="17341" y="1148"/>
                  </a:moveTo>
                  <a:cubicBezTo>
                    <a:pt x="17464" y="1063"/>
                    <a:pt x="17505" y="991"/>
                    <a:pt x="17466" y="935"/>
                  </a:cubicBezTo>
                  <a:cubicBezTo>
                    <a:pt x="17426" y="878"/>
                    <a:pt x="17345" y="891"/>
                    <a:pt x="17225" y="975"/>
                  </a:cubicBezTo>
                  <a:cubicBezTo>
                    <a:pt x="17096" y="1066"/>
                    <a:pt x="17052" y="1140"/>
                    <a:pt x="17093" y="1199"/>
                  </a:cubicBezTo>
                  <a:cubicBezTo>
                    <a:pt x="17131" y="1254"/>
                    <a:pt x="17214" y="1237"/>
                    <a:pt x="17341" y="1148"/>
                  </a:cubicBezTo>
                  <a:close/>
                  <a:moveTo>
                    <a:pt x="17312" y="1587"/>
                  </a:moveTo>
                  <a:cubicBezTo>
                    <a:pt x="17247" y="1510"/>
                    <a:pt x="17247" y="1510"/>
                    <a:pt x="17247" y="1510"/>
                  </a:cubicBezTo>
                  <a:cubicBezTo>
                    <a:pt x="17696" y="1129"/>
                    <a:pt x="17696" y="1129"/>
                    <a:pt x="17696" y="1129"/>
                  </a:cubicBezTo>
                  <a:cubicBezTo>
                    <a:pt x="17761" y="1206"/>
                    <a:pt x="17761" y="1206"/>
                    <a:pt x="17761" y="1206"/>
                  </a:cubicBezTo>
                  <a:lnTo>
                    <a:pt x="17312" y="1587"/>
                  </a:lnTo>
                  <a:close/>
                  <a:moveTo>
                    <a:pt x="17499" y="1788"/>
                  </a:moveTo>
                  <a:cubicBezTo>
                    <a:pt x="17429" y="1716"/>
                    <a:pt x="17429" y="1716"/>
                    <a:pt x="17429" y="1716"/>
                  </a:cubicBezTo>
                  <a:cubicBezTo>
                    <a:pt x="17852" y="1306"/>
                    <a:pt x="17852" y="1306"/>
                    <a:pt x="17852" y="1306"/>
                  </a:cubicBezTo>
                  <a:cubicBezTo>
                    <a:pt x="17922" y="1378"/>
                    <a:pt x="17922" y="1378"/>
                    <a:pt x="17922" y="1378"/>
                  </a:cubicBezTo>
                  <a:lnTo>
                    <a:pt x="17499" y="1788"/>
                  </a:lnTo>
                  <a:close/>
                  <a:moveTo>
                    <a:pt x="17698" y="1976"/>
                  </a:moveTo>
                  <a:cubicBezTo>
                    <a:pt x="17624" y="1908"/>
                    <a:pt x="17624" y="1908"/>
                    <a:pt x="17624" y="1908"/>
                  </a:cubicBezTo>
                  <a:cubicBezTo>
                    <a:pt x="18019" y="1472"/>
                    <a:pt x="18019" y="1472"/>
                    <a:pt x="18019" y="1472"/>
                  </a:cubicBezTo>
                  <a:cubicBezTo>
                    <a:pt x="18093" y="1540"/>
                    <a:pt x="18093" y="1540"/>
                    <a:pt x="18093" y="1540"/>
                  </a:cubicBezTo>
                  <a:lnTo>
                    <a:pt x="17698" y="1976"/>
                  </a:lnTo>
                  <a:close/>
                  <a:moveTo>
                    <a:pt x="18397" y="1867"/>
                  </a:moveTo>
                  <a:cubicBezTo>
                    <a:pt x="18395" y="1930"/>
                    <a:pt x="18364" y="2002"/>
                    <a:pt x="18304" y="2082"/>
                  </a:cubicBezTo>
                  <a:cubicBezTo>
                    <a:pt x="18184" y="2243"/>
                    <a:pt x="18072" y="2285"/>
                    <a:pt x="17968" y="2208"/>
                  </a:cubicBezTo>
                  <a:cubicBezTo>
                    <a:pt x="17914" y="2167"/>
                    <a:pt x="17888" y="2115"/>
                    <a:pt x="17892" y="2050"/>
                  </a:cubicBezTo>
                  <a:cubicBezTo>
                    <a:pt x="17895" y="1986"/>
                    <a:pt x="17928" y="1912"/>
                    <a:pt x="17990" y="1829"/>
                  </a:cubicBezTo>
                  <a:cubicBezTo>
                    <a:pt x="18047" y="1753"/>
                    <a:pt x="18104" y="1706"/>
                    <a:pt x="18161" y="1686"/>
                  </a:cubicBezTo>
                  <a:cubicBezTo>
                    <a:pt x="18219" y="1667"/>
                    <a:pt x="18272" y="1675"/>
                    <a:pt x="18321" y="1712"/>
                  </a:cubicBezTo>
                  <a:cubicBezTo>
                    <a:pt x="18374" y="1751"/>
                    <a:pt x="18399" y="1803"/>
                    <a:pt x="18397" y="1867"/>
                  </a:cubicBezTo>
                  <a:close/>
                  <a:moveTo>
                    <a:pt x="18230" y="2019"/>
                  </a:moveTo>
                  <a:cubicBezTo>
                    <a:pt x="18320" y="1899"/>
                    <a:pt x="18337" y="1818"/>
                    <a:pt x="18282" y="1777"/>
                  </a:cubicBezTo>
                  <a:cubicBezTo>
                    <a:pt x="18226" y="1735"/>
                    <a:pt x="18154" y="1773"/>
                    <a:pt x="18065" y="1891"/>
                  </a:cubicBezTo>
                  <a:cubicBezTo>
                    <a:pt x="17971" y="2017"/>
                    <a:pt x="17953" y="2101"/>
                    <a:pt x="18010" y="2144"/>
                  </a:cubicBezTo>
                  <a:cubicBezTo>
                    <a:pt x="18064" y="2184"/>
                    <a:pt x="18138" y="2143"/>
                    <a:pt x="18230" y="2019"/>
                  </a:cubicBezTo>
                  <a:close/>
                  <a:moveTo>
                    <a:pt x="18341" y="2444"/>
                  </a:moveTo>
                  <a:cubicBezTo>
                    <a:pt x="18255" y="2392"/>
                    <a:pt x="18255" y="2392"/>
                    <a:pt x="18255" y="2392"/>
                  </a:cubicBezTo>
                  <a:cubicBezTo>
                    <a:pt x="18561" y="1889"/>
                    <a:pt x="18561" y="1889"/>
                    <a:pt x="18561" y="1889"/>
                  </a:cubicBezTo>
                  <a:cubicBezTo>
                    <a:pt x="18647" y="1941"/>
                    <a:pt x="18647" y="1941"/>
                    <a:pt x="18647" y="1941"/>
                  </a:cubicBezTo>
                  <a:lnTo>
                    <a:pt x="18341" y="2444"/>
                  </a:lnTo>
                  <a:close/>
                  <a:moveTo>
                    <a:pt x="18581" y="2576"/>
                  </a:moveTo>
                  <a:cubicBezTo>
                    <a:pt x="18491" y="2530"/>
                    <a:pt x="18491" y="2530"/>
                    <a:pt x="18491" y="2530"/>
                  </a:cubicBezTo>
                  <a:cubicBezTo>
                    <a:pt x="18764" y="2008"/>
                    <a:pt x="18764" y="2008"/>
                    <a:pt x="18764" y="2008"/>
                  </a:cubicBezTo>
                  <a:cubicBezTo>
                    <a:pt x="18854" y="2055"/>
                    <a:pt x="18854" y="2055"/>
                    <a:pt x="18854" y="2055"/>
                  </a:cubicBezTo>
                  <a:lnTo>
                    <a:pt x="18581" y="2576"/>
                  </a:lnTo>
                  <a:close/>
                  <a:moveTo>
                    <a:pt x="19230" y="2294"/>
                  </a:moveTo>
                  <a:cubicBezTo>
                    <a:pt x="19244" y="2357"/>
                    <a:pt x="19232" y="2434"/>
                    <a:pt x="19194" y="2526"/>
                  </a:cubicBezTo>
                  <a:cubicBezTo>
                    <a:pt x="19118" y="2713"/>
                    <a:pt x="19020" y="2781"/>
                    <a:pt x="18901" y="2733"/>
                  </a:cubicBezTo>
                  <a:cubicBezTo>
                    <a:pt x="18838" y="2707"/>
                    <a:pt x="18800" y="2663"/>
                    <a:pt x="18787" y="2600"/>
                  </a:cubicBezTo>
                  <a:cubicBezTo>
                    <a:pt x="18774" y="2537"/>
                    <a:pt x="18787" y="2457"/>
                    <a:pt x="18826" y="2361"/>
                  </a:cubicBezTo>
                  <a:cubicBezTo>
                    <a:pt x="18862" y="2273"/>
                    <a:pt x="18905" y="2213"/>
                    <a:pt x="18956" y="2179"/>
                  </a:cubicBezTo>
                  <a:cubicBezTo>
                    <a:pt x="19007" y="2146"/>
                    <a:pt x="19060" y="2141"/>
                    <a:pt x="19117" y="2164"/>
                  </a:cubicBezTo>
                  <a:cubicBezTo>
                    <a:pt x="19178" y="2189"/>
                    <a:pt x="19215" y="2232"/>
                    <a:pt x="19230" y="2294"/>
                  </a:cubicBezTo>
                  <a:close/>
                  <a:moveTo>
                    <a:pt x="19107" y="2484"/>
                  </a:moveTo>
                  <a:cubicBezTo>
                    <a:pt x="19163" y="2345"/>
                    <a:pt x="19159" y="2263"/>
                    <a:pt x="19096" y="2236"/>
                  </a:cubicBezTo>
                  <a:cubicBezTo>
                    <a:pt x="19031" y="2210"/>
                    <a:pt x="18970" y="2265"/>
                    <a:pt x="18915" y="2401"/>
                  </a:cubicBezTo>
                  <a:cubicBezTo>
                    <a:pt x="18855" y="2547"/>
                    <a:pt x="18859" y="2634"/>
                    <a:pt x="18925" y="2660"/>
                  </a:cubicBezTo>
                  <a:cubicBezTo>
                    <a:pt x="18988" y="2686"/>
                    <a:pt x="19048" y="2627"/>
                    <a:pt x="19107" y="2484"/>
                  </a:cubicBezTo>
                  <a:close/>
                  <a:moveTo>
                    <a:pt x="19321" y="2867"/>
                  </a:moveTo>
                  <a:cubicBezTo>
                    <a:pt x="19224" y="2839"/>
                    <a:pt x="19224" y="2839"/>
                    <a:pt x="19224" y="2839"/>
                  </a:cubicBezTo>
                  <a:cubicBezTo>
                    <a:pt x="19394" y="2275"/>
                    <a:pt x="19394" y="2275"/>
                    <a:pt x="19394" y="2275"/>
                  </a:cubicBezTo>
                  <a:cubicBezTo>
                    <a:pt x="19490" y="2303"/>
                    <a:pt x="19490" y="2303"/>
                    <a:pt x="19490" y="2303"/>
                  </a:cubicBezTo>
                  <a:lnTo>
                    <a:pt x="19321" y="2867"/>
                  </a:lnTo>
                  <a:close/>
                  <a:moveTo>
                    <a:pt x="19587" y="2934"/>
                  </a:moveTo>
                  <a:cubicBezTo>
                    <a:pt x="19489" y="2912"/>
                    <a:pt x="19489" y="2912"/>
                    <a:pt x="19489" y="2912"/>
                  </a:cubicBezTo>
                  <a:cubicBezTo>
                    <a:pt x="19621" y="2338"/>
                    <a:pt x="19621" y="2338"/>
                    <a:pt x="19621" y="2338"/>
                  </a:cubicBezTo>
                  <a:cubicBezTo>
                    <a:pt x="19719" y="2361"/>
                    <a:pt x="19719" y="2361"/>
                    <a:pt x="19719" y="2361"/>
                  </a:cubicBezTo>
                  <a:lnTo>
                    <a:pt x="19587" y="2934"/>
                  </a:lnTo>
                  <a:close/>
                  <a:moveTo>
                    <a:pt x="20143" y="2497"/>
                  </a:moveTo>
                  <a:cubicBezTo>
                    <a:pt x="20173" y="2554"/>
                    <a:pt x="20181" y="2632"/>
                    <a:pt x="20168" y="2731"/>
                  </a:cubicBezTo>
                  <a:cubicBezTo>
                    <a:pt x="20142" y="2930"/>
                    <a:pt x="20064" y="3021"/>
                    <a:pt x="19936" y="3004"/>
                  </a:cubicBezTo>
                  <a:cubicBezTo>
                    <a:pt x="19869" y="2996"/>
                    <a:pt x="19821" y="2962"/>
                    <a:pt x="19793" y="2905"/>
                  </a:cubicBezTo>
                  <a:cubicBezTo>
                    <a:pt x="19764" y="2847"/>
                    <a:pt x="19756" y="2767"/>
                    <a:pt x="19770" y="2664"/>
                  </a:cubicBezTo>
                  <a:cubicBezTo>
                    <a:pt x="19782" y="2570"/>
                    <a:pt x="19809" y="2500"/>
                    <a:pt x="19849" y="2455"/>
                  </a:cubicBezTo>
                  <a:cubicBezTo>
                    <a:pt x="19890" y="2410"/>
                    <a:pt x="19941" y="2391"/>
                    <a:pt x="20001" y="2399"/>
                  </a:cubicBezTo>
                  <a:cubicBezTo>
                    <a:pt x="20067" y="2408"/>
                    <a:pt x="20114" y="2441"/>
                    <a:pt x="20143" y="2497"/>
                  </a:cubicBezTo>
                  <a:close/>
                  <a:moveTo>
                    <a:pt x="20072" y="2711"/>
                  </a:moveTo>
                  <a:cubicBezTo>
                    <a:pt x="20092" y="2563"/>
                    <a:pt x="20067" y="2484"/>
                    <a:pt x="19999" y="2475"/>
                  </a:cubicBezTo>
                  <a:cubicBezTo>
                    <a:pt x="19929" y="2466"/>
                    <a:pt x="19885" y="2535"/>
                    <a:pt x="19866" y="2681"/>
                  </a:cubicBezTo>
                  <a:cubicBezTo>
                    <a:pt x="19845" y="2837"/>
                    <a:pt x="19871" y="2919"/>
                    <a:pt x="19941" y="2929"/>
                  </a:cubicBezTo>
                  <a:cubicBezTo>
                    <a:pt x="20008" y="2937"/>
                    <a:pt x="20052" y="2865"/>
                    <a:pt x="20072" y="2711"/>
                  </a:cubicBezTo>
                  <a:close/>
                  <a:moveTo>
                    <a:pt x="20601" y="2511"/>
                  </a:moveTo>
                  <a:cubicBezTo>
                    <a:pt x="20637" y="2564"/>
                    <a:pt x="20655" y="2640"/>
                    <a:pt x="20654" y="2740"/>
                  </a:cubicBezTo>
                  <a:cubicBezTo>
                    <a:pt x="20651" y="2941"/>
                    <a:pt x="20586" y="3041"/>
                    <a:pt x="20456" y="3039"/>
                  </a:cubicBezTo>
                  <a:cubicBezTo>
                    <a:pt x="20388" y="3039"/>
                    <a:pt x="20337" y="3012"/>
                    <a:pt x="20302" y="2958"/>
                  </a:cubicBezTo>
                  <a:cubicBezTo>
                    <a:pt x="20266" y="2904"/>
                    <a:pt x="20249" y="2825"/>
                    <a:pt x="20251" y="2721"/>
                  </a:cubicBezTo>
                  <a:cubicBezTo>
                    <a:pt x="20252" y="2626"/>
                    <a:pt x="20269" y="2554"/>
                    <a:pt x="20304" y="2504"/>
                  </a:cubicBezTo>
                  <a:cubicBezTo>
                    <a:pt x="20339" y="2455"/>
                    <a:pt x="20387" y="2430"/>
                    <a:pt x="20449" y="2431"/>
                  </a:cubicBezTo>
                  <a:cubicBezTo>
                    <a:pt x="20514" y="2432"/>
                    <a:pt x="20565" y="2458"/>
                    <a:pt x="20601" y="2511"/>
                  </a:cubicBezTo>
                  <a:close/>
                  <a:moveTo>
                    <a:pt x="20556" y="2732"/>
                  </a:moveTo>
                  <a:cubicBezTo>
                    <a:pt x="20558" y="2582"/>
                    <a:pt x="20524" y="2507"/>
                    <a:pt x="20455" y="2507"/>
                  </a:cubicBezTo>
                  <a:cubicBezTo>
                    <a:pt x="20385" y="2506"/>
                    <a:pt x="20349" y="2579"/>
                    <a:pt x="20348" y="2726"/>
                  </a:cubicBezTo>
                  <a:cubicBezTo>
                    <a:pt x="20346" y="2884"/>
                    <a:pt x="20381" y="2963"/>
                    <a:pt x="20452" y="2963"/>
                  </a:cubicBezTo>
                  <a:cubicBezTo>
                    <a:pt x="20520" y="2964"/>
                    <a:pt x="20555" y="2887"/>
                    <a:pt x="20556" y="2732"/>
                  </a:cubicBezTo>
                  <a:close/>
                  <a:moveTo>
                    <a:pt x="20897" y="3010"/>
                  </a:moveTo>
                  <a:cubicBezTo>
                    <a:pt x="20797" y="3018"/>
                    <a:pt x="20797" y="3018"/>
                    <a:pt x="20797" y="3018"/>
                  </a:cubicBezTo>
                  <a:cubicBezTo>
                    <a:pt x="20746" y="2432"/>
                    <a:pt x="20746" y="2432"/>
                    <a:pt x="20746" y="2432"/>
                  </a:cubicBezTo>
                  <a:cubicBezTo>
                    <a:pt x="20847" y="2423"/>
                    <a:pt x="20847" y="2423"/>
                    <a:pt x="20847" y="2423"/>
                  </a:cubicBezTo>
                  <a:lnTo>
                    <a:pt x="20897" y="3010"/>
                  </a:lnTo>
                  <a:close/>
                  <a:moveTo>
                    <a:pt x="21169" y="2974"/>
                  </a:moveTo>
                  <a:cubicBezTo>
                    <a:pt x="21070" y="2989"/>
                    <a:pt x="21070" y="2989"/>
                    <a:pt x="21070" y="2989"/>
                  </a:cubicBezTo>
                  <a:cubicBezTo>
                    <a:pt x="20981" y="2407"/>
                    <a:pt x="20981" y="2407"/>
                    <a:pt x="20981" y="2407"/>
                  </a:cubicBezTo>
                  <a:cubicBezTo>
                    <a:pt x="21080" y="2392"/>
                    <a:pt x="21080" y="2392"/>
                    <a:pt x="21080" y="2392"/>
                  </a:cubicBezTo>
                  <a:lnTo>
                    <a:pt x="21169" y="2974"/>
                  </a:lnTo>
                  <a:close/>
                  <a:moveTo>
                    <a:pt x="21525" y="2363"/>
                  </a:moveTo>
                  <a:cubicBezTo>
                    <a:pt x="21573" y="2405"/>
                    <a:pt x="21610" y="2474"/>
                    <a:pt x="21634" y="2571"/>
                  </a:cubicBezTo>
                  <a:cubicBezTo>
                    <a:pt x="21683" y="2766"/>
                    <a:pt x="21645" y="2879"/>
                    <a:pt x="21519" y="2911"/>
                  </a:cubicBezTo>
                  <a:cubicBezTo>
                    <a:pt x="21454" y="2927"/>
                    <a:pt x="21397" y="2914"/>
                    <a:pt x="21349" y="2871"/>
                  </a:cubicBezTo>
                  <a:cubicBezTo>
                    <a:pt x="21301" y="2828"/>
                    <a:pt x="21265" y="2756"/>
                    <a:pt x="21239" y="2655"/>
                  </a:cubicBezTo>
                  <a:cubicBezTo>
                    <a:pt x="21216" y="2563"/>
                    <a:pt x="21215" y="2489"/>
                    <a:pt x="21236" y="2432"/>
                  </a:cubicBezTo>
                  <a:cubicBezTo>
                    <a:pt x="21257" y="2375"/>
                    <a:pt x="21298" y="2339"/>
                    <a:pt x="21357" y="2324"/>
                  </a:cubicBezTo>
                  <a:cubicBezTo>
                    <a:pt x="21421" y="2308"/>
                    <a:pt x="21477" y="2321"/>
                    <a:pt x="21525" y="2363"/>
                  </a:cubicBezTo>
                  <a:close/>
                  <a:moveTo>
                    <a:pt x="21538" y="2588"/>
                  </a:moveTo>
                  <a:cubicBezTo>
                    <a:pt x="21501" y="2443"/>
                    <a:pt x="21450" y="2379"/>
                    <a:pt x="21383" y="2395"/>
                  </a:cubicBezTo>
                  <a:cubicBezTo>
                    <a:pt x="21315" y="2412"/>
                    <a:pt x="21299" y="2492"/>
                    <a:pt x="21335" y="2635"/>
                  </a:cubicBezTo>
                  <a:cubicBezTo>
                    <a:pt x="21373" y="2788"/>
                    <a:pt x="21427" y="2855"/>
                    <a:pt x="21496" y="2838"/>
                  </a:cubicBezTo>
                  <a:cubicBezTo>
                    <a:pt x="21562" y="2822"/>
                    <a:pt x="21576" y="2738"/>
                    <a:pt x="21538" y="2588"/>
                  </a:cubicBezTo>
                  <a:close/>
                  <a:moveTo>
                    <a:pt x="21938" y="2771"/>
                  </a:moveTo>
                  <a:cubicBezTo>
                    <a:pt x="21843" y="2804"/>
                    <a:pt x="21843" y="2804"/>
                    <a:pt x="21843" y="2804"/>
                  </a:cubicBezTo>
                  <a:cubicBezTo>
                    <a:pt x="21646" y="2250"/>
                    <a:pt x="21646" y="2250"/>
                    <a:pt x="21646" y="2250"/>
                  </a:cubicBezTo>
                  <a:cubicBezTo>
                    <a:pt x="21741" y="2216"/>
                    <a:pt x="21741" y="2216"/>
                    <a:pt x="21741" y="2216"/>
                  </a:cubicBezTo>
                  <a:lnTo>
                    <a:pt x="21938" y="2771"/>
                  </a:lnTo>
                  <a:close/>
                  <a:moveTo>
                    <a:pt x="22172" y="2103"/>
                  </a:moveTo>
                  <a:cubicBezTo>
                    <a:pt x="22227" y="2135"/>
                    <a:pt x="22276" y="2196"/>
                    <a:pt x="22318" y="2286"/>
                  </a:cubicBezTo>
                  <a:cubicBezTo>
                    <a:pt x="22403" y="2469"/>
                    <a:pt x="22387" y="2587"/>
                    <a:pt x="22270" y="2642"/>
                  </a:cubicBezTo>
                  <a:cubicBezTo>
                    <a:pt x="22209" y="2671"/>
                    <a:pt x="22151" y="2668"/>
                    <a:pt x="22096" y="2635"/>
                  </a:cubicBezTo>
                  <a:cubicBezTo>
                    <a:pt x="22040" y="2602"/>
                    <a:pt x="21991" y="2538"/>
                    <a:pt x="21947" y="2444"/>
                  </a:cubicBezTo>
                  <a:cubicBezTo>
                    <a:pt x="21907" y="2358"/>
                    <a:pt x="21892" y="2285"/>
                    <a:pt x="21902" y="2225"/>
                  </a:cubicBezTo>
                  <a:cubicBezTo>
                    <a:pt x="21911" y="2165"/>
                    <a:pt x="21944" y="2123"/>
                    <a:pt x="22000" y="2097"/>
                  </a:cubicBezTo>
                  <a:cubicBezTo>
                    <a:pt x="22059" y="2069"/>
                    <a:pt x="22117" y="2071"/>
                    <a:pt x="22172" y="2103"/>
                  </a:cubicBezTo>
                  <a:close/>
                  <a:moveTo>
                    <a:pt x="22227" y="2322"/>
                  </a:moveTo>
                  <a:cubicBezTo>
                    <a:pt x="22164" y="2186"/>
                    <a:pt x="22101" y="2133"/>
                    <a:pt x="22038" y="2162"/>
                  </a:cubicBezTo>
                  <a:cubicBezTo>
                    <a:pt x="21975" y="2192"/>
                    <a:pt x="21974" y="2273"/>
                    <a:pt x="22037" y="2406"/>
                  </a:cubicBezTo>
                  <a:cubicBezTo>
                    <a:pt x="22103" y="2549"/>
                    <a:pt x="22169" y="2605"/>
                    <a:pt x="22234" y="2575"/>
                  </a:cubicBezTo>
                  <a:cubicBezTo>
                    <a:pt x="22295" y="2546"/>
                    <a:pt x="22293" y="2462"/>
                    <a:pt x="22227" y="2322"/>
                  </a:cubicBezTo>
                  <a:close/>
                  <a:moveTo>
                    <a:pt x="22565" y="1868"/>
                  </a:moveTo>
                  <a:cubicBezTo>
                    <a:pt x="22624" y="1892"/>
                    <a:pt x="22680" y="1947"/>
                    <a:pt x="22733" y="2031"/>
                  </a:cubicBezTo>
                  <a:cubicBezTo>
                    <a:pt x="22840" y="2202"/>
                    <a:pt x="22839" y="2321"/>
                    <a:pt x="22729" y="2390"/>
                  </a:cubicBezTo>
                  <a:cubicBezTo>
                    <a:pt x="22672" y="2426"/>
                    <a:pt x="22614" y="2431"/>
                    <a:pt x="22555" y="2405"/>
                  </a:cubicBezTo>
                  <a:cubicBezTo>
                    <a:pt x="22496" y="2379"/>
                    <a:pt x="22439" y="2322"/>
                    <a:pt x="22384" y="2234"/>
                  </a:cubicBezTo>
                  <a:cubicBezTo>
                    <a:pt x="22333" y="2154"/>
                    <a:pt x="22309" y="2083"/>
                    <a:pt x="22312" y="2023"/>
                  </a:cubicBezTo>
                  <a:cubicBezTo>
                    <a:pt x="22314" y="1962"/>
                    <a:pt x="22341" y="1915"/>
                    <a:pt x="22393" y="1883"/>
                  </a:cubicBezTo>
                  <a:cubicBezTo>
                    <a:pt x="22449" y="1848"/>
                    <a:pt x="22506" y="1843"/>
                    <a:pt x="22565" y="1868"/>
                  </a:cubicBezTo>
                  <a:close/>
                  <a:moveTo>
                    <a:pt x="22647" y="2078"/>
                  </a:moveTo>
                  <a:cubicBezTo>
                    <a:pt x="22567" y="1951"/>
                    <a:pt x="22498" y="1906"/>
                    <a:pt x="22440" y="1943"/>
                  </a:cubicBezTo>
                  <a:cubicBezTo>
                    <a:pt x="22380" y="1980"/>
                    <a:pt x="22390" y="2061"/>
                    <a:pt x="22468" y="2186"/>
                  </a:cubicBezTo>
                  <a:cubicBezTo>
                    <a:pt x="22552" y="2319"/>
                    <a:pt x="22624" y="2366"/>
                    <a:pt x="22685" y="2328"/>
                  </a:cubicBezTo>
                  <a:cubicBezTo>
                    <a:pt x="22742" y="2292"/>
                    <a:pt x="22729" y="2209"/>
                    <a:pt x="22647" y="2078"/>
                  </a:cubicBezTo>
                  <a:close/>
                  <a:moveTo>
                    <a:pt x="23083" y="2128"/>
                  </a:moveTo>
                  <a:cubicBezTo>
                    <a:pt x="23003" y="2189"/>
                    <a:pt x="23003" y="2189"/>
                    <a:pt x="23003" y="2189"/>
                  </a:cubicBezTo>
                  <a:cubicBezTo>
                    <a:pt x="22644" y="1723"/>
                    <a:pt x="22644" y="1723"/>
                    <a:pt x="22644" y="1723"/>
                  </a:cubicBezTo>
                  <a:cubicBezTo>
                    <a:pt x="22724" y="1661"/>
                    <a:pt x="22724" y="1661"/>
                    <a:pt x="22724" y="1661"/>
                  </a:cubicBezTo>
                  <a:lnTo>
                    <a:pt x="23083" y="2128"/>
                  </a:lnTo>
                  <a:close/>
                  <a:moveTo>
                    <a:pt x="23100" y="1421"/>
                  </a:moveTo>
                  <a:cubicBezTo>
                    <a:pt x="23162" y="1434"/>
                    <a:pt x="23227" y="1477"/>
                    <a:pt x="23295" y="1550"/>
                  </a:cubicBezTo>
                  <a:cubicBezTo>
                    <a:pt x="23433" y="1697"/>
                    <a:pt x="23454" y="1815"/>
                    <a:pt x="23359" y="1903"/>
                  </a:cubicBezTo>
                  <a:cubicBezTo>
                    <a:pt x="23310" y="1949"/>
                    <a:pt x="23254" y="1965"/>
                    <a:pt x="23191" y="1950"/>
                  </a:cubicBezTo>
                  <a:cubicBezTo>
                    <a:pt x="23129" y="1936"/>
                    <a:pt x="23062" y="1890"/>
                    <a:pt x="22991" y="1814"/>
                  </a:cubicBezTo>
                  <a:cubicBezTo>
                    <a:pt x="22926" y="1745"/>
                    <a:pt x="22889" y="1681"/>
                    <a:pt x="22880" y="1620"/>
                  </a:cubicBezTo>
                  <a:cubicBezTo>
                    <a:pt x="22871" y="1560"/>
                    <a:pt x="22889" y="1509"/>
                    <a:pt x="22934" y="1468"/>
                  </a:cubicBezTo>
                  <a:cubicBezTo>
                    <a:pt x="22982" y="1423"/>
                    <a:pt x="23037" y="1407"/>
                    <a:pt x="23100" y="1421"/>
                  </a:cubicBezTo>
                  <a:close/>
                  <a:moveTo>
                    <a:pt x="23220" y="1611"/>
                  </a:moveTo>
                  <a:cubicBezTo>
                    <a:pt x="23118" y="1502"/>
                    <a:pt x="23041" y="1471"/>
                    <a:pt x="22991" y="1518"/>
                  </a:cubicBezTo>
                  <a:cubicBezTo>
                    <a:pt x="22940" y="1566"/>
                    <a:pt x="22964" y="1643"/>
                    <a:pt x="23065" y="1751"/>
                  </a:cubicBezTo>
                  <a:cubicBezTo>
                    <a:pt x="23172" y="1866"/>
                    <a:pt x="23252" y="1899"/>
                    <a:pt x="23304" y="1851"/>
                  </a:cubicBezTo>
                  <a:cubicBezTo>
                    <a:pt x="23354" y="1804"/>
                    <a:pt x="23325" y="1725"/>
                    <a:pt x="23220" y="1611"/>
                  </a:cubicBezTo>
                  <a:close/>
                  <a:moveTo>
                    <a:pt x="23658" y="1579"/>
                  </a:moveTo>
                  <a:cubicBezTo>
                    <a:pt x="23591" y="1654"/>
                    <a:pt x="23591" y="1654"/>
                    <a:pt x="23591" y="1654"/>
                  </a:cubicBezTo>
                  <a:cubicBezTo>
                    <a:pt x="23151" y="1263"/>
                    <a:pt x="23151" y="1263"/>
                    <a:pt x="23151" y="1263"/>
                  </a:cubicBezTo>
                  <a:cubicBezTo>
                    <a:pt x="23218" y="1188"/>
                    <a:pt x="23218" y="1188"/>
                    <a:pt x="23218" y="1188"/>
                  </a:cubicBezTo>
                  <a:lnTo>
                    <a:pt x="23658" y="1579"/>
                  </a:lnTo>
                  <a:close/>
                  <a:moveTo>
                    <a:pt x="23831" y="1366"/>
                  </a:moveTo>
                  <a:cubicBezTo>
                    <a:pt x="23769" y="1446"/>
                    <a:pt x="23769" y="1446"/>
                    <a:pt x="23769" y="1446"/>
                  </a:cubicBezTo>
                  <a:cubicBezTo>
                    <a:pt x="23304" y="1084"/>
                    <a:pt x="23304" y="1084"/>
                    <a:pt x="23304" y="1084"/>
                  </a:cubicBezTo>
                  <a:cubicBezTo>
                    <a:pt x="23366" y="1005"/>
                    <a:pt x="23366" y="1005"/>
                    <a:pt x="23366" y="1005"/>
                  </a:cubicBezTo>
                  <a:lnTo>
                    <a:pt x="23831" y="1366"/>
                  </a:lnTo>
                  <a:close/>
                  <a:moveTo>
                    <a:pt x="23989" y="1143"/>
                  </a:moveTo>
                  <a:cubicBezTo>
                    <a:pt x="23933" y="1226"/>
                    <a:pt x="23933" y="1226"/>
                    <a:pt x="23933" y="1226"/>
                  </a:cubicBezTo>
                  <a:cubicBezTo>
                    <a:pt x="23445" y="895"/>
                    <a:pt x="23445" y="895"/>
                    <a:pt x="23445" y="895"/>
                  </a:cubicBezTo>
                  <a:cubicBezTo>
                    <a:pt x="23502" y="812"/>
                    <a:pt x="23502" y="812"/>
                    <a:pt x="23502" y="812"/>
                  </a:cubicBezTo>
                  <a:lnTo>
                    <a:pt x="23989" y="1143"/>
                  </a:lnTo>
                  <a:close/>
                  <a:moveTo>
                    <a:pt x="23832" y="452"/>
                  </a:moveTo>
                  <a:cubicBezTo>
                    <a:pt x="23896" y="456"/>
                    <a:pt x="23967" y="488"/>
                    <a:pt x="24046" y="549"/>
                  </a:cubicBezTo>
                  <a:cubicBezTo>
                    <a:pt x="24205" y="672"/>
                    <a:pt x="24245" y="785"/>
                    <a:pt x="24165" y="887"/>
                  </a:cubicBezTo>
                  <a:cubicBezTo>
                    <a:pt x="24124" y="941"/>
                    <a:pt x="24071" y="965"/>
                    <a:pt x="24007" y="961"/>
                  </a:cubicBezTo>
                  <a:cubicBezTo>
                    <a:pt x="23943" y="956"/>
                    <a:pt x="23869" y="922"/>
                    <a:pt x="23787" y="859"/>
                  </a:cubicBezTo>
                  <a:cubicBezTo>
                    <a:pt x="23712" y="800"/>
                    <a:pt x="23666" y="743"/>
                    <a:pt x="23647" y="685"/>
                  </a:cubicBezTo>
                  <a:cubicBezTo>
                    <a:pt x="23629" y="627"/>
                    <a:pt x="23638" y="574"/>
                    <a:pt x="23676" y="525"/>
                  </a:cubicBezTo>
                  <a:cubicBezTo>
                    <a:pt x="23716" y="473"/>
                    <a:pt x="23768" y="449"/>
                    <a:pt x="23832" y="452"/>
                  </a:cubicBezTo>
                  <a:close/>
                  <a:moveTo>
                    <a:pt x="23981" y="622"/>
                  </a:moveTo>
                  <a:cubicBezTo>
                    <a:pt x="23863" y="530"/>
                    <a:pt x="23782" y="511"/>
                    <a:pt x="23740" y="566"/>
                  </a:cubicBezTo>
                  <a:cubicBezTo>
                    <a:pt x="23697" y="621"/>
                    <a:pt x="23734" y="694"/>
                    <a:pt x="23850" y="784"/>
                  </a:cubicBezTo>
                  <a:cubicBezTo>
                    <a:pt x="23974" y="881"/>
                    <a:pt x="24059" y="901"/>
                    <a:pt x="24102" y="844"/>
                  </a:cubicBezTo>
                  <a:cubicBezTo>
                    <a:pt x="24144" y="791"/>
                    <a:pt x="24103" y="717"/>
                    <a:pt x="23981" y="622"/>
                  </a:cubicBezTo>
                  <a:close/>
                  <a:moveTo>
                    <a:pt x="24354" y="131"/>
                  </a:moveTo>
                  <a:cubicBezTo>
                    <a:pt x="24409" y="164"/>
                    <a:pt x="24457" y="226"/>
                    <a:pt x="24498" y="316"/>
                  </a:cubicBezTo>
                  <a:cubicBezTo>
                    <a:pt x="24581" y="500"/>
                    <a:pt x="24563" y="618"/>
                    <a:pt x="24445" y="671"/>
                  </a:cubicBezTo>
                  <a:cubicBezTo>
                    <a:pt x="24384" y="699"/>
                    <a:pt x="24326" y="696"/>
                    <a:pt x="24271" y="662"/>
                  </a:cubicBezTo>
                  <a:cubicBezTo>
                    <a:pt x="24216" y="629"/>
                    <a:pt x="24167" y="564"/>
                    <a:pt x="24125" y="469"/>
                  </a:cubicBezTo>
                  <a:cubicBezTo>
                    <a:pt x="24086" y="383"/>
                    <a:pt x="24072" y="310"/>
                    <a:pt x="24082" y="250"/>
                  </a:cubicBezTo>
                  <a:cubicBezTo>
                    <a:pt x="24093" y="190"/>
                    <a:pt x="24126" y="148"/>
                    <a:pt x="24182" y="123"/>
                  </a:cubicBezTo>
                  <a:cubicBezTo>
                    <a:pt x="24242" y="96"/>
                    <a:pt x="24299" y="98"/>
                    <a:pt x="24354" y="131"/>
                  </a:cubicBezTo>
                  <a:close/>
                  <a:moveTo>
                    <a:pt x="24407" y="351"/>
                  </a:moveTo>
                  <a:cubicBezTo>
                    <a:pt x="24345" y="214"/>
                    <a:pt x="24283" y="160"/>
                    <a:pt x="24220" y="188"/>
                  </a:cubicBezTo>
                  <a:cubicBezTo>
                    <a:pt x="24156" y="217"/>
                    <a:pt x="24154" y="299"/>
                    <a:pt x="24215" y="433"/>
                  </a:cubicBezTo>
                  <a:cubicBezTo>
                    <a:pt x="24280" y="577"/>
                    <a:pt x="24345" y="634"/>
                    <a:pt x="24410" y="604"/>
                  </a:cubicBezTo>
                  <a:cubicBezTo>
                    <a:pt x="24472" y="576"/>
                    <a:pt x="24470" y="492"/>
                    <a:pt x="24407" y="351"/>
                  </a:cubicBezTo>
                  <a:close/>
                  <a:moveTo>
                    <a:pt x="24944" y="78"/>
                  </a:moveTo>
                  <a:cubicBezTo>
                    <a:pt x="24981" y="130"/>
                    <a:pt x="25000" y="206"/>
                    <a:pt x="25001" y="306"/>
                  </a:cubicBezTo>
                  <a:cubicBezTo>
                    <a:pt x="25002" y="507"/>
                    <a:pt x="24938" y="608"/>
                    <a:pt x="24808" y="609"/>
                  </a:cubicBezTo>
                  <a:cubicBezTo>
                    <a:pt x="24741" y="609"/>
                    <a:pt x="24689" y="583"/>
                    <a:pt x="24653" y="530"/>
                  </a:cubicBezTo>
                  <a:cubicBezTo>
                    <a:pt x="24616" y="477"/>
                    <a:pt x="24598" y="398"/>
                    <a:pt x="24597" y="294"/>
                  </a:cubicBezTo>
                  <a:cubicBezTo>
                    <a:pt x="24597" y="199"/>
                    <a:pt x="24613" y="127"/>
                    <a:pt x="24647" y="77"/>
                  </a:cubicBezTo>
                  <a:cubicBezTo>
                    <a:pt x="24681" y="26"/>
                    <a:pt x="24729" y="1"/>
                    <a:pt x="24790" y="1"/>
                  </a:cubicBezTo>
                  <a:cubicBezTo>
                    <a:pt x="24856" y="0"/>
                    <a:pt x="24907" y="26"/>
                    <a:pt x="24944" y="78"/>
                  </a:cubicBezTo>
                  <a:close/>
                  <a:moveTo>
                    <a:pt x="24903" y="300"/>
                  </a:moveTo>
                  <a:cubicBezTo>
                    <a:pt x="24902" y="150"/>
                    <a:pt x="24867" y="76"/>
                    <a:pt x="24798" y="76"/>
                  </a:cubicBezTo>
                  <a:cubicBezTo>
                    <a:pt x="24728" y="76"/>
                    <a:pt x="24694" y="150"/>
                    <a:pt x="24695" y="298"/>
                  </a:cubicBezTo>
                  <a:cubicBezTo>
                    <a:pt x="24696" y="455"/>
                    <a:pt x="24732" y="533"/>
                    <a:pt x="24803" y="533"/>
                  </a:cubicBezTo>
                  <a:cubicBezTo>
                    <a:pt x="24871" y="533"/>
                    <a:pt x="24904" y="455"/>
                    <a:pt x="24903" y="300"/>
                  </a:cubicBezTo>
                  <a:close/>
                  <a:moveTo>
                    <a:pt x="25206" y="599"/>
                  </a:moveTo>
                  <a:cubicBezTo>
                    <a:pt x="25105" y="599"/>
                    <a:pt x="25105" y="599"/>
                    <a:pt x="25105" y="599"/>
                  </a:cubicBezTo>
                  <a:cubicBezTo>
                    <a:pt x="25105" y="10"/>
                    <a:pt x="25105" y="10"/>
                    <a:pt x="25105" y="10"/>
                  </a:cubicBezTo>
                  <a:cubicBezTo>
                    <a:pt x="25206" y="10"/>
                    <a:pt x="25206" y="10"/>
                    <a:pt x="25206" y="10"/>
                  </a:cubicBezTo>
                  <a:lnTo>
                    <a:pt x="25206" y="599"/>
                  </a:lnTo>
                  <a:close/>
                  <a:moveTo>
                    <a:pt x="25659" y="79"/>
                  </a:moveTo>
                  <a:cubicBezTo>
                    <a:pt x="25695" y="132"/>
                    <a:pt x="25714" y="208"/>
                    <a:pt x="25714" y="307"/>
                  </a:cubicBezTo>
                  <a:cubicBezTo>
                    <a:pt x="25714" y="508"/>
                    <a:pt x="25649" y="609"/>
                    <a:pt x="25519" y="609"/>
                  </a:cubicBezTo>
                  <a:cubicBezTo>
                    <a:pt x="25452" y="609"/>
                    <a:pt x="25400" y="582"/>
                    <a:pt x="25364" y="529"/>
                  </a:cubicBezTo>
                  <a:cubicBezTo>
                    <a:pt x="25328" y="476"/>
                    <a:pt x="25310" y="397"/>
                    <a:pt x="25310" y="293"/>
                  </a:cubicBezTo>
                  <a:cubicBezTo>
                    <a:pt x="25310" y="198"/>
                    <a:pt x="25328" y="126"/>
                    <a:pt x="25362" y="76"/>
                  </a:cubicBezTo>
                  <a:cubicBezTo>
                    <a:pt x="25396" y="26"/>
                    <a:pt x="25444" y="0"/>
                    <a:pt x="25506" y="0"/>
                  </a:cubicBezTo>
                  <a:cubicBezTo>
                    <a:pt x="25571" y="0"/>
                    <a:pt x="25622" y="27"/>
                    <a:pt x="25659" y="79"/>
                  </a:cubicBezTo>
                  <a:close/>
                  <a:moveTo>
                    <a:pt x="25616" y="301"/>
                  </a:moveTo>
                  <a:cubicBezTo>
                    <a:pt x="25616" y="151"/>
                    <a:pt x="25582" y="76"/>
                    <a:pt x="25513" y="76"/>
                  </a:cubicBezTo>
                  <a:cubicBezTo>
                    <a:pt x="25443" y="76"/>
                    <a:pt x="25408" y="150"/>
                    <a:pt x="25408" y="297"/>
                  </a:cubicBezTo>
                  <a:cubicBezTo>
                    <a:pt x="25408" y="454"/>
                    <a:pt x="25444" y="533"/>
                    <a:pt x="25515" y="533"/>
                  </a:cubicBezTo>
                  <a:cubicBezTo>
                    <a:pt x="25583" y="533"/>
                    <a:pt x="25616" y="456"/>
                    <a:pt x="25616" y="301"/>
                  </a:cubicBezTo>
                  <a:close/>
                  <a:moveTo>
                    <a:pt x="25918" y="599"/>
                  </a:moveTo>
                  <a:cubicBezTo>
                    <a:pt x="25817" y="599"/>
                    <a:pt x="25817" y="599"/>
                    <a:pt x="25817" y="599"/>
                  </a:cubicBezTo>
                  <a:cubicBezTo>
                    <a:pt x="25817" y="10"/>
                    <a:pt x="25817" y="10"/>
                    <a:pt x="25817" y="10"/>
                  </a:cubicBezTo>
                  <a:cubicBezTo>
                    <a:pt x="25918" y="10"/>
                    <a:pt x="25918" y="10"/>
                    <a:pt x="25918" y="10"/>
                  </a:cubicBezTo>
                  <a:lnTo>
                    <a:pt x="25918" y="599"/>
                  </a:lnTo>
                  <a:close/>
                  <a:moveTo>
                    <a:pt x="26371" y="79"/>
                  </a:moveTo>
                  <a:cubicBezTo>
                    <a:pt x="26407" y="132"/>
                    <a:pt x="26425" y="208"/>
                    <a:pt x="26425" y="307"/>
                  </a:cubicBezTo>
                  <a:cubicBezTo>
                    <a:pt x="26425" y="508"/>
                    <a:pt x="26361" y="609"/>
                    <a:pt x="26231" y="609"/>
                  </a:cubicBezTo>
                  <a:cubicBezTo>
                    <a:pt x="26164" y="609"/>
                    <a:pt x="26112" y="582"/>
                    <a:pt x="26076" y="529"/>
                  </a:cubicBezTo>
                  <a:cubicBezTo>
                    <a:pt x="26040" y="476"/>
                    <a:pt x="26022" y="397"/>
                    <a:pt x="26022" y="293"/>
                  </a:cubicBezTo>
                  <a:cubicBezTo>
                    <a:pt x="26022" y="198"/>
                    <a:pt x="26039" y="126"/>
                    <a:pt x="26074" y="76"/>
                  </a:cubicBezTo>
                  <a:cubicBezTo>
                    <a:pt x="26108" y="26"/>
                    <a:pt x="26156" y="0"/>
                    <a:pt x="26217" y="0"/>
                  </a:cubicBezTo>
                  <a:cubicBezTo>
                    <a:pt x="26283" y="0"/>
                    <a:pt x="26334" y="27"/>
                    <a:pt x="26371" y="79"/>
                  </a:cubicBezTo>
                  <a:close/>
                  <a:moveTo>
                    <a:pt x="26328" y="301"/>
                  </a:moveTo>
                  <a:cubicBezTo>
                    <a:pt x="26328" y="151"/>
                    <a:pt x="26294" y="76"/>
                    <a:pt x="26225" y="76"/>
                  </a:cubicBezTo>
                  <a:cubicBezTo>
                    <a:pt x="26155" y="76"/>
                    <a:pt x="26119" y="150"/>
                    <a:pt x="26119" y="297"/>
                  </a:cubicBezTo>
                  <a:cubicBezTo>
                    <a:pt x="26119" y="454"/>
                    <a:pt x="26155" y="533"/>
                    <a:pt x="26227" y="533"/>
                  </a:cubicBezTo>
                  <a:cubicBezTo>
                    <a:pt x="26294" y="533"/>
                    <a:pt x="26328" y="456"/>
                    <a:pt x="26328" y="301"/>
                  </a:cubicBezTo>
                  <a:close/>
                  <a:moveTo>
                    <a:pt x="26630" y="599"/>
                  </a:moveTo>
                  <a:cubicBezTo>
                    <a:pt x="26530" y="599"/>
                    <a:pt x="26530" y="599"/>
                    <a:pt x="26530" y="599"/>
                  </a:cubicBezTo>
                  <a:cubicBezTo>
                    <a:pt x="26530" y="10"/>
                    <a:pt x="26530" y="10"/>
                    <a:pt x="26530" y="10"/>
                  </a:cubicBezTo>
                  <a:cubicBezTo>
                    <a:pt x="26630" y="10"/>
                    <a:pt x="26630" y="10"/>
                    <a:pt x="26630" y="10"/>
                  </a:cubicBezTo>
                  <a:lnTo>
                    <a:pt x="26630" y="599"/>
                  </a:lnTo>
                  <a:close/>
                  <a:moveTo>
                    <a:pt x="27083" y="79"/>
                  </a:moveTo>
                  <a:cubicBezTo>
                    <a:pt x="27119" y="132"/>
                    <a:pt x="27137" y="208"/>
                    <a:pt x="27137" y="307"/>
                  </a:cubicBezTo>
                  <a:cubicBezTo>
                    <a:pt x="27137" y="508"/>
                    <a:pt x="27073" y="609"/>
                    <a:pt x="26943" y="609"/>
                  </a:cubicBezTo>
                  <a:cubicBezTo>
                    <a:pt x="26876" y="609"/>
                    <a:pt x="26824" y="582"/>
                    <a:pt x="26788" y="529"/>
                  </a:cubicBezTo>
                  <a:cubicBezTo>
                    <a:pt x="26752" y="476"/>
                    <a:pt x="26734" y="397"/>
                    <a:pt x="26734" y="293"/>
                  </a:cubicBezTo>
                  <a:cubicBezTo>
                    <a:pt x="26734" y="198"/>
                    <a:pt x="26751" y="126"/>
                    <a:pt x="26786" y="76"/>
                  </a:cubicBezTo>
                  <a:cubicBezTo>
                    <a:pt x="26820" y="26"/>
                    <a:pt x="26868" y="0"/>
                    <a:pt x="26929" y="0"/>
                  </a:cubicBezTo>
                  <a:cubicBezTo>
                    <a:pt x="26995" y="0"/>
                    <a:pt x="27046" y="27"/>
                    <a:pt x="27083" y="79"/>
                  </a:cubicBezTo>
                  <a:close/>
                  <a:moveTo>
                    <a:pt x="27040" y="301"/>
                  </a:moveTo>
                  <a:cubicBezTo>
                    <a:pt x="27040" y="151"/>
                    <a:pt x="27006" y="76"/>
                    <a:pt x="26937" y="76"/>
                  </a:cubicBezTo>
                  <a:cubicBezTo>
                    <a:pt x="26866" y="76"/>
                    <a:pt x="26831" y="150"/>
                    <a:pt x="26831" y="297"/>
                  </a:cubicBezTo>
                  <a:cubicBezTo>
                    <a:pt x="26831" y="454"/>
                    <a:pt x="26867" y="533"/>
                    <a:pt x="26939" y="533"/>
                  </a:cubicBezTo>
                  <a:cubicBezTo>
                    <a:pt x="27006" y="533"/>
                    <a:pt x="27040" y="456"/>
                    <a:pt x="27040" y="301"/>
                  </a:cubicBezTo>
                  <a:close/>
                  <a:moveTo>
                    <a:pt x="27301" y="620"/>
                  </a:moveTo>
                  <a:cubicBezTo>
                    <a:pt x="27202" y="602"/>
                    <a:pt x="27202" y="602"/>
                    <a:pt x="27202" y="602"/>
                  </a:cubicBezTo>
                  <a:cubicBezTo>
                    <a:pt x="27307" y="23"/>
                    <a:pt x="27307" y="23"/>
                    <a:pt x="27307" y="23"/>
                  </a:cubicBezTo>
                  <a:cubicBezTo>
                    <a:pt x="27406" y="41"/>
                    <a:pt x="27406" y="41"/>
                    <a:pt x="27406" y="41"/>
                  </a:cubicBezTo>
                  <a:lnTo>
                    <a:pt x="27301" y="620"/>
                  </a:lnTo>
                  <a:close/>
                  <a:moveTo>
                    <a:pt x="27905" y="342"/>
                  </a:moveTo>
                  <a:cubicBezTo>
                    <a:pt x="27909" y="405"/>
                    <a:pt x="27885" y="480"/>
                    <a:pt x="27833" y="565"/>
                  </a:cubicBezTo>
                  <a:cubicBezTo>
                    <a:pt x="27728" y="737"/>
                    <a:pt x="27621" y="789"/>
                    <a:pt x="27510" y="721"/>
                  </a:cubicBezTo>
                  <a:cubicBezTo>
                    <a:pt x="27452" y="686"/>
                    <a:pt x="27422" y="636"/>
                    <a:pt x="27419" y="572"/>
                  </a:cubicBezTo>
                  <a:cubicBezTo>
                    <a:pt x="27417" y="508"/>
                    <a:pt x="27442" y="431"/>
                    <a:pt x="27497" y="343"/>
                  </a:cubicBezTo>
                  <a:cubicBezTo>
                    <a:pt x="27546" y="262"/>
                    <a:pt x="27598" y="209"/>
                    <a:pt x="27654" y="184"/>
                  </a:cubicBezTo>
                  <a:cubicBezTo>
                    <a:pt x="27709" y="159"/>
                    <a:pt x="27763" y="163"/>
                    <a:pt x="27815" y="195"/>
                  </a:cubicBezTo>
                  <a:cubicBezTo>
                    <a:pt x="27871" y="229"/>
                    <a:pt x="27901" y="278"/>
                    <a:pt x="27905" y="342"/>
                  </a:cubicBezTo>
                  <a:close/>
                  <a:moveTo>
                    <a:pt x="27754" y="509"/>
                  </a:moveTo>
                  <a:cubicBezTo>
                    <a:pt x="27832" y="381"/>
                    <a:pt x="27841" y="299"/>
                    <a:pt x="27782" y="263"/>
                  </a:cubicBezTo>
                  <a:cubicBezTo>
                    <a:pt x="27722" y="226"/>
                    <a:pt x="27654" y="271"/>
                    <a:pt x="27577" y="397"/>
                  </a:cubicBezTo>
                  <a:cubicBezTo>
                    <a:pt x="27495" y="531"/>
                    <a:pt x="27485" y="617"/>
                    <a:pt x="27546" y="654"/>
                  </a:cubicBezTo>
                  <a:cubicBezTo>
                    <a:pt x="27604" y="689"/>
                    <a:pt x="27673" y="641"/>
                    <a:pt x="27754" y="509"/>
                  </a:cubicBezTo>
                  <a:close/>
                  <a:moveTo>
                    <a:pt x="27743" y="932"/>
                  </a:moveTo>
                  <a:cubicBezTo>
                    <a:pt x="27682" y="852"/>
                    <a:pt x="27682" y="852"/>
                    <a:pt x="27682" y="852"/>
                  </a:cubicBezTo>
                  <a:cubicBezTo>
                    <a:pt x="28150" y="495"/>
                    <a:pt x="28150" y="495"/>
                    <a:pt x="28150" y="495"/>
                  </a:cubicBezTo>
                  <a:cubicBezTo>
                    <a:pt x="28211" y="575"/>
                    <a:pt x="28211" y="575"/>
                    <a:pt x="28211" y="575"/>
                  </a:cubicBezTo>
                  <a:lnTo>
                    <a:pt x="27743" y="932"/>
                  </a:lnTo>
                  <a:close/>
                  <a:moveTo>
                    <a:pt x="28418" y="1021"/>
                  </a:moveTo>
                  <a:cubicBezTo>
                    <a:pt x="28395" y="1080"/>
                    <a:pt x="28343" y="1138"/>
                    <a:pt x="28261" y="1194"/>
                  </a:cubicBezTo>
                  <a:cubicBezTo>
                    <a:pt x="28094" y="1308"/>
                    <a:pt x="27975" y="1311"/>
                    <a:pt x="27902" y="1204"/>
                  </a:cubicBezTo>
                  <a:cubicBezTo>
                    <a:pt x="27864" y="1148"/>
                    <a:pt x="27857" y="1090"/>
                    <a:pt x="27881" y="1031"/>
                  </a:cubicBezTo>
                  <a:cubicBezTo>
                    <a:pt x="27905" y="971"/>
                    <a:pt x="27959" y="912"/>
                    <a:pt x="28045" y="853"/>
                  </a:cubicBezTo>
                  <a:cubicBezTo>
                    <a:pt x="28124" y="800"/>
                    <a:pt x="28193" y="773"/>
                    <a:pt x="28254" y="773"/>
                  </a:cubicBezTo>
                  <a:cubicBezTo>
                    <a:pt x="28315" y="774"/>
                    <a:pt x="28362" y="799"/>
                    <a:pt x="28397" y="850"/>
                  </a:cubicBezTo>
                  <a:cubicBezTo>
                    <a:pt x="28434" y="904"/>
                    <a:pt x="28441" y="961"/>
                    <a:pt x="28418" y="1021"/>
                  </a:cubicBezTo>
                  <a:close/>
                  <a:moveTo>
                    <a:pt x="28211" y="1110"/>
                  </a:moveTo>
                  <a:cubicBezTo>
                    <a:pt x="28335" y="1026"/>
                    <a:pt x="28377" y="955"/>
                    <a:pt x="28339" y="898"/>
                  </a:cubicBezTo>
                  <a:cubicBezTo>
                    <a:pt x="28299" y="840"/>
                    <a:pt x="28219" y="853"/>
                    <a:pt x="28097" y="936"/>
                  </a:cubicBezTo>
                  <a:cubicBezTo>
                    <a:pt x="27967" y="1025"/>
                    <a:pt x="27922" y="1098"/>
                    <a:pt x="27962" y="1157"/>
                  </a:cubicBezTo>
                  <a:cubicBezTo>
                    <a:pt x="28000" y="1213"/>
                    <a:pt x="28083" y="1198"/>
                    <a:pt x="28211" y="1110"/>
                  </a:cubicBezTo>
                  <a:close/>
                  <a:moveTo>
                    <a:pt x="28177" y="1549"/>
                  </a:moveTo>
                  <a:cubicBezTo>
                    <a:pt x="28113" y="1471"/>
                    <a:pt x="28113" y="1471"/>
                    <a:pt x="28113" y="1471"/>
                  </a:cubicBezTo>
                  <a:cubicBezTo>
                    <a:pt x="28566" y="1095"/>
                    <a:pt x="28566" y="1095"/>
                    <a:pt x="28566" y="1095"/>
                  </a:cubicBezTo>
                  <a:cubicBezTo>
                    <a:pt x="28630" y="1173"/>
                    <a:pt x="28630" y="1173"/>
                    <a:pt x="28630" y="1173"/>
                  </a:cubicBezTo>
                  <a:lnTo>
                    <a:pt x="28177" y="1549"/>
                  </a:lnTo>
                  <a:close/>
                  <a:moveTo>
                    <a:pt x="28884" y="1539"/>
                  </a:moveTo>
                  <a:cubicBezTo>
                    <a:pt x="28873" y="1602"/>
                    <a:pt x="28833" y="1669"/>
                    <a:pt x="28762" y="1739"/>
                  </a:cubicBezTo>
                  <a:cubicBezTo>
                    <a:pt x="28620" y="1882"/>
                    <a:pt x="28503" y="1907"/>
                    <a:pt x="28412" y="1816"/>
                  </a:cubicBezTo>
                  <a:cubicBezTo>
                    <a:pt x="28364" y="1768"/>
                    <a:pt x="28346" y="1713"/>
                    <a:pt x="28358" y="1650"/>
                  </a:cubicBezTo>
                  <a:cubicBezTo>
                    <a:pt x="28370" y="1586"/>
                    <a:pt x="28413" y="1518"/>
                    <a:pt x="28487" y="1444"/>
                  </a:cubicBezTo>
                  <a:cubicBezTo>
                    <a:pt x="28554" y="1377"/>
                    <a:pt x="28617" y="1338"/>
                    <a:pt x="28677" y="1327"/>
                  </a:cubicBezTo>
                  <a:cubicBezTo>
                    <a:pt x="28736" y="1316"/>
                    <a:pt x="28788" y="1332"/>
                    <a:pt x="28831" y="1375"/>
                  </a:cubicBezTo>
                  <a:cubicBezTo>
                    <a:pt x="28878" y="1421"/>
                    <a:pt x="28896" y="1476"/>
                    <a:pt x="28884" y="1539"/>
                  </a:cubicBezTo>
                  <a:close/>
                  <a:moveTo>
                    <a:pt x="28698" y="1666"/>
                  </a:moveTo>
                  <a:cubicBezTo>
                    <a:pt x="28804" y="1560"/>
                    <a:pt x="28832" y="1482"/>
                    <a:pt x="28783" y="1434"/>
                  </a:cubicBezTo>
                  <a:cubicBezTo>
                    <a:pt x="28734" y="1384"/>
                    <a:pt x="28657" y="1412"/>
                    <a:pt x="28553" y="1516"/>
                  </a:cubicBezTo>
                  <a:cubicBezTo>
                    <a:pt x="28442" y="1627"/>
                    <a:pt x="28411" y="1708"/>
                    <a:pt x="28462" y="1759"/>
                  </a:cubicBezTo>
                  <a:cubicBezTo>
                    <a:pt x="28510" y="1807"/>
                    <a:pt x="28588" y="1776"/>
                    <a:pt x="28698" y="1666"/>
                  </a:cubicBezTo>
                  <a:close/>
                  <a:moveTo>
                    <a:pt x="28746" y="2103"/>
                  </a:moveTo>
                  <a:cubicBezTo>
                    <a:pt x="28669" y="2039"/>
                    <a:pt x="28669" y="2039"/>
                    <a:pt x="28669" y="2039"/>
                  </a:cubicBezTo>
                  <a:cubicBezTo>
                    <a:pt x="29043" y="1584"/>
                    <a:pt x="29043" y="1584"/>
                    <a:pt x="29043" y="1584"/>
                  </a:cubicBezTo>
                  <a:cubicBezTo>
                    <a:pt x="29121" y="1648"/>
                    <a:pt x="29121" y="1648"/>
                    <a:pt x="29121" y="1648"/>
                  </a:cubicBezTo>
                  <a:lnTo>
                    <a:pt x="28746" y="2103"/>
                  </a:lnTo>
                  <a:close/>
                  <a:moveTo>
                    <a:pt x="29439" y="1961"/>
                  </a:moveTo>
                  <a:cubicBezTo>
                    <a:pt x="29440" y="2025"/>
                    <a:pt x="29413" y="2098"/>
                    <a:pt x="29357" y="2180"/>
                  </a:cubicBezTo>
                  <a:cubicBezTo>
                    <a:pt x="29244" y="2347"/>
                    <a:pt x="29134" y="2394"/>
                    <a:pt x="29027" y="2321"/>
                  </a:cubicBezTo>
                  <a:cubicBezTo>
                    <a:pt x="28971" y="2284"/>
                    <a:pt x="28943" y="2232"/>
                    <a:pt x="28943" y="2168"/>
                  </a:cubicBezTo>
                  <a:cubicBezTo>
                    <a:pt x="28943" y="2104"/>
                    <a:pt x="28973" y="2029"/>
                    <a:pt x="29031" y="1942"/>
                  </a:cubicBezTo>
                  <a:cubicBezTo>
                    <a:pt x="29084" y="1864"/>
                    <a:pt x="29139" y="1814"/>
                    <a:pt x="29196" y="1792"/>
                  </a:cubicBezTo>
                  <a:cubicBezTo>
                    <a:pt x="29252" y="1769"/>
                    <a:pt x="29306" y="1775"/>
                    <a:pt x="29357" y="1810"/>
                  </a:cubicBezTo>
                  <a:cubicBezTo>
                    <a:pt x="29411" y="1847"/>
                    <a:pt x="29439" y="1897"/>
                    <a:pt x="29439" y="1961"/>
                  </a:cubicBezTo>
                  <a:close/>
                  <a:moveTo>
                    <a:pt x="29280" y="2120"/>
                  </a:moveTo>
                  <a:cubicBezTo>
                    <a:pt x="29364" y="1997"/>
                    <a:pt x="29377" y="1915"/>
                    <a:pt x="29320" y="1877"/>
                  </a:cubicBezTo>
                  <a:cubicBezTo>
                    <a:pt x="29262" y="1837"/>
                    <a:pt x="29192" y="1879"/>
                    <a:pt x="29109" y="2000"/>
                  </a:cubicBezTo>
                  <a:cubicBezTo>
                    <a:pt x="29021" y="2131"/>
                    <a:pt x="29007" y="2216"/>
                    <a:pt x="29066" y="2256"/>
                  </a:cubicBezTo>
                  <a:cubicBezTo>
                    <a:pt x="29122" y="2294"/>
                    <a:pt x="29193" y="2249"/>
                    <a:pt x="29280" y="2120"/>
                  </a:cubicBezTo>
                  <a:close/>
                  <a:moveTo>
                    <a:pt x="29410" y="2541"/>
                  </a:moveTo>
                  <a:cubicBezTo>
                    <a:pt x="29322" y="2492"/>
                    <a:pt x="29322" y="2492"/>
                    <a:pt x="29322" y="2492"/>
                  </a:cubicBezTo>
                  <a:cubicBezTo>
                    <a:pt x="29605" y="1976"/>
                    <a:pt x="29605" y="1976"/>
                    <a:pt x="29605" y="1976"/>
                  </a:cubicBezTo>
                  <a:cubicBezTo>
                    <a:pt x="29693" y="2024"/>
                    <a:pt x="29693" y="2024"/>
                    <a:pt x="29693" y="2024"/>
                  </a:cubicBezTo>
                  <a:lnTo>
                    <a:pt x="29410" y="2541"/>
                  </a:lnTo>
                  <a:close/>
                  <a:moveTo>
                    <a:pt x="29656" y="2661"/>
                  </a:moveTo>
                  <a:cubicBezTo>
                    <a:pt x="29565" y="2619"/>
                    <a:pt x="29565" y="2619"/>
                    <a:pt x="29565" y="2619"/>
                  </a:cubicBezTo>
                  <a:cubicBezTo>
                    <a:pt x="29813" y="2085"/>
                    <a:pt x="29813" y="2085"/>
                    <a:pt x="29813" y="2085"/>
                  </a:cubicBezTo>
                  <a:cubicBezTo>
                    <a:pt x="29904" y="2127"/>
                    <a:pt x="29904" y="2127"/>
                    <a:pt x="29904" y="2127"/>
                  </a:cubicBezTo>
                  <a:lnTo>
                    <a:pt x="29656" y="2661"/>
                  </a:lnTo>
                  <a:close/>
                  <a:moveTo>
                    <a:pt x="30291" y="2349"/>
                  </a:moveTo>
                  <a:cubicBezTo>
                    <a:pt x="30308" y="2411"/>
                    <a:pt x="30300" y="2489"/>
                    <a:pt x="30267" y="2582"/>
                  </a:cubicBezTo>
                  <a:cubicBezTo>
                    <a:pt x="30200" y="2772"/>
                    <a:pt x="30105" y="2845"/>
                    <a:pt x="29983" y="2802"/>
                  </a:cubicBezTo>
                  <a:cubicBezTo>
                    <a:pt x="29919" y="2780"/>
                    <a:pt x="29879" y="2737"/>
                    <a:pt x="29863" y="2675"/>
                  </a:cubicBezTo>
                  <a:cubicBezTo>
                    <a:pt x="29847" y="2613"/>
                    <a:pt x="29857" y="2533"/>
                    <a:pt x="29891" y="2435"/>
                  </a:cubicBezTo>
                  <a:cubicBezTo>
                    <a:pt x="29923" y="2345"/>
                    <a:pt x="29963" y="2283"/>
                    <a:pt x="30012" y="2247"/>
                  </a:cubicBezTo>
                  <a:cubicBezTo>
                    <a:pt x="30061" y="2211"/>
                    <a:pt x="30115" y="2203"/>
                    <a:pt x="30173" y="2224"/>
                  </a:cubicBezTo>
                  <a:cubicBezTo>
                    <a:pt x="30235" y="2246"/>
                    <a:pt x="30274" y="2288"/>
                    <a:pt x="30291" y="2349"/>
                  </a:cubicBezTo>
                  <a:close/>
                  <a:moveTo>
                    <a:pt x="30177" y="2544"/>
                  </a:moveTo>
                  <a:cubicBezTo>
                    <a:pt x="30227" y="2403"/>
                    <a:pt x="30220" y="2321"/>
                    <a:pt x="30154" y="2298"/>
                  </a:cubicBezTo>
                  <a:cubicBezTo>
                    <a:pt x="30088" y="2274"/>
                    <a:pt x="30031" y="2332"/>
                    <a:pt x="29982" y="2471"/>
                  </a:cubicBezTo>
                  <a:cubicBezTo>
                    <a:pt x="29929" y="2619"/>
                    <a:pt x="29937" y="2705"/>
                    <a:pt x="30004" y="2729"/>
                  </a:cubicBezTo>
                  <a:cubicBezTo>
                    <a:pt x="30068" y="2752"/>
                    <a:pt x="30126" y="2690"/>
                    <a:pt x="30177" y="2544"/>
                  </a:cubicBezTo>
                  <a:close/>
                  <a:moveTo>
                    <a:pt x="30410" y="2917"/>
                  </a:moveTo>
                  <a:cubicBezTo>
                    <a:pt x="30312" y="2893"/>
                    <a:pt x="30312" y="2893"/>
                    <a:pt x="30312" y="2893"/>
                  </a:cubicBezTo>
                  <a:cubicBezTo>
                    <a:pt x="30454" y="2322"/>
                    <a:pt x="30454" y="2322"/>
                    <a:pt x="30454" y="2322"/>
                  </a:cubicBezTo>
                  <a:cubicBezTo>
                    <a:pt x="30552" y="2346"/>
                    <a:pt x="30552" y="2346"/>
                    <a:pt x="30552" y="2346"/>
                  </a:cubicBezTo>
                  <a:lnTo>
                    <a:pt x="30410" y="2917"/>
                  </a:lnTo>
                  <a:close/>
                  <a:moveTo>
                    <a:pt x="30678" y="2972"/>
                  </a:moveTo>
                  <a:cubicBezTo>
                    <a:pt x="30579" y="2954"/>
                    <a:pt x="30579" y="2954"/>
                    <a:pt x="30579" y="2954"/>
                  </a:cubicBezTo>
                  <a:cubicBezTo>
                    <a:pt x="30684" y="2374"/>
                    <a:pt x="30684" y="2374"/>
                    <a:pt x="30684" y="2374"/>
                  </a:cubicBezTo>
                  <a:cubicBezTo>
                    <a:pt x="30783" y="2392"/>
                    <a:pt x="30783" y="2392"/>
                    <a:pt x="30783" y="2392"/>
                  </a:cubicBezTo>
                  <a:lnTo>
                    <a:pt x="30678" y="2972"/>
                  </a:lnTo>
                  <a:close/>
                  <a:moveTo>
                    <a:pt x="30950" y="3008"/>
                  </a:moveTo>
                  <a:cubicBezTo>
                    <a:pt x="30850" y="2997"/>
                    <a:pt x="30850" y="2997"/>
                    <a:pt x="30850" y="2997"/>
                  </a:cubicBezTo>
                  <a:cubicBezTo>
                    <a:pt x="30917" y="2412"/>
                    <a:pt x="30917" y="2412"/>
                    <a:pt x="30917" y="2412"/>
                  </a:cubicBezTo>
                  <a:cubicBezTo>
                    <a:pt x="31016" y="2423"/>
                    <a:pt x="31016" y="2423"/>
                    <a:pt x="31016" y="2423"/>
                  </a:cubicBezTo>
                  <a:lnTo>
                    <a:pt x="30950" y="3008"/>
                  </a:lnTo>
                  <a:close/>
                  <a:moveTo>
                    <a:pt x="31454" y="2512"/>
                  </a:moveTo>
                  <a:cubicBezTo>
                    <a:pt x="31490" y="2565"/>
                    <a:pt x="31506" y="2641"/>
                    <a:pt x="31505" y="2741"/>
                  </a:cubicBezTo>
                  <a:cubicBezTo>
                    <a:pt x="31501" y="2942"/>
                    <a:pt x="31434" y="3041"/>
                    <a:pt x="31305" y="3039"/>
                  </a:cubicBezTo>
                  <a:cubicBezTo>
                    <a:pt x="31237" y="3038"/>
                    <a:pt x="31186" y="3010"/>
                    <a:pt x="31151" y="2956"/>
                  </a:cubicBezTo>
                  <a:cubicBezTo>
                    <a:pt x="31116" y="2902"/>
                    <a:pt x="31100" y="2823"/>
                    <a:pt x="31102" y="2719"/>
                  </a:cubicBezTo>
                  <a:cubicBezTo>
                    <a:pt x="31104" y="2624"/>
                    <a:pt x="31122" y="2552"/>
                    <a:pt x="31157" y="2503"/>
                  </a:cubicBezTo>
                  <a:cubicBezTo>
                    <a:pt x="31193" y="2453"/>
                    <a:pt x="31241" y="2429"/>
                    <a:pt x="31302" y="2430"/>
                  </a:cubicBezTo>
                  <a:cubicBezTo>
                    <a:pt x="31368" y="2432"/>
                    <a:pt x="31419" y="2459"/>
                    <a:pt x="31454" y="2512"/>
                  </a:cubicBezTo>
                  <a:close/>
                  <a:moveTo>
                    <a:pt x="31407" y="2732"/>
                  </a:moveTo>
                  <a:cubicBezTo>
                    <a:pt x="31410" y="2583"/>
                    <a:pt x="31377" y="2507"/>
                    <a:pt x="31308" y="2506"/>
                  </a:cubicBezTo>
                  <a:cubicBezTo>
                    <a:pt x="31238" y="2505"/>
                    <a:pt x="31202" y="2577"/>
                    <a:pt x="31199" y="2725"/>
                  </a:cubicBezTo>
                  <a:cubicBezTo>
                    <a:pt x="31196" y="2882"/>
                    <a:pt x="31230" y="2961"/>
                    <a:pt x="31302" y="2963"/>
                  </a:cubicBezTo>
                  <a:cubicBezTo>
                    <a:pt x="31369" y="2964"/>
                    <a:pt x="31404" y="2887"/>
                    <a:pt x="31407" y="2732"/>
                  </a:cubicBezTo>
                  <a:close/>
                  <a:moveTo>
                    <a:pt x="31745" y="3014"/>
                  </a:moveTo>
                  <a:cubicBezTo>
                    <a:pt x="31644" y="3022"/>
                    <a:pt x="31644" y="3022"/>
                    <a:pt x="31644" y="3022"/>
                  </a:cubicBezTo>
                  <a:cubicBezTo>
                    <a:pt x="31601" y="2435"/>
                    <a:pt x="31601" y="2435"/>
                    <a:pt x="31601" y="2435"/>
                  </a:cubicBezTo>
                  <a:cubicBezTo>
                    <a:pt x="31701" y="2427"/>
                    <a:pt x="31701" y="2427"/>
                    <a:pt x="31701" y="2427"/>
                  </a:cubicBezTo>
                  <a:lnTo>
                    <a:pt x="31745" y="3014"/>
                  </a:lnTo>
                  <a:close/>
                  <a:moveTo>
                    <a:pt x="32147" y="2433"/>
                  </a:moveTo>
                  <a:cubicBezTo>
                    <a:pt x="32192" y="2478"/>
                    <a:pt x="32222" y="2550"/>
                    <a:pt x="32239" y="2648"/>
                  </a:cubicBezTo>
                  <a:cubicBezTo>
                    <a:pt x="32273" y="2847"/>
                    <a:pt x="32226" y="2957"/>
                    <a:pt x="32098" y="2978"/>
                  </a:cubicBezTo>
                  <a:cubicBezTo>
                    <a:pt x="32032" y="2990"/>
                    <a:pt x="31976" y="2972"/>
                    <a:pt x="31932" y="2925"/>
                  </a:cubicBezTo>
                  <a:cubicBezTo>
                    <a:pt x="31888" y="2879"/>
                    <a:pt x="31857" y="2804"/>
                    <a:pt x="31839" y="2702"/>
                  </a:cubicBezTo>
                  <a:cubicBezTo>
                    <a:pt x="31823" y="2608"/>
                    <a:pt x="31828" y="2534"/>
                    <a:pt x="31854" y="2479"/>
                  </a:cubicBezTo>
                  <a:cubicBezTo>
                    <a:pt x="31879" y="2424"/>
                    <a:pt x="31922" y="2391"/>
                    <a:pt x="31982" y="2381"/>
                  </a:cubicBezTo>
                  <a:cubicBezTo>
                    <a:pt x="32047" y="2370"/>
                    <a:pt x="32102" y="2387"/>
                    <a:pt x="32147" y="2433"/>
                  </a:cubicBezTo>
                  <a:close/>
                  <a:moveTo>
                    <a:pt x="32142" y="2658"/>
                  </a:moveTo>
                  <a:cubicBezTo>
                    <a:pt x="32117" y="2511"/>
                    <a:pt x="32070" y="2443"/>
                    <a:pt x="32002" y="2454"/>
                  </a:cubicBezTo>
                  <a:cubicBezTo>
                    <a:pt x="31933" y="2466"/>
                    <a:pt x="31911" y="2544"/>
                    <a:pt x="31936" y="2689"/>
                  </a:cubicBezTo>
                  <a:cubicBezTo>
                    <a:pt x="31962" y="2845"/>
                    <a:pt x="32011" y="2916"/>
                    <a:pt x="32081" y="2904"/>
                  </a:cubicBezTo>
                  <a:cubicBezTo>
                    <a:pt x="32148" y="2893"/>
                    <a:pt x="32168" y="2811"/>
                    <a:pt x="32142" y="2658"/>
                  </a:cubicBezTo>
                  <a:close/>
                  <a:moveTo>
                    <a:pt x="32526" y="2871"/>
                  </a:moveTo>
                  <a:cubicBezTo>
                    <a:pt x="32429" y="2898"/>
                    <a:pt x="32429" y="2898"/>
                    <a:pt x="32429" y="2898"/>
                  </a:cubicBezTo>
                  <a:cubicBezTo>
                    <a:pt x="32276" y="2329"/>
                    <a:pt x="32276" y="2329"/>
                    <a:pt x="32276" y="2329"/>
                  </a:cubicBezTo>
                  <a:cubicBezTo>
                    <a:pt x="32373" y="2303"/>
                    <a:pt x="32373" y="2303"/>
                    <a:pt x="32373" y="2303"/>
                  </a:cubicBezTo>
                  <a:lnTo>
                    <a:pt x="32526" y="2871"/>
                  </a:lnTo>
                  <a:close/>
                  <a:moveTo>
                    <a:pt x="32812" y="2224"/>
                  </a:moveTo>
                  <a:cubicBezTo>
                    <a:pt x="32865" y="2260"/>
                    <a:pt x="32909" y="2325"/>
                    <a:pt x="32944" y="2418"/>
                  </a:cubicBezTo>
                  <a:cubicBezTo>
                    <a:pt x="33014" y="2606"/>
                    <a:pt x="32989" y="2723"/>
                    <a:pt x="32868" y="2769"/>
                  </a:cubicBezTo>
                  <a:cubicBezTo>
                    <a:pt x="32805" y="2793"/>
                    <a:pt x="32747" y="2786"/>
                    <a:pt x="32695" y="2748"/>
                  </a:cubicBezTo>
                  <a:cubicBezTo>
                    <a:pt x="32642" y="2711"/>
                    <a:pt x="32598" y="2644"/>
                    <a:pt x="32561" y="2546"/>
                  </a:cubicBezTo>
                  <a:cubicBezTo>
                    <a:pt x="32528" y="2458"/>
                    <a:pt x="32518" y="2384"/>
                    <a:pt x="32533" y="2325"/>
                  </a:cubicBezTo>
                  <a:cubicBezTo>
                    <a:pt x="32548" y="2266"/>
                    <a:pt x="32583" y="2226"/>
                    <a:pt x="32641" y="2204"/>
                  </a:cubicBezTo>
                  <a:cubicBezTo>
                    <a:pt x="32702" y="2181"/>
                    <a:pt x="32759" y="2188"/>
                    <a:pt x="32812" y="2224"/>
                  </a:cubicBezTo>
                  <a:close/>
                  <a:moveTo>
                    <a:pt x="32850" y="2446"/>
                  </a:moveTo>
                  <a:cubicBezTo>
                    <a:pt x="32798" y="2306"/>
                    <a:pt x="32739" y="2248"/>
                    <a:pt x="32674" y="2272"/>
                  </a:cubicBezTo>
                  <a:cubicBezTo>
                    <a:pt x="32609" y="2297"/>
                    <a:pt x="32602" y="2378"/>
                    <a:pt x="32654" y="2516"/>
                  </a:cubicBezTo>
                  <a:cubicBezTo>
                    <a:pt x="32709" y="2663"/>
                    <a:pt x="32770" y="2724"/>
                    <a:pt x="32837" y="2699"/>
                  </a:cubicBezTo>
                  <a:cubicBezTo>
                    <a:pt x="32900" y="2676"/>
                    <a:pt x="32905" y="2591"/>
                    <a:pt x="32850" y="2446"/>
                  </a:cubicBezTo>
                  <a:close/>
                  <a:moveTo>
                    <a:pt x="33268" y="2583"/>
                  </a:moveTo>
                  <a:cubicBezTo>
                    <a:pt x="33178" y="2627"/>
                    <a:pt x="33178" y="2627"/>
                    <a:pt x="33178" y="2627"/>
                  </a:cubicBezTo>
                  <a:cubicBezTo>
                    <a:pt x="32919" y="2098"/>
                    <a:pt x="32919" y="2098"/>
                    <a:pt x="32919" y="2098"/>
                  </a:cubicBezTo>
                  <a:cubicBezTo>
                    <a:pt x="33010" y="2054"/>
                    <a:pt x="33010" y="2054"/>
                    <a:pt x="33010" y="2054"/>
                  </a:cubicBezTo>
                  <a:lnTo>
                    <a:pt x="33268" y="2583"/>
                  </a:lnTo>
                  <a:close/>
                  <a:moveTo>
                    <a:pt x="33425" y="1893"/>
                  </a:moveTo>
                  <a:cubicBezTo>
                    <a:pt x="33484" y="1919"/>
                    <a:pt x="33539" y="1974"/>
                    <a:pt x="33591" y="2059"/>
                  </a:cubicBezTo>
                  <a:cubicBezTo>
                    <a:pt x="33696" y="2230"/>
                    <a:pt x="33694" y="2350"/>
                    <a:pt x="33583" y="2418"/>
                  </a:cubicBezTo>
                  <a:cubicBezTo>
                    <a:pt x="33526" y="2453"/>
                    <a:pt x="33468" y="2457"/>
                    <a:pt x="33409" y="2430"/>
                  </a:cubicBezTo>
                  <a:cubicBezTo>
                    <a:pt x="33351" y="2404"/>
                    <a:pt x="33294" y="2346"/>
                    <a:pt x="33240" y="2257"/>
                  </a:cubicBezTo>
                  <a:cubicBezTo>
                    <a:pt x="33191" y="2176"/>
                    <a:pt x="33167" y="2106"/>
                    <a:pt x="33171" y="2045"/>
                  </a:cubicBezTo>
                  <a:cubicBezTo>
                    <a:pt x="33174" y="1984"/>
                    <a:pt x="33201" y="1938"/>
                    <a:pt x="33254" y="1906"/>
                  </a:cubicBezTo>
                  <a:cubicBezTo>
                    <a:pt x="33310" y="1872"/>
                    <a:pt x="33367" y="1867"/>
                    <a:pt x="33425" y="1893"/>
                  </a:cubicBezTo>
                  <a:close/>
                  <a:moveTo>
                    <a:pt x="33505" y="2104"/>
                  </a:moveTo>
                  <a:cubicBezTo>
                    <a:pt x="33427" y="1976"/>
                    <a:pt x="33358" y="1931"/>
                    <a:pt x="33299" y="1967"/>
                  </a:cubicBezTo>
                  <a:cubicBezTo>
                    <a:pt x="33240" y="2003"/>
                    <a:pt x="33248" y="2084"/>
                    <a:pt x="33325" y="2210"/>
                  </a:cubicBezTo>
                  <a:cubicBezTo>
                    <a:pt x="33407" y="2344"/>
                    <a:pt x="33479" y="2392"/>
                    <a:pt x="33540" y="2355"/>
                  </a:cubicBezTo>
                  <a:cubicBezTo>
                    <a:pt x="33597" y="2320"/>
                    <a:pt x="33586" y="2236"/>
                    <a:pt x="33505" y="2104"/>
                  </a:cubicBezTo>
                  <a:close/>
                  <a:moveTo>
                    <a:pt x="33941" y="2159"/>
                  </a:moveTo>
                  <a:cubicBezTo>
                    <a:pt x="33861" y="2220"/>
                    <a:pt x="33861" y="2220"/>
                    <a:pt x="33861" y="2220"/>
                  </a:cubicBezTo>
                  <a:cubicBezTo>
                    <a:pt x="33507" y="1749"/>
                    <a:pt x="33507" y="1749"/>
                    <a:pt x="33507" y="1749"/>
                  </a:cubicBezTo>
                  <a:cubicBezTo>
                    <a:pt x="33588" y="1688"/>
                    <a:pt x="33588" y="1688"/>
                    <a:pt x="33588" y="1688"/>
                  </a:cubicBezTo>
                  <a:lnTo>
                    <a:pt x="33941" y="2159"/>
                  </a:lnTo>
                  <a:close/>
                  <a:moveTo>
                    <a:pt x="33966" y="1452"/>
                  </a:moveTo>
                  <a:cubicBezTo>
                    <a:pt x="34028" y="1466"/>
                    <a:pt x="34093" y="1510"/>
                    <a:pt x="34160" y="1584"/>
                  </a:cubicBezTo>
                  <a:cubicBezTo>
                    <a:pt x="34296" y="1733"/>
                    <a:pt x="34315" y="1851"/>
                    <a:pt x="34220" y="1938"/>
                  </a:cubicBezTo>
                  <a:cubicBezTo>
                    <a:pt x="34170" y="1983"/>
                    <a:pt x="34113" y="1999"/>
                    <a:pt x="34051" y="1983"/>
                  </a:cubicBezTo>
                  <a:cubicBezTo>
                    <a:pt x="33989" y="1968"/>
                    <a:pt x="33922" y="1922"/>
                    <a:pt x="33852" y="1845"/>
                  </a:cubicBezTo>
                  <a:cubicBezTo>
                    <a:pt x="33789" y="1775"/>
                    <a:pt x="33753" y="1710"/>
                    <a:pt x="33744" y="1650"/>
                  </a:cubicBezTo>
                  <a:cubicBezTo>
                    <a:pt x="33736" y="1589"/>
                    <a:pt x="33754" y="1539"/>
                    <a:pt x="33800" y="1497"/>
                  </a:cubicBezTo>
                  <a:cubicBezTo>
                    <a:pt x="33848" y="1453"/>
                    <a:pt x="33904" y="1438"/>
                    <a:pt x="33966" y="1452"/>
                  </a:cubicBezTo>
                  <a:close/>
                  <a:moveTo>
                    <a:pt x="34084" y="1645"/>
                  </a:moveTo>
                  <a:cubicBezTo>
                    <a:pt x="33983" y="1534"/>
                    <a:pt x="33907" y="1502"/>
                    <a:pt x="33856" y="1548"/>
                  </a:cubicBezTo>
                  <a:cubicBezTo>
                    <a:pt x="33804" y="1595"/>
                    <a:pt x="33828" y="1673"/>
                    <a:pt x="33927" y="1782"/>
                  </a:cubicBezTo>
                  <a:cubicBezTo>
                    <a:pt x="34033" y="1899"/>
                    <a:pt x="34112" y="1933"/>
                    <a:pt x="34165" y="1885"/>
                  </a:cubicBezTo>
                  <a:cubicBezTo>
                    <a:pt x="34215" y="1839"/>
                    <a:pt x="34188" y="1759"/>
                    <a:pt x="34084" y="1645"/>
                  </a:cubicBezTo>
                  <a:close/>
                  <a:moveTo>
                    <a:pt x="34271" y="1112"/>
                  </a:moveTo>
                  <a:cubicBezTo>
                    <a:pt x="34335" y="1118"/>
                    <a:pt x="34405" y="1154"/>
                    <a:pt x="34480" y="1219"/>
                  </a:cubicBezTo>
                  <a:cubicBezTo>
                    <a:pt x="34633" y="1350"/>
                    <a:pt x="34667" y="1464"/>
                    <a:pt x="34583" y="1562"/>
                  </a:cubicBezTo>
                  <a:cubicBezTo>
                    <a:pt x="34539" y="1614"/>
                    <a:pt x="34485" y="1636"/>
                    <a:pt x="34421" y="1628"/>
                  </a:cubicBezTo>
                  <a:cubicBezTo>
                    <a:pt x="34357" y="1621"/>
                    <a:pt x="34286" y="1583"/>
                    <a:pt x="34207" y="1515"/>
                  </a:cubicBezTo>
                  <a:cubicBezTo>
                    <a:pt x="34135" y="1454"/>
                    <a:pt x="34091" y="1393"/>
                    <a:pt x="34075" y="1335"/>
                  </a:cubicBezTo>
                  <a:cubicBezTo>
                    <a:pt x="34060" y="1276"/>
                    <a:pt x="34072" y="1224"/>
                    <a:pt x="34112" y="1177"/>
                  </a:cubicBezTo>
                  <a:cubicBezTo>
                    <a:pt x="34155" y="1127"/>
                    <a:pt x="34208" y="1105"/>
                    <a:pt x="34271" y="1112"/>
                  </a:cubicBezTo>
                  <a:close/>
                  <a:moveTo>
                    <a:pt x="34412" y="1288"/>
                  </a:moveTo>
                  <a:cubicBezTo>
                    <a:pt x="34298" y="1191"/>
                    <a:pt x="34219" y="1168"/>
                    <a:pt x="34174" y="1221"/>
                  </a:cubicBezTo>
                  <a:cubicBezTo>
                    <a:pt x="34128" y="1274"/>
                    <a:pt x="34161" y="1348"/>
                    <a:pt x="34273" y="1444"/>
                  </a:cubicBezTo>
                  <a:cubicBezTo>
                    <a:pt x="34393" y="1547"/>
                    <a:pt x="34476" y="1571"/>
                    <a:pt x="34522" y="1516"/>
                  </a:cubicBezTo>
                  <a:cubicBezTo>
                    <a:pt x="34566" y="1465"/>
                    <a:pt x="34529" y="1389"/>
                    <a:pt x="34412" y="1288"/>
                  </a:cubicBezTo>
                  <a:close/>
                  <a:moveTo>
                    <a:pt x="34844" y="1207"/>
                  </a:moveTo>
                  <a:cubicBezTo>
                    <a:pt x="34786" y="1289"/>
                    <a:pt x="34786" y="1289"/>
                    <a:pt x="34786" y="1289"/>
                  </a:cubicBezTo>
                  <a:cubicBezTo>
                    <a:pt x="34305" y="949"/>
                    <a:pt x="34305" y="949"/>
                    <a:pt x="34305" y="949"/>
                  </a:cubicBezTo>
                  <a:cubicBezTo>
                    <a:pt x="34363" y="867"/>
                    <a:pt x="34363" y="867"/>
                    <a:pt x="34363" y="867"/>
                  </a:cubicBezTo>
                  <a:lnTo>
                    <a:pt x="34844" y="1207"/>
                  </a:lnTo>
                  <a:close/>
                  <a:moveTo>
                    <a:pt x="34669" y="519"/>
                  </a:moveTo>
                  <a:cubicBezTo>
                    <a:pt x="34733" y="518"/>
                    <a:pt x="34806" y="545"/>
                    <a:pt x="34889" y="601"/>
                  </a:cubicBezTo>
                  <a:cubicBezTo>
                    <a:pt x="35056" y="713"/>
                    <a:pt x="35104" y="822"/>
                    <a:pt x="35032" y="930"/>
                  </a:cubicBezTo>
                  <a:cubicBezTo>
                    <a:pt x="34994" y="986"/>
                    <a:pt x="34943" y="1014"/>
                    <a:pt x="34879" y="1014"/>
                  </a:cubicBezTo>
                  <a:cubicBezTo>
                    <a:pt x="34815" y="1015"/>
                    <a:pt x="34739" y="986"/>
                    <a:pt x="34653" y="928"/>
                  </a:cubicBezTo>
                  <a:cubicBezTo>
                    <a:pt x="34574" y="875"/>
                    <a:pt x="34524" y="821"/>
                    <a:pt x="34501" y="764"/>
                  </a:cubicBezTo>
                  <a:cubicBezTo>
                    <a:pt x="34478" y="708"/>
                    <a:pt x="34484" y="654"/>
                    <a:pt x="34518" y="603"/>
                  </a:cubicBezTo>
                  <a:cubicBezTo>
                    <a:pt x="34555" y="549"/>
                    <a:pt x="34605" y="521"/>
                    <a:pt x="34669" y="519"/>
                  </a:cubicBezTo>
                  <a:close/>
                  <a:moveTo>
                    <a:pt x="34829" y="678"/>
                  </a:moveTo>
                  <a:cubicBezTo>
                    <a:pt x="34705" y="595"/>
                    <a:pt x="34624" y="582"/>
                    <a:pt x="34585" y="639"/>
                  </a:cubicBezTo>
                  <a:cubicBezTo>
                    <a:pt x="34546" y="697"/>
                    <a:pt x="34588" y="767"/>
                    <a:pt x="34710" y="849"/>
                  </a:cubicBezTo>
                  <a:cubicBezTo>
                    <a:pt x="34841" y="937"/>
                    <a:pt x="34926" y="951"/>
                    <a:pt x="34966" y="892"/>
                  </a:cubicBezTo>
                  <a:cubicBezTo>
                    <a:pt x="35004" y="835"/>
                    <a:pt x="34958" y="764"/>
                    <a:pt x="34829" y="678"/>
                  </a:cubicBezTo>
                  <a:close/>
                  <a:moveTo>
                    <a:pt x="35166" y="162"/>
                  </a:moveTo>
                  <a:cubicBezTo>
                    <a:pt x="35223" y="191"/>
                    <a:pt x="35275" y="249"/>
                    <a:pt x="35322" y="337"/>
                  </a:cubicBezTo>
                  <a:cubicBezTo>
                    <a:pt x="35418" y="514"/>
                    <a:pt x="35409" y="633"/>
                    <a:pt x="35295" y="695"/>
                  </a:cubicBezTo>
                  <a:cubicBezTo>
                    <a:pt x="35236" y="727"/>
                    <a:pt x="35178" y="728"/>
                    <a:pt x="35121" y="698"/>
                  </a:cubicBezTo>
                  <a:cubicBezTo>
                    <a:pt x="35064" y="668"/>
                    <a:pt x="35011" y="608"/>
                    <a:pt x="34961" y="516"/>
                  </a:cubicBezTo>
                  <a:cubicBezTo>
                    <a:pt x="34916" y="433"/>
                    <a:pt x="34897" y="361"/>
                    <a:pt x="34903" y="301"/>
                  </a:cubicBezTo>
                  <a:cubicBezTo>
                    <a:pt x="34909" y="240"/>
                    <a:pt x="34939" y="195"/>
                    <a:pt x="34993" y="166"/>
                  </a:cubicBezTo>
                  <a:cubicBezTo>
                    <a:pt x="35051" y="135"/>
                    <a:pt x="35109" y="134"/>
                    <a:pt x="35166" y="162"/>
                  </a:cubicBezTo>
                  <a:close/>
                  <a:moveTo>
                    <a:pt x="35234" y="377"/>
                  </a:moveTo>
                  <a:cubicBezTo>
                    <a:pt x="35162" y="246"/>
                    <a:pt x="35097" y="196"/>
                    <a:pt x="35036" y="229"/>
                  </a:cubicBezTo>
                  <a:cubicBezTo>
                    <a:pt x="34974" y="262"/>
                    <a:pt x="34978" y="344"/>
                    <a:pt x="35049" y="473"/>
                  </a:cubicBezTo>
                  <a:cubicBezTo>
                    <a:pt x="35124" y="612"/>
                    <a:pt x="35192" y="664"/>
                    <a:pt x="35255" y="630"/>
                  </a:cubicBezTo>
                  <a:cubicBezTo>
                    <a:pt x="35315" y="598"/>
                    <a:pt x="35308" y="514"/>
                    <a:pt x="35234" y="377"/>
                  </a:cubicBezTo>
                  <a:close/>
                  <a:moveTo>
                    <a:pt x="35596" y="599"/>
                  </a:moveTo>
                  <a:cubicBezTo>
                    <a:pt x="35496" y="612"/>
                    <a:pt x="35496" y="612"/>
                    <a:pt x="35496" y="612"/>
                  </a:cubicBezTo>
                  <a:cubicBezTo>
                    <a:pt x="35421" y="28"/>
                    <a:pt x="35421" y="28"/>
                    <a:pt x="35421" y="28"/>
                  </a:cubicBezTo>
                  <a:cubicBezTo>
                    <a:pt x="35521" y="15"/>
                    <a:pt x="35521" y="15"/>
                    <a:pt x="35521" y="15"/>
                  </a:cubicBezTo>
                  <a:lnTo>
                    <a:pt x="35596" y="599"/>
                  </a:lnTo>
                  <a:close/>
                  <a:moveTo>
                    <a:pt x="36019" y="79"/>
                  </a:moveTo>
                  <a:cubicBezTo>
                    <a:pt x="36055" y="132"/>
                    <a:pt x="36074" y="208"/>
                    <a:pt x="36074" y="307"/>
                  </a:cubicBezTo>
                  <a:cubicBezTo>
                    <a:pt x="36074" y="508"/>
                    <a:pt x="36009" y="609"/>
                    <a:pt x="35879" y="609"/>
                  </a:cubicBezTo>
                  <a:cubicBezTo>
                    <a:pt x="35812" y="609"/>
                    <a:pt x="35760" y="582"/>
                    <a:pt x="35724" y="529"/>
                  </a:cubicBezTo>
                  <a:cubicBezTo>
                    <a:pt x="35688" y="476"/>
                    <a:pt x="35670" y="397"/>
                    <a:pt x="35670" y="293"/>
                  </a:cubicBezTo>
                  <a:cubicBezTo>
                    <a:pt x="35670" y="198"/>
                    <a:pt x="35688" y="126"/>
                    <a:pt x="35722" y="76"/>
                  </a:cubicBezTo>
                  <a:cubicBezTo>
                    <a:pt x="35756" y="26"/>
                    <a:pt x="35804" y="0"/>
                    <a:pt x="35866" y="0"/>
                  </a:cubicBezTo>
                  <a:cubicBezTo>
                    <a:pt x="35931" y="0"/>
                    <a:pt x="35982" y="27"/>
                    <a:pt x="36019" y="79"/>
                  </a:cubicBezTo>
                  <a:close/>
                  <a:moveTo>
                    <a:pt x="35976" y="301"/>
                  </a:moveTo>
                  <a:cubicBezTo>
                    <a:pt x="35976" y="151"/>
                    <a:pt x="35942" y="76"/>
                    <a:pt x="35873" y="76"/>
                  </a:cubicBezTo>
                  <a:cubicBezTo>
                    <a:pt x="35803" y="76"/>
                    <a:pt x="35768" y="150"/>
                    <a:pt x="35768" y="297"/>
                  </a:cubicBezTo>
                  <a:cubicBezTo>
                    <a:pt x="35768" y="454"/>
                    <a:pt x="35804" y="533"/>
                    <a:pt x="35875" y="533"/>
                  </a:cubicBezTo>
                  <a:cubicBezTo>
                    <a:pt x="35943" y="533"/>
                    <a:pt x="35976" y="456"/>
                    <a:pt x="35976" y="301"/>
                  </a:cubicBezTo>
                  <a:close/>
                  <a:moveTo>
                    <a:pt x="36486" y="79"/>
                  </a:moveTo>
                  <a:cubicBezTo>
                    <a:pt x="36522" y="132"/>
                    <a:pt x="36540" y="208"/>
                    <a:pt x="36540" y="307"/>
                  </a:cubicBezTo>
                  <a:cubicBezTo>
                    <a:pt x="36540" y="508"/>
                    <a:pt x="36476" y="609"/>
                    <a:pt x="36346" y="609"/>
                  </a:cubicBezTo>
                  <a:cubicBezTo>
                    <a:pt x="36279" y="609"/>
                    <a:pt x="36227" y="582"/>
                    <a:pt x="36191" y="529"/>
                  </a:cubicBezTo>
                  <a:cubicBezTo>
                    <a:pt x="36155" y="476"/>
                    <a:pt x="36137" y="397"/>
                    <a:pt x="36137" y="293"/>
                  </a:cubicBezTo>
                  <a:cubicBezTo>
                    <a:pt x="36137" y="198"/>
                    <a:pt x="36154" y="126"/>
                    <a:pt x="36189" y="76"/>
                  </a:cubicBezTo>
                  <a:cubicBezTo>
                    <a:pt x="36223" y="26"/>
                    <a:pt x="36271" y="0"/>
                    <a:pt x="36332" y="0"/>
                  </a:cubicBezTo>
                  <a:cubicBezTo>
                    <a:pt x="36398" y="0"/>
                    <a:pt x="36449" y="27"/>
                    <a:pt x="36486" y="79"/>
                  </a:cubicBezTo>
                  <a:close/>
                  <a:moveTo>
                    <a:pt x="36443" y="301"/>
                  </a:moveTo>
                  <a:cubicBezTo>
                    <a:pt x="36443" y="151"/>
                    <a:pt x="36409" y="76"/>
                    <a:pt x="36340" y="76"/>
                  </a:cubicBezTo>
                  <a:cubicBezTo>
                    <a:pt x="36270" y="76"/>
                    <a:pt x="36235" y="150"/>
                    <a:pt x="36235" y="297"/>
                  </a:cubicBezTo>
                  <a:cubicBezTo>
                    <a:pt x="36235" y="454"/>
                    <a:pt x="36270" y="533"/>
                    <a:pt x="36342" y="533"/>
                  </a:cubicBezTo>
                  <a:cubicBezTo>
                    <a:pt x="36409" y="533"/>
                    <a:pt x="36443" y="456"/>
                    <a:pt x="36443" y="301"/>
                  </a:cubicBezTo>
                  <a:close/>
                  <a:moveTo>
                    <a:pt x="36745" y="599"/>
                  </a:moveTo>
                  <a:cubicBezTo>
                    <a:pt x="36644" y="599"/>
                    <a:pt x="36644" y="599"/>
                    <a:pt x="36644" y="599"/>
                  </a:cubicBezTo>
                  <a:cubicBezTo>
                    <a:pt x="36644" y="10"/>
                    <a:pt x="36644" y="10"/>
                    <a:pt x="36644" y="10"/>
                  </a:cubicBezTo>
                  <a:cubicBezTo>
                    <a:pt x="36745" y="10"/>
                    <a:pt x="36745" y="10"/>
                    <a:pt x="36745" y="10"/>
                  </a:cubicBezTo>
                  <a:lnTo>
                    <a:pt x="36745" y="599"/>
                  </a:lnTo>
                  <a:close/>
                  <a:moveTo>
                    <a:pt x="36990" y="599"/>
                  </a:moveTo>
                  <a:cubicBezTo>
                    <a:pt x="36890" y="599"/>
                    <a:pt x="36890" y="599"/>
                    <a:pt x="36890" y="599"/>
                  </a:cubicBezTo>
                  <a:cubicBezTo>
                    <a:pt x="36890" y="10"/>
                    <a:pt x="36890" y="10"/>
                    <a:pt x="36890" y="10"/>
                  </a:cubicBezTo>
                  <a:cubicBezTo>
                    <a:pt x="36990" y="10"/>
                    <a:pt x="36990" y="10"/>
                    <a:pt x="36990" y="10"/>
                  </a:cubicBezTo>
                  <a:lnTo>
                    <a:pt x="36990" y="599"/>
                  </a:lnTo>
                  <a:close/>
                  <a:moveTo>
                    <a:pt x="37235" y="599"/>
                  </a:moveTo>
                  <a:cubicBezTo>
                    <a:pt x="37135" y="599"/>
                    <a:pt x="37135" y="599"/>
                    <a:pt x="37135" y="599"/>
                  </a:cubicBezTo>
                  <a:cubicBezTo>
                    <a:pt x="37135" y="10"/>
                    <a:pt x="37135" y="10"/>
                    <a:pt x="37135" y="10"/>
                  </a:cubicBezTo>
                  <a:cubicBezTo>
                    <a:pt x="37235" y="10"/>
                    <a:pt x="37235" y="10"/>
                    <a:pt x="37235" y="10"/>
                  </a:cubicBezTo>
                  <a:lnTo>
                    <a:pt x="37235" y="599"/>
                  </a:lnTo>
                  <a:close/>
                  <a:moveTo>
                    <a:pt x="37480" y="599"/>
                  </a:moveTo>
                  <a:cubicBezTo>
                    <a:pt x="37380" y="599"/>
                    <a:pt x="37380" y="599"/>
                    <a:pt x="37380" y="599"/>
                  </a:cubicBezTo>
                  <a:cubicBezTo>
                    <a:pt x="37380" y="10"/>
                    <a:pt x="37380" y="10"/>
                    <a:pt x="37380" y="10"/>
                  </a:cubicBezTo>
                  <a:cubicBezTo>
                    <a:pt x="37480" y="10"/>
                    <a:pt x="37480" y="10"/>
                    <a:pt x="37480" y="10"/>
                  </a:cubicBezTo>
                  <a:lnTo>
                    <a:pt x="37480" y="599"/>
                  </a:lnTo>
                  <a:close/>
                  <a:moveTo>
                    <a:pt x="37933" y="79"/>
                  </a:moveTo>
                  <a:cubicBezTo>
                    <a:pt x="37970" y="132"/>
                    <a:pt x="37988" y="208"/>
                    <a:pt x="37988" y="307"/>
                  </a:cubicBezTo>
                  <a:cubicBezTo>
                    <a:pt x="37988" y="508"/>
                    <a:pt x="37923" y="609"/>
                    <a:pt x="37794" y="609"/>
                  </a:cubicBezTo>
                  <a:cubicBezTo>
                    <a:pt x="37726" y="609"/>
                    <a:pt x="37674" y="582"/>
                    <a:pt x="37639" y="529"/>
                  </a:cubicBezTo>
                  <a:cubicBezTo>
                    <a:pt x="37603" y="476"/>
                    <a:pt x="37585" y="397"/>
                    <a:pt x="37585" y="293"/>
                  </a:cubicBezTo>
                  <a:cubicBezTo>
                    <a:pt x="37585" y="198"/>
                    <a:pt x="37602" y="126"/>
                    <a:pt x="37636" y="76"/>
                  </a:cubicBezTo>
                  <a:cubicBezTo>
                    <a:pt x="37671" y="26"/>
                    <a:pt x="37718" y="0"/>
                    <a:pt x="37780" y="0"/>
                  </a:cubicBezTo>
                  <a:cubicBezTo>
                    <a:pt x="37845" y="0"/>
                    <a:pt x="37897" y="27"/>
                    <a:pt x="37933" y="79"/>
                  </a:cubicBezTo>
                  <a:close/>
                  <a:moveTo>
                    <a:pt x="37891" y="301"/>
                  </a:moveTo>
                  <a:cubicBezTo>
                    <a:pt x="37891" y="151"/>
                    <a:pt x="37856" y="76"/>
                    <a:pt x="37787" y="76"/>
                  </a:cubicBezTo>
                  <a:cubicBezTo>
                    <a:pt x="37717" y="76"/>
                    <a:pt x="37682" y="150"/>
                    <a:pt x="37682" y="297"/>
                  </a:cubicBezTo>
                  <a:cubicBezTo>
                    <a:pt x="37682" y="454"/>
                    <a:pt x="37718" y="533"/>
                    <a:pt x="37789" y="533"/>
                  </a:cubicBezTo>
                  <a:cubicBezTo>
                    <a:pt x="37857" y="533"/>
                    <a:pt x="37891" y="456"/>
                    <a:pt x="37891" y="301"/>
                  </a:cubicBezTo>
                  <a:close/>
                  <a:moveTo>
                    <a:pt x="38163" y="612"/>
                  </a:moveTo>
                  <a:cubicBezTo>
                    <a:pt x="38063" y="599"/>
                    <a:pt x="38063" y="599"/>
                    <a:pt x="38063" y="599"/>
                  </a:cubicBezTo>
                  <a:cubicBezTo>
                    <a:pt x="38140" y="15"/>
                    <a:pt x="38140" y="15"/>
                    <a:pt x="38140" y="15"/>
                  </a:cubicBezTo>
                  <a:cubicBezTo>
                    <a:pt x="38240" y="28"/>
                    <a:pt x="38240" y="28"/>
                    <a:pt x="38240" y="28"/>
                  </a:cubicBezTo>
                  <a:lnTo>
                    <a:pt x="38163" y="612"/>
                  </a:lnTo>
                  <a:close/>
                  <a:moveTo>
                    <a:pt x="38753" y="304"/>
                  </a:moveTo>
                  <a:cubicBezTo>
                    <a:pt x="38760" y="368"/>
                    <a:pt x="38740" y="443"/>
                    <a:pt x="38692" y="531"/>
                  </a:cubicBezTo>
                  <a:cubicBezTo>
                    <a:pt x="38596" y="707"/>
                    <a:pt x="38491" y="765"/>
                    <a:pt x="38377" y="703"/>
                  </a:cubicBezTo>
                  <a:cubicBezTo>
                    <a:pt x="38318" y="670"/>
                    <a:pt x="38285" y="622"/>
                    <a:pt x="38279" y="558"/>
                  </a:cubicBezTo>
                  <a:cubicBezTo>
                    <a:pt x="38273" y="494"/>
                    <a:pt x="38295" y="417"/>
                    <a:pt x="38345" y="325"/>
                  </a:cubicBezTo>
                  <a:cubicBezTo>
                    <a:pt x="38390" y="242"/>
                    <a:pt x="38440" y="187"/>
                    <a:pt x="38494" y="159"/>
                  </a:cubicBezTo>
                  <a:cubicBezTo>
                    <a:pt x="38548" y="132"/>
                    <a:pt x="38602" y="132"/>
                    <a:pt x="38656" y="162"/>
                  </a:cubicBezTo>
                  <a:cubicBezTo>
                    <a:pt x="38714" y="193"/>
                    <a:pt x="38746" y="241"/>
                    <a:pt x="38753" y="304"/>
                  </a:cubicBezTo>
                  <a:close/>
                  <a:moveTo>
                    <a:pt x="38610" y="478"/>
                  </a:moveTo>
                  <a:cubicBezTo>
                    <a:pt x="38681" y="347"/>
                    <a:pt x="38687" y="265"/>
                    <a:pt x="38626" y="232"/>
                  </a:cubicBezTo>
                  <a:cubicBezTo>
                    <a:pt x="38565" y="198"/>
                    <a:pt x="38499" y="246"/>
                    <a:pt x="38428" y="375"/>
                  </a:cubicBezTo>
                  <a:cubicBezTo>
                    <a:pt x="38353" y="514"/>
                    <a:pt x="38347" y="600"/>
                    <a:pt x="38409" y="634"/>
                  </a:cubicBezTo>
                  <a:cubicBezTo>
                    <a:pt x="38469" y="666"/>
                    <a:pt x="38536" y="614"/>
                    <a:pt x="38610" y="478"/>
                  </a:cubicBezTo>
                  <a:close/>
                  <a:moveTo>
                    <a:pt x="38620" y="902"/>
                  </a:moveTo>
                  <a:cubicBezTo>
                    <a:pt x="38555" y="825"/>
                    <a:pt x="38555" y="825"/>
                    <a:pt x="38555" y="825"/>
                  </a:cubicBezTo>
                  <a:cubicBezTo>
                    <a:pt x="39005" y="446"/>
                    <a:pt x="39005" y="446"/>
                    <a:pt x="39005" y="446"/>
                  </a:cubicBezTo>
                  <a:cubicBezTo>
                    <a:pt x="39070" y="522"/>
                    <a:pt x="39070" y="522"/>
                    <a:pt x="39070" y="522"/>
                  </a:cubicBezTo>
                  <a:lnTo>
                    <a:pt x="38620" y="902"/>
                  </a:lnTo>
                  <a:close/>
                  <a:moveTo>
                    <a:pt x="39287" y="981"/>
                  </a:moveTo>
                  <a:cubicBezTo>
                    <a:pt x="39264" y="1040"/>
                    <a:pt x="39210" y="1098"/>
                    <a:pt x="39127" y="1153"/>
                  </a:cubicBezTo>
                  <a:cubicBezTo>
                    <a:pt x="38960" y="1264"/>
                    <a:pt x="38840" y="1265"/>
                    <a:pt x="38769" y="1157"/>
                  </a:cubicBezTo>
                  <a:cubicBezTo>
                    <a:pt x="38731" y="1101"/>
                    <a:pt x="38725" y="1043"/>
                    <a:pt x="38750" y="984"/>
                  </a:cubicBezTo>
                  <a:cubicBezTo>
                    <a:pt x="38774" y="924"/>
                    <a:pt x="38830" y="866"/>
                    <a:pt x="38917" y="808"/>
                  </a:cubicBezTo>
                  <a:cubicBezTo>
                    <a:pt x="38996" y="756"/>
                    <a:pt x="39065" y="730"/>
                    <a:pt x="39126" y="731"/>
                  </a:cubicBezTo>
                  <a:cubicBezTo>
                    <a:pt x="39187" y="732"/>
                    <a:pt x="39234" y="758"/>
                    <a:pt x="39268" y="810"/>
                  </a:cubicBezTo>
                  <a:cubicBezTo>
                    <a:pt x="39304" y="864"/>
                    <a:pt x="39311" y="921"/>
                    <a:pt x="39287" y="981"/>
                  </a:cubicBezTo>
                  <a:close/>
                  <a:moveTo>
                    <a:pt x="39079" y="1068"/>
                  </a:moveTo>
                  <a:cubicBezTo>
                    <a:pt x="39204" y="985"/>
                    <a:pt x="39247" y="915"/>
                    <a:pt x="39209" y="857"/>
                  </a:cubicBezTo>
                  <a:cubicBezTo>
                    <a:pt x="39171" y="799"/>
                    <a:pt x="39090" y="811"/>
                    <a:pt x="38967" y="892"/>
                  </a:cubicBezTo>
                  <a:cubicBezTo>
                    <a:pt x="38836" y="979"/>
                    <a:pt x="38790" y="1052"/>
                    <a:pt x="38829" y="1112"/>
                  </a:cubicBezTo>
                  <a:cubicBezTo>
                    <a:pt x="38867" y="1168"/>
                    <a:pt x="38950" y="1153"/>
                    <a:pt x="39079" y="1068"/>
                  </a:cubicBezTo>
                  <a:close/>
                  <a:moveTo>
                    <a:pt x="39039" y="1506"/>
                  </a:moveTo>
                  <a:cubicBezTo>
                    <a:pt x="38976" y="1427"/>
                    <a:pt x="38976" y="1427"/>
                    <a:pt x="38976" y="1427"/>
                  </a:cubicBezTo>
                  <a:cubicBezTo>
                    <a:pt x="39434" y="1057"/>
                    <a:pt x="39434" y="1057"/>
                    <a:pt x="39434" y="1057"/>
                  </a:cubicBezTo>
                  <a:cubicBezTo>
                    <a:pt x="39497" y="1136"/>
                    <a:pt x="39497" y="1136"/>
                    <a:pt x="39497" y="1136"/>
                  </a:cubicBezTo>
                  <a:lnTo>
                    <a:pt x="39039" y="1506"/>
                  </a:lnTo>
                  <a:close/>
                  <a:moveTo>
                    <a:pt x="39747" y="1506"/>
                  </a:moveTo>
                  <a:cubicBezTo>
                    <a:pt x="39735" y="1568"/>
                    <a:pt x="39693" y="1635"/>
                    <a:pt x="39622" y="1704"/>
                  </a:cubicBezTo>
                  <a:cubicBezTo>
                    <a:pt x="39478" y="1845"/>
                    <a:pt x="39361" y="1869"/>
                    <a:pt x="39270" y="1776"/>
                  </a:cubicBezTo>
                  <a:cubicBezTo>
                    <a:pt x="39223" y="1728"/>
                    <a:pt x="39206" y="1672"/>
                    <a:pt x="39219" y="1609"/>
                  </a:cubicBezTo>
                  <a:cubicBezTo>
                    <a:pt x="39232" y="1546"/>
                    <a:pt x="39276" y="1478"/>
                    <a:pt x="39350" y="1406"/>
                  </a:cubicBezTo>
                  <a:cubicBezTo>
                    <a:pt x="39418" y="1339"/>
                    <a:pt x="39482" y="1301"/>
                    <a:pt x="39542" y="1291"/>
                  </a:cubicBezTo>
                  <a:cubicBezTo>
                    <a:pt x="39602" y="1280"/>
                    <a:pt x="39653" y="1297"/>
                    <a:pt x="39696" y="1341"/>
                  </a:cubicBezTo>
                  <a:cubicBezTo>
                    <a:pt x="39742" y="1388"/>
                    <a:pt x="39759" y="1443"/>
                    <a:pt x="39747" y="1506"/>
                  </a:cubicBezTo>
                  <a:close/>
                  <a:moveTo>
                    <a:pt x="39558" y="1630"/>
                  </a:moveTo>
                  <a:cubicBezTo>
                    <a:pt x="39666" y="1525"/>
                    <a:pt x="39695" y="1448"/>
                    <a:pt x="39647" y="1399"/>
                  </a:cubicBezTo>
                  <a:cubicBezTo>
                    <a:pt x="39598" y="1349"/>
                    <a:pt x="39521" y="1375"/>
                    <a:pt x="39415" y="1478"/>
                  </a:cubicBezTo>
                  <a:cubicBezTo>
                    <a:pt x="39303" y="1588"/>
                    <a:pt x="39271" y="1669"/>
                    <a:pt x="39321" y="1720"/>
                  </a:cubicBezTo>
                  <a:cubicBezTo>
                    <a:pt x="39369" y="1768"/>
                    <a:pt x="39448" y="1738"/>
                    <a:pt x="39558" y="1630"/>
                  </a:cubicBezTo>
                  <a:close/>
                  <a:moveTo>
                    <a:pt x="39601" y="2067"/>
                  </a:moveTo>
                  <a:cubicBezTo>
                    <a:pt x="39524" y="2002"/>
                    <a:pt x="39524" y="2002"/>
                    <a:pt x="39524" y="2002"/>
                  </a:cubicBezTo>
                  <a:cubicBezTo>
                    <a:pt x="39905" y="1553"/>
                    <a:pt x="39905" y="1553"/>
                    <a:pt x="39905" y="1553"/>
                  </a:cubicBezTo>
                  <a:cubicBezTo>
                    <a:pt x="39982" y="1618"/>
                    <a:pt x="39982" y="1618"/>
                    <a:pt x="39982" y="1618"/>
                  </a:cubicBezTo>
                  <a:lnTo>
                    <a:pt x="39601" y="2067"/>
                  </a:lnTo>
                  <a:close/>
                  <a:moveTo>
                    <a:pt x="39818" y="2235"/>
                  </a:moveTo>
                  <a:cubicBezTo>
                    <a:pt x="39737" y="2175"/>
                    <a:pt x="39737" y="2175"/>
                    <a:pt x="39737" y="2175"/>
                  </a:cubicBezTo>
                  <a:cubicBezTo>
                    <a:pt x="40088" y="1702"/>
                    <a:pt x="40088" y="1702"/>
                    <a:pt x="40088" y="1702"/>
                  </a:cubicBezTo>
                  <a:cubicBezTo>
                    <a:pt x="40169" y="1762"/>
                    <a:pt x="40169" y="1762"/>
                    <a:pt x="40169" y="1762"/>
                  </a:cubicBezTo>
                  <a:lnTo>
                    <a:pt x="39818" y="2235"/>
                  </a:lnTo>
                  <a:close/>
                  <a:moveTo>
                    <a:pt x="40503" y="2058"/>
                  </a:moveTo>
                  <a:cubicBezTo>
                    <a:pt x="40507" y="2121"/>
                    <a:pt x="40483" y="2196"/>
                    <a:pt x="40432" y="2281"/>
                  </a:cubicBezTo>
                  <a:cubicBezTo>
                    <a:pt x="40328" y="2453"/>
                    <a:pt x="40220" y="2506"/>
                    <a:pt x="40110" y="2439"/>
                  </a:cubicBezTo>
                  <a:cubicBezTo>
                    <a:pt x="40052" y="2404"/>
                    <a:pt x="40021" y="2355"/>
                    <a:pt x="40018" y="2290"/>
                  </a:cubicBezTo>
                  <a:cubicBezTo>
                    <a:pt x="40015" y="2226"/>
                    <a:pt x="40040" y="2150"/>
                    <a:pt x="40094" y="2060"/>
                  </a:cubicBezTo>
                  <a:cubicBezTo>
                    <a:pt x="40143" y="1979"/>
                    <a:pt x="40195" y="1926"/>
                    <a:pt x="40251" y="1901"/>
                  </a:cubicBezTo>
                  <a:cubicBezTo>
                    <a:pt x="40306" y="1876"/>
                    <a:pt x="40360" y="1879"/>
                    <a:pt x="40412" y="1911"/>
                  </a:cubicBezTo>
                  <a:cubicBezTo>
                    <a:pt x="40468" y="1945"/>
                    <a:pt x="40499" y="1994"/>
                    <a:pt x="40503" y="2058"/>
                  </a:cubicBezTo>
                  <a:close/>
                  <a:moveTo>
                    <a:pt x="40352" y="2225"/>
                  </a:moveTo>
                  <a:cubicBezTo>
                    <a:pt x="40429" y="2097"/>
                    <a:pt x="40439" y="2015"/>
                    <a:pt x="40379" y="1980"/>
                  </a:cubicBezTo>
                  <a:cubicBezTo>
                    <a:pt x="40320" y="1943"/>
                    <a:pt x="40251" y="1988"/>
                    <a:pt x="40175" y="2114"/>
                  </a:cubicBezTo>
                  <a:cubicBezTo>
                    <a:pt x="40094" y="2249"/>
                    <a:pt x="40084" y="2335"/>
                    <a:pt x="40145" y="2372"/>
                  </a:cubicBezTo>
                  <a:cubicBezTo>
                    <a:pt x="40203" y="2407"/>
                    <a:pt x="40272" y="2358"/>
                    <a:pt x="40352" y="2225"/>
                  </a:cubicBezTo>
                  <a:close/>
                  <a:moveTo>
                    <a:pt x="40917" y="2253"/>
                  </a:moveTo>
                  <a:cubicBezTo>
                    <a:pt x="40929" y="2316"/>
                    <a:pt x="40914" y="2393"/>
                    <a:pt x="40874" y="2484"/>
                  </a:cubicBezTo>
                  <a:cubicBezTo>
                    <a:pt x="40792" y="2667"/>
                    <a:pt x="40692" y="2733"/>
                    <a:pt x="40574" y="2680"/>
                  </a:cubicBezTo>
                  <a:cubicBezTo>
                    <a:pt x="40512" y="2653"/>
                    <a:pt x="40476" y="2607"/>
                    <a:pt x="40464" y="2544"/>
                  </a:cubicBezTo>
                  <a:cubicBezTo>
                    <a:pt x="40453" y="2481"/>
                    <a:pt x="40469" y="2402"/>
                    <a:pt x="40511" y="2307"/>
                  </a:cubicBezTo>
                  <a:cubicBezTo>
                    <a:pt x="40550" y="2220"/>
                    <a:pt x="40595" y="2161"/>
                    <a:pt x="40647" y="2129"/>
                  </a:cubicBezTo>
                  <a:cubicBezTo>
                    <a:pt x="40698" y="2097"/>
                    <a:pt x="40752" y="2094"/>
                    <a:pt x="40808" y="2119"/>
                  </a:cubicBezTo>
                  <a:cubicBezTo>
                    <a:pt x="40868" y="2146"/>
                    <a:pt x="40904" y="2190"/>
                    <a:pt x="40917" y="2253"/>
                  </a:cubicBezTo>
                  <a:close/>
                  <a:moveTo>
                    <a:pt x="40788" y="2438"/>
                  </a:moveTo>
                  <a:cubicBezTo>
                    <a:pt x="40848" y="2301"/>
                    <a:pt x="40847" y="2219"/>
                    <a:pt x="40784" y="2191"/>
                  </a:cubicBezTo>
                  <a:cubicBezTo>
                    <a:pt x="40720" y="2162"/>
                    <a:pt x="40658" y="2215"/>
                    <a:pt x="40599" y="2350"/>
                  </a:cubicBezTo>
                  <a:cubicBezTo>
                    <a:pt x="40535" y="2494"/>
                    <a:pt x="40535" y="2580"/>
                    <a:pt x="40600" y="2609"/>
                  </a:cubicBezTo>
                  <a:cubicBezTo>
                    <a:pt x="40662" y="2637"/>
                    <a:pt x="40725" y="2580"/>
                    <a:pt x="40788" y="2438"/>
                  </a:cubicBezTo>
                  <a:close/>
                  <a:moveTo>
                    <a:pt x="40990" y="2829"/>
                  </a:moveTo>
                  <a:cubicBezTo>
                    <a:pt x="40894" y="2797"/>
                    <a:pt x="40894" y="2797"/>
                    <a:pt x="40894" y="2797"/>
                  </a:cubicBezTo>
                  <a:cubicBezTo>
                    <a:pt x="41081" y="2238"/>
                    <a:pt x="41081" y="2238"/>
                    <a:pt x="41081" y="2238"/>
                  </a:cubicBezTo>
                  <a:cubicBezTo>
                    <a:pt x="41177" y="2270"/>
                    <a:pt x="41177" y="2270"/>
                    <a:pt x="41177" y="2270"/>
                  </a:cubicBezTo>
                  <a:lnTo>
                    <a:pt x="40990" y="2829"/>
                  </a:lnTo>
                  <a:close/>
                  <a:moveTo>
                    <a:pt x="41586" y="2448"/>
                  </a:moveTo>
                  <a:cubicBezTo>
                    <a:pt x="41610" y="2507"/>
                    <a:pt x="41610" y="2585"/>
                    <a:pt x="41588" y="2682"/>
                  </a:cubicBezTo>
                  <a:cubicBezTo>
                    <a:pt x="41542" y="2878"/>
                    <a:pt x="41456" y="2962"/>
                    <a:pt x="41330" y="2932"/>
                  </a:cubicBezTo>
                  <a:cubicBezTo>
                    <a:pt x="41265" y="2917"/>
                    <a:pt x="41220" y="2879"/>
                    <a:pt x="41197" y="2819"/>
                  </a:cubicBezTo>
                  <a:cubicBezTo>
                    <a:pt x="41174" y="2759"/>
                    <a:pt x="41175" y="2679"/>
                    <a:pt x="41198" y="2577"/>
                  </a:cubicBezTo>
                  <a:cubicBezTo>
                    <a:pt x="41220" y="2485"/>
                    <a:pt x="41253" y="2418"/>
                    <a:pt x="41297" y="2377"/>
                  </a:cubicBezTo>
                  <a:cubicBezTo>
                    <a:pt x="41342" y="2336"/>
                    <a:pt x="41395" y="2323"/>
                    <a:pt x="41454" y="2337"/>
                  </a:cubicBezTo>
                  <a:cubicBezTo>
                    <a:pt x="41518" y="2351"/>
                    <a:pt x="41562" y="2388"/>
                    <a:pt x="41586" y="2448"/>
                  </a:cubicBezTo>
                  <a:close/>
                  <a:moveTo>
                    <a:pt x="41494" y="2654"/>
                  </a:moveTo>
                  <a:cubicBezTo>
                    <a:pt x="41528" y="2508"/>
                    <a:pt x="41512" y="2427"/>
                    <a:pt x="41444" y="2412"/>
                  </a:cubicBezTo>
                  <a:cubicBezTo>
                    <a:pt x="41376" y="2396"/>
                    <a:pt x="41325" y="2460"/>
                    <a:pt x="41292" y="2603"/>
                  </a:cubicBezTo>
                  <a:cubicBezTo>
                    <a:pt x="41257" y="2757"/>
                    <a:pt x="41274" y="2841"/>
                    <a:pt x="41343" y="2857"/>
                  </a:cubicBezTo>
                  <a:cubicBezTo>
                    <a:pt x="41409" y="2873"/>
                    <a:pt x="41459" y="2805"/>
                    <a:pt x="41494" y="2654"/>
                  </a:cubicBezTo>
                  <a:close/>
                  <a:moveTo>
                    <a:pt x="41766" y="2999"/>
                  </a:moveTo>
                  <a:cubicBezTo>
                    <a:pt x="41667" y="2986"/>
                    <a:pt x="41667" y="2986"/>
                    <a:pt x="41667" y="2986"/>
                  </a:cubicBezTo>
                  <a:cubicBezTo>
                    <a:pt x="41745" y="2402"/>
                    <a:pt x="41745" y="2402"/>
                    <a:pt x="41745" y="2402"/>
                  </a:cubicBezTo>
                  <a:cubicBezTo>
                    <a:pt x="41844" y="2416"/>
                    <a:pt x="41844" y="2416"/>
                    <a:pt x="41844" y="2416"/>
                  </a:cubicBezTo>
                  <a:lnTo>
                    <a:pt x="41766" y="2999"/>
                  </a:lnTo>
                  <a:close/>
                  <a:moveTo>
                    <a:pt x="42040" y="3023"/>
                  </a:moveTo>
                  <a:cubicBezTo>
                    <a:pt x="41939" y="3017"/>
                    <a:pt x="41939" y="3017"/>
                    <a:pt x="41939" y="3017"/>
                  </a:cubicBezTo>
                  <a:cubicBezTo>
                    <a:pt x="41979" y="2429"/>
                    <a:pt x="41979" y="2429"/>
                    <a:pt x="41979" y="2429"/>
                  </a:cubicBezTo>
                  <a:cubicBezTo>
                    <a:pt x="42080" y="2436"/>
                    <a:pt x="42080" y="2436"/>
                    <a:pt x="42080" y="2436"/>
                  </a:cubicBezTo>
                  <a:lnTo>
                    <a:pt x="42040" y="3023"/>
                  </a:lnTo>
                  <a:close/>
                  <a:moveTo>
                    <a:pt x="42309" y="3030"/>
                  </a:moveTo>
                  <a:cubicBezTo>
                    <a:pt x="42209" y="3029"/>
                    <a:pt x="42209" y="3029"/>
                    <a:pt x="42209" y="3029"/>
                  </a:cubicBezTo>
                  <a:cubicBezTo>
                    <a:pt x="42215" y="2440"/>
                    <a:pt x="42215" y="2440"/>
                    <a:pt x="42215" y="2440"/>
                  </a:cubicBezTo>
                  <a:cubicBezTo>
                    <a:pt x="42315" y="2441"/>
                    <a:pt x="42315" y="2441"/>
                    <a:pt x="42315" y="2441"/>
                  </a:cubicBezTo>
                  <a:lnTo>
                    <a:pt x="42309" y="3030"/>
                  </a:lnTo>
                  <a:close/>
                  <a:moveTo>
                    <a:pt x="42759" y="2481"/>
                  </a:moveTo>
                  <a:cubicBezTo>
                    <a:pt x="42801" y="2530"/>
                    <a:pt x="42826" y="2604"/>
                    <a:pt x="42835" y="2704"/>
                  </a:cubicBezTo>
                  <a:cubicBezTo>
                    <a:pt x="42853" y="2904"/>
                    <a:pt x="42797" y="3010"/>
                    <a:pt x="42668" y="3022"/>
                  </a:cubicBezTo>
                  <a:cubicBezTo>
                    <a:pt x="42601" y="3028"/>
                    <a:pt x="42547" y="3006"/>
                    <a:pt x="42507" y="2956"/>
                  </a:cubicBezTo>
                  <a:cubicBezTo>
                    <a:pt x="42466" y="2906"/>
                    <a:pt x="42441" y="2829"/>
                    <a:pt x="42432" y="2726"/>
                  </a:cubicBezTo>
                  <a:cubicBezTo>
                    <a:pt x="42423" y="2631"/>
                    <a:pt x="42434" y="2558"/>
                    <a:pt x="42464" y="2505"/>
                  </a:cubicBezTo>
                  <a:cubicBezTo>
                    <a:pt x="42493" y="2452"/>
                    <a:pt x="42539" y="2422"/>
                    <a:pt x="42600" y="2417"/>
                  </a:cubicBezTo>
                  <a:cubicBezTo>
                    <a:pt x="42665" y="2411"/>
                    <a:pt x="42718" y="2432"/>
                    <a:pt x="42759" y="2481"/>
                  </a:cubicBezTo>
                  <a:close/>
                  <a:moveTo>
                    <a:pt x="42737" y="2706"/>
                  </a:moveTo>
                  <a:cubicBezTo>
                    <a:pt x="42724" y="2557"/>
                    <a:pt x="42683" y="2485"/>
                    <a:pt x="42614" y="2491"/>
                  </a:cubicBezTo>
                  <a:cubicBezTo>
                    <a:pt x="42544" y="2498"/>
                    <a:pt x="42516" y="2574"/>
                    <a:pt x="42529" y="2721"/>
                  </a:cubicBezTo>
                  <a:cubicBezTo>
                    <a:pt x="42543" y="2878"/>
                    <a:pt x="42586" y="2953"/>
                    <a:pt x="42657" y="2946"/>
                  </a:cubicBezTo>
                  <a:cubicBezTo>
                    <a:pt x="42724" y="2940"/>
                    <a:pt x="42751" y="2860"/>
                    <a:pt x="42737" y="2706"/>
                  </a:cubicBezTo>
                  <a:close/>
                  <a:moveTo>
                    <a:pt x="43104" y="2949"/>
                  </a:moveTo>
                  <a:cubicBezTo>
                    <a:pt x="43005" y="2967"/>
                    <a:pt x="43005" y="2967"/>
                    <a:pt x="43005" y="2967"/>
                  </a:cubicBezTo>
                  <a:cubicBezTo>
                    <a:pt x="42897" y="2388"/>
                    <a:pt x="42897" y="2388"/>
                    <a:pt x="42897" y="2388"/>
                  </a:cubicBezTo>
                  <a:cubicBezTo>
                    <a:pt x="42996" y="2370"/>
                    <a:pt x="42996" y="2370"/>
                    <a:pt x="42996" y="2370"/>
                  </a:cubicBezTo>
                  <a:lnTo>
                    <a:pt x="43104" y="2949"/>
                  </a:lnTo>
                  <a:close/>
                  <a:moveTo>
                    <a:pt x="43371" y="2886"/>
                  </a:moveTo>
                  <a:cubicBezTo>
                    <a:pt x="43274" y="2911"/>
                    <a:pt x="43274" y="2911"/>
                    <a:pt x="43274" y="2911"/>
                  </a:cubicBezTo>
                  <a:cubicBezTo>
                    <a:pt x="43128" y="2341"/>
                    <a:pt x="43128" y="2341"/>
                    <a:pt x="43128" y="2341"/>
                  </a:cubicBezTo>
                  <a:cubicBezTo>
                    <a:pt x="43225" y="2316"/>
                    <a:pt x="43225" y="2316"/>
                    <a:pt x="43225" y="2316"/>
                  </a:cubicBezTo>
                  <a:lnTo>
                    <a:pt x="43371" y="2886"/>
                  </a:lnTo>
                  <a:close/>
                  <a:moveTo>
                    <a:pt x="43665" y="2243"/>
                  </a:moveTo>
                  <a:cubicBezTo>
                    <a:pt x="43717" y="2280"/>
                    <a:pt x="43760" y="2345"/>
                    <a:pt x="43794" y="2439"/>
                  </a:cubicBezTo>
                  <a:cubicBezTo>
                    <a:pt x="43862" y="2628"/>
                    <a:pt x="43835" y="2744"/>
                    <a:pt x="43713" y="2788"/>
                  </a:cubicBezTo>
                  <a:cubicBezTo>
                    <a:pt x="43650" y="2811"/>
                    <a:pt x="43592" y="2804"/>
                    <a:pt x="43540" y="2766"/>
                  </a:cubicBezTo>
                  <a:cubicBezTo>
                    <a:pt x="43488" y="2728"/>
                    <a:pt x="43445" y="2660"/>
                    <a:pt x="43410" y="2562"/>
                  </a:cubicBezTo>
                  <a:cubicBezTo>
                    <a:pt x="43377" y="2473"/>
                    <a:pt x="43369" y="2399"/>
                    <a:pt x="43384" y="2340"/>
                  </a:cubicBezTo>
                  <a:cubicBezTo>
                    <a:pt x="43400" y="2281"/>
                    <a:pt x="43436" y="2241"/>
                    <a:pt x="43494" y="2221"/>
                  </a:cubicBezTo>
                  <a:cubicBezTo>
                    <a:pt x="43556" y="2198"/>
                    <a:pt x="43613" y="2206"/>
                    <a:pt x="43665" y="2243"/>
                  </a:cubicBezTo>
                  <a:close/>
                  <a:moveTo>
                    <a:pt x="43700" y="2465"/>
                  </a:moveTo>
                  <a:cubicBezTo>
                    <a:pt x="43649" y="2325"/>
                    <a:pt x="43591" y="2266"/>
                    <a:pt x="43526" y="2289"/>
                  </a:cubicBezTo>
                  <a:cubicBezTo>
                    <a:pt x="43461" y="2313"/>
                    <a:pt x="43453" y="2394"/>
                    <a:pt x="43502" y="2533"/>
                  </a:cubicBezTo>
                  <a:cubicBezTo>
                    <a:pt x="43556" y="2681"/>
                    <a:pt x="43616" y="2743"/>
                    <a:pt x="43683" y="2718"/>
                  </a:cubicBezTo>
                  <a:cubicBezTo>
                    <a:pt x="43747" y="2695"/>
                    <a:pt x="43752" y="2611"/>
                    <a:pt x="43700" y="2465"/>
                  </a:cubicBezTo>
                  <a:close/>
                  <a:moveTo>
                    <a:pt x="44116" y="2607"/>
                  </a:moveTo>
                  <a:cubicBezTo>
                    <a:pt x="44025" y="2650"/>
                    <a:pt x="44025" y="2650"/>
                    <a:pt x="44025" y="2650"/>
                  </a:cubicBezTo>
                  <a:cubicBezTo>
                    <a:pt x="43774" y="2118"/>
                    <a:pt x="43774" y="2118"/>
                    <a:pt x="43774" y="2118"/>
                  </a:cubicBezTo>
                  <a:cubicBezTo>
                    <a:pt x="43865" y="2075"/>
                    <a:pt x="43865" y="2075"/>
                    <a:pt x="43865" y="2075"/>
                  </a:cubicBezTo>
                  <a:lnTo>
                    <a:pt x="44116" y="2607"/>
                  </a:lnTo>
                  <a:close/>
                  <a:moveTo>
                    <a:pt x="44358" y="2479"/>
                  </a:moveTo>
                  <a:cubicBezTo>
                    <a:pt x="44270" y="2528"/>
                    <a:pt x="44270" y="2528"/>
                    <a:pt x="44270" y="2528"/>
                  </a:cubicBezTo>
                  <a:cubicBezTo>
                    <a:pt x="43985" y="2013"/>
                    <a:pt x="43985" y="2013"/>
                    <a:pt x="43985" y="2013"/>
                  </a:cubicBezTo>
                  <a:cubicBezTo>
                    <a:pt x="44073" y="1965"/>
                    <a:pt x="44073" y="1965"/>
                    <a:pt x="44073" y="1965"/>
                  </a:cubicBezTo>
                  <a:lnTo>
                    <a:pt x="44358" y="2479"/>
                  </a:lnTo>
                  <a:close/>
                  <a:moveTo>
                    <a:pt x="44480" y="1782"/>
                  </a:moveTo>
                  <a:cubicBezTo>
                    <a:pt x="44540" y="1805"/>
                    <a:pt x="44598" y="1857"/>
                    <a:pt x="44654" y="1939"/>
                  </a:cubicBezTo>
                  <a:cubicBezTo>
                    <a:pt x="44768" y="2105"/>
                    <a:pt x="44772" y="2225"/>
                    <a:pt x="44665" y="2298"/>
                  </a:cubicBezTo>
                  <a:cubicBezTo>
                    <a:pt x="44609" y="2336"/>
                    <a:pt x="44551" y="2344"/>
                    <a:pt x="44492" y="2320"/>
                  </a:cubicBezTo>
                  <a:cubicBezTo>
                    <a:pt x="44432" y="2296"/>
                    <a:pt x="44373" y="2241"/>
                    <a:pt x="44314" y="2156"/>
                  </a:cubicBezTo>
                  <a:cubicBezTo>
                    <a:pt x="44260" y="2078"/>
                    <a:pt x="44233" y="2008"/>
                    <a:pt x="44233" y="1947"/>
                  </a:cubicBezTo>
                  <a:cubicBezTo>
                    <a:pt x="44233" y="1887"/>
                    <a:pt x="44258" y="1839"/>
                    <a:pt x="44309" y="1804"/>
                  </a:cubicBezTo>
                  <a:cubicBezTo>
                    <a:pt x="44363" y="1767"/>
                    <a:pt x="44420" y="1760"/>
                    <a:pt x="44480" y="1782"/>
                  </a:cubicBezTo>
                  <a:close/>
                  <a:moveTo>
                    <a:pt x="44570" y="1989"/>
                  </a:moveTo>
                  <a:cubicBezTo>
                    <a:pt x="44486" y="1866"/>
                    <a:pt x="44415" y="1823"/>
                    <a:pt x="44358" y="1862"/>
                  </a:cubicBezTo>
                  <a:cubicBezTo>
                    <a:pt x="44300" y="1902"/>
                    <a:pt x="44313" y="1983"/>
                    <a:pt x="44396" y="2104"/>
                  </a:cubicBezTo>
                  <a:cubicBezTo>
                    <a:pt x="44485" y="2234"/>
                    <a:pt x="44559" y="2278"/>
                    <a:pt x="44618" y="2238"/>
                  </a:cubicBezTo>
                  <a:cubicBezTo>
                    <a:pt x="44674" y="2200"/>
                    <a:pt x="44658" y="2117"/>
                    <a:pt x="44570" y="1989"/>
                  </a:cubicBezTo>
                  <a:close/>
                  <a:moveTo>
                    <a:pt x="44829" y="1486"/>
                  </a:moveTo>
                  <a:cubicBezTo>
                    <a:pt x="44891" y="1501"/>
                    <a:pt x="44955" y="1546"/>
                    <a:pt x="45021" y="1621"/>
                  </a:cubicBezTo>
                  <a:cubicBezTo>
                    <a:pt x="45155" y="1771"/>
                    <a:pt x="45173" y="1890"/>
                    <a:pt x="45076" y="1975"/>
                  </a:cubicBezTo>
                  <a:cubicBezTo>
                    <a:pt x="45026" y="2020"/>
                    <a:pt x="44969" y="2035"/>
                    <a:pt x="44907" y="2018"/>
                  </a:cubicBezTo>
                  <a:cubicBezTo>
                    <a:pt x="44845" y="2002"/>
                    <a:pt x="44779" y="1955"/>
                    <a:pt x="44710" y="1878"/>
                  </a:cubicBezTo>
                  <a:cubicBezTo>
                    <a:pt x="44647" y="1807"/>
                    <a:pt x="44612" y="1741"/>
                    <a:pt x="44605" y="1681"/>
                  </a:cubicBezTo>
                  <a:cubicBezTo>
                    <a:pt x="44597" y="1621"/>
                    <a:pt x="44616" y="1570"/>
                    <a:pt x="44662" y="1529"/>
                  </a:cubicBezTo>
                  <a:cubicBezTo>
                    <a:pt x="44711" y="1486"/>
                    <a:pt x="44767" y="1471"/>
                    <a:pt x="44829" y="1486"/>
                  </a:cubicBezTo>
                  <a:close/>
                  <a:moveTo>
                    <a:pt x="44944" y="1680"/>
                  </a:moveTo>
                  <a:cubicBezTo>
                    <a:pt x="44845" y="1568"/>
                    <a:pt x="44769" y="1535"/>
                    <a:pt x="44718" y="1581"/>
                  </a:cubicBezTo>
                  <a:cubicBezTo>
                    <a:pt x="44665" y="1627"/>
                    <a:pt x="44688" y="1706"/>
                    <a:pt x="44786" y="1816"/>
                  </a:cubicBezTo>
                  <a:cubicBezTo>
                    <a:pt x="44890" y="1934"/>
                    <a:pt x="44969" y="1969"/>
                    <a:pt x="45022" y="1922"/>
                  </a:cubicBezTo>
                  <a:cubicBezTo>
                    <a:pt x="45073" y="1877"/>
                    <a:pt x="45047" y="1796"/>
                    <a:pt x="44944" y="1680"/>
                  </a:cubicBezTo>
                  <a:close/>
                  <a:moveTo>
                    <a:pt x="45383" y="1659"/>
                  </a:moveTo>
                  <a:cubicBezTo>
                    <a:pt x="45314" y="1733"/>
                    <a:pt x="45314" y="1733"/>
                    <a:pt x="45314" y="1733"/>
                  </a:cubicBezTo>
                  <a:cubicBezTo>
                    <a:pt x="44884" y="1331"/>
                    <a:pt x="44884" y="1331"/>
                    <a:pt x="44884" y="1331"/>
                  </a:cubicBezTo>
                  <a:cubicBezTo>
                    <a:pt x="44953" y="1257"/>
                    <a:pt x="44953" y="1257"/>
                    <a:pt x="44953" y="1257"/>
                  </a:cubicBezTo>
                  <a:lnTo>
                    <a:pt x="45383" y="165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grpSp>
      <p:sp>
        <p:nvSpPr>
          <p:cNvPr id="25" name="Freeform 21"/>
          <p:cNvSpPr>
            <a:spLocks/>
          </p:cNvSpPr>
          <p:nvPr/>
        </p:nvSpPr>
        <p:spPr bwMode="auto">
          <a:xfrm>
            <a:off x="13205525" y="3058209"/>
            <a:ext cx="870334" cy="851378"/>
          </a:xfrm>
          <a:custGeom>
            <a:avLst/>
            <a:gdLst>
              <a:gd name="T0" fmla="*/ 5719 w 5811"/>
              <a:gd name="T1" fmla="*/ 2900 h 5684"/>
              <a:gd name="T2" fmla="*/ 5705 w 5811"/>
              <a:gd name="T3" fmla="*/ 2900 h 5684"/>
              <a:gd name="T4" fmla="*/ 3456 w 5811"/>
              <a:gd name="T5" fmla="*/ 5150 h 5684"/>
              <a:gd name="T6" fmla="*/ 3366 w 5811"/>
              <a:gd name="T7" fmla="*/ 5060 h 5684"/>
              <a:gd name="T8" fmla="*/ 5525 w 5811"/>
              <a:gd name="T9" fmla="*/ 2900 h 5684"/>
              <a:gd name="T10" fmla="*/ 1195 w 5811"/>
              <a:gd name="T11" fmla="*/ 2900 h 5684"/>
              <a:gd name="T12" fmla="*/ 113 w 5811"/>
              <a:gd name="T13" fmla="*/ 5684 h 5684"/>
              <a:gd name="T14" fmla="*/ 18 w 5811"/>
              <a:gd name="T15" fmla="*/ 5599 h 5684"/>
              <a:gd name="T16" fmla="*/ 1068 w 5811"/>
              <a:gd name="T17" fmla="*/ 2852 h 5684"/>
              <a:gd name="T18" fmla="*/ 0 w 5811"/>
              <a:gd name="T19" fmla="*/ 86 h 5684"/>
              <a:gd name="T20" fmla="*/ 94 w 5811"/>
              <a:gd name="T21" fmla="*/ 0 h 5684"/>
              <a:gd name="T22" fmla="*/ 1194 w 5811"/>
              <a:gd name="T23" fmla="*/ 2772 h 5684"/>
              <a:gd name="T24" fmla="*/ 5610 w 5811"/>
              <a:gd name="T25" fmla="*/ 2772 h 5684"/>
              <a:gd name="T26" fmla="*/ 3366 w 5811"/>
              <a:gd name="T27" fmla="*/ 528 h 5684"/>
              <a:gd name="T28" fmla="*/ 3456 w 5811"/>
              <a:gd name="T29" fmla="*/ 438 h 5684"/>
              <a:gd name="T30" fmla="*/ 5811 w 5811"/>
              <a:gd name="T31" fmla="*/ 2794 h 5684"/>
              <a:gd name="T32" fmla="*/ 5719 w 5811"/>
              <a:gd name="T33" fmla="*/ 2887 h 5684"/>
              <a:gd name="T34" fmla="*/ 5719 w 5811"/>
              <a:gd name="T35" fmla="*/ 2900 h 5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811" h="5684">
                <a:moveTo>
                  <a:pt x="5719" y="2900"/>
                </a:moveTo>
                <a:cubicBezTo>
                  <a:pt x="5705" y="2900"/>
                  <a:pt x="5705" y="2900"/>
                  <a:pt x="5705" y="2900"/>
                </a:cubicBezTo>
                <a:cubicBezTo>
                  <a:pt x="3456" y="5150"/>
                  <a:pt x="3456" y="5150"/>
                  <a:pt x="3456" y="5150"/>
                </a:cubicBezTo>
                <a:cubicBezTo>
                  <a:pt x="3366" y="5060"/>
                  <a:pt x="3366" y="5060"/>
                  <a:pt x="3366" y="5060"/>
                </a:cubicBezTo>
                <a:cubicBezTo>
                  <a:pt x="5525" y="2900"/>
                  <a:pt x="5525" y="2900"/>
                  <a:pt x="5525" y="2900"/>
                </a:cubicBezTo>
                <a:cubicBezTo>
                  <a:pt x="1195" y="2900"/>
                  <a:pt x="1195" y="2900"/>
                  <a:pt x="1195" y="2900"/>
                </a:cubicBezTo>
                <a:cubicBezTo>
                  <a:pt x="1183" y="3928"/>
                  <a:pt x="800" y="4917"/>
                  <a:pt x="113" y="5684"/>
                </a:cubicBezTo>
                <a:cubicBezTo>
                  <a:pt x="18" y="5599"/>
                  <a:pt x="18" y="5599"/>
                  <a:pt x="18" y="5599"/>
                </a:cubicBezTo>
                <a:cubicBezTo>
                  <a:pt x="695" y="4843"/>
                  <a:pt x="1068" y="3868"/>
                  <a:pt x="1068" y="2852"/>
                </a:cubicBezTo>
                <a:cubicBezTo>
                  <a:pt x="1068" y="1827"/>
                  <a:pt x="689" y="845"/>
                  <a:pt x="0" y="86"/>
                </a:cubicBezTo>
                <a:cubicBezTo>
                  <a:pt x="94" y="0"/>
                  <a:pt x="94" y="0"/>
                  <a:pt x="94" y="0"/>
                </a:cubicBezTo>
                <a:cubicBezTo>
                  <a:pt x="786" y="763"/>
                  <a:pt x="1175" y="1744"/>
                  <a:pt x="1194" y="2772"/>
                </a:cubicBezTo>
                <a:cubicBezTo>
                  <a:pt x="5610" y="2772"/>
                  <a:pt x="5610" y="2772"/>
                  <a:pt x="5610" y="2772"/>
                </a:cubicBezTo>
                <a:cubicBezTo>
                  <a:pt x="3366" y="528"/>
                  <a:pt x="3366" y="528"/>
                  <a:pt x="3366" y="528"/>
                </a:cubicBezTo>
                <a:cubicBezTo>
                  <a:pt x="3456" y="438"/>
                  <a:pt x="3456" y="438"/>
                  <a:pt x="3456" y="438"/>
                </a:cubicBezTo>
                <a:cubicBezTo>
                  <a:pt x="5811" y="2794"/>
                  <a:pt x="5811" y="2794"/>
                  <a:pt x="5811" y="2794"/>
                </a:cubicBezTo>
                <a:cubicBezTo>
                  <a:pt x="5719" y="2887"/>
                  <a:pt x="5719" y="2887"/>
                  <a:pt x="5719" y="2887"/>
                </a:cubicBezTo>
                <a:lnTo>
                  <a:pt x="5719" y="290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useBgFill="1">
        <p:nvSpPr>
          <p:cNvPr id="9" name="DELAY"/>
          <p:cNvSpPr/>
          <p:nvPr/>
        </p:nvSpPr>
        <p:spPr bwMode="auto">
          <a:xfrm>
            <a:off x="12188825" y="-816883"/>
            <a:ext cx="818263" cy="818263"/>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7" name="Freeform 5"/>
          <p:cNvSpPr>
            <a:spLocks noEditPoints="1"/>
          </p:cNvSpPr>
          <p:nvPr/>
        </p:nvSpPr>
        <p:spPr bwMode="auto">
          <a:xfrm>
            <a:off x="5413704" y="3340673"/>
            <a:ext cx="931969" cy="278549"/>
          </a:xfrm>
          <a:custGeom>
            <a:avLst/>
            <a:gdLst>
              <a:gd name="T0" fmla="*/ 195 w 5410"/>
              <a:gd name="T1" fmla="*/ 608 h 1617"/>
              <a:gd name="T2" fmla="*/ 97 w 5410"/>
              <a:gd name="T3" fmla="*/ 312 h 1617"/>
              <a:gd name="T4" fmla="*/ 870 w 5410"/>
              <a:gd name="T5" fmla="*/ 302 h 1617"/>
              <a:gd name="T6" fmla="*/ 662 w 5410"/>
              <a:gd name="T7" fmla="*/ 608 h 1617"/>
              <a:gd name="T8" fmla="*/ 773 w 5410"/>
              <a:gd name="T9" fmla="*/ 308 h 1617"/>
              <a:gd name="T10" fmla="*/ 1083 w 5410"/>
              <a:gd name="T11" fmla="*/ 16 h 1617"/>
              <a:gd name="T12" fmla="*/ 1230 w 5410"/>
              <a:gd name="T13" fmla="*/ 533 h 1617"/>
              <a:gd name="T14" fmla="*/ 1381 w 5410"/>
              <a:gd name="T15" fmla="*/ 533 h 1617"/>
              <a:gd name="T16" fmla="*/ 1691 w 5410"/>
              <a:gd name="T17" fmla="*/ 16 h 1617"/>
              <a:gd name="T18" fmla="*/ 2023 w 5410"/>
              <a:gd name="T19" fmla="*/ 604 h 1617"/>
              <a:gd name="T20" fmla="*/ 2283 w 5410"/>
              <a:gd name="T21" fmla="*/ 604 h 1617"/>
              <a:gd name="T22" fmla="*/ 2590 w 5410"/>
              <a:gd name="T23" fmla="*/ 0 h 1617"/>
              <a:gd name="T24" fmla="*/ 2729 w 5410"/>
              <a:gd name="T25" fmla="*/ 530 h 1617"/>
              <a:gd name="T26" fmla="*/ 2586 w 5410"/>
              <a:gd name="T27" fmla="*/ 76 h 1617"/>
              <a:gd name="T28" fmla="*/ 2891 w 5410"/>
              <a:gd name="T29" fmla="*/ 16 h 1617"/>
              <a:gd name="T30" fmla="*/ 3131 w 5410"/>
              <a:gd name="T31" fmla="*/ 16 h 1617"/>
              <a:gd name="T32" fmla="*/ 3338 w 5410"/>
              <a:gd name="T33" fmla="*/ 316 h 1617"/>
              <a:gd name="T34" fmla="*/ 3547 w 5410"/>
              <a:gd name="T35" fmla="*/ 0 h 1617"/>
              <a:gd name="T36" fmla="*/ 3541 w 5410"/>
              <a:gd name="T37" fmla="*/ 533 h 1617"/>
              <a:gd name="T38" fmla="*/ 3943 w 5410"/>
              <a:gd name="T39" fmla="*/ 604 h 1617"/>
              <a:gd name="T40" fmla="*/ 4091 w 5410"/>
              <a:gd name="T41" fmla="*/ 16 h 1617"/>
              <a:gd name="T42" fmla="*/ 4295 w 5410"/>
              <a:gd name="T43" fmla="*/ 316 h 1617"/>
              <a:gd name="T44" fmla="*/ 4393 w 5410"/>
              <a:gd name="T45" fmla="*/ 312 h 1617"/>
              <a:gd name="T46" fmla="*/ 4903 w 5410"/>
              <a:gd name="T47" fmla="*/ 16 h 1617"/>
              <a:gd name="T48" fmla="*/ 5356 w 5410"/>
              <a:gd name="T49" fmla="*/ 530 h 1617"/>
              <a:gd name="T50" fmla="*/ 5059 w 5410"/>
              <a:gd name="T51" fmla="*/ 533 h 1617"/>
              <a:gd name="T52" fmla="*/ 5104 w 5410"/>
              <a:gd name="T53" fmla="*/ 312 h 1617"/>
              <a:gd name="T54" fmla="*/ 52 w 5410"/>
              <a:gd name="T55" fmla="*/ 1542 h 1617"/>
              <a:gd name="T56" fmla="*/ 202 w 5410"/>
              <a:gd name="T57" fmla="*/ 1542 h 1617"/>
              <a:gd name="T58" fmla="*/ 511 w 5410"/>
              <a:gd name="T59" fmla="*/ 1012 h 1617"/>
              <a:gd name="T60" fmla="*/ 921 w 5410"/>
              <a:gd name="T61" fmla="*/ 1009 h 1617"/>
              <a:gd name="T62" fmla="*/ 1060 w 5410"/>
              <a:gd name="T63" fmla="*/ 1539 h 1617"/>
              <a:gd name="T64" fmla="*/ 917 w 5410"/>
              <a:gd name="T65" fmla="*/ 1085 h 1617"/>
              <a:gd name="T66" fmla="*/ 1179 w 5410"/>
              <a:gd name="T67" fmla="*/ 1325 h 1617"/>
              <a:gd name="T68" fmla="*/ 1388 w 5410"/>
              <a:gd name="T69" fmla="*/ 1009 h 1617"/>
              <a:gd name="T70" fmla="*/ 1381 w 5410"/>
              <a:gd name="T71" fmla="*/ 1542 h 1617"/>
              <a:gd name="T72" fmla="*/ 1691 w 5410"/>
              <a:gd name="T73" fmla="*/ 1012 h 1617"/>
              <a:gd name="T74" fmla="*/ 2086 w 5410"/>
              <a:gd name="T75" fmla="*/ 1617 h 1617"/>
              <a:gd name="T76" fmla="*/ 1988 w 5410"/>
              <a:gd name="T77" fmla="*/ 1321 h 1617"/>
              <a:gd name="T78" fmla="*/ 2503 w 5410"/>
              <a:gd name="T79" fmla="*/ 1012 h 1617"/>
              <a:gd name="T80" fmla="*/ 2743 w 5410"/>
              <a:gd name="T81" fmla="*/ 1012 h 1617"/>
              <a:gd name="T82" fmla="*/ 2902 w 5410"/>
              <a:gd name="T83" fmla="*/ 1089 h 1617"/>
              <a:gd name="T84" fmla="*/ 3251 w 5410"/>
              <a:gd name="T85" fmla="*/ 1311 h 1617"/>
              <a:gd name="T86" fmla="*/ 3154 w 5410"/>
              <a:gd name="T87" fmla="*/ 1317 h 1617"/>
              <a:gd name="T88" fmla="*/ 3366 w 5410"/>
              <a:gd name="T89" fmla="*/ 1542 h 1617"/>
              <a:gd name="T90" fmla="*/ 3517 w 5410"/>
              <a:gd name="T91" fmla="*/ 1542 h 1617"/>
              <a:gd name="T92" fmla="*/ 3991 w 5410"/>
              <a:gd name="T93" fmla="*/ 1009 h 1617"/>
              <a:gd name="T94" fmla="*/ 4130 w 5410"/>
              <a:gd name="T95" fmla="*/ 1539 h 1617"/>
              <a:gd name="T96" fmla="*/ 3986 w 5410"/>
              <a:gd name="T97" fmla="*/ 1085 h 1617"/>
              <a:gd name="T98" fmla="*/ 4383 w 5410"/>
              <a:gd name="T99" fmla="*/ 1600 h 1617"/>
              <a:gd name="T100" fmla="*/ 4494 w 5410"/>
              <a:gd name="T101" fmla="*/ 1325 h 1617"/>
              <a:gd name="T102" fmla="*/ 4703 w 5410"/>
              <a:gd name="T103" fmla="*/ 1009 h 1617"/>
              <a:gd name="T104" fmla="*/ 4696 w 5410"/>
              <a:gd name="T105" fmla="*/ 1542 h 1617"/>
              <a:gd name="T106" fmla="*/ 5155 w 5410"/>
              <a:gd name="T107" fmla="*/ 1617 h 1617"/>
              <a:gd name="T108" fmla="*/ 5058 w 5410"/>
              <a:gd name="T109" fmla="*/ 1321 h 1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410" h="1617">
                <a:moveTo>
                  <a:pt x="209" y="0"/>
                </a:moveTo>
                <a:cubicBezTo>
                  <a:pt x="141" y="0"/>
                  <a:pt x="90" y="27"/>
                  <a:pt x="54" y="80"/>
                </a:cubicBezTo>
                <a:cubicBezTo>
                  <a:pt x="18" y="133"/>
                  <a:pt x="0" y="212"/>
                  <a:pt x="0" y="316"/>
                </a:cubicBezTo>
                <a:cubicBezTo>
                  <a:pt x="0" y="411"/>
                  <a:pt x="17" y="483"/>
                  <a:pt x="52" y="533"/>
                </a:cubicBezTo>
                <a:cubicBezTo>
                  <a:pt x="86" y="583"/>
                  <a:pt x="134" y="608"/>
                  <a:pt x="195" y="608"/>
                </a:cubicBezTo>
                <a:cubicBezTo>
                  <a:pt x="261" y="608"/>
                  <a:pt x="312" y="582"/>
                  <a:pt x="348" y="530"/>
                </a:cubicBezTo>
                <a:cubicBezTo>
                  <a:pt x="385" y="477"/>
                  <a:pt x="403" y="401"/>
                  <a:pt x="403" y="302"/>
                </a:cubicBezTo>
                <a:cubicBezTo>
                  <a:pt x="403" y="101"/>
                  <a:pt x="339" y="0"/>
                  <a:pt x="209" y="0"/>
                </a:cubicBezTo>
                <a:close/>
                <a:moveTo>
                  <a:pt x="202" y="533"/>
                </a:moveTo>
                <a:cubicBezTo>
                  <a:pt x="132" y="533"/>
                  <a:pt x="97" y="459"/>
                  <a:pt x="97" y="312"/>
                </a:cubicBezTo>
                <a:cubicBezTo>
                  <a:pt x="97" y="155"/>
                  <a:pt x="133" y="76"/>
                  <a:pt x="205" y="76"/>
                </a:cubicBezTo>
                <a:cubicBezTo>
                  <a:pt x="272" y="76"/>
                  <a:pt x="306" y="153"/>
                  <a:pt x="306" y="308"/>
                </a:cubicBezTo>
                <a:cubicBezTo>
                  <a:pt x="306" y="458"/>
                  <a:pt x="271" y="533"/>
                  <a:pt x="202" y="533"/>
                </a:cubicBezTo>
                <a:close/>
                <a:moveTo>
                  <a:pt x="815" y="530"/>
                </a:moveTo>
                <a:cubicBezTo>
                  <a:pt x="852" y="477"/>
                  <a:pt x="870" y="401"/>
                  <a:pt x="870" y="302"/>
                </a:cubicBezTo>
                <a:cubicBezTo>
                  <a:pt x="870" y="101"/>
                  <a:pt x="805" y="0"/>
                  <a:pt x="676" y="0"/>
                </a:cubicBezTo>
                <a:cubicBezTo>
                  <a:pt x="608" y="0"/>
                  <a:pt x="557" y="27"/>
                  <a:pt x="521" y="80"/>
                </a:cubicBezTo>
                <a:cubicBezTo>
                  <a:pt x="485" y="133"/>
                  <a:pt x="467" y="212"/>
                  <a:pt x="467" y="316"/>
                </a:cubicBezTo>
                <a:cubicBezTo>
                  <a:pt x="467" y="411"/>
                  <a:pt x="484" y="483"/>
                  <a:pt x="518" y="533"/>
                </a:cubicBezTo>
                <a:cubicBezTo>
                  <a:pt x="553" y="583"/>
                  <a:pt x="601" y="608"/>
                  <a:pt x="662" y="608"/>
                </a:cubicBezTo>
                <a:cubicBezTo>
                  <a:pt x="728" y="608"/>
                  <a:pt x="779" y="582"/>
                  <a:pt x="815" y="530"/>
                </a:cubicBezTo>
                <a:close/>
                <a:moveTo>
                  <a:pt x="669" y="533"/>
                </a:moveTo>
                <a:cubicBezTo>
                  <a:pt x="599" y="533"/>
                  <a:pt x="564" y="459"/>
                  <a:pt x="564" y="312"/>
                </a:cubicBezTo>
                <a:cubicBezTo>
                  <a:pt x="564" y="155"/>
                  <a:pt x="600" y="76"/>
                  <a:pt x="671" y="76"/>
                </a:cubicBezTo>
                <a:cubicBezTo>
                  <a:pt x="739" y="76"/>
                  <a:pt x="773" y="153"/>
                  <a:pt x="773" y="308"/>
                </a:cubicBezTo>
                <a:cubicBezTo>
                  <a:pt x="773" y="458"/>
                  <a:pt x="738" y="533"/>
                  <a:pt x="669" y="533"/>
                </a:cubicBezTo>
                <a:close/>
                <a:moveTo>
                  <a:pt x="1083" y="604"/>
                </a:moveTo>
                <a:cubicBezTo>
                  <a:pt x="971" y="604"/>
                  <a:pt x="971" y="604"/>
                  <a:pt x="971" y="604"/>
                </a:cubicBezTo>
                <a:cubicBezTo>
                  <a:pt x="971" y="16"/>
                  <a:pt x="971" y="16"/>
                  <a:pt x="971" y="16"/>
                </a:cubicBezTo>
                <a:cubicBezTo>
                  <a:pt x="1083" y="16"/>
                  <a:pt x="1083" y="16"/>
                  <a:pt x="1083" y="16"/>
                </a:cubicBezTo>
                <a:lnTo>
                  <a:pt x="1083" y="604"/>
                </a:lnTo>
                <a:close/>
                <a:moveTo>
                  <a:pt x="1388" y="0"/>
                </a:moveTo>
                <a:cubicBezTo>
                  <a:pt x="1320" y="0"/>
                  <a:pt x="1269" y="27"/>
                  <a:pt x="1233" y="80"/>
                </a:cubicBezTo>
                <a:cubicBezTo>
                  <a:pt x="1197" y="133"/>
                  <a:pt x="1179" y="212"/>
                  <a:pt x="1179" y="316"/>
                </a:cubicBezTo>
                <a:cubicBezTo>
                  <a:pt x="1179" y="411"/>
                  <a:pt x="1196" y="483"/>
                  <a:pt x="1230" y="533"/>
                </a:cubicBezTo>
                <a:cubicBezTo>
                  <a:pt x="1265" y="583"/>
                  <a:pt x="1313" y="608"/>
                  <a:pt x="1374" y="608"/>
                </a:cubicBezTo>
                <a:cubicBezTo>
                  <a:pt x="1440" y="608"/>
                  <a:pt x="1491" y="582"/>
                  <a:pt x="1527" y="530"/>
                </a:cubicBezTo>
                <a:cubicBezTo>
                  <a:pt x="1564" y="477"/>
                  <a:pt x="1582" y="401"/>
                  <a:pt x="1582" y="302"/>
                </a:cubicBezTo>
                <a:cubicBezTo>
                  <a:pt x="1582" y="101"/>
                  <a:pt x="1517" y="0"/>
                  <a:pt x="1388" y="0"/>
                </a:cubicBezTo>
                <a:close/>
                <a:moveTo>
                  <a:pt x="1381" y="533"/>
                </a:moveTo>
                <a:cubicBezTo>
                  <a:pt x="1311" y="533"/>
                  <a:pt x="1276" y="459"/>
                  <a:pt x="1276" y="312"/>
                </a:cubicBezTo>
                <a:cubicBezTo>
                  <a:pt x="1276" y="155"/>
                  <a:pt x="1312" y="76"/>
                  <a:pt x="1383" y="76"/>
                </a:cubicBezTo>
                <a:cubicBezTo>
                  <a:pt x="1451" y="76"/>
                  <a:pt x="1485" y="153"/>
                  <a:pt x="1485" y="308"/>
                </a:cubicBezTo>
                <a:cubicBezTo>
                  <a:pt x="1485" y="458"/>
                  <a:pt x="1450" y="533"/>
                  <a:pt x="1381" y="533"/>
                </a:cubicBezTo>
                <a:close/>
                <a:moveTo>
                  <a:pt x="1691" y="16"/>
                </a:moveTo>
                <a:cubicBezTo>
                  <a:pt x="1783" y="16"/>
                  <a:pt x="1783" y="16"/>
                  <a:pt x="1783" y="16"/>
                </a:cubicBezTo>
                <a:cubicBezTo>
                  <a:pt x="1783" y="604"/>
                  <a:pt x="1783" y="604"/>
                  <a:pt x="1783" y="604"/>
                </a:cubicBezTo>
                <a:cubicBezTo>
                  <a:pt x="1691" y="604"/>
                  <a:pt x="1691" y="604"/>
                  <a:pt x="1691" y="604"/>
                </a:cubicBezTo>
                <a:lnTo>
                  <a:pt x="1691" y="16"/>
                </a:lnTo>
                <a:close/>
                <a:moveTo>
                  <a:pt x="2023" y="604"/>
                </a:moveTo>
                <a:cubicBezTo>
                  <a:pt x="1931" y="604"/>
                  <a:pt x="1931" y="604"/>
                  <a:pt x="1931" y="604"/>
                </a:cubicBezTo>
                <a:cubicBezTo>
                  <a:pt x="1931" y="16"/>
                  <a:pt x="1931" y="16"/>
                  <a:pt x="1931" y="16"/>
                </a:cubicBezTo>
                <a:cubicBezTo>
                  <a:pt x="2023" y="16"/>
                  <a:pt x="2023" y="16"/>
                  <a:pt x="2023" y="16"/>
                </a:cubicBezTo>
                <a:lnTo>
                  <a:pt x="2023" y="604"/>
                </a:lnTo>
                <a:close/>
                <a:moveTo>
                  <a:pt x="2283" y="604"/>
                </a:moveTo>
                <a:cubicBezTo>
                  <a:pt x="2171" y="604"/>
                  <a:pt x="2171" y="604"/>
                  <a:pt x="2171" y="604"/>
                </a:cubicBezTo>
                <a:cubicBezTo>
                  <a:pt x="2171" y="16"/>
                  <a:pt x="2171" y="16"/>
                  <a:pt x="2171" y="16"/>
                </a:cubicBezTo>
                <a:cubicBezTo>
                  <a:pt x="2283" y="16"/>
                  <a:pt x="2283" y="16"/>
                  <a:pt x="2283" y="16"/>
                </a:cubicBezTo>
                <a:lnTo>
                  <a:pt x="2283" y="604"/>
                </a:lnTo>
                <a:close/>
                <a:moveTo>
                  <a:pt x="2590" y="0"/>
                </a:moveTo>
                <a:cubicBezTo>
                  <a:pt x="2522" y="0"/>
                  <a:pt x="2471" y="27"/>
                  <a:pt x="2435" y="80"/>
                </a:cubicBezTo>
                <a:cubicBezTo>
                  <a:pt x="2399" y="133"/>
                  <a:pt x="2381" y="212"/>
                  <a:pt x="2381" y="316"/>
                </a:cubicBezTo>
                <a:cubicBezTo>
                  <a:pt x="2381" y="411"/>
                  <a:pt x="2398" y="483"/>
                  <a:pt x="2433" y="533"/>
                </a:cubicBezTo>
                <a:cubicBezTo>
                  <a:pt x="2467" y="583"/>
                  <a:pt x="2515" y="608"/>
                  <a:pt x="2576" y="608"/>
                </a:cubicBezTo>
                <a:cubicBezTo>
                  <a:pt x="2642" y="608"/>
                  <a:pt x="2693" y="582"/>
                  <a:pt x="2729" y="530"/>
                </a:cubicBezTo>
                <a:cubicBezTo>
                  <a:pt x="2766" y="477"/>
                  <a:pt x="2784" y="401"/>
                  <a:pt x="2784" y="302"/>
                </a:cubicBezTo>
                <a:cubicBezTo>
                  <a:pt x="2784" y="101"/>
                  <a:pt x="2720" y="0"/>
                  <a:pt x="2590" y="0"/>
                </a:cubicBezTo>
                <a:close/>
                <a:moveTo>
                  <a:pt x="2583" y="533"/>
                </a:moveTo>
                <a:cubicBezTo>
                  <a:pt x="2513" y="533"/>
                  <a:pt x="2478" y="459"/>
                  <a:pt x="2478" y="312"/>
                </a:cubicBezTo>
                <a:cubicBezTo>
                  <a:pt x="2478" y="155"/>
                  <a:pt x="2514" y="76"/>
                  <a:pt x="2586" y="76"/>
                </a:cubicBezTo>
                <a:cubicBezTo>
                  <a:pt x="2653" y="76"/>
                  <a:pt x="2687" y="153"/>
                  <a:pt x="2687" y="308"/>
                </a:cubicBezTo>
                <a:cubicBezTo>
                  <a:pt x="2687" y="458"/>
                  <a:pt x="2652" y="533"/>
                  <a:pt x="2583" y="533"/>
                </a:cubicBezTo>
                <a:close/>
                <a:moveTo>
                  <a:pt x="2983" y="604"/>
                </a:moveTo>
                <a:cubicBezTo>
                  <a:pt x="2891" y="604"/>
                  <a:pt x="2891" y="604"/>
                  <a:pt x="2891" y="604"/>
                </a:cubicBezTo>
                <a:cubicBezTo>
                  <a:pt x="2891" y="16"/>
                  <a:pt x="2891" y="16"/>
                  <a:pt x="2891" y="16"/>
                </a:cubicBezTo>
                <a:cubicBezTo>
                  <a:pt x="2983" y="16"/>
                  <a:pt x="2983" y="16"/>
                  <a:pt x="2983" y="16"/>
                </a:cubicBezTo>
                <a:lnTo>
                  <a:pt x="2983" y="604"/>
                </a:lnTo>
                <a:close/>
                <a:moveTo>
                  <a:pt x="3243" y="604"/>
                </a:moveTo>
                <a:cubicBezTo>
                  <a:pt x="3131" y="604"/>
                  <a:pt x="3131" y="604"/>
                  <a:pt x="3131" y="604"/>
                </a:cubicBezTo>
                <a:cubicBezTo>
                  <a:pt x="3131" y="16"/>
                  <a:pt x="3131" y="16"/>
                  <a:pt x="3131" y="16"/>
                </a:cubicBezTo>
                <a:cubicBezTo>
                  <a:pt x="3243" y="16"/>
                  <a:pt x="3243" y="16"/>
                  <a:pt x="3243" y="16"/>
                </a:cubicBezTo>
                <a:lnTo>
                  <a:pt x="3243" y="604"/>
                </a:lnTo>
                <a:close/>
                <a:moveTo>
                  <a:pt x="3547" y="0"/>
                </a:moveTo>
                <a:cubicBezTo>
                  <a:pt x="3480" y="0"/>
                  <a:pt x="3428" y="27"/>
                  <a:pt x="3392" y="80"/>
                </a:cubicBezTo>
                <a:cubicBezTo>
                  <a:pt x="3356" y="133"/>
                  <a:pt x="3338" y="212"/>
                  <a:pt x="3338" y="316"/>
                </a:cubicBezTo>
                <a:cubicBezTo>
                  <a:pt x="3338" y="411"/>
                  <a:pt x="3355" y="483"/>
                  <a:pt x="3390" y="533"/>
                </a:cubicBezTo>
                <a:cubicBezTo>
                  <a:pt x="3424" y="583"/>
                  <a:pt x="3472" y="608"/>
                  <a:pt x="3533" y="608"/>
                </a:cubicBezTo>
                <a:cubicBezTo>
                  <a:pt x="3599" y="608"/>
                  <a:pt x="3650" y="582"/>
                  <a:pt x="3687" y="530"/>
                </a:cubicBezTo>
                <a:cubicBezTo>
                  <a:pt x="3723" y="477"/>
                  <a:pt x="3741" y="401"/>
                  <a:pt x="3741" y="302"/>
                </a:cubicBezTo>
                <a:cubicBezTo>
                  <a:pt x="3741" y="101"/>
                  <a:pt x="3677" y="0"/>
                  <a:pt x="3547" y="0"/>
                </a:cubicBezTo>
                <a:close/>
                <a:moveTo>
                  <a:pt x="3541" y="533"/>
                </a:moveTo>
                <a:cubicBezTo>
                  <a:pt x="3470" y="533"/>
                  <a:pt x="3435" y="459"/>
                  <a:pt x="3435" y="312"/>
                </a:cubicBezTo>
                <a:cubicBezTo>
                  <a:pt x="3435" y="155"/>
                  <a:pt x="3471" y="76"/>
                  <a:pt x="3543" y="76"/>
                </a:cubicBezTo>
                <a:cubicBezTo>
                  <a:pt x="3610" y="76"/>
                  <a:pt x="3644" y="153"/>
                  <a:pt x="3644" y="308"/>
                </a:cubicBezTo>
                <a:cubicBezTo>
                  <a:pt x="3644" y="458"/>
                  <a:pt x="3610" y="533"/>
                  <a:pt x="3541" y="533"/>
                </a:cubicBezTo>
                <a:close/>
                <a:moveTo>
                  <a:pt x="3943" y="604"/>
                </a:moveTo>
                <a:cubicBezTo>
                  <a:pt x="3851" y="604"/>
                  <a:pt x="3851" y="604"/>
                  <a:pt x="3851" y="604"/>
                </a:cubicBezTo>
                <a:cubicBezTo>
                  <a:pt x="3851" y="16"/>
                  <a:pt x="3851" y="16"/>
                  <a:pt x="3851" y="16"/>
                </a:cubicBezTo>
                <a:cubicBezTo>
                  <a:pt x="3943" y="16"/>
                  <a:pt x="3943" y="16"/>
                  <a:pt x="3943" y="16"/>
                </a:cubicBezTo>
                <a:lnTo>
                  <a:pt x="3943" y="604"/>
                </a:lnTo>
                <a:close/>
                <a:moveTo>
                  <a:pt x="4091" y="16"/>
                </a:moveTo>
                <a:cubicBezTo>
                  <a:pt x="4183" y="16"/>
                  <a:pt x="4183" y="16"/>
                  <a:pt x="4183" y="16"/>
                </a:cubicBezTo>
                <a:cubicBezTo>
                  <a:pt x="4183" y="604"/>
                  <a:pt x="4183" y="604"/>
                  <a:pt x="4183" y="604"/>
                </a:cubicBezTo>
                <a:cubicBezTo>
                  <a:pt x="4091" y="604"/>
                  <a:pt x="4091" y="604"/>
                  <a:pt x="4091" y="604"/>
                </a:cubicBezTo>
                <a:lnTo>
                  <a:pt x="4091" y="16"/>
                </a:lnTo>
                <a:close/>
                <a:moveTo>
                  <a:pt x="4644" y="530"/>
                </a:moveTo>
                <a:cubicBezTo>
                  <a:pt x="4680" y="477"/>
                  <a:pt x="4698" y="401"/>
                  <a:pt x="4698" y="302"/>
                </a:cubicBezTo>
                <a:cubicBezTo>
                  <a:pt x="4698" y="101"/>
                  <a:pt x="4634" y="0"/>
                  <a:pt x="4504" y="0"/>
                </a:cubicBezTo>
                <a:cubicBezTo>
                  <a:pt x="4437" y="0"/>
                  <a:pt x="4385" y="27"/>
                  <a:pt x="4349" y="80"/>
                </a:cubicBezTo>
                <a:cubicBezTo>
                  <a:pt x="4313" y="133"/>
                  <a:pt x="4295" y="212"/>
                  <a:pt x="4295" y="316"/>
                </a:cubicBezTo>
                <a:cubicBezTo>
                  <a:pt x="4295" y="411"/>
                  <a:pt x="4312" y="483"/>
                  <a:pt x="4347" y="533"/>
                </a:cubicBezTo>
                <a:cubicBezTo>
                  <a:pt x="4381" y="583"/>
                  <a:pt x="4429" y="608"/>
                  <a:pt x="4490" y="608"/>
                </a:cubicBezTo>
                <a:cubicBezTo>
                  <a:pt x="4556" y="608"/>
                  <a:pt x="4607" y="582"/>
                  <a:pt x="4644" y="530"/>
                </a:cubicBezTo>
                <a:close/>
                <a:moveTo>
                  <a:pt x="4498" y="533"/>
                </a:moveTo>
                <a:cubicBezTo>
                  <a:pt x="4428" y="533"/>
                  <a:pt x="4393" y="459"/>
                  <a:pt x="4393" y="312"/>
                </a:cubicBezTo>
                <a:cubicBezTo>
                  <a:pt x="4393" y="155"/>
                  <a:pt x="4428" y="76"/>
                  <a:pt x="4500" y="76"/>
                </a:cubicBezTo>
                <a:cubicBezTo>
                  <a:pt x="4567" y="76"/>
                  <a:pt x="4601" y="153"/>
                  <a:pt x="4601" y="308"/>
                </a:cubicBezTo>
                <a:cubicBezTo>
                  <a:pt x="4601" y="458"/>
                  <a:pt x="4567" y="533"/>
                  <a:pt x="4498" y="533"/>
                </a:cubicBezTo>
                <a:close/>
                <a:moveTo>
                  <a:pt x="4811" y="16"/>
                </a:moveTo>
                <a:cubicBezTo>
                  <a:pt x="4903" y="16"/>
                  <a:pt x="4903" y="16"/>
                  <a:pt x="4903" y="16"/>
                </a:cubicBezTo>
                <a:cubicBezTo>
                  <a:pt x="4903" y="604"/>
                  <a:pt x="4903" y="604"/>
                  <a:pt x="4903" y="604"/>
                </a:cubicBezTo>
                <a:cubicBezTo>
                  <a:pt x="4811" y="604"/>
                  <a:pt x="4811" y="604"/>
                  <a:pt x="4811" y="604"/>
                </a:cubicBezTo>
                <a:lnTo>
                  <a:pt x="4811" y="16"/>
                </a:lnTo>
                <a:close/>
                <a:moveTo>
                  <a:pt x="5202" y="608"/>
                </a:moveTo>
                <a:cubicBezTo>
                  <a:pt x="5268" y="608"/>
                  <a:pt x="5319" y="582"/>
                  <a:pt x="5356" y="530"/>
                </a:cubicBezTo>
                <a:cubicBezTo>
                  <a:pt x="5392" y="477"/>
                  <a:pt x="5410" y="401"/>
                  <a:pt x="5410" y="302"/>
                </a:cubicBezTo>
                <a:cubicBezTo>
                  <a:pt x="5410" y="101"/>
                  <a:pt x="5346" y="0"/>
                  <a:pt x="5216" y="0"/>
                </a:cubicBezTo>
                <a:cubicBezTo>
                  <a:pt x="5149" y="0"/>
                  <a:pt x="5097" y="27"/>
                  <a:pt x="5061" y="80"/>
                </a:cubicBezTo>
                <a:cubicBezTo>
                  <a:pt x="5025" y="133"/>
                  <a:pt x="5007" y="212"/>
                  <a:pt x="5007" y="316"/>
                </a:cubicBezTo>
                <a:cubicBezTo>
                  <a:pt x="5007" y="411"/>
                  <a:pt x="5024" y="483"/>
                  <a:pt x="5059" y="533"/>
                </a:cubicBezTo>
                <a:cubicBezTo>
                  <a:pt x="5093" y="583"/>
                  <a:pt x="5141" y="608"/>
                  <a:pt x="5202" y="608"/>
                </a:cubicBezTo>
                <a:close/>
                <a:moveTo>
                  <a:pt x="5212" y="76"/>
                </a:moveTo>
                <a:cubicBezTo>
                  <a:pt x="5279" y="76"/>
                  <a:pt x="5313" y="153"/>
                  <a:pt x="5313" y="308"/>
                </a:cubicBezTo>
                <a:cubicBezTo>
                  <a:pt x="5313" y="458"/>
                  <a:pt x="5279" y="533"/>
                  <a:pt x="5210" y="533"/>
                </a:cubicBezTo>
                <a:cubicBezTo>
                  <a:pt x="5140" y="533"/>
                  <a:pt x="5104" y="459"/>
                  <a:pt x="5104" y="312"/>
                </a:cubicBezTo>
                <a:cubicBezTo>
                  <a:pt x="5104" y="155"/>
                  <a:pt x="5140" y="76"/>
                  <a:pt x="5212" y="76"/>
                </a:cubicBezTo>
                <a:close/>
                <a:moveTo>
                  <a:pt x="209" y="1009"/>
                </a:moveTo>
                <a:cubicBezTo>
                  <a:pt x="141" y="1009"/>
                  <a:pt x="90" y="1036"/>
                  <a:pt x="54" y="1089"/>
                </a:cubicBezTo>
                <a:cubicBezTo>
                  <a:pt x="18" y="1142"/>
                  <a:pt x="0" y="1221"/>
                  <a:pt x="0" y="1325"/>
                </a:cubicBezTo>
                <a:cubicBezTo>
                  <a:pt x="0" y="1420"/>
                  <a:pt x="17" y="1492"/>
                  <a:pt x="52" y="1542"/>
                </a:cubicBezTo>
                <a:cubicBezTo>
                  <a:pt x="86" y="1592"/>
                  <a:pt x="134" y="1617"/>
                  <a:pt x="195" y="1617"/>
                </a:cubicBezTo>
                <a:cubicBezTo>
                  <a:pt x="261" y="1617"/>
                  <a:pt x="312" y="1591"/>
                  <a:pt x="348" y="1539"/>
                </a:cubicBezTo>
                <a:cubicBezTo>
                  <a:pt x="385" y="1486"/>
                  <a:pt x="403" y="1410"/>
                  <a:pt x="403" y="1311"/>
                </a:cubicBezTo>
                <a:cubicBezTo>
                  <a:pt x="403" y="1110"/>
                  <a:pt x="339" y="1009"/>
                  <a:pt x="209" y="1009"/>
                </a:cubicBezTo>
                <a:close/>
                <a:moveTo>
                  <a:pt x="202" y="1542"/>
                </a:moveTo>
                <a:cubicBezTo>
                  <a:pt x="132" y="1542"/>
                  <a:pt x="97" y="1468"/>
                  <a:pt x="97" y="1321"/>
                </a:cubicBezTo>
                <a:cubicBezTo>
                  <a:pt x="97" y="1164"/>
                  <a:pt x="133" y="1085"/>
                  <a:pt x="205" y="1085"/>
                </a:cubicBezTo>
                <a:cubicBezTo>
                  <a:pt x="272" y="1085"/>
                  <a:pt x="306" y="1162"/>
                  <a:pt x="306" y="1317"/>
                </a:cubicBezTo>
                <a:cubicBezTo>
                  <a:pt x="306" y="1467"/>
                  <a:pt x="271" y="1542"/>
                  <a:pt x="202" y="1542"/>
                </a:cubicBezTo>
                <a:close/>
                <a:moveTo>
                  <a:pt x="511" y="1012"/>
                </a:moveTo>
                <a:cubicBezTo>
                  <a:pt x="603" y="1012"/>
                  <a:pt x="603" y="1012"/>
                  <a:pt x="603" y="1012"/>
                </a:cubicBezTo>
                <a:cubicBezTo>
                  <a:pt x="603" y="1600"/>
                  <a:pt x="603" y="1600"/>
                  <a:pt x="603" y="1600"/>
                </a:cubicBezTo>
                <a:cubicBezTo>
                  <a:pt x="511" y="1600"/>
                  <a:pt x="511" y="1600"/>
                  <a:pt x="511" y="1600"/>
                </a:cubicBezTo>
                <a:lnTo>
                  <a:pt x="511" y="1012"/>
                </a:lnTo>
                <a:close/>
                <a:moveTo>
                  <a:pt x="921" y="1009"/>
                </a:moveTo>
                <a:cubicBezTo>
                  <a:pt x="853" y="1009"/>
                  <a:pt x="802" y="1036"/>
                  <a:pt x="766" y="1089"/>
                </a:cubicBezTo>
                <a:cubicBezTo>
                  <a:pt x="730" y="1142"/>
                  <a:pt x="712" y="1221"/>
                  <a:pt x="712" y="1325"/>
                </a:cubicBezTo>
                <a:cubicBezTo>
                  <a:pt x="712" y="1420"/>
                  <a:pt x="729" y="1492"/>
                  <a:pt x="764" y="1542"/>
                </a:cubicBezTo>
                <a:cubicBezTo>
                  <a:pt x="798" y="1592"/>
                  <a:pt x="846" y="1617"/>
                  <a:pt x="907" y="1617"/>
                </a:cubicBezTo>
                <a:cubicBezTo>
                  <a:pt x="973" y="1617"/>
                  <a:pt x="1024" y="1591"/>
                  <a:pt x="1060" y="1539"/>
                </a:cubicBezTo>
                <a:cubicBezTo>
                  <a:pt x="1097" y="1486"/>
                  <a:pt x="1115" y="1410"/>
                  <a:pt x="1115" y="1311"/>
                </a:cubicBezTo>
                <a:cubicBezTo>
                  <a:pt x="1115" y="1110"/>
                  <a:pt x="1050" y="1009"/>
                  <a:pt x="921" y="1009"/>
                </a:cubicBezTo>
                <a:close/>
                <a:moveTo>
                  <a:pt x="914" y="1542"/>
                </a:moveTo>
                <a:cubicBezTo>
                  <a:pt x="844" y="1542"/>
                  <a:pt x="809" y="1468"/>
                  <a:pt x="809" y="1321"/>
                </a:cubicBezTo>
                <a:cubicBezTo>
                  <a:pt x="809" y="1164"/>
                  <a:pt x="845" y="1085"/>
                  <a:pt x="917" y="1085"/>
                </a:cubicBezTo>
                <a:cubicBezTo>
                  <a:pt x="984" y="1085"/>
                  <a:pt x="1018" y="1162"/>
                  <a:pt x="1018" y="1317"/>
                </a:cubicBezTo>
                <a:cubicBezTo>
                  <a:pt x="1018" y="1467"/>
                  <a:pt x="983" y="1542"/>
                  <a:pt x="914" y="1542"/>
                </a:cubicBezTo>
                <a:close/>
                <a:moveTo>
                  <a:pt x="1388" y="1009"/>
                </a:moveTo>
                <a:cubicBezTo>
                  <a:pt x="1320" y="1009"/>
                  <a:pt x="1269" y="1036"/>
                  <a:pt x="1233" y="1089"/>
                </a:cubicBezTo>
                <a:cubicBezTo>
                  <a:pt x="1197" y="1142"/>
                  <a:pt x="1179" y="1221"/>
                  <a:pt x="1179" y="1325"/>
                </a:cubicBezTo>
                <a:cubicBezTo>
                  <a:pt x="1179" y="1420"/>
                  <a:pt x="1196" y="1492"/>
                  <a:pt x="1230" y="1542"/>
                </a:cubicBezTo>
                <a:cubicBezTo>
                  <a:pt x="1265" y="1592"/>
                  <a:pt x="1313" y="1617"/>
                  <a:pt x="1374" y="1617"/>
                </a:cubicBezTo>
                <a:cubicBezTo>
                  <a:pt x="1440" y="1617"/>
                  <a:pt x="1491" y="1591"/>
                  <a:pt x="1527" y="1539"/>
                </a:cubicBezTo>
                <a:cubicBezTo>
                  <a:pt x="1564" y="1486"/>
                  <a:pt x="1582" y="1410"/>
                  <a:pt x="1582" y="1311"/>
                </a:cubicBezTo>
                <a:cubicBezTo>
                  <a:pt x="1582" y="1110"/>
                  <a:pt x="1517" y="1009"/>
                  <a:pt x="1388" y="1009"/>
                </a:cubicBezTo>
                <a:close/>
                <a:moveTo>
                  <a:pt x="1381" y="1542"/>
                </a:moveTo>
                <a:cubicBezTo>
                  <a:pt x="1311" y="1542"/>
                  <a:pt x="1276" y="1468"/>
                  <a:pt x="1276" y="1321"/>
                </a:cubicBezTo>
                <a:cubicBezTo>
                  <a:pt x="1276" y="1164"/>
                  <a:pt x="1312" y="1085"/>
                  <a:pt x="1383" y="1085"/>
                </a:cubicBezTo>
                <a:cubicBezTo>
                  <a:pt x="1451" y="1085"/>
                  <a:pt x="1485" y="1162"/>
                  <a:pt x="1485" y="1317"/>
                </a:cubicBezTo>
                <a:cubicBezTo>
                  <a:pt x="1485" y="1467"/>
                  <a:pt x="1450" y="1542"/>
                  <a:pt x="1381" y="1542"/>
                </a:cubicBezTo>
                <a:close/>
                <a:moveTo>
                  <a:pt x="1691" y="1012"/>
                </a:moveTo>
                <a:cubicBezTo>
                  <a:pt x="1783" y="1012"/>
                  <a:pt x="1783" y="1012"/>
                  <a:pt x="1783" y="1012"/>
                </a:cubicBezTo>
                <a:cubicBezTo>
                  <a:pt x="1783" y="1600"/>
                  <a:pt x="1783" y="1600"/>
                  <a:pt x="1783" y="1600"/>
                </a:cubicBezTo>
                <a:cubicBezTo>
                  <a:pt x="1691" y="1600"/>
                  <a:pt x="1691" y="1600"/>
                  <a:pt x="1691" y="1600"/>
                </a:cubicBezTo>
                <a:lnTo>
                  <a:pt x="1691" y="1012"/>
                </a:lnTo>
                <a:close/>
                <a:moveTo>
                  <a:pt x="2100" y="1009"/>
                </a:moveTo>
                <a:cubicBezTo>
                  <a:pt x="2032" y="1009"/>
                  <a:pt x="1980" y="1036"/>
                  <a:pt x="1945" y="1089"/>
                </a:cubicBezTo>
                <a:cubicBezTo>
                  <a:pt x="1909" y="1142"/>
                  <a:pt x="1891" y="1221"/>
                  <a:pt x="1891" y="1325"/>
                </a:cubicBezTo>
                <a:cubicBezTo>
                  <a:pt x="1891" y="1420"/>
                  <a:pt x="1908" y="1492"/>
                  <a:pt x="1942" y="1542"/>
                </a:cubicBezTo>
                <a:cubicBezTo>
                  <a:pt x="1977" y="1592"/>
                  <a:pt x="2025" y="1617"/>
                  <a:pt x="2086" y="1617"/>
                </a:cubicBezTo>
                <a:cubicBezTo>
                  <a:pt x="2152" y="1617"/>
                  <a:pt x="2203" y="1591"/>
                  <a:pt x="2239" y="1539"/>
                </a:cubicBezTo>
                <a:cubicBezTo>
                  <a:pt x="2276" y="1486"/>
                  <a:pt x="2294" y="1410"/>
                  <a:pt x="2294" y="1311"/>
                </a:cubicBezTo>
                <a:cubicBezTo>
                  <a:pt x="2294" y="1110"/>
                  <a:pt x="2229" y="1009"/>
                  <a:pt x="2100" y="1009"/>
                </a:cubicBezTo>
                <a:close/>
                <a:moveTo>
                  <a:pt x="2093" y="1542"/>
                </a:moveTo>
                <a:cubicBezTo>
                  <a:pt x="2023" y="1542"/>
                  <a:pt x="1988" y="1468"/>
                  <a:pt x="1988" y="1321"/>
                </a:cubicBezTo>
                <a:cubicBezTo>
                  <a:pt x="1988" y="1164"/>
                  <a:pt x="2024" y="1085"/>
                  <a:pt x="2095" y="1085"/>
                </a:cubicBezTo>
                <a:cubicBezTo>
                  <a:pt x="2163" y="1085"/>
                  <a:pt x="2197" y="1162"/>
                  <a:pt x="2197" y="1317"/>
                </a:cubicBezTo>
                <a:cubicBezTo>
                  <a:pt x="2197" y="1467"/>
                  <a:pt x="2162" y="1542"/>
                  <a:pt x="2093" y="1542"/>
                </a:cubicBezTo>
                <a:close/>
                <a:moveTo>
                  <a:pt x="2391" y="1012"/>
                </a:moveTo>
                <a:cubicBezTo>
                  <a:pt x="2503" y="1012"/>
                  <a:pt x="2503" y="1012"/>
                  <a:pt x="2503" y="1012"/>
                </a:cubicBezTo>
                <a:cubicBezTo>
                  <a:pt x="2503" y="1600"/>
                  <a:pt x="2503" y="1600"/>
                  <a:pt x="2503" y="1600"/>
                </a:cubicBezTo>
                <a:cubicBezTo>
                  <a:pt x="2391" y="1600"/>
                  <a:pt x="2391" y="1600"/>
                  <a:pt x="2391" y="1600"/>
                </a:cubicBezTo>
                <a:lnTo>
                  <a:pt x="2391" y="1012"/>
                </a:lnTo>
                <a:close/>
                <a:moveTo>
                  <a:pt x="2651" y="1012"/>
                </a:moveTo>
                <a:cubicBezTo>
                  <a:pt x="2743" y="1012"/>
                  <a:pt x="2743" y="1012"/>
                  <a:pt x="2743" y="1012"/>
                </a:cubicBezTo>
                <a:cubicBezTo>
                  <a:pt x="2743" y="1600"/>
                  <a:pt x="2743" y="1600"/>
                  <a:pt x="2743" y="1600"/>
                </a:cubicBezTo>
                <a:cubicBezTo>
                  <a:pt x="2651" y="1600"/>
                  <a:pt x="2651" y="1600"/>
                  <a:pt x="2651" y="1600"/>
                </a:cubicBezTo>
                <a:lnTo>
                  <a:pt x="2651" y="1012"/>
                </a:lnTo>
                <a:close/>
                <a:moveTo>
                  <a:pt x="3057" y="1009"/>
                </a:moveTo>
                <a:cubicBezTo>
                  <a:pt x="2989" y="1009"/>
                  <a:pt x="2938" y="1036"/>
                  <a:pt x="2902" y="1089"/>
                </a:cubicBezTo>
                <a:cubicBezTo>
                  <a:pt x="2866" y="1142"/>
                  <a:pt x="2848" y="1221"/>
                  <a:pt x="2848" y="1325"/>
                </a:cubicBezTo>
                <a:cubicBezTo>
                  <a:pt x="2848" y="1420"/>
                  <a:pt x="2865" y="1492"/>
                  <a:pt x="2899" y="1542"/>
                </a:cubicBezTo>
                <a:cubicBezTo>
                  <a:pt x="2934" y="1592"/>
                  <a:pt x="2982" y="1617"/>
                  <a:pt x="3043" y="1617"/>
                </a:cubicBezTo>
                <a:cubicBezTo>
                  <a:pt x="3109" y="1617"/>
                  <a:pt x="3160" y="1591"/>
                  <a:pt x="3196" y="1539"/>
                </a:cubicBezTo>
                <a:cubicBezTo>
                  <a:pt x="3233" y="1486"/>
                  <a:pt x="3251" y="1410"/>
                  <a:pt x="3251" y="1311"/>
                </a:cubicBezTo>
                <a:cubicBezTo>
                  <a:pt x="3251" y="1110"/>
                  <a:pt x="3186" y="1009"/>
                  <a:pt x="3057" y="1009"/>
                </a:cubicBezTo>
                <a:close/>
                <a:moveTo>
                  <a:pt x="3050" y="1542"/>
                </a:moveTo>
                <a:cubicBezTo>
                  <a:pt x="2980" y="1542"/>
                  <a:pt x="2945" y="1468"/>
                  <a:pt x="2945" y="1321"/>
                </a:cubicBezTo>
                <a:cubicBezTo>
                  <a:pt x="2945" y="1164"/>
                  <a:pt x="2981" y="1085"/>
                  <a:pt x="3052" y="1085"/>
                </a:cubicBezTo>
                <a:cubicBezTo>
                  <a:pt x="3120" y="1085"/>
                  <a:pt x="3154" y="1162"/>
                  <a:pt x="3154" y="1317"/>
                </a:cubicBezTo>
                <a:cubicBezTo>
                  <a:pt x="3154" y="1467"/>
                  <a:pt x="3119" y="1542"/>
                  <a:pt x="3050" y="1542"/>
                </a:cubicBezTo>
                <a:close/>
                <a:moveTo>
                  <a:pt x="3524" y="1009"/>
                </a:moveTo>
                <a:cubicBezTo>
                  <a:pt x="3456" y="1009"/>
                  <a:pt x="3404" y="1036"/>
                  <a:pt x="3369" y="1089"/>
                </a:cubicBezTo>
                <a:cubicBezTo>
                  <a:pt x="3333" y="1142"/>
                  <a:pt x="3315" y="1221"/>
                  <a:pt x="3315" y="1325"/>
                </a:cubicBezTo>
                <a:cubicBezTo>
                  <a:pt x="3315" y="1420"/>
                  <a:pt x="3332" y="1492"/>
                  <a:pt x="3366" y="1542"/>
                </a:cubicBezTo>
                <a:cubicBezTo>
                  <a:pt x="3401" y="1592"/>
                  <a:pt x="3448" y="1617"/>
                  <a:pt x="3510" y="1617"/>
                </a:cubicBezTo>
                <a:cubicBezTo>
                  <a:pt x="3575" y="1617"/>
                  <a:pt x="3627" y="1591"/>
                  <a:pt x="3663" y="1539"/>
                </a:cubicBezTo>
                <a:cubicBezTo>
                  <a:pt x="3700" y="1486"/>
                  <a:pt x="3718" y="1410"/>
                  <a:pt x="3718" y="1311"/>
                </a:cubicBezTo>
                <a:cubicBezTo>
                  <a:pt x="3718" y="1110"/>
                  <a:pt x="3653" y="1009"/>
                  <a:pt x="3524" y="1009"/>
                </a:cubicBezTo>
                <a:close/>
                <a:moveTo>
                  <a:pt x="3517" y="1542"/>
                </a:moveTo>
                <a:cubicBezTo>
                  <a:pt x="3447" y="1542"/>
                  <a:pt x="3412" y="1468"/>
                  <a:pt x="3412" y="1321"/>
                </a:cubicBezTo>
                <a:cubicBezTo>
                  <a:pt x="3412" y="1164"/>
                  <a:pt x="3448" y="1085"/>
                  <a:pt x="3519" y="1085"/>
                </a:cubicBezTo>
                <a:cubicBezTo>
                  <a:pt x="3587" y="1085"/>
                  <a:pt x="3621" y="1162"/>
                  <a:pt x="3621" y="1317"/>
                </a:cubicBezTo>
                <a:cubicBezTo>
                  <a:pt x="3621" y="1467"/>
                  <a:pt x="3586" y="1542"/>
                  <a:pt x="3517" y="1542"/>
                </a:cubicBezTo>
                <a:close/>
                <a:moveTo>
                  <a:pt x="3991" y="1009"/>
                </a:moveTo>
                <a:cubicBezTo>
                  <a:pt x="3923" y="1009"/>
                  <a:pt x="3871" y="1036"/>
                  <a:pt x="3835" y="1089"/>
                </a:cubicBezTo>
                <a:cubicBezTo>
                  <a:pt x="3799" y="1142"/>
                  <a:pt x="3782" y="1221"/>
                  <a:pt x="3782" y="1325"/>
                </a:cubicBezTo>
                <a:cubicBezTo>
                  <a:pt x="3782" y="1420"/>
                  <a:pt x="3799" y="1492"/>
                  <a:pt x="3833" y="1542"/>
                </a:cubicBezTo>
                <a:cubicBezTo>
                  <a:pt x="3867" y="1592"/>
                  <a:pt x="3915" y="1617"/>
                  <a:pt x="3977" y="1617"/>
                </a:cubicBezTo>
                <a:cubicBezTo>
                  <a:pt x="4042" y="1617"/>
                  <a:pt x="4093" y="1591"/>
                  <a:pt x="4130" y="1539"/>
                </a:cubicBezTo>
                <a:cubicBezTo>
                  <a:pt x="4166" y="1486"/>
                  <a:pt x="4185" y="1410"/>
                  <a:pt x="4185" y="1311"/>
                </a:cubicBezTo>
                <a:cubicBezTo>
                  <a:pt x="4185" y="1110"/>
                  <a:pt x="4120" y="1009"/>
                  <a:pt x="3991" y="1009"/>
                </a:cubicBezTo>
                <a:close/>
                <a:moveTo>
                  <a:pt x="3984" y="1542"/>
                </a:moveTo>
                <a:cubicBezTo>
                  <a:pt x="3914" y="1542"/>
                  <a:pt x="3879" y="1468"/>
                  <a:pt x="3879" y="1321"/>
                </a:cubicBezTo>
                <a:cubicBezTo>
                  <a:pt x="3879" y="1164"/>
                  <a:pt x="3915" y="1085"/>
                  <a:pt x="3986" y="1085"/>
                </a:cubicBezTo>
                <a:cubicBezTo>
                  <a:pt x="4054" y="1085"/>
                  <a:pt x="4087" y="1162"/>
                  <a:pt x="4087" y="1317"/>
                </a:cubicBezTo>
                <a:cubicBezTo>
                  <a:pt x="4087" y="1467"/>
                  <a:pt x="4053" y="1542"/>
                  <a:pt x="3984" y="1542"/>
                </a:cubicBezTo>
                <a:close/>
                <a:moveTo>
                  <a:pt x="4291" y="1012"/>
                </a:moveTo>
                <a:cubicBezTo>
                  <a:pt x="4383" y="1012"/>
                  <a:pt x="4383" y="1012"/>
                  <a:pt x="4383" y="1012"/>
                </a:cubicBezTo>
                <a:cubicBezTo>
                  <a:pt x="4383" y="1600"/>
                  <a:pt x="4383" y="1600"/>
                  <a:pt x="4383" y="1600"/>
                </a:cubicBezTo>
                <a:cubicBezTo>
                  <a:pt x="4291" y="1600"/>
                  <a:pt x="4291" y="1600"/>
                  <a:pt x="4291" y="1600"/>
                </a:cubicBezTo>
                <a:lnTo>
                  <a:pt x="4291" y="1012"/>
                </a:lnTo>
                <a:close/>
                <a:moveTo>
                  <a:pt x="4703" y="1009"/>
                </a:moveTo>
                <a:cubicBezTo>
                  <a:pt x="4635" y="1009"/>
                  <a:pt x="4583" y="1036"/>
                  <a:pt x="4547" y="1089"/>
                </a:cubicBezTo>
                <a:cubicBezTo>
                  <a:pt x="4511" y="1142"/>
                  <a:pt x="4494" y="1221"/>
                  <a:pt x="4494" y="1325"/>
                </a:cubicBezTo>
                <a:cubicBezTo>
                  <a:pt x="4494" y="1420"/>
                  <a:pt x="4511" y="1492"/>
                  <a:pt x="4545" y="1542"/>
                </a:cubicBezTo>
                <a:cubicBezTo>
                  <a:pt x="4579" y="1592"/>
                  <a:pt x="4627" y="1617"/>
                  <a:pt x="4689" y="1617"/>
                </a:cubicBezTo>
                <a:cubicBezTo>
                  <a:pt x="4754" y="1617"/>
                  <a:pt x="4805" y="1591"/>
                  <a:pt x="4842" y="1539"/>
                </a:cubicBezTo>
                <a:cubicBezTo>
                  <a:pt x="4878" y="1486"/>
                  <a:pt x="4897" y="1410"/>
                  <a:pt x="4897" y="1311"/>
                </a:cubicBezTo>
                <a:cubicBezTo>
                  <a:pt x="4897" y="1110"/>
                  <a:pt x="4832" y="1009"/>
                  <a:pt x="4703" y="1009"/>
                </a:cubicBezTo>
                <a:close/>
                <a:moveTo>
                  <a:pt x="4696" y="1542"/>
                </a:moveTo>
                <a:cubicBezTo>
                  <a:pt x="4626" y="1542"/>
                  <a:pt x="4591" y="1468"/>
                  <a:pt x="4591" y="1321"/>
                </a:cubicBezTo>
                <a:cubicBezTo>
                  <a:pt x="4591" y="1164"/>
                  <a:pt x="4627" y="1085"/>
                  <a:pt x="4698" y="1085"/>
                </a:cubicBezTo>
                <a:cubicBezTo>
                  <a:pt x="4766" y="1085"/>
                  <a:pt x="4799" y="1162"/>
                  <a:pt x="4799" y="1317"/>
                </a:cubicBezTo>
                <a:cubicBezTo>
                  <a:pt x="4799" y="1467"/>
                  <a:pt x="4765" y="1542"/>
                  <a:pt x="4696" y="1542"/>
                </a:cubicBezTo>
                <a:close/>
                <a:moveTo>
                  <a:pt x="5169" y="1009"/>
                </a:moveTo>
                <a:cubicBezTo>
                  <a:pt x="5102" y="1009"/>
                  <a:pt x="5050" y="1036"/>
                  <a:pt x="5014" y="1089"/>
                </a:cubicBezTo>
                <a:cubicBezTo>
                  <a:pt x="4978" y="1142"/>
                  <a:pt x="4960" y="1221"/>
                  <a:pt x="4960" y="1325"/>
                </a:cubicBezTo>
                <a:cubicBezTo>
                  <a:pt x="4960" y="1420"/>
                  <a:pt x="4978" y="1492"/>
                  <a:pt x="5012" y="1542"/>
                </a:cubicBezTo>
                <a:cubicBezTo>
                  <a:pt x="5046" y="1592"/>
                  <a:pt x="5094" y="1617"/>
                  <a:pt x="5155" y="1617"/>
                </a:cubicBezTo>
                <a:cubicBezTo>
                  <a:pt x="5221" y="1617"/>
                  <a:pt x="5272" y="1591"/>
                  <a:pt x="5309" y="1539"/>
                </a:cubicBezTo>
                <a:cubicBezTo>
                  <a:pt x="5345" y="1486"/>
                  <a:pt x="5364" y="1410"/>
                  <a:pt x="5364" y="1311"/>
                </a:cubicBezTo>
                <a:cubicBezTo>
                  <a:pt x="5364" y="1110"/>
                  <a:pt x="5299" y="1009"/>
                  <a:pt x="5169" y="1009"/>
                </a:cubicBezTo>
                <a:close/>
                <a:moveTo>
                  <a:pt x="5163" y="1542"/>
                </a:moveTo>
                <a:cubicBezTo>
                  <a:pt x="5093" y="1542"/>
                  <a:pt x="5058" y="1468"/>
                  <a:pt x="5058" y="1321"/>
                </a:cubicBezTo>
                <a:cubicBezTo>
                  <a:pt x="5058" y="1164"/>
                  <a:pt x="5093" y="1085"/>
                  <a:pt x="5165" y="1085"/>
                </a:cubicBezTo>
                <a:cubicBezTo>
                  <a:pt x="5232" y="1085"/>
                  <a:pt x="5266" y="1162"/>
                  <a:pt x="5266" y="1317"/>
                </a:cubicBezTo>
                <a:cubicBezTo>
                  <a:pt x="5266" y="1467"/>
                  <a:pt x="5232" y="1542"/>
                  <a:pt x="5163" y="1542"/>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28" name="TextBox 27"/>
          <p:cNvSpPr txBox="1"/>
          <p:nvPr/>
        </p:nvSpPr>
        <p:spPr>
          <a:xfrm>
            <a:off x="7817878" y="4363724"/>
            <a:ext cx="2191876" cy="506769"/>
          </a:xfrm>
          <a:prstGeom prst="rect">
            <a:avLst/>
          </a:prstGeom>
          <a:noFill/>
        </p:spPr>
        <p:txBody>
          <a:bodyPr wrap="square" lIns="179238" tIns="143391" rIns="179238" bIns="143391" rtlCol="0">
            <a:spAutoFit/>
          </a:bodyPr>
          <a:lstStyle/>
          <a:p>
            <a:pPr algn="ctr" defTabSz="914180">
              <a:lnSpc>
                <a:spcPct val="90000"/>
              </a:lnSpc>
              <a:spcAft>
                <a:spcPts val="588"/>
              </a:spcAft>
              <a:defRPr/>
            </a:pPr>
            <a:r>
              <a:rPr lang="en-US" sz="156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Why did it </a:t>
            </a:r>
            <a:r>
              <a:rPr lang="en-US" sz="1568" dirty="0">
                <a:gradFill>
                  <a:gsLst>
                    <a:gs pos="2917">
                      <a:srgbClr val="FFFFFF"/>
                    </a:gs>
                    <a:gs pos="30000">
                      <a:srgbClr val="FFFFFF"/>
                    </a:gs>
                  </a:gsLst>
                  <a:lin ang="5400000" scaled="0"/>
                </a:gradFill>
                <a:latin typeface="Segoe UI Semilight"/>
              </a:rPr>
              <a:t>happen?</a:t>
            </a:r>
          </a:p>
        </p:txBody>
      </p:sp>
      <p:sp>
        <p:nvSpPr>
          <p:cNvPr id="29" name="TextBox 28"/>
          <p:cNvSpPr txBox="1"/>
          <p:nvPr/>
        </p:nvSpPr>
        <p:spPr>
          <a:xfrm>
            <a:off x="9744903" y="4363724"/>
            <a:ext cx="2191876" cy="506769"/>
          </a:xfrm>
          <a:prstGeom prst="rect">
            <a:avLst/>
          </a:prstGeom>
          <a:noFill/>
        </p:spPr>
        <p:txBody>
          <a:bodyPr wrap="square" lIns="179238" tIns="143391" rIns="179238" bIns="143391" rtlCol="0">
            <a:spAutoFit/>
          </a:bodyPr>
          <a:lstStyle/>
          <a:p>
            <a:pPr algn="ctr" defTabSz="914180">
              <a:lnSpc>
                <a:spcPct val="90000"/>
              </a:lnSpc>
              <a:spcAft>
                <a:spcPts val="588"/>
              </a:spcAft>
              <a:defRPr/>
            </a:pPr>
            <a:r>
              <a:rPr lang="en-US" sz="156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What will </a:t>
            </a:r>
            <a:r>
              <a:rPr lang="en-US" sz="1568" dirty="0">
                <a:gradFill>
                  <a:gsLst>
                    <a:gs pos="2917">
                      <a:srgbClr val="FFFFFF"/>
                    </a:gs>
                    <a:gs pos="30000">
                      <a:srgbClr val="FFFFFF"/>
                    </a:gs>
                  </a:gsLst>
                  <a:lin ang="5400000" scaled="0"/>
                </a:gradFill>
                <a:latin typeface="Segoe UI Semilight"/>
              </a:rPr>
              <a:t>happen?</a:t>
            </a:r>
          </a:p>
        </p:txBody>
      </p:sp>
      <p:sp>
        <p:nvSpPr>
          <p:cNvPr id="30" name="TextBox 29"/>
          <p:cNvSpPr txBox="1"/>
          <p:nvPr/>
        </p:nvSpPr>
        <p:spPr>
          <a:xfrm>
            <a:off x="11620717" y="4363724"/>
            <a:ext cx="2191876" cy="506769"/>
          </a:xfrm>
          <a:prstGeom prst="rect">
            <a:avLst/>
          </a:prstGeom>
          <a:noFill/>
        </p:spPr>
        <p:txBody>
          <a:bodyPr wrap="square" lIns="179238" tIns="143391" rIns="179238" bIns="143391" rtlCol="0">
            <a:spAutoFit/>
          </a:bodyPr>
          <a:lstStyle/>
          <a:p>
            <a:pPr algn="ctr" defTabSz="914180">
              <a:lnSpc>
                <a:spcPct val="90000"/>
              </a:lnSpc>
              <a:spcAft>
                <a:spcPts val="588"/>
              </a:spcAft>
              <a:defRPr/>
            </a:pPr>
            <a:r>
              <a:rPr lang="en-US" sz="156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What</a:t>
            </a:r>
            <a:r>
              <a:rPr lang="en-US" sz="1568" dirty="0">
                <a:gradFill>
                  <a:gsLst>
                    <a:gs pos="2917">
                      <a:srgbClr val="FFFFFF"/>
                    </a:gs>
                    <a:gs pos="30000">
                      <a:srgbClr val="FFFFFF"/>
                    </a:gs>
                  </a:gsLst>
                  <a:lin ang="5400000" scaled="0"/>
                </a:gradFill>
                <a:latin typeface="Segoe UI Semilight"/>
              </a:rPr>
              <a:t> should I do?</a:t>
            </a:r>
          </a:p>
        </p:txBody>
      </p:sp>
      <p:sp>
        <p:nvSpPr>
          <p:cNvPr id="31" name="TextBox 30"/>
          <p:cNvSpPr txBox="1"/>
          <p:nvPr/>
        </p:nvSpPr>
        <p:spPr>
          <a:xfrm>
            <a:off x="5954867" y="4363724"/>
            <a:ext cx="2191876" cy="506769"/>
          </a:xfrm>
          <a:prstGeom prst="rect">
            <a:avLst/>
          </a:prstGeom>
          <a:noFill/>
        </p:spPr>
        <p:txBody>
          <a:bodyPr wrap="square" lIns="179238" tIns="143391" rIns="179238" bIns="143391" rtlCol="0">
            <a:spAutoFit/>
          </a:bodyPr>
          <a:lstStyle/>
          <a:p>
            <a:pPr algn="ctr" defTabSz="914180">
              <a:lnSpc>
                <a:spcPct val="90000"/>
              </a:lnSpc>
              <a:spcAft>
                <a:spcPts val="588"/>
              </a:spcAft>
              <a:defRPr/>
            </a:pPr>
            <a:r>
              <a:rPr lang="en-US" sz="156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What</a:t>
            </a:r>
            <a:r>
              <a:rPr lang="en-US" sz="1568" dirty="0">
                <a:gradFill>
                  <a:gsLst>
                    <a:gs pos="2917">
                      <a:srgbClr val="FFFFFF"/>
                    </a:gs>
                    <a:gs pos="30000">
                      <a:srgbClr val="FFFFFF"/>
                    </a:gs>
                  </a:gsLst>
                  <a:lin ang="5400000" scaled="0"/>
                </a:gradFill>
                <a:latin typeface="Segoe UI Semilight"/>
              </a:rPr>
              <a:t> happened?</a:t>
            </a:r>
          </a:p>
        </p:txBody>
      </p:sp>
      <p:pic>
        <p:nvPicPr>
          <p:cNvPr id="33" name="Picture 32"/>
          <p:cNvPicPr>
            <a:picLocks noChangeAspect="1"/>
          </p:cNvPicPr>
          <p:nvPr/>
        </p:nvPicPr>
        <p:blipFill>
          <a:blip r:embed="rId3"/>
          <a:stretch>
            <a:fillRect/>
          </a:stretch>
        </p:blipFill>
        <p:spPr>
          <a:xfrm>
            <a:off x="4657406" y="1357824"/>
            <a:ext cx="464396" cy="528019"/>
          </a:xfrm>
          <a:prstGeom prst="rect">
            <a:avLst/>
          </a:prstGeom>
        </p:spPr>
      </p:pic>
      <p:pic>
        <p:nvPicPr>
          <p:cNvPr id="34" name="Picture 33"/>
          <p:cNvPicPr>
            <a:picLocks noChangeAspect="1"/>
          </p:cNvPicPr>
          <p:nvPr/>
        </p:nvPicPr>
        <p:blipFill>
          <a:blip r:embed="rId4"/>
          <a:stretch>
            <a:fillRect/>
          </a:stretch>
        </p:blipFill>
        <p:spPr>
          <a:xfrm rot="5400000">
            <a:off x="4605778" y="2372452"/>
            <a:ext cx="567653" cy="356471"/>
          </a:xfrm>
          <a:prstGeom prst="rect">
            <a:avLst/>
          </a:prstGeom>
        </p:spPr>
      </p:pic>
      <p:pic>
        <p:nvPicPr>
          <p:cNvPr id="36" name="Picture 35"/>
          <p:cNvPicPr>
            <a:picLocks noChangeAspect="1"/>
          </p:cNvPicPr>
          <p:nvPr/>
        </p:nvPicPr>
        <p:blipFill>
          <a:blip r:embed="rId5"/>
          <a:stretch>
            <a:fillRect/>
          </a:stretch>
        </p:blipFill>
        <p:spPr>
          <a:xfrm>
            <a:off x="4633892" y="4253696"/>
            <a:ext cx="511426" cy="404815"/>
          </a:xfrm>
          <a:prstGeom prst="rect">
            <a:avLst/>
          </a:prstGeom>
        </p:spPr>
      </p:pic>
      <p:pic>
        <p:nvPicPr>
          <p:cNvPr id="37" name="Picture 36"/>
          <p:cNvPicPr>
            <a:picLocks noChangeAspect="1"/>
          </p:cNvPicPr>
          <p:nvPr/>
        </p:nvPicPr>
        <p:blipFill>
          <a:blip r:embed="rId6"/>
          <a:stretch>
            <a:fillRect/>
          </a:stretch>
        </p:blipFill>
        <p:spPr>
          <a:xfrm>
            <a:off x="4698555" y="5143976"/>
            <a:ext cx="382100" cy="498685"/>
          </a:xfrm>
          <a:prstGeom prst="rect">
            <a:avLst/>
          </a:prstGeom>
        </p:spPr>
      </p:pic>
      <p:pic>
        <p:nvPicPr>
          <p:cNvPr id="20" name="Picture 19"/>
          <p:cNvPicPr>
            <a:picLocks noChangeAspect="1"/>
          </p:cNvPicPr>
          <p:nvPr/>
        </p:nvPicPr>
        <p:blipFill>
          <a:blip r:embed="rId7"/>
          <a:stretch>
            <a:fillRect/>
          </a:stretch>
        </p:blipFill>
        <p:spPr>
          <a:xfrm>
            <a:off x="6855285" y="3210814"/>
            <a:ext cx="440123" cy="541550"/>
          </a:xfrm>
          <a:prstGeom prst="rect">
            <a:avLst/>
          </a:prstGeom>
        </p:spPr>
      </p:pic>
      <p:pic>
        <p:nvPicPr>
          <p:cNvPr id="26" name="Picture 25"/>
          <p:cNvPicPr>
            <a:picLocks noChangeAspect="1"/>
          </p:cNvPicPr>
          <p:nvPr/>
        </p:nvPicPr>
        <p:blipFill>
          <a:blip r:embed="rId8"/>
          <a:stretch>
            <a:fillRect/>
          </a:stretch>
        </p:blipFill>
        <p:spPr>
          <a:xfrm>
            <a:off x="8644337" y="3159183"/>
            <a:ext cx="663199" cy="409170"/>
          </a:xfrm>
          <a:prstGeom prst="rect">
            <a:avLst/>
          </a:prstGeom>
        </p:spPr>
      </p:pic>
      <p:pic>
        <p:nvPicPr>
          <p:cNvPr id="38" name="Picture 37"/>
          <p:cNvPicPr>
            <a:picLocks noChangeAspect="1"/>
          </p:cNvPicPr>
          <p:nvPr/>
        </p:nvPicPr>
        <p:blipFill>
          <a:blip r:embed="rId9"/>
          <a:stretch>
            <a:fillRect/>
          </a:stretch>
        </p:blipFill>
        <p:spPr>
          <a:xfrm>
            <a:off x="10481678" y="3170315"/>
            <a:ext cx="669228" cy="661893"/>
          </a:xfrm>
          <a:prstGeom prst="rect">
            <a:avLst/>
          </a:prstGeom>
        </p:spPr>
      </p:pic>
      <p:pic>
        <p:nvPicPr>
          <p:cNvPr id="39" name="Picture 38"/>
          <p:cNvPicPr>
            <a:picLocks noChangeAspect="1"/>
          </p:cNvPicPr>
          <p:nvPr/>
        </p:nvPicPr>
        <p:blipFill>
          <a:blip r:embed="rId10"/>
          <a:stretch>
            <a:fillRect/>
          </a:stretch>
        </p:blipFill>
        <p:spPr>
          <a:xfrm>
            <a:off x="12381778" y="3170316"/>
            <a:ext cx="663199" cy="661893"/>
          </a:xfrm>
          <a:prstGeom prst="rect">
            <a:avLst/>
          </a:prstGeom>
        </p:spPr>
      </p:pic>
      <p:sp useBgFill="1">
        <p:nvSpPr>
          <p:cNvPr id="3" name="Rectangle 2"/>
          <p:cNvSpPr/>
          <p:nvPr/>
        </p:nvSpPr>
        <p:spPr bwMode="auto">
          <a:xfrm>
            <a:off x="6308843" y="2626206"/>
            <a:ext cx="7857274" cy="221072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 name="TextBox 1"/>
          <p:cNvSpPr txBox="1"/>
          <p:nvPr/>
        </p:nvSpPr>
        <p:spPr>
          <a:xfrm>
            <a:off x="6397376" y="2819323"/>
            <a:ext cx="2480773" cy="1375514"/>
          </a:xfrm>
          <a:prstGeom prst="rect">
            <a:avLst/>
          </a:prstGeom>
          <a:noFill/>
        </p:spPr>
        <p:txBody>
          <a:bodyPr wrap="square" lIns="179238" tIns="143391" rIns="179238" bIns="143391" rtlCol="0">
            <a:spAutoFit/>
          </a:bodyPr>
          <a:lstStyle/>
          <a:p>
            <a:pPr defTabSz="914180">
              <a:lnSpc>
                <a:spcPct val="90000"/>
              </a:lnSpc>
              <a:spcAft>
                <a:spcPts val="588"/>
              </a:spcAft>
              <a:defRPr/>
            </a:pPr>
            <a:r>
              <a:rPr lang="en-US" sz="3822" spc="-49" dirty="0">
                <a:gradFill>
                  <a:gsLst>
                    <a:gs pos="2917">
                      <a:srgbClr val="FFFFFF"/>
                    </a:gs>
                    <a:gs pos="30000">
                      <a:srgbClr val="FFFFFF"/>
                    </a:gs>
                  </a:gsLst>
                  <a:lin ang="5400000" scaled="0"/>
                </a:gradFill>
                <a:latin typeface="Segoe UI Light"/>
              </a:rPr>
              <a:t>Intelligent </a:t>
            </a:r>
            <a:br>
              <a:rPr lang="en-US" sz="3822" spc="-49" dirty="0">
                <a:gradFill>
                  <a:gsLst>
                    <a:gs pos="2917">
                      <a:srgbClr val="FFFFFF"/>
                    </a:gs>
                    <a:gs pos="30000">
                      <a:srgbClr val="FFFFFF"/>
                    </a:gs>
                  </a:gsLst>
                  <a:lin ang="5400000" scaled="0"/>
                </a:gradFill>
                <a:latin typeface="Segoe UI Light"/>
              </a:rPr>
            </a:br>
            <a:r>
              <a:rPr lang="en-US" sz="3822" spc="-49" dirty="0">
                <a:gradFill>
                  <a:gsLst>
                    <a:gs pos="2917">
                      <a:srgbClr val="FFFFFF"/>
                    </a:gs>
                    <a:gs pos="30000">
                      <a:srgbClr val="FFFFFF"/>
                    </a:gs>
                  </a:gsLst>
                  <a:lin ang="5400000" scaled="0"/>
                </a:gradFill>
                <a:latin typeface="Segoe UI Light"/>
              </a:rPr>
              <a:t>action</a:t>
            </a:r>
          </a:p>
        </p:txBody>
      </p:sp>
    </p:spTree>
    <p:extLst>
      <p:ext uri="{BB962C8B-B14F-4D97-AF65-F5344CB8AC3E}">
        <p14:creationId xmlns:p14="http://schemas.microsoft.com/office/powerpoint/2010/main" val="620813352"/>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250"/>
                                        <p:tgtEl>
                                          <p:spTgt spid="33"/>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250"/>
                                        <p:tgtEl>
                                          <p:spTgt spid="4"/>
                                        </p:tgtEl>
                                      </p:cBhvr>
                                    </p:animEffect>
                                  </p:childTnLst>
                                </p:cTn>
                              </p:par>
                              <p:par>
                                <p:cTn id="11" presetID="10" presetClass="entr" presetSubtype="0" fill="hold" nodeType="withEffect">
                                  <p:stCondLst>
                                    <p:cond delay="100"/>
                                  </p:stCondLst>
                                  <p:childTnLst>
                                    <p:set>
                                      <p:cBhvr>
                                        <p:cTn id="12" dur="1" fill="hold">
                                          <p:stCondLst>
                                            <p:cond delay="0"/>
                                          </p:stCondLst>
                                        </p:cTn>
                                        <p:tgtEl>
                                          <p:spTgt spid="34"/>
                                        </p:tgtEl>
                                        <p:attrNameLst>
                                          <p:attrName>style.visibility</p:attrName>
                                        </p:attrNameLst>
                                      </p:cBhvr>
                                      <p:to>
                                        <p:strVal val="visible"/>
                                      </p:to>
                                    </p:set>
                                    <p:animEffect transition="in" filter="fade">
                                      <p:cBhvr>
                                        <p:cTn id="13" dur="250"/>
                                        <p:tgtEl>
                                          <p:spTgt spid="34"/>
                                        </p:tgtEl>
                                      </p:cBhvr>
                                    </p:animEffect>
                                  </p:childTnLst>
                                </p:cTn>
                              </p:par>
                              <p:par>
                                <p:cTn id="14" presetID="10" presetClass="entr" presetSubtype="0" fill="hold" nodeType="withEffect">
                                  <p:stCondLst>
                                    <p:cond delay="30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250"/>
                                        <p:tgtEl>
                                          <p:spTgt spid="36"/>
                                        </p:tgtEl>
                                      </p:cBhvr>
                                    </p:animEffect>
                                  </p:childTnLst>
                                </p:cTn>
                              </p:par>
                              <p:par>
                                <p:cTn id="17" presetID="10" presetClass="entr" presetSubtype="0" fill="hold" nodeType="withEffect">
                                  <p:stCondLst>
                                    <p:cond delay="400"/>
                                  </p:stCondLst>
                                  <p:childTnLst>
                                    <p:set>
                                      <p:cBhvr>
                                        <p:cTn id="18" dur="1" fill="hold">
                                          <p:stCondLst>
                                            <p:cond delay="0"/>
                                          </p:stCondLst>
                                        </p:cTn>
                                        <p:tgtEl>
                                          <p:spTgt spid="37"/>
                                        </p:tgtEl>
                                        <p:attrNameLst>
                                          <p:attrName>style.visibility</p:attrName>
                                        </p:attrNameLst>
                                      </p:cBhvr>
                                      <p:to>
                                        <p:strVal val="visible"/>
                                      </p:to>
                                    </p:set>
                                    <p:animEffect transition="in" filter="fade">
                                      <p:cBhvr>
                                        <p:cTn id="19" dur="250"/>
                                        <p:tgtEl>
                                          <p:spTgt spid="37"/>
                                        </p:tgtEl>
                                      </p:cBhvr>
                                    </p:animEffect>
                                  </p:childTnLst>
                                </p:cTn>
                              </p:par>
                              <p:par>
                                <p:cTn id="20" presetID="10" presetClass="entr" presetSubtype="0" fill="hold" nodeType="withEffect">
                                  <p:stCondLst>
                                    <p:cond delay="155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250"/>
                                        <p:tgtEl>
                                          <p:spTgt spid="5"/>
                                        </p:tgtEl>
                                      </p:cBhvr>
                                    </p:animEffect>
                                  </p:childTnLst>
                                </p:cTn>
                              </p:par>
                              <p:par>
                                <p:cTn id="23" presetID="10" presetClass="entr" presetSubtype="0" fill="hold" grpId="0" nodeType="withEffect">
                                  <p:stCondLst>
                                    <p:cond delay="1550"/>
                                  </p:stCondLst>
                                  <p:childTnLst>
                                    <p:set>
                                      <p:cBhvr>
                                        <p:cTn id="24" dur="1" fill="hold">
                                          <p:stCondLst>
                                            <p:cond delay="0"/>
                                          </p:stCondLst>
                                        </p:cTn>
                                        <p:tgtEl>
                                          <p:spTgt spid="27"/>
                                        </p:tgtEl>
                                        <p:attrNameLst>
                                          <p:attrName>style.visibility</p:attrName>
                                        </p:attrNameLst>
                                      </p:cBhvr>
                                      <p:to>
                                        <p:strVal val="visible"/>
                                      </p:to>
                                    </p:set>
                                    <p:animEffect transition="in" filter="fade">
                                      <p:cBhvr>
                                        <p:cTn id="25" dur="250"/>
                                        <p:tgtEl>
                                          <p:spTgt spid="27"/>
                                        </p:tgtEl>
                                      </p:cBhvr>
                                    </p:animEffect>
                                  </p:childTnLst>
                                </p:cTn>
                              </p:par>
                              <p:par>
                                <p:cTn id="26" presetID="35" presetClass="path" presetSubtype="0" decel="100000" fill="hold" grpId="1" nodeType="withEffect">
                                  <p:stCondLst>
                                    <p:cond delay="800"/>
                                  </p:stCondLst>
                                  <p:childTnLst>
                                    <p:animMotion origin="layout" path="M 1.87133E-6 3.25011E-6 L -0.04685 3.25011E-6 " pathEditMode="relative" rAng="0" ptsTypes="AA">
                                      <p:cBhvr>
                                        <p:cTn id="27" dur="1500" spd="-100000" fill="hold"/>
                                        <p:tgtEl>
                                          <p:spTgt spid="27"/>
                                        </p:tgtEl>
                                        <p:attrNameLst>
                                          <p:attrName>ppt_x</p:attrName>
                                          <p:attrName>ppt_y</p:attrName>
                                        </p:attrNameLst>
                                      </p:cBhvr>
                                      <p:rCtr x="-2349" y="0"/>
                                    </p:animMotion>
                                  </p:childTnLst>
                                </p:cTn>
                              </p:par>
                              <p:par>
                                <p:cTn id="28" presetID="35" presetClass="path" presetSubtype="0" decel="100000" fill="hold" nodeType="withEffect">
                                  <p:stCondLst>
                                    <p:cond delay="800"/>
                                  </p:stCondLst>
                                  <p:childTnLst>
                                    <p:animMotion origin="layout" path="M 1.87133E-6 3.25011E-6 L -0.04685 3.25011E-6 " pathEditMode="relative" rAng="0" ptsTypes="AA">
                                      <p:cBhvr>
                                        <p:cTn id="29" dur="1500" spd="-100000" fill="hold"/>
                                        <p:tgtEl>
                                          <p:spTgt spid="5"/>
                                        </p:tgtEl>
                                        <p:attrNameLst>
                                          <p:attrName>ppt_x</p:attrName>
                                          <p:attrName>ppt_y</p:attrName>
                                        </p:attrNameLst>
                                      </p:cBhvr>
                                      <p:rCtr x="-2349" y="0"/>
                                    </p:animMotion>
                                  </p:childTnLst>
                                </p:cTn>
                              </p:par>
                              <p:par>
                                <p:cTn id="30" presetID="35" presetClass="path" presetSubtype="0" decel="100000" fill="hold" grpId="0" nodeType="withEffect">
                                  <p:stCondLst>
                                    <p:cond delay="800"/>
                                  </p:stCondLst>
                                  <p:childTnLst>
                                    <p:animMotion origin="layout" path="M 1.48328E-6 -8.67E-7 L -0.04685 -8.67E-7 " pathEditMode="relative" rAng="0" ptsTypes="AA">
                                      <p:cBhvr>
                                        <p:cTn id="31" dur="1500" spd="-100000" fill="hold"/>
                                        <p:tgtEl>
                                          <p:spTgt spid="3"/>
                                        </p:tgtEl>
                                        <p:attrNameLst>
                                          <p:attrName>ppt_x</p:attrName>
                                          <p:attrName>ppt_y</p:attrName>
                                        </p:attrNameLst>
                                      </p:cBhvr>
                                      <p:rCtr x="-2349" y="0"/>
                                    </p:animMotion>
                                  </p:childTnLst>
                                </p:cTn>
                              </p:par>
                              <p:par>
                                <p:cTn id="32" presetID="10" presetClass="entr" presetSubtype="0" fill="hold" grpId="0" nodeType="withEffect">
                                  <p:stCondLst>
                                    <p:cond delay="1650"/>
                                  </p:stCondLst>
                                  <p:childTnLst>
                                    <p:set>
                                      <p:cBhvr>
                                        <p:cTn id="33" dur="1" fill="hold">
                                          <p:stCondLst>
                                            <p:cond delay="0"/>
                                          </p:stCondLst>
                                        </p:cTn>
                                        <p:tgtEl>
                                          <p:spTgt spid="2"/>
                                        </p:tgtEl>
                                        <p:attrNameLst>
                                          <p:attrName>style.visibility</p:attrName>
                                        </p:attrNameLst>
                                      </p:cBhvr>
                                      <p:to>
                                        <p:strVal val="visible"/>
                                      </p:to>
                                    </p:set>
                                    <p:animEffect transition="in" filter="fade">
                                      <p:cBhvr>
                                        <p:cTn id="34" dur="250"/>
                                        <p:tgtEl>
                                          <p:spTgt spid="2"/>
                                        </p:tgtEl>
                                      </p:cBhvr>
                                    </p:animEffect>
                                  </p:childTnLst>
                                </p:cTn>
                              </p:par>
                              <p:par>
                                <p:cTn id="35" presetID="35" presetClass="path" presetSubtype="0" decel="100000" fill="hold" grpId="1" nodeType="withEffect">
                                  <p:stCondLst>
                                    <p:cond delay="900"/>
                                  </p:stCondLst>
                                  <p:childTnLst>
                                    <p:animMotion origin="layout" path="M 2.47894E-6 1.8384E-6 L -0.04685 1.8384E-6 " pathEditMode="relative" rAng="0" ptsTypes="AA">
                                      <p:cBhvr>
                                        <p:cTn id="36" dur="1400" spd="-100000" fill="hold"/>
                                        <p:tgtEl>
                                          <p:spTgt spid="2"/>
                                        </p:tgtEl>
                                        <p:attrNameLst>
                                          <p:attrName>ppt_x</p:attrName>
                                          <p:attrName>ppt_y</p:attrName>
                                        </p:attrNameLst>
                                      </p:cBhvr>
                                      <p:rCtr x="-2349" y="0"/>
                                    </p:animMotion>
                                  </p:childTnLst>
                                </p:cTn>
                              </p:par>
                              <p:par>
                                <p:cTn id="37" presetID="1" presetClass="entr" presetSubtype="0" fill="hold" grpId="0" nodeType="withEffect">
                                  <p:stCondLst>
                                    <p:cond delay="750"/>
                                  </p:stCondLst>
                                  <p:childTnLst>
                                    <p:set>
                                      <p:cBhvr>
                                        <p:cTn id="38" dur="1" fill="hold">
                                          <p:stCondLst>
                                            <p:cond delay="0"/>
                                          </p:stCondLst>
                                        </p:cTn>
                                        <p:tgtEl>
                                          <p:spTgt spid="9"/>
                                        </p:tgtEl>
                                        <p:attrNameLst>
                                          <p:attrName>style.visibility</p:attrName>
                                        </p:attrNameLst>
                                      </p:cBhvr>
                                      <p:to>
                                        <p:strVal val="visible"/>
                                      </p:to>
                                    </p:set>
                                  </p:childTnLst>
                                </p:cTn>
                              </p:par>
                            </p:childTnLst>
                          </p:cTn>
                        </p:par>
                        <p:par>
                          <p:cTn id="39" fill="hold">
                            <p:stCondLst>
                              <p:cond delay="2300"/>
                            </p:stCondLst>
                            <p:childTnLst>
                              <p:par>
                                <p:cTn id="40" presetID="10" presetClass="entr" presetSubtype="0" fill="hold" nodeType="afterEffect">
                                  <p:stCondLst>
                                    <p:cond delay="0"/>
                                  </p:stCondLst>
                                  <p:childTnLst>
                                    <p:set>
                                      <p:cBhvr>
                                        <p:cTn id="41" dur="1" fill="hold">
                                          <p:stCondLst>
                                            <p:cond delay="0"/>
                                          </p:stCondLst>
                                        </p:cTn>
                                        <p:tgtEl>
                                          <p:spTgt spid="20"/>
                                        </p:tgtEl>
                                        <p:attrNameLst>
                                          <p:attrName>style.visibility</p:attrName>
                                        </p:attrNameLst>
                                      </p:cBhvr>
                                      <p:to>
                                        <p:strVal val="visible"/>
                                      </p:to>
                                    </p:set>
                                    <p:animEffect transition="in" filter="fade">
                                      <p:cBhvr>
                                        <p:cTn id="42" dur="250"/>
                                        <p:tgtEl>
                                          <p:spTgt spid="20"/>
                                        </p:tgtEl>
                                      </p:cBhvr>
                                    </p:animEffect>
                                  </p:childTnLst>
                                </p:cTn>
                              </p:par>
                              <p:par>
                                <p:cTn id="43" presetID="6" presetClass="emph" presetSubtype="0" accel="100000" autoRev="1" fill="hold" nodeType="withEffect">
                                  <p:stCondLst>
                                    <p:cond delay="0"/>
                                  </p:stCondLst>
                                  <p:childTnLst>
                                    <p:animScale>
                                      <p:cBhvr>
                                        <p:cTn id="44" dur="750" fill="hold"/>
                                        <p:tgtEl>
                                          <p:spTgt spid="20"/>
                                        </p:tgtEl>
                                      </p:cBhvr>
                                      <p:by x="80000" y="80000"/>
                                    </p:animScale>
                                  </p:childTnLst>
                                </p:cTn>
                              </p:par>
                              <p:par>
                                <p:cTn id="45" presetID="10" presetClass="entr" presetSubtype="0" fill="hold" nodeType="withEffect">
                                  <p:stCondLst>
                                    <p:cond delay="1000"/>
                                  </p:stCondLst>
                                  <p:childTnLst>
                                    <p:set>
                                      <p:cBhvr>
                                        <p:cTn id="46" dur="1" fill="hold">
                                          <p:stCondLst>
                                            <p:cond delay="0"/>
                                          </p:stCondLst>
                                        </p:cTn>
                                        <p:tgtEl>
                                          <p:spTgt spid="26"/>
                                        </p:tgtEl>
                                        <p:attrNameLst>
                                          <p:attrName>style.visibility</p:attrName>
                                        </p:attrNameLst>
                                      </p:cBhvr>
                                      <p:to>
                                        <p:strVal val="visible"/>
                                      </p:to>
                                    </p:set>
                                    <p:animEffect transition="in" filter="fade">
                                      <p:cBhvr>
                                        <p:cTn id="47" dur="250"/>
                                        <p:tgtEl>
                                          <p:spTgt spid="26"/>
                                        </p:tgtEl>
                                      </p:cBhvr>
                                    </p:animEffect>
                                  </p:childTnLst>
                                </p:cTn>
                              </p:par>
                              <p:par>
                                <p:cTn id="48" presetID="6" presetClass="emph" presetSubtype="0" accel="100000" autoRev="1" fill="hold" nodeType="withEffect">
                                  <p:stCondLst>
                                    <p:cond delay="250"/>
                                  </p:stCondLst>
                                  <p:childTnLst>
                                    <p:animScale>
                                      <p:cBhvr>
                                        <p:cTn id="49" dur="750" fill="hold"/>
                                        <p:tgtEl>
                                          <p:spTgt spid="26"/>
                                        </p:tgtEl>
                                      </p:cBhvr>
                                      <p:by x="80000" y="80000"/>
                                    </p:animScale>
                                  </p:childTnLst>
                                </p:cTn>
                              </p:par>
                              <p:par>
                                <p:cTn id="50" presetID="10" presetClass="entr" presetSubtype="0" fill="hold" nodeType="withEffect">
                                  <p:stCondLst>
                                    <p:cond delay="1250"/>
                                  </p:stCondLst>
                                  <p:childTnLst>
                                    <p:set>
                                      <p:cBhvr>
                                        <p:cTn id="51" dur="1" fill="hold">
                                          <p:stCondLst>
                                            <p:cond delay="0"/>
                                          </p:stCondLst>
                                        </p:cTn>
                                        <p:tgtEl>
                                          <p:spTgt spid="38"/>
                                        </p:tgtEl>
                                        <p:attrNameLst>
                                          <p:attrName>style.visibility</p:attrName>
                                        </p:attrNameLst>
                                      </p:cBhvr>
                                      <p:to>
                                        <p:strVal val="visible"/>
                                      </p:to>
                                    </p:set>
                                    <p:animEffect transition="in" filter="fade">
                                      <p:cBhvr>
                                        <p:cTn id="52" dur="250"/>
                                        <p:tgtEl>
                                          <p:spTgt spid="38"/>
                                        </p:tgtEl>
                                      </p:cBhvr>
                                    </p:animEffect>
                                  </p:childTnLst>
                                </p:cTn>
                              </p:par>
                              <p:par>
                                <p:cTn id="53" presetID="6" presetClass="emph" presetSubtype="0" accel="100000" autoRev="1" fill="hold" nodeType="withEffect">
                                  <p:stCondLst>
                                    <p:cond delay="500"/>
                                  </p:stCondLst>
                                  <p:childTnLst>
                                    <p:animScale>
                                      <p:cBhvr>
                                        <p:cTn id="54" dur="750" fill="hold"/>
                                        <p:tgtEl>
                                          <p:spTgt spid="38"/>
                                        </p:tgtEl>
                                      </p:cBhvr>
                                      <p:by x="80000" y="80000"/>
                                    </p:animScale>
                                  </p:childTnLst>
                                </p:cTn>
                              </p:par>
                              <p:par>
                                <p:cTn id="55" presetID="10" presetClass="entr" presetSubtype="0" fill="hold" nodeType="withEffect">
                                  <p:stCondLst>
                                    <p:cond delay="1500"/>
                                  </p:stCondLst>
                                  <p:childTnLst>
                                    <p:set>
                                      <p:cBhvr>
                                        <p:cTn id="56" dur="1" fill="hold">
                                          <p:stCondLst>
                                            <p:cond delay="0"/>
                                          </p:stCondLst>
                                        </p:cTn>
                                        <p:tgtEl>
                                          <p:spTgt spid="39"/>
                                        </p:tgtEl>
                                        <p:attrNameLst>
                                          <p:attrName>style.visibility</p:attrName>
                                        </p:attrNameLst>
                                      </p:cBhvr>
                                      <p:to>
                                        <p:strVal val="visible"/>
                                      </p:to>
                                    </p:set>
                                    <p:animEffect transition="in" filter="fade">
                                      <p:cBhvr>
                                        <p:cTn id="57" dur="250"/>
                                        <p:tgtEl>
                                          <p:spTgt spid="39"/>
                                        </p:tgtEl>
                                      </p:cBhvr>
                                    </p:animEffect>
                                  </p:childTnLst>
                                </p:cTn>
                              </p:par>
                              <p:par>
                                <p:cTn id="58" presetID="6" presetClass="emph" presetSubtype="0" accel="100000" autoRev="1" fill="hold" nodeType="withEffect">
                                  <p:stCondLst>
                                    <p:cond delay="750"/>
                                  </p:stCondLst>
                                  <p:childTnLst>
                                    <p:animScale>
                                      <p:cBhvr>
                                        <p:cTn id="59" dur="750" fill="hold"/>
                                        <p:tgtEl>
                                          <p:spTgt spid="39"/>
                                        </p:tgtEl>
                                      </p:cBhvr>
                                      <p:by x="80000" y="80000"/>
                                    </p:animScale>
                                  </p:childTnLst>
                                </p:cTn>
                              </p:par>
                              <p:par>
                                <p:cTn id="60" presetID="10" presetClass="entr" presetSubtype="0" fill="hold" grpId="0" nodeType="withEffect">
                                  <p:stCondLst>
                                    <p:cond delay="185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250"/>
                                        <p:tgtEl>
                                          <p:spTgt spid="25"/>
                                        </p:tgtEl>
                                      </p:cBhvr>
                                    </p:animEffect>
                                  </p:childTnLst>
                                </p:cTn>
                              </p:par>
                              <p:par>
                                <p:cTn id="63" presetID="6" presetClass="emph" presetSubtype="0" accel="100000" autoRev="1" fill="hold" grpId="1" nodeType="withEffect">
                                  <p:stCondLst>
                                    <p:cond delay="1000"/>
                                  </p:stCondLst>
                                  <p:childTnLst>
                                    <p:animScale>
                                      <p:cBhvr>
                                        <p:cTn id="64" dur="750" fill="hold"/>
                                        <p:tgtEl>
                                          <p:spTgt spid="25"/>
                                        </p:tgtEl>
                                      </p:cBhvr>
                                      <p:by x="80000" y="80000"/>
                                    </p:animScale>
                                  </p:childTnLst>
                                </p:cTn>
                              </p:par>
                              <p:par>
                                <p:cTn id="65" presetID="42" presetClass="path" presetSubtype="0" accel="10000" decel="90000" fill="hold" grpId="2" nodeType="withEffect">
                                  <p:stCondLst>
                                    <p:cond delay="500"/>
                                  </p:stCondLst>
                                  <p:childTnLst>
                                    <p:animMotion origin="layout" path="M -1.12841E-6 -6.7635E-7 L -0.35333 -6.7635E-7 " pathEditMode="relative" rAng="0" ptsTypes="AA">
                                      <p:cBhvr>
                                        <p:cTn id="66" dur="2000" fill="hold"/>
                                        <p:tgtEl>
                                          <p:spTgt spid="25"/>
                                        </p:tgtEl>
                                        <p:attrNameLst>
                                          <p:attrName>ppt_x</p:attrName>
                                          <p:attrName>ppt_y</p:attrName>
                                        </p:attrNameLst>
                                      </p:cBhvr>
                                      <p:rCtr x="-17667" y="0"/>
                                    </p:animMotion>
                                  </p:childTnLst>
                                </p:cTn>
                              </p:par>
                              <p:par>
                                <p:cTn id="67" presetID="42" presetClass="path" presetSubtype="0" accel="10000" decel="90000" fill="hold" nodeType="withEffect">
                                  <p:stCondLst>
                                    <p:cond delay="500"/>
                                  </p:stCondLst>
                                  <p:childTnLst>
                                    <p:animMotion origin="layout" path="M 2.38448E-6 -3.0867E-7 L -0.35333 -3.0867E-7 " pathEditMode="relative" rAng="0" ptsTypes="AA">
                                      <p:cBhvr>
                                        <p:cTn id="68" dur="2000" fill="hold"/>
                                        <p:tgtEl>
                                          <p:spTgt spid="39"/>
                                        </p:tgtEl>
                                        <p:attrNameLst>
                                          <p:attrName>ppt_x</p:attrName>
                                          <p:attrName>ppt_y</p:attrName>
                                        </p:attrNameLst>
                                      </p:cBhvr>
                                      <p:rCtr x="-17667" y="0"/>
                                    </p:animMotion>
                                  </p:childTnLst>
                                </p:cTn>
                              </p:par>
                              <p:par>
                                <p:cTn id="69" presetID="42" presetClass="path" presetSubtype="0" accel="10000" decel="90000" fill="hold" nodeType="withEffect">
                                  <p:stCondLst>
                                    <p:cond delay="500"/>
                                  </p:stCondLst>
                                  <p:childTnLst>
                                    <p:animMotion origin="layout" path="M -3.83712E-6 -3.0867E-7 L -0.35333 -3.0867E-7 " pathEditMode="relative" rAng="0" ptsTypes="AA">
                                      <p:cBhvr>
                                        <p:cTn id="70" dur="2000" fill="hold"/>
                                        <p:tgtEl>
                                          <p:spTgt spid="38"/>
                                        </p:tgtEl>
                                        <p:attrNameLst>
                                          <p:attrName>ppt_x</p:attrName>
                                          <p:attrName>ppt_y</p:attrName>
                                        </p:attrNameLst>
                                      </p:cBhvr>
                                      <p:rCtr x="-17667" y="0"/>
                                    </p:animMotion>
                                  </p:childTnLst>
                                </p:cTn>
                              </p:par>
                              <p:par>
                                <p:cTn id="71" presetID="42" presetClass="path" presetSubtype="0" accel="10000" decel="90000" fill="hold" nodeType="withEffect">
                                  <p:stCondLst>
                                    <p:cond delay="500"/>
                                  </p:stCondLst>
                                  <p:childTnLst>
                                    <p:animMotion origin="layout" path="M 4.58769E-6 2.45574E-6 L -0.35334 2.45574E-6 " pathEditMode="relative" rAng="0" ptsTypes="AA">
                                      <p:cBhvr>
                                        <p:cTn id="72" dur="2000" fill="hold"/>
                                        <p:tgtEl>
                                          <p:spTgt spid="26"/>
                                        </p:tgtEl>
                                        <p:attrNameLst>
                                          <p:attrName>ppt_x</p:attrName>
                                          <p:attrName>ppt_y</p:attrName>
                                        </p:attrNameLst>
                                      </p:cBhvr>
                                      <p:rCtr x="-17667" y="0"/>
                                    </p:animMotion>
                                  </p:childTnLst>
                                </p:cTn>
                              </p:par>
                              <p:par>
                                <p:cTn id="73" presetID="42" presetClass="path" presetSubtype="0" accel="10000" decel="90000" fill="hold" nodeType="withEffect">
                                  <p:stCondLst>
                                    <p:cond delay="500"/>
                                  </p:stCondLst>
                                  <p:childTnLst>
                                    <p:animMotion origin="layout" path="M 1.31223E-6 3.25011E-6 L -0.35333 3.25011E-6 " pathEditMode="relative" rAng="0" ptsTypes="AA">
                                      <p:cBhvr>
                                        <p:cTn id="74" dur="2000" fill="hold"/>
                                        <p:tgtEl>
                                          <p:spTgt spid="20"/>
                                        </p:tgtEl>
                                        <p:attrNameLst>
                                          <p:attrName>ppt_x</p:attrName>
                                          <p:attrName>ppt_y</p:attrName>
                                        </p:attrNameLst>
                                      </p:cBhvr>
                                      <p:rCtr x="-17667" y="0"/>
                                    </p:animMotion>
                                  </p:childTnLst>
                                </p:cTn>
                              </p:par>
                              <p:par>
                                <p:cTn id="75" presetID="42" presetClass="path" presetSubtype="0" accel="10000" decel="90000" fill="hold" grpId="2" nodeType="withEffect">
                                  <p:stCondLst>
                                    <p:cond delay="500"/>
                                  </p:stCondLst>
                                  <p:childTnLst>
                                    <p:animMotion origin="layout" path="M 2.47894E-6 1.8384E-6 L 0.28108 1.8384E-6 " pathEditMode="relative" rAng="0" ptsTypes="AA">
                                      <p:cBhvr>
                                        <p:cTn id="76" dur="2000" fill="hold"/>
                                        <p:tgtEl>
                                          <p:spTgt spid="2"/>
                                        </p:tgtEl>
                                        <p:attrNameLst>
                                          <p:attrName>ppt_x</p:attrName>
                                          <p:attrName>ppt_y</p:attrName>
                                        </p:attrNameLst>
                                      </p:cBhvr>
                                      <p:rCtr x="14054" y="0"/>
                                    </p:animMotion>
                                  </p:childTnLst>
                                </p:cTn>
                              </p:par>
                              <p:par>
                                <p:cTn id="77" presetID="42" presetClass="path" presetSubtype="0" accel="10000" decel="90000" fill="hold" grpId="1" nodeType="withEffect">
                                  <p:stCondLst>
                                    <p:cond delay="500"/>
                                  </p:stCondLst>
                                  <p:childTnLst>
                                    <p:animMotion origin="layout" path="M 1.48328E-6 -8.67E-7 L 0.28325 -8.67E-7 " pathEditMode="relative" rAng="0" ptsTypes="AA">
                                      <p:cBhvr>
                                        <p:cTn id="78" dur="2000" fill="hold"/>
                                        <p:tgtEl>
                                          <p:spTgt spid="3"/>
                                        </p:tgtEl>
                                        <p:attrNameLst>
                                          <p:attrName>ppt_x</p:attrName>
                                          <p:attrName>ppt_y</p:attrName>
                                        </p:attrNameLst>
                                      </p:cBhvr>
                                      <p:rCtr x="14156" y="0"/>
                                    </p:animMotion>
                                  </p:childTnLst>
                                </p:cTn>
                              </p:par>
                              <p:par>
                                <p:cTn id="79" presetID="10" presetClass="exit" presetSubtype="0" fill="hold" grpId="2" nodeType="withEffect">
                                  <p:stCondLst>
                                    <p:cond delay="2000"/>
                                  </p:stCondLst>
                                  <p:childTnLst>
                                    <p:animEffect transition="out" filter="fade">
                                      <p:cBhvr>
                                        <p:cTn id="80" dur="500"/>
                                        <p:tgtEl>
                                          <p:spTgt spid="3"/>
                                        </p:tgtEl>
                                      </p:cBhvr>
                                    </p:animEffect>
                                    <p:set>
                                      <p:cBhvr>
                                        <p:cTn id="81" dur="1" fill="hold">
                                          <p:stCondLst>
                                            <p:cond delay="499"/>
                                          </p:stCondLst>
                                        </p:cTn>
                                        <p:tgtEl>
                                          <p:spTgt spid="3"/>
                                        </p:tgtEl>
                                        <p:attrNameLst>
                                          <p:attrName>style.visibility</p:attrName>
                                        </p:attrNameLst>
                                      </p:cBhvr>
                                      <p:to>
                                        <p:strVal val="hidden"/>
                                      </p:to>
                                    </p:set>
                                  </p:childTnLst>
                                </p:cTn>
                              </p:par>
                              <p:par>
                                <p:cTn id="82" presetID="42" presetClass="path" presetSubtype="0" accel="10000" decel="90000" fill="hold" nodeType="withEffect">
                                  <p:stCondLst>
                                    <p:cond delay="500"/>
                                  </p:stCondLst>
                                  <p:childTnLst>
                                    <p:animMotion origin="layout" path="M 1.87133E-6 3.25011E-6 L -0.35333 3.25011E-6 " pathEditMode="relative" rAng="0" ptsTypes="AA">
                                      <p:cBhvr>
                                        <p:cTn id="83" dur="2000" fill="hold"/>
                                        <p:tgtEl>
                                          <p:spTgt spid="5"/>
                                        </p:tgtEl>
                                        <p:attrNameLst>
                                          <p:attrName>ppt_x</p:attrName>
                                          <p:attrName>ppt_y</p:attrName>
                                        </p:attrNameLst>
                                      </p:cBhvr>
                                      <p:rCtr x="-17667" y="0"/>
                                    </p:animMotion>
                                  </p:childTnLst>
                                </p:cTn>
                              </p:par>
                              <p:par>
                                <p:cTn id="84" presetID="42" presetClass="path" presetSubtype="0" accel="10000" decel="90000" fill="hold" grpId="2" nodeType="withEffect">
                                  <p:stCondLst>
                                    <p:cond delay="500"/>
                                  </p:stCondLst>
                                  <p:childTnLst>
                                    <p:animMotion origin="layout" path="M 1.87133E-6 3.25011E-6 L -0.35333 3.25011E-6 " pathEditMode="relative" rAng="0" ptsTypes="AA">
                                      <p:cBhvr>
                                        <p:cTn id="85" dur="2000" fill="hold"/>
                                        <p:tgtEl>
                                          <p:spTgt spid="27"/>
                                        </p:tgtEl>
                                        <p:attrNameLst>
                                          <p:attrName>ppt_x</p:attrName>
                                          <p:attrName>ppt_y</p:attrName>
                                        </p:attrNameLst>
                                      </p:cBhvr>
                                      <p:rCtr x="-17667" y="0"/>
                                    </p:animMotion>
                                  </p:childTnLst>
                                </p:cTn>
                              </p:par>
                              <p:par>
                                <p:cTn id="86" presetID="10" presetClass="exit" presetSubtype="0" fill="hold" grpId="3" nodeType="withEffect">
                                  <p:stCondLst>
                                    <p:cond delay="500"/>
                                  </p:stCondLst>
                                  <p:childTnLst>
                                    <p:animEffect transition="out" filter="fade">
                                      <p:cBhvr>
                                        <p:cTn id="87" dur="250"/>
                                        <p:tgtEl>
                                          <p:spTgt spid="27"/>
                                        </p:tgtEl>
                                      </p:cBhvr>
                                    </p:animEffect>
                                    <p:set>
                                      <p:cBhvr>
                                        <p:cTn id="88" dur="1" fill="hold">
                                          <p:stCondLst>
                                            <p:cond delay="249"/>
                                          </p:stCondLst>
                                        </p:cTn>
                                        <p:tgtEl>
                                          <p:spTgt spid="27"/>
                                        </p:tgtEl>
                                        <p:attrNameLst>
                                          <p:attrName>style.visibility</p:attrName>
                                        </p:attrNameLst>
                                      </p:cBhvr>
                                      <p:to>
                                        <p:strVal val="hidden"/>
                                      </p:to>
                                    </p:set>
                                  </p:childTnLst>
                                </p:cTn>
                              </p:par>
                              <p:par>
                                <p:cTn id="89" presetID="10" presetClass="entr" presetSubtype="0" fill="hold" grpId="1" nodeType="withEffect">
                                  <p:stCondLst>
                                    <p:cond delay="750"/>
                                  </p:stCondLst>
                                  <p:childTnLst>
                                    <p:set>
                                      <p:cBhvr>
                                        <p:cTn id="90" dur="1" fill="hold">
                                          <p:stCondLst>
                                            <p:cond delay="0"/>
                                          </p:stCondLst>
                                        </p:cTn>
                                        <p:tgtEl>
                                          <p:spTgt spid="31"/>
                                        </p:tgtEl>
                                        <p:attrNameLst>
                                          <p:attrName>style.visibility</p:attrName>
                                        </p:attrNameLst>
                                      </p:cBhvr>
                                      <p:to>
                                        <p:strVal val="visible"/>
                                      </p:to>
                                    </p:set>
                                    <p:animEffect transition="in" filter="fade">
                                      <p:cBhvr>
                                        <p:cTn id="91" dur="250"/>
                                        <p:tgtEl>
                                          <p:spTgt spid="31"/>
                                        </p:tgtEl>
                                      </p:cBhvr>
                                    </p:animEffect>
                                  </p:childTnLst>
                                </p:cTn>
                              </p:par>
                              <p:par>
                                <p:cTn id="92" presetID="42" presetClass="path" presetSubtype="0" accel="10000" decel="90000" fill="hold" grpId="0" nodeType="withEffect">
                                  <p:stCondLst>
                                    <p:cond delay="500"/>
                                  </p:stCondLst>
                                  <p:childTnLst>
                                    <p:animMotion origin="layout" path="M 3.6916E-6 -2.94598E-6 L -0.35334 -2.94598E-6 " pathEditMode="relative" rAng="0" ptsTypes="AA">
                                      <p:cBhvr>
                                        <p:cTn id="93" dur="2000" fill="hold"/>
                                        <p:tgtEl>
                                          <p:spTgt spid="31"/>
                                        </p:tgtEl>
                                        <p:attrNameLst>
                                          <p:attrName>ppt_x</p:attrName>
                                          <p:attrName>ppt_y</p:attrName>
                                        </p:attrNameLst>
                                      </p:cBhvr>
                                      <p:rCtr x="-17667" y="0"/>
                                    </p:animMotion>
                                  </p:childTnLst>
                                </p:cTn>
                              </p:par>
                              <p:par>
                                <p:cTn id="94" presetID="10" presetClass="entr" presetSubtype="0" fill="hold" grpId="0" nodeType="withEffect">
                                  <p:stCondLst>
                                    <p:cond delay="1000"/>
                                  </p:stCondLst>
                                  <p:childTnLst>
                                    <p:set>
                                      <p:cBhvr>
                                        <p:cTn id="95" dur="1" fill="hold">
                                          <p:stCondLst>
                                            <p:cond delay="0"/>
                                          </p:stCondLst>
                                        </p:cTn>
                                        <p:tgtEl>
                                          <p:spTgt spid="28"/>
                                        </p:tgtEl>
                                        <p:attrNameLst>
                                          <p:attrName>style.visibility</p:attrName>
                                        </p:attrNameLst>
                                      </p:cBhvr>
                                      <p:to>
                                        <p:strVal val="visible"/>
                                      </p:to>
                                    </p:set>
                                    <p:animEffect transition="in" filter="fade">
                                      <p:cBhvr>
                                        <p:cTn id="96" dur="250"/>
                                        <p:tgtEl>
                                          <p:spTgt spid="28"/>
                                        </p:tgtEl>
                                      </p:cBhvr>
                                    </p:animEffect>
                                  </p:childTnLst>
                                </p:cTn>
                              </p:par>
                              <p:par>
                                <p:cTn id="97" presetID="42" presetClass="path" presetSubtype="0" accel="10000" decel="90000" fill="hold" grpId="1" nodeType="withEffect">
                                  <p:stCondLst>
                                    <p:cond delay="500"/>
                                  </p:stCondLst>
                                  <p:childTnLst>
                                    <p:animMotion origin="layout" path="M 3.6916E-6 -2.94598E-6 L -0.35334 -2.94598E-6 " pathEditMode="relative" rAng="0" ptsTypes="AA">
                                      <p:cBhvr>
                                        <p:cTn id="98" dur="2000" fill="hold"/>
                                        <p:tgtEl>
                                          <p:spTgt spid="28"/>
                                        </p:tgtEl>
                                        <p:attrNameLst>
                                          <p:attrName>ppt_x</p:attrName>
                                          <p:attrName>ppt_y</p:attrName>
                                        </p:attrNameLst>
                                      </p:cBhvr>
                                      <p:rCtr x="-17667" y="0"/>
                                    </p:animMotion>
                                  </p:childTnLst>
                                </p:cTn>
                              </p:par>
                              <p:par>
                                <p:cTn id="99" presetID="10" presetClass="entr" presetSubtype="0" fill="hold" grpId="0" nodeType="withEffect">
                                  <p:stCondLst>
                                    <p:cond delay="1250"/>
                                  </p:stCondLst>
                                  <p:childTnLst>
                                    <p:set>
                                      <p:cBhvr>
                                        <p:cTn id="100" dur="1" fill="hold">
                                          <p:stCondLst>
                                            <p:cond delay="0"/>
                                          </p:stCondLst>
                                        </p:cTn>
                                        <p:tgtEl>
                                          <p:spTgt spid="29"/>
                                        </p:tgtEl>
                                        <p:attrNameLst>
                                          <p:attrName>style.visibility</p:attrName>
                                        </p:attrNameLst>
                                      </p:cBhvr>
                                      <p:to>
                                        <p:strVal val="visible"/>
                                      </p:to>
                                    </p:set>
                                    <p:animEffect transition="in" filter="fade">
                                      <p:cBhvr>
                                        <p:cTn id="101" dur="250"/>
                                        <p:tgtEl>
                                          <p:spTgt spid="29"/>
                                        </p:tgtEl>
                                      </p:cBhvr>
                                    </p:animEffect>
                                  </p:childTnLst>
                                </p:cTn>
                              </p:par>
                              <p:par>
                                <p:cTn id="102" presetID="42" presetClass="path" presetSubtype="0" accel="10000" decel="90000" fill="hold" grpId="1" nodeType="withEffect">
                                  <p:stCondLst>
                                    <p:cond delay="500"/>
                                  </p:stCondLst>
                                  <p:childTnLst>
                                    <p:animMotion origin="layout" path="M 3.6916E-6 -2.94598E-6 L -0.35334 -2.94598E-6 " pathEditMode="relative" rAng="0" ptsTypes="AA">
                                      <p:cBhvr>
                                        <p:cTn id="103" dur="2000" fill="hold"/>
                                        <p:tgtEl>
                                          <p:spTgt spid="29"/>
                                        </p:tgtEl>
                                        <p:attrNameLst>
                                          <p:attrName>ppt_x</p:attrName>
                                          <p:attrName>ppt_y</p:attrName>
                                        </p:attrNameLst>
                                      </p:cBhvr>
                                      <p:rCtr x="-17667" y="0"/>
                                    </p:animMotion>
                                  </p:childTnLst>
                                </p:cTn>
                              </p:par>
                              <p:par>
                                <p:cTn id="104" presetID="10" presetClass="entr" presetSubtype="0" fill="hold" grpId="0" nodeType="withEffect">
                                  <p:stCondLst>
                                    <p:cond delay="1500"/>
                                  </p:stCondLst>
                                  <p:childTnLst>
                                    <p:set>
                                      <p:cBhvr>
                                        <p:cTn id="105" dur="1" fill="hold">
                                          <p:stCondLst>
                                            <p:cond delay="0"/>
                                          </p:stCondLst>
                                        </p:cTn>
                                        <p:tgtEl>
                                          <p:spTgt spid="30"/>
                                        </p:tgtEl>
                                        <p:attrNameLst>
                                          <p:attrName>style.visibility</p:attrName>
                                        </p:attrNameLst>
                                      </p:cBhvr>
                                      <p:to>
                                        <p:strVal val="visible"/>
                                      </p:to>
                                    </p:set>
                                    <p:animEffect transition="in" filter="fade">
                                      <p:cBhvr>
                                        <p:cTn id="106" dur="250"/>
                                        <p:tgtEl>
                                          <p:spTgt spid="30"/>
                                        </p:tgtEl>
                                      </p:cBhvr>
                                    </p:animEffect>
                                  </p:childTnLst>
                                </p:cTn>
                              </p:par>
                              <p:par>
                                <p:cTn id="107" presetID="42" presetClass="path" presetSubtype="0" accel="10000" decel="90000" fill="hold" grpId="1" nodeType="withEffect">
                                  <p:stCondLst>
                                    <p:cond delay="500"/>
                                  </p:stCondLst>
                                  <p:childTnLst>
                                    <p:animMotion origin="layout" path="M 3.6916E-6 -2.94598E-6 L -0.35334 -2.94598E-6 " pathEditMode="relative" rAng="0" ptsTypes="AA">
                                      <p:cBhvr>
                                        <p:cTn id="108" dur="2000" fill="hold"/>
                                        <p:tgtEl>
                                          <p:spTgt spid="30"/>
                                        </p:tgtEl>
                                        <p:attrNameLst>
                                          <p:attrName>ppt_x</p:attrName>
                                          <p:attrName>ppt_y</p:attrName>
                                        </p:attrNameLst>
                                      </p:cBhvr>
                                      <p:rCtr x="-17667" y="0"/>
                                    </p:animMotion>
                                  </p:childTnLst>
                                </p:cTn>
                              </p:par>
                              <p:par>
                                <p:cTn id="109" presetID="42" presetClass="path" presetSubtype="0" accel="10000" decel="90000" fill="hold" nodeType="withEffect">
                                  <p:stCondLst>
                                    <p:cond delay="500"/>
                                  </p:stCondLst>
                                  <p:childTnLst>
                                    <p:animMotion origin="layout" path="M -2.24917E-6 1.27553E-6 L -0.35333 1.27553E-6 " pathEditMode="relative" rAng="0" ptsTypes="AA">
                                      <p:cBhvr>
                                        <p:cTn id="110" dur="2000" fill="hold"/>
                                        <p:tgtEl>
                                          <p:spTgt spid="33"/>
                                        </p:tgtEl>
                                        <p:attrNameLst>
                                          <p:attrName>ppt_x</p:attrName>
                                          <p:attrName>ppt_y</p:attrName>
                                        </p:attrNameLst>
                                      </p:cBhvr>
                                      <p:rCtr x="-17667" y="0"/>
                                    </p:animMotion>
                                  </p:childTnLst>
                                </p:cTn>
                              </p:par>
                              <p:par>
                                <p:cTn id="111" presetID="42" presetClass="path" presetSubtype="0" accel="10000" decel="90000" fill="hold" nodeType="withEffect">
                                  <p:stCondLst>
                                    <p:cond delay="500"/>
                                  </p:stCondLst>
                                  <p:childTnLst>
                                    <p:animMotion origin="layout" path="M -2.24917E-6 4.22606E-6 L -0.35333 4.22606E-6 " pathEditMode="relative" rAng="0" ptsTypes="AA">
                                      <p:cBhvr>
                                        <p:cTn id="112" dur="2000" fill="hold"/>
                                        <p:tgtEl>
                                          <p:spTgt spid="34"/>
                                        </p:tgtEl>
                                        <p:attrNameLst>
                                          <p:attrName>ppt_x</p:attrName>
                                          <p:attrName>ppt_y</p:attrName>
                                        </p:attrNameLst>
                                      </p:cBhvr>
                                      <p:rCtr x="-17667" y="0"/>
                                    </p:animMotion>
                                  </p:childTnLst>
                                </p:cTn>
                              </p:par>
                              <p:par>
                                <p:cTn id="113" presetID="42" presetClass="path" presetSubtype="0" accel="10000" decel="90000" fill="hold" nodeType="withEffect">
                                  <p:stCondLst>
                                    <p:cond delay="500"/>
                                  </p:stCondLst>
                                  <p:childTnLst>
                                    <p:animMotion origin="layout" path="M 2.45341E-6 -1.04403E-6 L -0.35333 -1.04403E-6 " pathEditMode="relative" rAng="0" ptsTypes="AA">
                                      <p:cBhvr>
                                        <p:cTn id="114" dur="2000" fill="hold"/>
                                        <p:tgtEl>
                                          <p:spTgt spid="4"/>
                                        </p:tgtEl>
                                        <p:attrNameLst>
                                          <p:attrName>ppt_x</p:attrName>
                                          <p:attrName>ppt_y</p:attrName>
                                        </p:attrNameLst>
                                      </p:cBhvr>
                                      <p:rCtr x="-17667" y="0"/>
                                    </p:animMotion>
                                  </p:childTnLst>
                                </p:cTn>
                              </p:par>
                              <p:par>
                                <p:cTn id="115" presetID="42" presetClass="path" presetSubtype="0" accel="10000" decel="90000" fill="hold" nodeType="withEffect">
                                  <p:stCondLst>
                                    <p:cond delay="500"/>
                                  </p:stCondLst>
                                  <p:childTnLst>
                                    <p:animMotion origin="layout" path="M -2.24917E-6 4.26691E-6 L -0.35333 4.26691E-6 " pathEditMode="relative" rAng="0" ptsTypes="AA">
                                      <p:cBhvr>
                                        <p:cTn id="116" dur="2000" fill="hold"/>
                                        <p:tgtEl>
                                          <p:spTgt spid="36"/>
                                        </p:tgtEl>
                                        <p:attrNameLst>
                                          <p:attrName>ppt_x</p:attrName>
                                          <p:attrName>ppt_y</p:attrName>
                                        </p:attrNameLst>
                                      </p:cBhvr>
                                      <p:rCtr x="-17667" y="0"/>
                                    </p:animMotion>
                                  </p:childTnLst>
                                </p:cTn>
                              </p:par>
                              <p:par>
                                <p:cTn id="117" presetID="42" presetClass="path" presetSubtype="0" accel="10000" decel="90000" fill="hold" nodeType="withEffect">
                                  <p:stCondLst>
                                    <p:cond delay="500"/>
                                  </p:stCondLst>
                                  <p:childTnLst>
                                    <p:animMotion origin="layout" path="M -2.24917E-6 2.40127E-6 L -0.35333 2.40127E-6 " pathEditMode="relative" rAng="0" ptsTypes="AA">
                                      <p:cBhvr>
                                        <p:cTn id="118" dur="2000" fill="hold"/>
                                        <p:tgtEl>
                                          <p:spTgt spid="37"/>
                                        </p:tgtEl>
                                        <p:attrNameLst>
                                          <p:attrName>ppt_x</p:attrName>
                                          <p:attrName>ppt_y</p:attrName>
                                        </p:attrNameLst>
                                      </p:cBhvr>
                                      <p:rCtr x="-17667"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25" grpId="1" animBg="1"/>
      <p:bldP spid="25" grpId="2" animBg="1"/>
      <p:bldP spid="9" grpId="0" animBg="1"/>
      <p:bldP spid="27" grpId="0" animBg="1"/>
      <p:bldP spid="27" grpId="1" animBg="1"/>
      <p:bldP spid="27" grpId="2" animBg="1"/>
      <p:bldP spid="27" grpId="3" animBg="1"/>
      <p:bldP spid="28" grpId="0"/>
      <p:bldP spid="28" grpId="1"/>
      <p:bldP spid="29" grpId="0"/>
      <p:bldP spid="29" grpId="1"/>
      <p:bldP spid="30" grpId="0"/>
      <p:bldP spid="30" grpId="1"/>
      <p:bldP spid="31" grpId="0"/>
      <p:bldP spid="31" grpId="1"/>
      <p:bldP spid="3" grpId="0" animBg="1"/>
      <p:bldP spid="3" grpId="1" animBg="1"/>
      <p:bldP spid="3" grpId="2" animBg="1"/>
      <p:bldP spid="2" grpId="0"/>
      <p:bldP spid="2" grpId="1"/>
      <p:bldP spid="2" grpId="2"/>
    </p:bldLst>
  </p:timing>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30" name="Freeform 12"/>
          <p:cNvSpPr>
            <a:spLocks/>
          </p:cNvSpPr>
          <p:nvPr/>
        </p:nvSpPr>
        <p:spPr bwMode="auto">
          <a:xfrm>
            <a:off x="8814881" y="850885"/>
            <a:ext cx="962586" cy="2646276"/>
          </a:xfrm>
          <a:custGeom>
            <a:avLst/>
            <a:gdLst>
              <a:gd name="T0" fmla="*/ 1199 w 3172"/>
              <a:gd name="T1" fmla="*/ 8720 h 8720"/>
              <a:gd name="T2" fmla="*/ 0 w 3172"/>
              <a:gd name="T3" fmla="*/ 8720 h 8720"/>
              <a:gd name="T4" fmla="*/ 0 w 3172"/>
              <a:gd name="T5" fmla="*/ 8643 h 8720"/>
              <a:gd name="T6" fmla="*/ 1199 w 3172"/>
              <a:gd name="T7" fmla="*/ 8643 h 8720"/>
              <a:gd name="T8" fmla="*/ 1888 w 3172"/>
              <a:gd name="T9" fmla="*/ 7955 h 8720"/>
              <a:gd name="T10" fmla="*/ 1888 w 3172"/>
              <a:gd name="T11" fmla="*/ 765 h 8720"/>
              <a:gd name="T12" fmla="*/ 2653 w 3172"/>
              <a:gd name="T13" fmla="*/ 0 h 8720"/>
              <a:gd name="T14" fmla="*/ 3172 w 3172"/>
              <a:gd name="T15" fmla="*/ 0 h 8720"/>
              <a:gd name="T16" fmla="*/ 3172 w 3172"/>
              <a:gd name="T17" fmla="*/ 76 h 8720"/>
              <a:gd name="T18" fmla="*/ 2653 w 3172"/>
              <a:gd name="T19" fmla="*/ 76 h 8720"/>
              <a:gd name="T20" fmla="*/ 1964 w 3172"/>
              <a:gd name="T21" fmla="*/ 765 h 8720"/>
              <a:gd name="T22" fmla="*/ 1964 w 3172"/>
              <a:gd name="T23" fmla="*/ 7955 h 8720"/>
              <a:gd name="T24" fmla="*/ 1199 w 3172"/>
              <a:gd name="T25" fmla="*/ 8720 h 8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72" h="8720">
                <a:moveTo>
                  <a:pt x="1199" y="8720"/>
                </a:moveTo>
                <a:cubicBezTo>
                  <a:pt x="0" y="8720"/>
                  <a:pt x="0" y="8720"/>
                  <a:pt x="0" y="8720"/>
                </a:cubicBezTo>
                <a:cubicBezTo>
                  <a:pt x="0" y="8643"/>
                  <a:pt x="0" y="8643"/>
                  <a:pt x="0" y="8643"/>
                </a:cubicBezTo>
                <a:cubicBezTo>
                  <a:pt x="1199" y="8643"/>
                  <a:pt x="1199" y="8643"/>
                  <a:pt x="1199" y="8643"/>
                </a:cubicBezTo>
                <a:cubicBezTo>
                  <a:pt x="1579" y="8643"/>
                  <a:pt x="1888" y="8334"/>
                  <a:pt x="1888" y="7955"/>
                </a:cubicBezTo>
                <a:cubicBezTo>
                  <a:pt x="1888" y="765"/>
                  <a:pt x="1888" y="765"/>
                  <a:pt x="1888" y="765"/>
                </a:cubicBezTo>
                <a:cubicBezTo>
                  <a:pt x="1888" y="344"/>
                  <a:pt x="2231" y="0"/>
                  <a:pt x="2653" y="0"/>
                </a:cubicBezTo>
                <a:cubicBezTo>
                  <a:pt x="3172" y="0"/>
                  <a:pt x="3172" y="0"/>
                  <a:pt x="3172" y="0"/>
                </a:cubicBezTo>
                <a:cubicBezTo>
                  <a:pt x="3172" y="76"/>
                  <a:pt x="3172" y="76"/>
                  <a:pt x="3172" y="76"/>
                </a:cubicBezTo>
                <a:cubicBezTo>
                  <a:pt x="2653" y="76"/>
                  <a:pt x="2653" y="76"/>
                  <a:pt x="2653" y="76"/>
                </a:cubicBezTo>
                <a:cubicBezTo>
                  <a:pt x="2273" y="76"/>
                  <a:pt x="1964" y="386"/>
                  <a:pt x="1964" y="765"/>
                </a:cubicBezTo>
                <a:cubicBezTo>
                  <a:pt x="1964" y="7955"/>
                  <a:pt x="1964" y="7955"/>
                  <a:pt x="1964" y="7955"/>
                </a:cubicBezTo>
                <a:cubicBezTo>
                  <a:pt x="1964" y="8376"/>
                  <a:pt x="1621" y="8720"/>
                  <a:pt x="1199" y="8720"/>
                </a:cubicBezTo>
                <a:close/>
              </a:path>
            </a:pathLst>
          </a:custGeom>
          <a:solidFill>
            <a:srgbClr val="0072CC"/>
          </a:solidFill>
          <a:ln w="28575">
            <a:solidFill>
              <a:schemeClr val="bg2"/>
            </a:solidFill>
            <a:round/>
            <a:headEnd/>
            <a:tailEnd/>
          </a:ln>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31" name="Freeform 13"/>
          <p:cNvSpPr>
            <a:spLocks/>
          </p:cNvSpPr>
          <p:nvPr/>
        </p:nvSpPr>
        <p:spPr bwMode="auto">
          <a:xfrm>
            <a:off x="8840698" y="3473784"/>
            <a:ext cx="936769" cy="2646276"/>
          </a:xfrm>
          <a:custGeom>
            <a:avLst/>
            <a:gdLst>
              <a:gd name="T0" fmla="*/ 3087 w 3087"/>
              <a:gd name="T1" fmla="*/ 8720 h 8720"/>
              <a:gd name="T2" fmla="*/ 2568 w 3087"/>
              <a:gd name="T3" fmla="*/ 8720 h 8720"/>
              <a:gd name="T4" fmla="*/ 1803 w 3087"/>
              <a:gd name="T5" fmla="*/ 7955 h 8720"/>
              <a:gd name="T6" fmla="*/ 1803 w 3087"/>
              <a:gd name="T7" fmla="*/ 765 h 8720"/>
              <a:gd name="T8" fmla="*/ 1114 w 3087"/>
              <a:gd name="T9" fmla="*/ 77 h 8720"/>
              <a:gd name="T10" fmla="*/ 0 w 3087"/>
              <a:gd name="T11" fmla="*/ 77 h 8720"/>
              <a:gd name="T12" fmla="*/ 0 w 3087"/>
              <a:gd name="T13" fmla="*/ 0 h 8720"/>
              <a:gd name="T14" fmla="*/ 1114 w 3087"/>
              <a:gd name="T15" fmla="*/ 0 h 8720"/>
              <a:gd name="T16" fmla="*/ 1879 w 3087"/>
              <a:gd name="T17" fmla="*/ 765 h 8720"/>
              <a:gd name="T18" fmla="*/ 1879 w 3087"/>
              <a:gd name="T19" fmla="*/ 7955 h 8720"/>
              <a:gd name="T20" fmla="*/ 2568 w 3087"/>
              <a:gd name="T21" fmla="*/ 8644 h 8720"/>
              <a:gd name="T22" fmla="*/ 3087 w 3087"/>
              <a:gd name="T23" fmla="*/ 8644 h 8720"/>
              <a:gd name="T24" fmla="*/ 3087 w 3087"/>
              <a:gd name="T25" fmla="*/ 8720 h 8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87" h="8720">
                <a:moveTo>
                  <a:pt x="3087" y="8720"/>
                </a:moveTo>
                <a:cubicBezTo>
                  <a:pt x="2568" y="8720"/>
                  <a:pt x="2568" y="8720"/>
                  <a:pt x="2568" y="8720"/>
                </a:cubicBezTo>
                <a:cubicBezTo>
                  <a:pt x="2146" y="8720"/>
                  <a:pt x="1803" y="8376"/>
                  <a:pt x="1803" y="7955"/>
                </a:cubicBezTo>
                <a:cubicBezTo>
                  <a:pt x="1803" y="765"/>
                  <a:pt x="1803" y="765"/>
                  <a:pt x="1803" y="765"/>
                </a:cubicBezTo>
                <a:cubicBezTo>
                  <a:pt x="1803" y="386"/>
                  <a:pt x="1494" y="77"/>
                  <a:pt x="1114" y="77"/>
                </a:cubicBezTo>
                <a:cubicBezTo>
                  <a:pt x="0" y="77"/>
                  <a:pt x="0" y="77"/>
                  <a:pt x="0" y="77"/>
                </a:cubicBezTo>
                <a:cubicBezTo>
                  <a:pt x="0" y="0"/>
                  <a:pt x="0" y="0"/>
                  <a:pt x="0" y="0"/>
                </a:cubicBezTo>
                <a:cubicBezTo>
                  <a:pt x="1114" y="0"/>
                  <a:pt x="1114" y="0"/>
                  <a:pt x="1114" y="0"/>
                </a:cubicBezTo>
                <a:cubicBezTo>
                  <a:pt x="1536" y="0"/>
                  <a:pt x="1879" y="344"/>
                  <a:pt x="1879" y="765"/>
                </a:cubicBezTo>
                <a:cubicBezTo>
                  <a:pt x="1879" y="7955"/>
                  <a:pt x="1879" y="7955"/>
                  <a:pt x="1879" y="7955"/>
                </a:cubicBezTo>
                <a:cubicBezTo>
                  <a:pt x="1879" y="8334"/>
                  <a:pt x="2188" y="8644"/>
                  <a:pt x="2568" y="8644"/>
                </a:cubicBezTo>
                <a:cubicBezTo>
                  <a:pt x="3087" y="8644"/>
                  <a:pt x="3087" y="8644"/>
                  <a:pt x="3087" y="8644"/>
                </a:cubicBezTo>
                <a:lnTo>
                  <a:pt x="3087" y="8720"/>
                </a:lnTo>
                <a:close/>
              </a:path>
            </a:pathLst>
          </a:custGeom>
          <a:solidFill>
            <a:srgbClr val="0072CC"/>
          </a:solidFill>
          <a:ln w="28575">
            <a:solidFill>
              <a:schemeClr val="bg2"/>
            </a:solidFill>
            <a:round/>
            <a:headEnd/>
            <a:tailEnd/>
          </a:ln>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useBgFill="1">
        <p:nvSpPr>
          <p:cNvPr id="73" name="Rectangle 72"/>
          <p:cNvSpPr/>
          <p:nvPr/>
        </p:nvSpPr>
        <p:spPr bwMode="auto">
          <a:xfrm>
            <a:off x="8451691" y="3105393"/>
            <a:ext cx="450902" cy="733994"/>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372" dirty="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44" name="TextBox 43"/>
          <p:cNvSpPr txBox="1"/>
          <p:nvPr/>
        </p:nvSpPr>
        <p:spPr>
          <a:xfrm>
            <a:off x="9591341" y="1314997"/>
            <a:ext cx="2372049" cy="4290678"/>
          </a:xfrm>
          <a:prstGeom prst="rect">
            <a:avLst/>
          </a:prstGeom>
          <a:noFill/>
        </p:spPr>
        <p:txBody>
          <a:bodyPr wrap="square" lIns="179238" tIns="143391" rIns="179238" bIns="143391" rtlCol="0" anchor="ctr">
            <a:spAutoFit/>
          </a:bodyPr>
          <a:lstStyle/>
          <a:p>
            <a:pPr defTabSz="914180">
              <a:lnSpc>
                <a:spcPts val="1470"/>
              </a:lnSpc>
              <a:spcAft>
                <a:spcPts val="1764"/>
              </a:spcAft>
              <a:defRPr/>
            </a:pPr>
            <a:r>
              <a:rPr lang="en-US" sz="147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Power BI</a:t>
            </a:r>
          </a:p>
          <a:p>
            <a:pPr defTabSz="914180">
              <a:lnSpc>
                <a:spcPts val="1470"/>
              </a:lnSpc>
              <a:spcAft>
                <a:spcPts val="1764"/>
              </a:spcAft>
              <a:defRPr/>
            </a:pPr>
            <a:r>
              <a:rPr lang="en-US" sz="147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achine Learning</a:t>
            </a:r>
          </a:p>
          <a:p>
            <a:pPr defTabSz="914180">
              <a:lnSpc>
                <a:spcPts val="1470"/>
              </a:lnSpc>
              <a:spcAft>
                <a:spcPts val="1764"/>
              </a:spcAft>
              <a:defRPr/>
            </a:pPr>
            <a:r>
              <a:rPr lang="en-US" sz="147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SQL Data Warehouse</a:t>
            </a:r>
          </a:p>
          <a:p>
            <a:pPr defTabSz="914180">
              <a:lnSpc>
                <a:spcPts val="1470"/>
              </a:lnSpc>
              <a:spcAft>
                <a:spcPts val="1764"/>
              </a:spcAft>
              <a:defRPr/>
            </a:pPr>
            <a:r>
              <a:rPr lang="en-US" sz="1470"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HDInsight</a:t>
            </a:r>
            <a:endParaRPr lang="en-US" sz="147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endParaRPr>
          </a:p>
          <a:p>
            <a:pPr defTabSz="914180">
              <a:lnSpc>
                <a:spcPts val="1470"/>
              </a:lnSpc>
              <a:spcAft>
                <a:spcPts val="1764"/>
              </a:spcAft>
              <a:defRPr/>
            </a:pPr>
            <a:r>
              <a:rPr lang="en-US" sz="1470"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ata Lake Analytics</a:t>
            </a:r>
          </a:p>
          <a:p>
            <a:pPr defTabSz="914180">
              <a:lnSpc>
                <a:spcPts val="1470"/>
              </a:lnSpc>
              <a:spcAft>
                <a:spcPts val="1764"/>
              </a:spcAft>
              <a:defRPr/>
            </a:pPr>
            <a:r>
              <a:rPr lang="en-US" sz="1470"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ata Lake Store</a:t>
            </a:r>
          </a:p>
          <a:p>
            <a:pPr defTabSz="914180">
              <a:lnSpc>
                <a:spcPts val="1470"/>
              </a:lnSpc>
              <a:spcAft>
                <a:spcPts val="1764"/>
              </a:spcAft>
              <a:defRPr/>
            </a:pPr>
            <a:r>
              <a:rPr lang="en-US" sz="1470"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Stream Analytics</a:t>
            </a:r>
          </a:p>
          <a:p>
            <a:pPr defTabSz="914180">
              <a:lnSpc>
                <a:spcPts val="1470"/>
              </a:lnSpc>
              <a:spcAft>
                <a:spcPts val="1764"/>
              </a:spcAft>
              <a:defRPr/>
            </a:pPr>
            <a:r>
              <a:rPr lang="en-US" sz="1470"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ata Factory</a:t>
            </a:r>
          </a:p>
          <a:p>
            <a:pPr defTabSz="914180">
              <a:lnSpc>
                <a:spcPts val="1470"/>
              </a:lnSpc>
              <a:spcAft>
                <a:spcPts val="1764"/>
              </a:spcAft>
              <a:defRPr/>
            </a:pPr>
            <a:r>
              <a:rPr lang="en-US" sz="1470"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ata Catalog</a:t>
            </a:r>
          </a:p>
          <a:p>
            <a:pPr defTabSz="914180">
              <a:lnSpc>
                <a:spcPts val="1470"/>
              </a:lnSpc>
              <a:spcAft>
                <a:spcPts val="1764"/>
              </a:spcAft>
              <a:defRPr/>
            </a:pPr>
            <a:r>
              <a:rPr lang="en-US" sz="1470"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Event Hubs</a:t>
            </a:r>
          </a:p>
        </p:txBody>
      </p:sp>
      <p:pic>
        <p:nvPicPr>
          <p:cNvPr id="51" name="Picture 50"/>
          <p:cNvPicPr>
            <a:picLocks noChangeAspect="1"/>
          </p:cNvPicPr>
          <p:nvPr/>
        </p:nvPicPr>
        <p:blipFill>
          <a:blip r:embed="rId2"/>
          <a:stretch>
            <a:fillRect/>
          </a:stretch>
        </p:blipFill>
        <p:spPr>
          <a:xfrm>
            <a:off x="350748" y="1357824"/>
            <a:ext cx="464396" cy="528019"/>
          </a:xfrm>
          <a:prstGeom prst="rect">
            <a:avLst/>
          </a:prstGeom>
        </p:spPr>
      </p:pic>
      <p:pic>
        <p:nvPicPr>
          <p:cNvPr id="55" name="Picture 54"/>
          <p:cNvPicPr>
            <a:picLocks noChangeAspect="1"/>
          </p:cNvPicPr>
          <p:nvPr/>
        </p:nvPicPr>
        <p:blipFill>
          <a:blip r:embed="rId3"/>
          <a:stretch>
            <a:fillRect/>
          </a:stretch>
        </p:blipFill>
        <p:spPr>
          <a:xfrm rot="5400000">
            <a:off x="299119" y="2372452"/>
            <a:ext cx="567653" cy="356471"/>
          </a:xfrm>
          <a:prstGeom prst="rect">
            <a:avLst/>
          </a:prstGeom>
        </p:spPr>
      </p:pic>
      <p:pic>
        <p:nvPicPr>
          <p:cNvPr id="57" name="Picture 56"/>
          <p:cNvPicPr>
            <a:picLocks noChangeAspect="1"/>
          </p:cNvPicPr>
          <p:nvPr/>
        </p:nvPicPr>
        <p:blipFill>
          <a:blip r:embed="rId4"/>
          <a:stretch>
            <a:fillRect/>
          </a:stretch>
        </p:blipFill>
        <p:spPr>
          <a:xfrm>
            <a:off x="327234" y="4253696"/>
            <a:ext cx="511426" cy="404815"/>
          </a:xfrm>
          <a:prstGeom prst="rect">
            <a:avLst/>
          </a:prstGeom>
        </p:spPr>
      </p:pic>
      <p:pic>
        <p:nvPicPr>
          <p:cNvPr id="58" name="Picture 57"/>
          <p:cNvPicPr>
            <a:picLocks noChangeAspect="1"/>
          </p:cNvPicPr>
          <p:nvPr/>
        </p:nvPicPr>
        <p:blipFill>
          <a:blip r:embed="rId5"/>
          <a:stretch>
            <a:fillRect/>
          </a:stretch>
        </p:blipFill>
        <p:spPr>
          <a:xfrm>
            <a:off x="391897" y="5143976"/>
            <a:ext cx="382100" cy="498685"/>
          </a:xfrm>
          <a:prstGeom prst="rect">
            <a:avLst/>
          </a:prstGeom>
        </p:spPr>
      </p:pic>
      <p:grpSp>
        <p:nvGrpSpPr>
          <p:cNvPr id="53" name="Group 52"/>
          <p:cNvGrpSpPr>
            <a:grpSpLocks noChangeAspect="1"/>
          </p:cNvGrpSpPr>
          <p:nvPr/>
        </p:nvGrpSpPr>
        <p:grpSpPr bwMode="auto">
          <a:xfrm>
            <a:off x="1109589" y="1366992"/>
            <a:ext cx="7817723" cy="4229120"/>
            <a:chOff x="-49688" y="-26795"/>
            <a:chExt cx="107212" cy="57998"/>
          </a:xfrm>
        </p:grpSpPr>
        <p:sp>
          <p:nvSpPr>
            <p:cNvPr id="54" name="Freeform 6"/>
            <p:cNvSpPr>
              <a:spLocks noEditPoints="1"/>
            </p:cNvSpPr>
            <p:nvPr/>
          </p:nvSpPr>
          <p:spPr bwMode="auto">
            <a:xfrm>
              <a:off x="-49688" y="-26795"/>
              <a:ext cx="107212" cy="26290"/>
            </a:xfrm>
            <a:custGeom>
              <a:avLst/>
              <a:gdLst>
                <a:gd name="T0" fmla="*/ 76 w 45383"/>
                <a:gd name="T1" fmla="*/ 670 h 11128"/>
                <a:gd name="T2" fmla="*/ 599 w 45383"/>
                <a:gd name="T3" fmla="*/ 1787 h 11128"/>
                <a:gd name="T4" fmla="*/ 533 w 45383"/>
                <a:gd name="T5" fmla="*/ 2586 h 11128"/>
                <a:gd name="T6" fmla="*/ 10 w 45383"/>
                <a:gd name="T7" fmla="*/ 3947 h 11128"/>
                <a:gd name="T8" fmla="*/ 75 w 45383"/>
                <a:gd name="T9" fmla="*/ 4814 h 11128"/>
                <a:gd name="T10" fmla="*/ 293 w 45383"/>
                <a:gd name="T11" fmla="*/ 5720 h 11128"/>
                <a:gd name="T12" fmla="*/ 533 w 45383"/>
                <a:gd name="T13" fmla="*/ 6636 h 11128"/>
                <a:gd name="T14" fmla="*/ 75 w 45383"/>
                <a:gd name="T15" fmla="*/ 7663 h 11128"/>
                <a:gd name="T16" fmla="*/ 599 w 45383"/>
                <a:gd name="T17" fmla="*/ 8608 h 11128"/>
                <a:gd name="T18" fmla="*/ 558 w 45383"/>
                <a:gd name="T19" fmla="*/ 9454 h 11128"/>
                <a:gd name="T20" fmla="*/ 724 w 45383"/>
                <a:gd name="T21" fmla="*/ 10610 h 11128"/>
                <a:gd name="T22" fmla="*/ 1605 w 45383"/>
                <a:gd name="T23" fmla="*/ 11099 h 11128"/>
                <a:gd name="T24" fmla="*/ 2791 w 45383"/>
                <a:gd name="T25" fmla="*/ 11118 h 11128"/>
                <a:gd name="T26" fmla="*/ 3659 w 45383"/>
                <a:gd name="T27" fmla="*/ 11053 h 11128"/>
                <a:gd name="T28" fmla="*/ 4514 w 45383"/>
                <a:gd name="T29" fmla="*/ 11128 h 11128"/>
                <a:gd name="T30" fmla="*/ 5735 w 45383"/>
                <a:gd name="T31" fmla="*/ 11054 h 11128"/>
                <a:gd name="T32" fmla="*/ 6558 w 45383"/>
                <a:gd name="T33" fmla="*/ 10324 h 11128"/>
                <a:gd name="T34" fmla="*/ 7069 w 45383"/>
                <a:gd name="T35" fmla="*/ 9615 h 11128"/>
                <a:gd name="T36" fmla="*/ 7730 w 45383"/>
                <a:gd name="T37" fmla="*/ 8528 h 11128"/>
                <a:gd name="T38" fmla="*/ 8819 w 45383"/>
                <a:gd name="T39" fmla="*/ 8158 h 11128"/>
                <a:gd name="T40" fmla="*/ 9604 w 45383"/>
                <a:gd name="T41" fmla="*/ 8622 h 11128"/>
                <a:gd name="T42" fmla="*/ 10739 w 45383"/>
                <a:gd name="T43" fmla="*/ 8330 h 11128"/>
                <a:gd name="T44" fmla="*/ 11391 w 45383"/>
                <a:gd name="T45" fmla="*/ 9171 h 11128"/>
                <a:gd name="T46" fmla="*/ 12053 w 45383"/>
                <a:gd name="T47" fmla="*/ 9676 h 11128"/>
                <a:gd name="T48" fmla="*/ 13243 w 45383"/>
                <a:gd name="T49" fmla="*/ 10228 h 11128"/>
                <a:gd name="T50" fmla="*/ 13956 w 45383"/>
                <a:gd name="T51" fmla="*/ 10519 h 11128"/>
                <a:gd name="T52" fmla="*/ 14662 w 45383"/>
                <a:gd name="T53" fmla="*/ 11052 h 11128"/>
                <a:gd name="T54" fmla="*/ 15779 w 45383"/>
                <a:gd name="T55" fmla="*/ 10529 h 11128"/>
                <a:gd name="T56" fmla="*/ 16641 w 45383"/>
                <a:gd name="T57" fmla="*/ 10388 h 11128"/>
                <a:gd name="T58" fmla="*/ 17466 w 45383"/>
                <a:gd name="T59" fmla="*/ 10193 h 11128"/>
                <a:gd name="T60" fmla="*/ 18397 w 45383"/>
                <a:gd name="T61" fmla="*/ 9262 h 11128"/>
                <a:gd name="T62" fmla="*/ 19117 w 45383"/>
                <a:gd name="T63" fmla="*/ 8964 h 11128"/>
                <a:gd name="T64" fmla="*/ 19941 w 45383"/>
                <a:gd name="T65" fmla="*/ 8200 h 11128"/>
                <a:gd name="T66" fmla="*/ 20981 w 45383"/>
                <a:gd name="T67" fmla="*/ 8721 h 11128"/>
                <a:gd name="T68" fmla="*/ 21947 w 45383"/>
                <a:gd name="T69" fmla="*/ 8684 h 11128"/>
                <a:gd name="T70" fmla="*/ 22724 w 45383"/>
                <a:gd name="T71" fmla="*/ 9467 h 11128"/>
                <a:gd name="T72" fmla="*/ 23304 w 45383"/>
                <a:gd name="T73" fmla="*/ 10044 h 11128"/>
                <a:gd name="T74" fmla="*/ 24124 w 45383"/>
                <a:gd name="T75" fmla="*/ 10659 h 11128"/>
                <a:gd name="T76" fmla="*/ 25206 w 45383"/>
                <a:gd name="T77" fmla="*/ 11118 h 11128"/>
                <a:gd name="T78" fmla="*/ 26074 w 45383"/>
                <a:gd name="T79" fmla="*/ 11053 h 11128"/>
                <a:gd name="T80" fmla="*/ 26929 w 45383"/>
                <a:gd name="T81" fmla="*/ 11128 h 11128"/>
                <a:gd name="T82" fmla="*/ 28211 w 45383"/>
                <a:gd name="T83" fmla="*/ 10553 h 11128"/>
                <a:gd name="T84" fmla="*/ 28677 w 45383"/>
                <a:gd name="T85" fmla="*/ 9801 h 11128"/>
                <a:gd name="T86" fmla="*/ 29357 w 45383"/>
                <a:gd name="T87" fmla="*/ 9318 h 11128"/>
                <a:gd name="T88" fmla="*/ 30004 w 45383"/>
                <a:gd name="T89" fmla="*/ 8399 h 11128"/>
                <a:gd name="T90" fmla="*/ 31304 w 45383"/>
                <a:gd name="T91" fmla="*/ 8089 h 11128"/>
                <a:gd name="T92" fmla="*/ 32002 w 45383"/>
                <a:gd name="T93" fmla="*/ 8674 h 11128"/>
                <a:gd name="T94" fmla="*/ 33268 w 45383"/>
                <a:gd name="T95" fmla="*/ 8545 h 11128"/>
                <a:gd name="T96" fmla="*/ 34220 w 45383"/>
                <a:gd name="T97" fmla="*/ 9190 h 11128"/>
                <a:gd name="T98" fmla="*/ 34786 w 45383"/>
                <a:gd name="T99" fmla="*/ 9839 h 11128"/>
                <a:gd name="T100" fmla="*/ 35255 w 45383"/>
                <a:gd name="T101" fmla="*/ 10498 h 11128"/>
                <a:gd name="T102" fmla="*/ 36189 w 45383"/>
                <a:gd name="T103" fmla="*/ 11053 h 11128"/>
                <a:gd name="T104" fmla="*/ 37134 w 45383"/>
                <a:gd name="T105" fmla="*/ 10529 h 11128"/>
                <a:gd name="T106" fmla="*/ 38163 w 45383"/>
                <a:gd name="T107" fmla="*/ 10516 h 11128"/>
                <a:gd name="T108" fmla="*/ 38769 w 45383"/>
                <a:gd name="T109" fmla="*/ 9971 h 11128"/>
                <a:gd name="T110" fmla="*/ 39647 w 45383"/>
                <a:gd name="T111" fmla="*/ 9729 h 11128"/>
                <a:gd name="T112" fmla="*/ 40352 w 45383"/>
                <a:gd name="T113" fmla="*/ 8903 h 11128"/>
                <a:gd name="T114" fmla="*/ 41330 w 45383"/>
                <a:gd name="T115" fmla="*/ 8196 h 11128"/>
                <a:gd name="T116" fmla="*/ 42600 w 45383"/>
                <a:gd name="T117" fmla="*/ 8711 h 11128"/>
                <a:gd name="T118" fmla="*/ 43384 w 45383"/>
                <a:gd name="T119" fmla="*/ 8788 h 11128"/>
                <a:gd name="T120" fmla="*/ 44314 w 45383"/>
                <a:gd name="T121" fmla="*/ 8972 h 11128"/>
                <a:gd name="T122" fmla="*/ 44953 w 45383"/>
                <a:gd name="T123" fmla="*/ 9871 h 1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5383" h="11128">
                  <a:moveTo>
                    <a:pt x="0" y="195"/>
                  </a:moveTo>
                  <a:cubicBezTo>
                    <a:pt x="0" y="134"/>
                    <a:pt x="25" y="86"/>
                    <a:pt x="75" y="52"/>
                  </a:cubicBezTo>
                  <a:cubicBezTo>
                    <a:pt x="126" y="17"/>
                    <a:pt x="198" y="0"/>
                    <a:pt x="293" y="0"/>
                  </a:cubicBezTo>
                  <a:cubicBezTo>
                    <a:pt x="397" y="0"/>
                    <a:pt x="475" y="18"/>
                    <a:pt x="529" y="54"/>
                  </a:cubicBezTo>
                  <a:cubicBezTo>
                    <a:pt x="582" y="90"/>
                    <a:pt x="609" y="142"/>
                    <a:pt x="609" y="209"/>
                  </a:cubicBezTo>
                  <a:cubicBezTo>
                    <a:pt x="609" y="339"/>
                    <a:pt x="508" y="404"/>
                    <a:pt x="307" y="404"/>
                  </a:cubicBezTo>
                  <a:cubicBezTo>
                    <a:pt x="207" y="404"/>
                    <a:pt x="131" y="385"/>
                    <a:pt x="79" y="349"/>
                  </a:cubicBezTo>
                  <a:cubicBezTo>
                    <a:pt x="27" y="312"/>
                    <a:pt x="0" y="261"/>
                    <a:pt x="0" y="195"/>
                  </a:cubicBezTo>
                  <a:close/>
                  <a:moveTo>
                    <a:pt x="533" y="205"/>
                  </a:moveTo>
                  <a:cubicBezTo>
                    <a:pt x="533" y="133"/>
                    <a:pt x="454" y="98"/>
                    <a:pt x="297" y="98"/>
                  </a:cubicBezTo>
                  <a:cubicBezTo>
                    <a:pt x="150" y="98"/>
                    <a:pt x="76" y="133"/>
                    <a:pt x="76" y="203"/>
                  </a:cubicBezTo>
                  <a:cubicBezTo>
                    <a:pt x="76" y="272"/>
                    <a:pt x="151" y="306"/>
                    <a:pt x="300" y="306"/>
                  </a:cubicBezTo>
                  <a:cubicBezTo>
                    <a:pt x="455" y="306"/>
                    <a:pt x="533" y="272"/>
                    <a:pt x="533" y="205"/>
                  </a:cubicBezTo>
                  <a:close/>
                  <a:moveTo>
                    <a:pt x="0" y="662"/>
                  </a:moveTo>
                  <a:cubicBezTo>
                    <a:pt x="0" y="601"/>
                    <a:pt x="25" y="553"/>
                    <a:pt x="75" y="519"/>
                  </a:cubicBezTo>
                  <a:cubicBezTo>
                    <a:pt x="126" y="484"/>
                    <a:pt x="198" y="467"/>
                    <a:pt x="293" y="467"/>
                  </a:cubicBezTo>
                  <a:cubicBezTo>
                    <a:pt x="397" y="467"/>
                    <a:pt x="475" y="485"/>
                    <a:pt x="529" y="521"/>
                  </a:cubicBezTo>
                  <a:cubicBezTo>
                    <a:pt x="582" y="557"/>
                    <a:pt x="609" y="609"/>
                    <a:pt x="609" y="676"/>
                  </a:cubicBezTo>
                  <a:cubicBezTo>
                    <a:pt x="609" y="806"/>
                    <a:pt x="508" y="870"/>
                    <a:pt x="307" y="870"/>
                  </a:cubicBezTo>
                  <a:cubicBezTo>
                    <a:pt x="207" y="870"/>
                    <a:pt x="131" y="852"/>
                    <a:pt x="79" y="816"/>
                  </a:cubicBezTo>
                  <a:cubicBezTo>
                    <a:pt x="27" y="779"/>
                    <a:pt x="0" y="728"/>
                    <a:pt x="0" y="662"/>
                  </a:cubicBezTo>
                  <a:close/>
                  <a:moveTo>
                    <a:pt x="533" y="672"/>
                  </a:moveTo>
                  <a:cubicBezTo>
                    <a:pt x="533" y="600"/>
                    <a:pt x="454" y="565"/>
                    <a:pt x="297" y="565"/>
                  </a:cubicBezTo>
                  <a:cubicBezTo>
                    <a:pt x="150" y="565"/>
                    <a:pt x="76" y="600"/>
                    <a:pt x="76" y="670"/>
                  </a:cubicBezTo>
                  <a:cubicBezTo>
                    <a:pt x="76" y="739"/>
                    <a:pt x="151" y="773"/>
                    <a:pt x="300" y="773"/>
                  </a:cubicBezTo>
                  <a:cubicBezTo>
                    <a:pt x="455" y="773"/>
                    <a:pt x="533" y="739"/>
                    <a:pt x="533" y="672"/>
                  </a:cubicBezTo>
                  <a:close/>
                  <a:moveTo>
                    <a:pt x="10" y="1075"/>
                  </a:moveTo>
                  <a:cubicBezTo>
                    <a:pt x="10" y="974"/>
                    <a:pt x="10" y="974"/>
                    <a:pt x="10" y="974"/>
                  </a:cubicBezTo>
                  <a:cubicBezTo>
                    <a:pt x="599" y="974"/>
                    <a:pt x="599" y="974"/>
                    <a:pt x="599" y="974"/>
                  </a:cubicBezTo>
                  <a:cubicBezTo>
                    <a:pt x="599" y="1075"/>
                    <a:pt x="599" y="1075"/>
                    <a:pt x="599" y="1075"/>
                  </a:cubicBezTo>
                  <a:lnTo>
                    <a:pt x="10" y="1075"/>
                  </a:lnTo>
                  <a:close/>
                  <a:moveTo>
                    <a:pt x="0" y="1374"/>
                  </a:moveTo>
                  <a:cubicBezTo>
                    <a:pt x="0" y="1313"/>
                    <a:pt x="25" y="1265"/>
                    <a:pt x="75" y="1231"/>
                  </a:cubicBezTo>
                  <a:cubicBezTo>
                    <a:pt x="126" y="1196"/>
                    <a:pt x="198" y="1179"/>
                    <a:pt x="293" y="1179"/>
                  </a:cubicBezTo>
                  <a:cubicBezTo>
                    <a:pt x="397" y="1179"/>
                    <a:pt x="475" y="1197"/>
                    <a:pt x="529" y="1233"/>
                  </a:cubicBezTo>
                  <a:cubicBezTo>
                    <a:pt x="582" y="1269"/>
                    <a:pt x="609" y="1321"/>
                    <a:pt x="609" y="1388"/>
                  </a:cubicBezTo>
                  <a:cubicBezTo>
                    <a:pt x="609" y="1518"/>
                    <a:pt x="508" y="1582"/>
                    <a:pt x="307" y="1582"/>
                  </a:cubicBezTo>
                  <a:cubicBezTo>
                    <a:pt x="207" y="1582"/>
                    <a:pt x="131" y="1564"/>
                    <a:pt x="79" y="1528"/>
                  </a:cubicBezTo>
                  <a:cubicBezTo>
                    <a:pt x="27" y="1491"/>
                    <a:pt x="0" y="1440"/>
                    <a:pt x="0" y="1374"/>
                  </a:cubicBezTo>
                  <a:close/>
                  <a:moveTo>
                    <a:pt x="533" y="1384"/>
                  </a:moveTo>
                  <a:cubicBezTo>
                    <a:pt x="533" y="1312"/>
                    <a:pt x="454" y="1277"/>
                    <a:pt x="297" y="1277"/>
                  </a:cubicBezTo>
                  <a:cubicBezTo>
                    <a:pt x="150" y="1277"/>
                    <a:pt x="76" y="1312"/>
                    <a:pt x="76" y="1382"/>
                  </a:cubicBezTo>
                  <a:cubicBezTo>
                    <a:pt x="76" y="1451"/>
                    <a:pt x="151" y="1485"/>
                    <a:pt x="300" y="1485"/>
                  </a:cubicBezTo>
                  <a:cubicBezTo>
                    <a:pt x="455" y="1485"/>
                    <a:pt x="533" y="1451"/>
                    <a:pt x="533" y="1384"/>
                  </a:cubicBezTo>
                  <a:close/>
                  <a:moveTo>
                    <a:pt x="10" y="1787"/>
                  </a:moveTo>
                  <a:cubicBezTo>
                    <a:pt x="10" y="1686"/>
                    <a:pt x="10" y="1686"/>
                    <a:pt x="10" y="1686"/>
                  </a:cubicBezTo>
                  <a:cubicBezTo>
                    <a:pt x="599" y="1686"/>
                    <a:pt x="599" y="1686"/>
                    <a:pt x="599" y="1686"/>
                  </a:cubicBezTo>
                  <a:cubicBezTo>
                    <a:pt x="599" y="1787"/>
                    <a:pt x="599" y="1787"/>
                    <a:pt x="599" y="1787"/>
                  </a:cubicBezTo>
                  <a:lnTo>
                    <a:pt x="10" y="1787"/>
                  </a:lnTo>
                  <a:close/>
                  <a:moveTo>
                    <a:pt x="10" y="2032"/>
                  </a:moveTo>
                  <a:cubicBezTo>
                    <a:pt x="10" y="1932"/>
                    <a:pt x="10" y="1932"/>
                    <a:pt x="10" y="1932"/>
                  </a:cubicBezTo>
                  <a:cubicBezTo>
                    <a:pt x="599" y="1932"/>
                    <a:pt x="599" y="1932"/>
                    <a:pt x="599" y="1932"/>
                  </a:cubicBezTo>
                  <a:cubicBezTo>
                    <a:pt x="599" y="2032"/>
                    <a:pt x="599" y="2032"/>
                    <a:pt x="599" y="2032"/>
                  </a:cubicBezTo>
                  <a:lnTo>
                    <a:pt x="10" y="2032"/>
                  </a:lnTo>
                  <a:close/>
                  <a:moveTo>
                    <a:pt x="10" y="2278"/>
                  </a:moveTo>
                  <a:cubicBezTo>
                    <a:pt x="10" y="2177"/>
                    <a:pt x="10" y="2177"/>
                    <a:pt x="10" y="2177"/>
                  </a:cubicBezTo>
                  <a:cubicBezTo>
                    <a:pt x="599" y="2177"/>
                    <a:pt x="599" y="2177"/>
                    <a:pt x="599" y="2177"/>
                  </a:cubicBezTo>
                  <a:cubicBezTo>
                    <a:pt x="599" y="2278"/>
                    <a:pt x="599" y="2278"/>
                    <a:pt x="599" y="2278"/>
                  </a:cubicBezTo>
                  <a:lnTo>
                    <a:pt x="10" y="2278"/>
                  </a:lnTo>
                  <a:close/>
                  <a:moveTo>
                    <a:pt x="0" y="2577"/>
                  </a:moveTo>
                  <a:cubicBezTo>
                    <a:pt x="0" y="2516"/>
                    <a:pt x="25" y="2468"/>
                    <a:pt x="75" y="2433"/>
                  </a:cubicBezTo>
                  <a:cubicBezTo>
                    <a:pt x="126" y="2399"/>
                    <a:pt x="198" y="2382"/>
                    <a:pt x="293" y="2382"/>
                  </a:cubicBezTo>
                  <a:cubicBezTo>
                    <a:pt x="397" y="2382"/>
                    <a:pt x="475" y="2400"/>
                    <a:pt x="529" y="2436"/>
                  </a:cubicBezTo>
                  <a:cubicBezTo>
                    <a:pt x="582" y="2472"/>
                    <a:pt x="609" y="2523"/>
                    <a:pt x="609" y="2591"/>
                  </a:cubicBezTo>
                  <a:cubicBezTo>
                    <a:pt x="609" y="2720"/>
                    <a:pt x="508" y="2785"/>
                    <a:pt x="307" y="2785"/>
                  </a:cubicBezTo>
                  <a:cubicBezTo>
                    <a:pt x="207" y="2785"/>
                    <a:pt x="131" y="2767"/>
                    <a:pt x="79" y="2730"/>
                  </a:cubicBezTo>
                  <a:cubicBezTo>
                    <a:pt x="27" y="2694"/>
                    <a:pt x="0" y="2643"/>
                    <a:pt x="0" y="2577"/>
                  </a:cubicBezTo>
                  <a:close/>
                  <a:moveTo>
                    <a:pt x="533" y="2586"/>
                  </a:moveTo>
                  <a:cubicBezTo>
                    <a:pt x="533" y="2515"/>
                    <a:pt x="454" y="2479"/>
                    <a:pt x="297" y="2479"/>
                  </a:cubicBezTo>
                  <a:cubicBezTo>
                    <a:pt x="150" y="2479"/>
                    <a:pt x="76" y="2514"/>
                    <a:pt x="76" y="2584"/>
                  </a:cubicBezTo>
                  <a:cubicBezTo>
                    <a:pt x="76" y="2653"/>
                    <a:pt x="151" y="2688"/>
                    <a:pt x="300" y="2688"/>
                  </a:cubicBezTo>
                  <a:cubicBezTo>
                    <a:pt x="455" y="2688"/>
                    <a:pt x="533" y="2654"/>
                    <a:pt x="533" y="2586"/>
                  </a:cubicBezTo>
                  <a:close/>
                  <a:moveTo>
                    <a:pt x="10" y="2989"/>
                  </a:moveTo>
                  <a:cubicBezTo>
                    <a:pt x="10" y="2889"/>
                    <a:pt x="10" y="2889"/>
                    <a:pt x="10" y="2889"/>
                  </a:cubicBezTo>
                  <a:cubicBezTo>
                    <a:pt x="599" y="2889"/>
                    <a:pt x="599" y="2889"/>
                    <a:pt x="599" y="2889"/>
                  </a:cubicBezTo>
                  <a:cubicBezTo>
                    <a:pt x="599" y="2989"/>
                    <a:pt x="599" y="2989"/>
                    <a:pt x="599" y="2989"/>
                  </a:cubicBezTo>
                  <a:lnTo>
                    <a:pt x="10" y="2989"/>
                  </a:lnTo>
                  <a:close/>
                  <a:moveTo>
                    <a:pt x="10" y="3234"/>
                  </a:moveTo>
                  <a:cubicBezTo>
                    <a:pt x="10" y="3134"/>
                    <a:pt x="10" y="3134"/>
                    <a:pt x="10" y="3134"/>
                  </a:cubicBezTo>
                  <a:cubicBezTo>
                    <a:pt x="599" y="3134"/>
                    <a:pt x="599" y="3134"/>
                    <a:pt x="599" y="3134"/>
                  </a:cubicBezTo>
                  <a:cubicBezTo>
                    <a:pt x="599" y="3234"/>
                    <a:pt x="599" y="3234"/>
                    <a:pt x="599" y="3234"/>
                  </a:cubicBezTo>
                  <a:lnTo>
                    <a:pt x="10" y="3234"/>
                  </a:lnTo>
                  <a:close/>
                  <a:moveTo>
                    <a:pt x="0" y="3534"/>
                  </a:moveTo>
                  <a:cubicBezTo>
                    <a:pt x="0" y="3472"/>
                    <a:pt x="25" y="3425"/>
                    <a:pt x="75" y="3390"/>
                  </a:cubicBezTo>
                  <a:cubicBezTo>
                    <a:pt x="126" y="3356"/>
                    <a:pt x="198" y="3339"/>
                    <a:pt x="293" y="3339"/>
                  </a:cubicBezTo>
                  <a:cubicBezTo>
                    <a:pt x="397" y="3339"/>
                    <a:pt x="475" y="3357"/>
                    <a:pt x="529" y="3393"/>
                  </a:cubicBezTo>
                  <a:cubicBezTo>
                    <a:pt x="582" y="3428"/>
                    <a:pt x="609" y="3480"/>
                    <a:pt x="609" y="3548"/>
                  </a:cubicBezTo>
                  <a:cubicBezTo>
                    <a:pt x="609" y="3677"/>
                    <a:pt x="508" y="3742"/>
                    <a:pt x="307" y="3742"/>
                  </a:cubicBezTo>
                  <a:cubicBezTo>
                    <a:pt x="207" y="3742"/>
                    <a:pt x="131" y="3724"/>
                    <a:pt x="79" y="3687"/>
                  </a:cubicBezTo>
                  <a:cubicBezTo>
                    <a:pt x="27" y="3651"/>
                    <a:pt x="0" y="3600"/>
                    <a:pt x="0" y="3534"/>
                  </a:cubicBezTo>
                  <a:close/>
                  <a:moveTo>
                    <a:pt x="533" y="3543"/>
                  </a:moveTo>
                  <a:cubicBezTo>
                    <a:pt x="533" y="3472"/>
                    <a:pt x="454" y="3436"/>
                    <a:pt x="297" y="3436"/>
                  </a:cubicBezTo>
                  <a:cubicBezTo>
                    <a:pt x="150" y="3436"/>
                    <a:pt x="76" y="3471"/>
                    <a:pt x="76" y="3541"/>
                  </a:cubicBezTo>
                  <a:cubicBezTo>
                    <a:pt x="76" y="3610"/>
                    <a:pt x="151" y="3645"/>
                    <a:pt x="300" y="3645"/>
                  </a:cubicBezTo>
                  <a:cubicBezTo>
                    <a:pt x="455" y="3645"/>
                    <a:pt x="533" y="3611"/>
                    <a:pt x="533" y="3543"/>
                  </a:cubicBezTo>
                  <a:close/>
                  <a:moveTo>
                    <a:pt x="10" y="3947"/>
                  </a:moveTo>
                  <a:cubicBezTo>
                    <a:pt x="10" y="3846"/>
                    <a:pt x="10" y="3846"/>
                    <a:pt x="10" y="3846"/>
                  </a:cubicBezTo>
                  <a:cubicBezTo>
                    <a:pt x="599" y="3846"/>
                    <a:pt x="599" y="3846"/>
                    <a:pt x="599" y="3846"/>
                  </a:cubicBezTo>
                  <a:cubicBezTo>
                    <a:pt x="599" y="3947"/>
                    <a:pt x="599" y="3947"/>
                    <a:pt x="599" y="3947"/>
                  </a:cubicBezTo>
                  <a:lnTo>
                    <a:pt x="10" y="3947"/>
                  </a:lnTo>
                  <a:close/>
                  <a:moveTo>
                    <a:pt x="10" y="4191"/>
                  </a:moveTo>
                  <a:cubicBezTo>
                    <a:pt x="10" y="4091"/>
                    <a:pt x="10" y="4091"/>
                    <a:pt x="10" y="4091"/>
                  </a:cubicBezTo>
                  <a:cubicBezTo>
                    <a:pt x="599" y="4091"/>
                    <a:pt x="599" y="4091"/>
                    <a:pt x="599" y="4091"/>
                  </a:cubicBezTo>
                  <a:cubicBezTo>
                    <a:pt x="599" y="4191"/>
                    <a:pt x="599" y="4191"/>
                    <a:pt x="599" y="4191"/>
                  </a:cubicBezTo>
                  <a:lnTo>
                    <a:pt x="10" y="4191"/>
                  </a:lnTo>
                  <a:close/>
                  <a:moveTo>
                    <a:pt x="0" y="4491"/>
                  </a:moveTo>
                  <a:cubicBezTo>
                    <a:pt x="0" y="4430"/>
                    <a:pt x="25" y="4382"/>
                    <a:pt x="75" y="4347"/>
                  </a:cubicBezTo>
                  <a:cubicBezTo>
                    <a:pt x="126" y="4313"/>
                    <a:pt x="198" y="4296"/>
                    <a:pt x="293" y="4296"/>
                  </a:cubicBezTo>
                  <a:cubicBezTo>
                    <a:pt x="397" y="4296"/>
                    <a:pt x="475" y="4314"/>
                    <a:pt x="529" y="4350"/>
                  </a:cubicBezTo>
                  <a:cubicBezTo>
                    <a:pt x="582" y="4386"/>
                    <a:pt x="609" y="4437"/>
                    <a:pt x="609" y="4505"/>
                  </a:cubicBezTo>
                  <a:cubicBezTo>
                    <a:pt x="609" y="4634"/>
                    <a:pt x="508" y="4699"/>
                    <a:pt x="307" y="4699"/>
                  </a:cubicBezTo>
                  <a:cubicBezTo>
                    <a:pt x="207" y="4699"/>
                    <a:pt x="131" y="4681"/>
                    <a:pt x="79" y="4644"/>
                  </a:cubicBezTo>
                  <a:cubicBezTo>
                    <a:pt x="27" y="4608"/>
                    <a:pt x="0" y="4557"/>
                    <a:pt x="0" y="4491"/>
                  </a:cubicBezTo>
                  <a:close/>
                  <a:moveTo>
                    <a:pt x="533" y="4500"/>
                  </a:moveTo>
                  <a:cubicBezTo>
                    <a:pt x="533" y="4429"/>
                    <a:pt x="454" y="4393"/>
                    <a:pt x="297" y="4393"/>
                  </a:cubicBezTo>
                  <a:cubicBezTo>
                    <a:pt x="150" y="4393"/>
                    <a:pt x="76" y="4428"/>
                    <a:pt x="76" y="4498"/>
                  </a:cubicBezTo>
                  <a:cubicBezTo>
                    <a:pt x="76" y="4567"/>
                    <a:pt x="151" y="4602"/>
                    <a:pt x="300" y="4602"/>
                  </a:cubicBezTo>
                  <a:cubicBezTo>
                    <a:pt x="455" y="4602"/>
                    <a:pt x="533" y="4568"/>
                    <a:pt x="533" y="4500"/>
                  </a:cubicBezTo>
                  <a:close/>
                  <a:moveTo>
                    <a:pt x="0" y="4958"/>
                  </a:moveTo>
                  <a:cubicBezTo>
                    <a:pt x="0" y="4897"/>
                    <a:pt x="25" y="4849"/>
                    <a:pt x="75" y="4814"/>
                  </a:cubicBezTo>
                  <a:cubicBezTo>
                    <a:pt x="126" y="4780"/>
                    <a:pt x="198" y="4763"/>
                    <a:pt x="293" y="4763"/>
                  </a:cubicBezTo>
                  <a:cubicBezTo>
                    <a:pt x="397" y="4763"/>
                    <a:pt x="475" y="4781"/>
                    <a:pt x="529" y="4817"/>
                  </a:cubicBezTo>
                  <a:cubicBezTo>
                    <a:pt x="582" y="4853"/>
                    <a:pt x="609" y="4904"/>
                    <a:pt x="609" y="4972"/>
                  </a:cubicBezTo>
                  <a:cubicBezTo>
                    <a:pt x="609" y="5101"/>
                    <a:pt x="508" y="5166"/>
                    <a:pt x="307" y="5166"/>
                  </a:cubicBezTo>
                  <a:cubicBezTo>
                    <a:pt x="207" y="5166"/>
                    <a:pt x="131" y="5148"/>
                    <a:pt x="79" y="5111"/>
                  </a:cubicBezTo>
                  <a:cubicBezTo>
                    <a:pt x="27" y="5075"/>
                    <a:pt x="0" y="5024"/>
                    <a:pt x="0" y="4958"/>
                  </a:cubicBezTo>
                  <a:close/>
                  <a:moveTo>
                    <a:pt x="533" y="4967"/>
                  </a:moveTo>
                  <a:cubicBezTo>
                    <a:pt x="533" y="4896"/>
                    <a:pt x="454" y="4860"/>
                    <a:pt x="297" y="4860"/>
                  </a:cubicBezTo>
                  <a:cubicBezTo>
                    <a:pt x="150" y="4860"/>
                    <a:pt x="76" y="4895"/>
                    <a:pt x="76" y="4965"/>
                  </a:cubicBezTo>
                  <a:cubicBezTo>
                    <a:pt x="76" y="5034"/>
                    <a:pt x="151" y="5069"/>
                    <a:pt x="300" y="5069"/>
                  </a:cubicBezTo>
                  <a:cubicBezTo>
                    <a:pt x="455" y="5069"/>
                    <a:pt x="533" y="5035"/>
                    <a:pt x="533" y="4967"/>
                  </a:cubicBezTo>
                  <a:close/>
                  <a:moveTo>
                    <a:pt x="10" y="5371"/>
                  </a:moveTo>
                  <a:cubicBezTo>
                    <a:pt x="10" y="5270"/>
                    <a:pt x="10" y="5270"/>
                    <a:pt x="10" y="5270"/>
                  </a:cubicBezTo>
                  <a:cubicBezTo>
                    <a:pt x="599" y="5270"/>
                    <a:pt x="599" y="5270"/>
                    <a:pt x="599" y="5270"/>
                  </a:cubicBezTo>
                  <a:cubicBezTo>
                    <a:pt x="599" y="5371"/>
                    <a:pt x="599" y="5371"/>
                    <a:pt x="599" y="5371"/>
                  </a:cubicBezTo>
                  <a:lnTo>
                    <a:pt x="10" y="5371"/>
                  </a:lnTo>
                  <a:close/>
                  <a:moveTo>
                    <a:pt x="10" y="5616"/>
                  </a:moveTo>
                  <a:cubicBezTo>
                    <a:pt x="10" y="5515"/>
                    <a:pt x="10" y="5515"/>
                    <a:pt x="10" y="5515"/>
                  </a:cubicBezTo>
                  <a:cubicBezTo>
                    <a:pt x="599" y="5515"/>
                    <a:pt x="599" y="5515"/>
                    <a:pt x="599" y="5515"/>
                  </a:cubicBezTo>
                  <a:cubicBezTo>
                    <a:pt x="599" y="5616"/>
                    <a:pt x="599" y="5616"/>
                    <a:pt x="599" y="5616"/>
                  </a:cubicBezTo>
                  <a:lnTo>
                    <a:pt x="10" y="5616"/>
                  </a:lnTo>
                  <a:close/>
                  <a:moveTo>
                    <a:pt x="0" y="5915"/>
                  </a:moveTo>
                  <a:cubicBezTo>
                    <a:pt x="0" y="5854"/>
                    <a:pt x="25" y="5806"/>
                    <a:pt x="75" y="5772"/>
                  </a:cubicBezTo>
                  <a:cubicBezTo>
                    <a:pt x="126" y="5737"/>
                    <a:pt x="198" y="5720"/>
                    <a:pt x="293" y="5720"/>
                  </a:cubicBezTo>
                  <a:cubicBezTo>
                    <a:pt x="397" y="5720"/>
                    <a:pt x="475" y="5738"/>
                    <a:pt x="529" y="5774"/>
                  </a:cubicBezTo>
                  <a:cubicBezTo>
                    <a:pt x="582" y="5810"/>
                    <a:pt x="609" y="5862"/>
                    <a:pt x="609" y="5929"/>
                  </a:cubicBezTo>
                  <a:cubicBezTo>
                    <a:pt x="609" y="6059"/>
                    <a:pt x="508" y="6123"/>
                    <a:pt x="307" y="6123"/>
                  </a:cubicBezTo>
                  <a:cubicBezTo>
                    <a:pt x="207" y="6123"/>
                    <a:pt x="131" y="6105"/>
                    <a:pt x="79" y="6069"/>
                  </a:cubicBezTo>
                  <a:cubicBezTo>
                    <a:pt x="27" y="6032"/>
                    <a:pt x="0" y="5981"/>
                    <a:pt x="0" y="5915"/>
                  </a:cubicBezTo>
                  <a:close/>
                  <a:moveTo>
                    <a:pt x="533" y="5925"/>
                  </a:moveTo>
                  <a:cubicBezTo>
                    <a:pt x="533" y="5853"/>
                    <a:pt x="454" y="5817"/>
                    <a:pt x="297" y="5817"/>
                  </a:cubicBezTo>
                  <a:cubicBezTo>
                    <a:pt x="150" y="5817"/>
                    <a:pt x="76" y="5853"/>
                    <a:pt x="76" y="5923"/>
                  </a:cubicBezTo>
                  <a:cubicBezTo>
                    <a:pt x="76" y="5992"/>
                    <a:pt x="151" y="6026"/>
                    <a:pt x="300" y="6026"/>
                  </a:cubicBezTo>
                  <a:cubicBezTo>
                    <a:pt x="455" y="6026"/>
                    <a:pt x="533" y="5992"/>
                    <a:pt x="533" y="5925"/>
                  </a:cubicBezTo>
                  <a:close/>
                  <a:moveTo>
                    <a:pt x="10" y="6328"/>
                  </a:moveTo>
                  <a:cubicBezTo>
                    <a:pt x="10" y="6227"/>
                    <a:pt x="10" y="6227"/>
                    <a:pt x="10" y="6227"/>
                  </a:cubicBezTo>
                  <a:cubicBezTo>
                    <a:pt x="599" y="6227"/>
                    <a:pt x="599" y="6227"/>
                    <a:pt x="599" y="6227"/>
                  </a:cubicBezTo>
                  <a:cubicBezTo>
                    <a:pt x="599" y="6328"/>
                    <a:pt x="599" y="6328"/>
                    <a:pt x="599" y="6328"/>
                  </a:cubicBezTo>
                  <a:lnTo>
                    <a:pt x="10" y="6328"/>
                  </a:lnTo>
                  <a:close/>
                  <a:moveTo>
                    <a:pt x="0" y="6627"/>
                  </a:moveTo>
                  <a:cubicBezTo>
                    <a:pt x="0" y="6566"/>
                    <a:pt x="25" y="6518"/>
                    <a:pt x="75" y="6484"/>
                  </a:cubicBezTo>
                  <a:cubicBezTo>
                    <a:pt x="126" y="6449"/>
                    <a:pt x="198" y="6432"/>
                    <a:pt x="293" y="6432"/>
                  </a:cubicBezTo>
                  <a:cubicBezTo>
                    <a:pt x="397" y="6432"/>
                    <a:pt x="475" y="6450"/>
                    <a:pt x="529" y="6486"/>
                  </a:cubicBezTo>
                  <a:cubicBezTo>
                    <a:pt x="582" y="6522"/>
                    <a:pt x="609" y="6573"/>
                    <a:pt x="609" y="6641"/>
                  </a:cubicBezTo>
                  <a:cubicBezTo>
                    <a:pt x="609" y="6770"/>
                    <a:pt x="508" y="6835"/>
                    <a:pt x="307" y="6835"/>
                  </a:cubicBezTo>
                  <a:cubicBezTo>
                    <a:pt x="207" y="6835"/>
                    <a:pt x="131" y="6817"/>
                    <a:pt x="79" y="6780"/>
                  </a:cubicBezTo>
                  <a:cubicBezTo>
                    <a:pt x="27" y="6744"/>
                    <a:pt x="0" y="6693"/>
                    <a:pt x="0" y="6627"/>
                  </a:cubicBezTo>
                  <a:close/>
                  <a:moveTo>
                    <a:pt x="533" y="6636"/>
                  </a:moveTo>
                  <a:cubicBezTo>
                    <a:pt x="533" y="6565"/>
                    <a:pt x="454" y="6529"/>
                    <a:pt x="297" y="6529"/>
                  </a:cubicBezTo>
                  <a:cubicBezTo>
                    <a:pt x="150" y="6529"/>
                    <a:pt x="76" y="6564"/>
                    <a:pt x="76" y="6634"/>
                  </a:cubicBezTo>
                  <a:cubicBezTo>
                    <a:pt x="76" y="6703"/>
                    <a:pt x="151" y="6738"/>
                    <a:pt x="300" y="6738"/>
                  </a:cubicBezTo>
                  <a:cubicBezTo>
                    <a:pt x="455" y="6738"/>
                    <a:pt x="533" y="6704"/>
                    <a:pt x="533" y="6636"/>
                  </a:cubicBezTo>
                  <a:close/>
                  <a:moveTo>
                    <a:pt x="0" y="7094"/>
                  </a:moveTo>
                  <a:cubicBezTo>
                    <a:pt x="0" y="7033"/>
                    <a:pt x="25" y="6985"/>
                    <a:pt x="75" y="6950"/>
                  </a:cubicBezTo>
                  <a:cubicBezTo>
                    <a:pt x="126" y="6916"/>
                    <a:pt x="198" y="6899"/>
                    <a:pt x="293" y="6899"/>
                  </a:cubicBezTo>
                  <a:cubicBezTo>
                    <a:pt x="397" y="6899"/>
                    <a:pt x="475" y="6917"/>
                    <a:pt x="529" y="6953"/>
                  </a:cubicBezTo>
                  <a:cubicBezTo>
                    <a:pt x="582" y="6989"/>
                    <a:pt x="609" y="7040"/>
                    <a:pt x="609" y="7108"/>
                  </a:cubicBezTo>
                  <a:cubicBezTo>
                    <a:pt x="609" y="7237"/>
                    <a:pt x="508" y="7302"/>
                    <a:pt x="307" y="7302"/>
                  </a:cubicBezTo>
                  <a:cubicBezTo>
                    <a:pt x="207" y="7302"/>
                    <a:pt x="131" y="7284"/>
                    <a:pt x="79" y="7247"/>
                  </a:cubicBezTo>
                  <a:cubicBezTo>
                    <a:pt x="27" y="7211"/>
                    <a:pt x="0" y="7160"/>
                    <a:pt x="0" y="7094"/>
                  </a:cubicBezTo>
                  <a:close/>
                  <a:moveTo>
                    <a:pt x="533" y="7103"/>
                  </a:moveTo>
                  <a:cubicBezTo>
                    <a:pt x="533" y="7032"/>
                    <a:pt x="454" y="6996"/>
                    <a:pt x="297" y="6996"/>
                  </a:cubicBezTo>
                  <a:cubicBezTo>
                    <a:pt x="150" y="6996"/>
                    <a:pt x="76" y="7031"/>
                    <a:pt x="76" y="7101"/>
                  </a:cubicBezTo>
                  <a:cubicBezTo>
                    <a:pt x="76" y="7170"/>
                    <a:pt x="151" y="7205"/>
                    <a:pt x="300" y="7205"/>
                  </a:cubicBezTo>
                  <a:cubicBezTo>
                    <a:pt x="455" y="7205"/>
                    <a:pt x="533" y="7171"/>
                    <a:pt x="533" y="7103"/>
                  </a:cubicBezTo>
                  <a:close/>
                  <a:moveTo>
                    <a:pt x="10" y="7506"/>
                  </a:moveTo>
                  <a:cubicBezTo>
                    <a:pt x="10" y="7406"/>
                    <a:pt x="10" y="7406"/>
                    <a:pt x="10" y="7406"/>
                  </a:cubicBezTo>
                  <a:cubicBezTo>
                    <a:pt x="599" y="7406"/>
                    <a:pt x="599" y="7406"/>
                    <a:pt x="599" y="7406"/>
                  </a:cubicBezTo>
                  <a:cubicBezTo>
                    <a:pt x="599" y="7506"/>
                    <a:pt x="599" y="7506"/>
                    <a:pt x="599" y="7506"/>
                  </a:cubicBezTo>
                  <a:lnTo>
                    <a:pt x="10" y="7506"/>
                  </a:lnTo>
                  <a:close/>
                  <a:moveTo>
                    <a:pt x="0" y="7806"/>
                  </a:moveTo>
                  <a:cubicBezTo>
                    <a:pt x="0" y="7745"/>
                    <a:pt x="25" y="7697"/>
                    <a:pt x="75" y="7663"/>
                  </a:cubicBezTo>
                  <a:cubicBezTo>
                    <a:pt x="126" y="7628"/>
                    <a:pt x="198" y="7611"/>
                    <a:pt x="293" y="7611"/>
                  </a:cubicBezTo>
                  <a:cubicBezTo>
                    <a:pt x="397" y="7611"/>
                    <a:pt x="475" y="7629"/>
                    <a:pt x="529" y="7665"/>
                  </a:cubicBezTo>
                  <a:cubicBezTo>
                    <a:pt x="582" y="7701"/>
                    <a:pt x="609" y="7753"/>
                    <a:pt x="609" y="7820"/>
                  </a:cubicBezTo>
                  <a:cubicBezTo>
                    <a:pt x="609" y="7950"/>
                    <a:pt x="508" y="8014"/>
                    <a:pt x="307" y="8014"/>
                  </a:cubicBezTo>
                  <a:cubicBezTo>
                    <a:pt x="207" y="8014"/>
                    <a:pt x="131" y="7996"/>
                    <a:pt x="79" y="7960"/>
                  </a:cubicBezTo>
                  <a:cubicBezTo>
                    <a:pt x="27" y="7923"/>
                    <a:pt x="0" y="7872"/>
                    <a:pt x="0" y="7806"/>
                  </a:cubicBezTo>
                  <a:close/>
                  <a:moveTo>
                    <a:pt x="533" y="7816"/>
                  </a:moveTo>
                  <a:cubicBezTo>
                    <a:pt x="533" y="7744"/>
                    <a:pt x="454" y="7709"/>
                    <a:pt x="297" y="7709"/>
                  </a:cubicBezTo>
                  <a:cubicBezTo>
                    <a:pt x="150" y="7709"/>
                    <a:pt x="76" y="7744"/>
                    <a:pt x="76" y="7814"/>
                  </a:cubicBezTo>
                  <a:cubicBezTo>
                    <a:pt x="76" y="7883"/>
                    <a:pt x="151" y="7917"/>
                    <a:pt x="300" y="7917"/>
                  </a:cubicBezTo>
                  <a:cubicBezTo>
                    <a:pt x="455" y="7917"/>
                    <a:pt x="533" y="7883"/>
                    <a:pt x="533" y="7816"/>
                  </a:cubicBezTo>
                  <a:close/>
                  <a:moveTo>
                    <a:pt x="10" y="8219"/>
                  </a:moveTo>
                  <a:cubicBezTo>
                    <a:pt x="10" y="8118"/>
                    <a:pt x="10" y="8118"/>
                    <a:pt x="10" y="8118"/>
                  </a:cubicBezTo>
                  <a:cubicBezTo>
                    <a:pt x="599" y="8118"/>
                    <a:pt x="599" y="8118"/>
                    <a:pt x="599" y="8118"/>
                  </a:cubicBezTo>
                  <a:cubicBezTo>
                    <a:pt x="599" y="8219"/>
                    <a:pt x="599" y="8219"/>
                    <a:pt x="599" y="8219"/>
                  </a:cubicBezTo>
                  <a:lnTo>
                    <a:pt x="10" y="8219"/>
                  </a:lnTo>
                  <a:close/>
                  <a:moveTo>
                    <a:pt x="10" y="8464"/>
                  </a:moveTo>
                  <a:cubicBezTo>
                    <a:pt x="10" y="8363"/>
                    <a:pt x="10" y="8363"/>
                    <a:pt x="10" y="8363"/>
                  </a:cubicBezTo>
                  <a:cubicBezTo>
                    <a:pt x="599" y="8363"/>
                    <a:pt x="599" y="8363"/>
                    <a:pt x="599" y="8363"/>
                  </a:cubicBezTo>
                  <a:cubicBezTo>
                    <a:pt x="599" y="8464"/>
                    <a:pt x="599" y="8464"/>
                    <a:pt x="599" y="8464"/>
                  </a:cubicBezTo>
                  <a:lnTo>
                    <a:pt x="10" y="8464"/>
                  </a:lnTo>
                  <a:close/>
                  <a:moveTo>
                    <a:pt x="10" y="8709"/>
                  </a:moveTo>
                  <a:cubicBezTo>
                    <a:pt x="10" y="8608"/>
                    <a:pt x="10" y="8608"/>
                    <a:pt x="10" y="8608"/>
                  </a:cubicBezTo>
                  <a:cubicBezTo>
                    <a:pt x="599" y="8608"/>
                    <a:pt x="599" y="8608"/>
                    <a:pt x="599" y="8608"/>
                  </a:cubicBezTo>
                  <a:cubicBezTo>
                    <a:pt x="599" y="8709"/>
                    <a:pt x="599" y="8709"/>
                    <a:pt x="599" y="8709"/>
                  </a:cubicBezTo>
                  <a:lnTo>
                    <a:pt x="10" y="8709"/>
                  </a:lnTo>
                  <a:close/>
                  <a:moveTo>
                    <a:pt x="0" y="9008"/>
                  </a:moveTo>
                  <a:cubicBezTo>
                    <a:pt x="0" y="8947"/>
                    <a:pt x="25" y="8899"/>
                    <a:pt x="75" y="8865"/>
                  </a:cubicBezTo>
                  <a:cubicBezTo>
                    <a:pt x="126" y="8831"/>
                    <a:pt x="198" y="8813"/>
                    <a:pt x="293" y="8813"/>
                  </a:cubicBezTo>
                  <a:cubicBezTo>
                    <a:pt x="397" y="8813"/>
                    <a:pt x="475" y="8831"/>
                    <a:pt x="529" y="8867"/>
                  </a:cubicBezTo>
                  <a:cubicBezTo>
                    <a:pt x="582" y="8903"/>
                    <a:pt x="609" y="8955"/>
                    <a:pt x="609" y="9022"/>
                  </a:cubicBezTo>
                  <a:cubicBezTo>
                    <a:pt x="609" y="9152"/>
                    <a:pt x="508" y="9217"/>
                    <a:pt x="307" y="9217"/>
                  </a:cubicBezTo>
                  <a:cubicBezTo>
                    <a:pt x="207" y="9217"/>
                    <a:pt x="131" y="9198"/>
                    <a:pt x="79" y="9162"/>
                  </a:cubicBezTo>
                  <a:cubicBezTo>
                    <a:pt x="27" y="9125"/>
                    <a:pt x="0" y="9074"/>
                    <a:pt x="0" y="9008"/>
                  </a:cubicBezTo>
                  <a:close/>
                  <a:moveTo>
                    <a:pt x="533" y="9018"/>
                  </a:moveTo>
                  <a:cubicBezTo>
                    <a:pt x="533" y="8946"/>
                    <a:pt x="454" y="8911"/>
                    <a:pt x="297" y="8911"/>
                  </a:cubicBezTo>
                  <a:cubicBezTo>
                    <a:pt x="150" y="8911"/>
                    <a:pt x="76" y="8946"/>
                    <a:pt x="76" y="9016"/>
                  </a:cubicBezTo>
                  <a:cubicBezTo>
                    <a:pt x="76" y="9085"/>
                    <a:pt x="151" y="9119"/>
                    <a:pt x="300" y="9119"/>
                  </a:cubicBezTo>
                  <a:cubicBezTo>
                    <a:pt x="455" y="9119"/>
                    <a:pt x="533" y="9085"/>
                    <a:pt x="533" y="9018"/>
                  </a:cubicBezTo>
                  <a:close/>
                  <a:moveTo>
                    <a:pt x="32" y="9543"/>
                  </a:moveTo>
                  <a:cubicBezTo>
                    <a:pt x="21" y="9483"/>
                    <a:pt x="37" y="9431"/>
                    <a:pt x="80" y="9388"/>
                  </a:cubicBezTo>
                  <a:cubicBezTo>
                    <a:pt x="123" y="9345"/>
                    <a:pt x="191" y="9315"/>
                    <a:pt x="284" y="9298"/>
                  </a:cubicBezTo>
                  <a:cubicBezTo>
                    <a:pt x="386" y="9279"/>
                    <a:pt x="467" y="9282"/>
                    <a:pt x="526" y="9307"/>
                  </a:cubicBezTo>
                  <a:cubicBezTo>
                    <a:pt x="585" y="9332"/>
                    <a:pt x="621" y="9378"/>
                    <a:pt x="633" y="9445"/>
                  </a:cubicBezTo>
                  <a:cubicBezTo>
                    <a:pt x="657" y="9572"/>
                    <a:pt x="570" y="9654"/>
                    <a:pt x="372" y="9691"/>
                  </a:cubicBezTo>
                  <a:cubicBezTo>
                    <a:pt x="274" y="9710"/>
                    <a:pt x="196" y="9706"/>
                    <a:pt x="138" y="9680"/>
                  </a:cubicBezTo>
                  <a:cubicBezTo>
                    <a:pt x="80" y="9653"/>
                    <a:pt x="45" y="9608"/>
                    <a:pt x="32" y="9543"/>
                  </a:cubicBezTo>
                  <a:close/>
                  <a:moveTo>
                    <a:pt x="558" y="9454"/>
                  </a:moveTo>
                  <a:cubicBezTo>
                    <a:pt x="544" y="9384"/>
                    <a:pt x="460" y="9364"/>
                    <a:pt x="306" y="9393"/>
                  </a:cubicBezTo>
                  <a:cubicBezTo>
                    <a:pt x="161" y="9420"/>
                    <a:pt x="95" y="9468"/>
                    <a:pt x="108" y="9537"/>
                  </a:cubicBezTo>
                  <a:cubicBezTo>
                    <a:pt x="121" y="9604"/>
                    <a:pt x="201" y="9625"/>
                    <a:pt x="348" y="9597"/>
                  </a:cubicBezTo>
                  <a:cubicBezTo>
                    <a:pt x="500" y="9568"/>
                    <a:pt x="570" y="9521"/>
                    <a:pt x="558" y="9454"/>
                  </a:cubicBezTo>
                  <a:close/>
                  <a:moveTo>
                    <a:pt x="222" y="10091"/>
                  </a:moveTo>
                  <a:cubicBezTo>
                    <a:pt x="193" y="10037"/>
                    <a:pt x="193" y="9983"/>
                    <a:pt x="221" y="9929"/>
                  </a:cubicBezTo>
                  <a:cubicBezTo>
                    <a:pt x="249" y="9876"/>
                    <a:pt x="305" y="9826"/>
                    <a:pt x="389" y="9782"/>
                  </a:cubicBezTo>
                  <a:cubicBezTo>
                    <a:pt x="481" y="9733"/>
                    <a:pt x="559" y="9712"/>
                    <a:pt x="623" y="9719"/>
                  </a:cubicBezTo>
                  <a:cubicBezTo>
                    <a:pt x="687" y="9726"/>
                    <a:pt x="735" y="9759"/>
                    <a:pt x="766" y="9819"/>
                  </a:cubicBezTo>
                  <a:cubicBezTo>
                    <a:pt x="827" y="9933"/>
                    <a:pt x="768" y="10037"/>
                    <a:pt x="591" y="10131"/>
                  </a:cubicBezTo>
                  <a:cubicBezTo>
                    <a:pt x="503" y="10178"/>
                    <a:pt x="427" y="10198"/>
                    <a:pt x="364" y="10190"/>
                  </a:cubicBezTo>
                  <a:cubicBezTo>
                    <a:pt x="300" y="10182"/>
                    <a:pt x="253" y="10149"/>
                    <a:pt x="222" y="10091"/>
                  </a:cubicBezTo>
                  <a:close/>
                  <a:moveTo>
                    <a:pt x="697" y="9850"/>
                  </a:moveTo>
                  <a:cubicBezTo>
                    <a:pt x="664" y="9787"/>
                    <a:pt x="577" y="9792"/>
                    <a:pt x="438" y="9866"/>
                  </a:cubicBezTo>
                  <a:cubicBezTo>
                    <a:pt x="308" y="9935"/>
                    <a:pt x="260" y="10001"/>
                    <a:pt x="292" y="10062"/>
                  </a:cubicBezTo>
                  <a:cubicBezTo>
                    <a:pt x="325" y="10123"/>
                    <a:pt x="407" y="10119"/>
                    <a:pt x="539" y="10049"/>
                  </a:cubicBezTo>
                  <a:cubicBezTo>
                    <a:pt x="676" y="9976"/>
                    <a:pt x="729" y="9910"/>
                    <a:pt x="697" y="9850"/>
                  </a:cubicBezTo>
                  <a:close/>
                  <a:moveTo>
                    <a:pt x="516" y="10492"/>
                  </a:moveTo>
                  <a:cubicBezTo>
                    <a:pt x="450" y="10416"/>
                    <a:pt x="450" y="10416"/>
                    <a:pt x="450" y="10416"/>
                  </a:cubicBezTo>
                  <a:cubicBezTo>
                    <a:pt x="894" y="10030"/>
                    <a:pt x="894" y="10030"/>
                    <a:pt x="894" y="10030"/>
                  </a:cubicBezTo>
                  <a:cubicBezTo>
                    <a:pt x="960" y="10106"/>
                    <a:pt x="960" y="10106"/>
                    <a:pt x="960" y="10106"/>
                  </a:cubicBezTo>
                  <a:lnTo>
                    <a:pt x="516" y="10492"/>
                  </a:lnTo>
                  <a:close/>
                  <a:moveTo>
                    <a:pt x="796" y="10755"/>
                  </a:moveTo>
                  <a:cubicBezTo>
                    <a:pt x="746" y="10719"/>
                    <a:pt x="722" y="10671"/>
                    <a:pt x="724" y="10610"/>
                  </a:cubicBezTo>
                  <a:cubicBezTo>
                    <a:pt x="725" y="10550"/>
                    <a:pt x="754" y="10481"/>
                    <a:pt x="810" y="10404"/>
                  </a:cubicBezTo>
                  <a:cubicBezTo>
                    <a:pt x="871" y="10320"/>
                    <a:pt x="931" y="10267"/>
                    <a:pt x="992" y="10245"/>
                  </a:cubicBezTo>
                  <a:cubicBezTo>
                    <a:pt x="1052" y="10223"/>
                    <a:pt x="1110" y="10232"/>
                    <a:pt x="1164" y="10271"/>
                  </a:cubicBezTo>
                  <a:cubicBezTo>
                    <a:pt x="1269" y="10347"/>
                    <a:pt x="1263" y="10467"/>
                    <a:pt x="1144" y="10630"/>
                  </a:cubicBezTo>
                  <a:cubicBezTo>
                    <a:pt x="1086" y="10710"/>
                    <a:pt x="1026" y="10761"/>
                    <a:pt x="966" y="10782"/>
                  </a:cubicBezTo>
                  <a:cubicBezTo>
                    <a:pt x="906" y="10803"/>
                    <a:pt x="849" y="10794"/>
                    <a:pt x="796" y="10755"/>
                  </a:cubicBezTo>
                  <a:close/>
                  <a:moveTo>
                    <a:pt x="1116" y="10330"/>
                  </a:moveTo>
                  <a:cubicBezTo>
                    <a:pt x="1058" y="10288"/>
                    <a:pt x="983" y="10331"/>
                    <a:pt x="891" y="10458"/>
                  </a:cubicBezTo>
                  <a:cubicBezTo>
                    <a:pt x="804" y="10577"/>
                    <a:pt x="789" y="10657"/>
                    <a:pt x="846" y="10699"/>
                  </a:cubicBezTo>
                  <a:cubicBezTo>
                    <a:pt x="902" y="10739"/>
                    <a:pt x="974" y="10699"/>
                    <a:pt x="1062" y="10578"/>
                  </a:cubicBezTo>
                  <a:cubicBezTo>
                    <a:pt x="1153" y="10452"/>
                    <a:pt x="1171" y="10370"/>
                    <a:pt x="1116" y="10330"/>
                  </a:cubicBezTo>
                  <a:close/>
                  <a:moveTo>
                    <a:pt x="1236" y="10987"/>
                  </a:moveTo>
                  <a:cubicBezTo>
                    <a:pt x="1143" y="10948"/>
                    <a:pt x="1143" y="10948"/>
                    <a:pt x="1143" y="10948"/>
                  </a:cubicBezTo>
                  <a:cubicBezTo>
                    <a:pt x="1372" y="10405"/>
                    <a:pt x="1372" y="10405"/>
                    <a:pt x="1372" y="10405"/>
                  </a:cubicBezTo>
                  <a:cubicBezTo>
                    <a:pt x="1465" y="10444"/>
                    <a:pt x="1465" y="10444"/>
                    <a:pt x="1465" y="10444"/>
                  </a:cubicBezTo>
                  <a:lnTo>
                    <a:pt x="1236" y="10987"/>
                  </a:lnTo>
                  <a:close/>
                  <a:moveTo>
                    <a:pt x="1605" y="11099"/>
                  </a:moveTo>
                  <a:cubicBezTo>
                    <a:pt x="1544" y="11089"/>
                    <a:pt x="1501" y="11056"/>
                    <a:pt x="1476" y="11001"/>
                  </a:cubicBezTo>
                  <a:cubicBezTo>
                    <a:pt x="1450" y="10946"/>
                    <a:pt x="1445" y="10872"/>
                    <a:pt x="1461" y="10778"/>
                  </a:cubicBezTo>
                  <a:cubicBezTo>
                    <a:pt x="1479" y="10676"/>
                    <a:pt x="1510" y="10601"/>
                    <a:pt x="1554" y="10555"/>
                  </a:cubicBezTo>
                  <a:cubicBezTo>
                    <a:pt x="1598" y="10508"/>
                    <a:pt x="1654" y="10490"/>
                    <a:pt x="1720" y="10502"/>
                  </a:cubicBezTo>
                  <a:cubicBezTo>
                    <a:pt x="1848" y="10523"/>
                    <a:pt x="1895" y="10633"/>
                    <a:pt x="1861" y="10832"/>
                  </a:cubicBezTo>
                  <a:cubicBezTo>
                    <a:pt x="1845" y="10930"/>
                    <a:pt x="1814" y="11002"/>
                    <a:pt x="1769" y="11047"/>
                  </a:cubicBezTo>
                  <a:cubicBezTo>
                    <a:pt x="1724" y="11093"/>
                    <a:pt x="1669" y="11110"/>
                    <a:pt x="1605" y="11099"/>
                  </a:cubicBezTo>
                  <a:close/>
                  <a:moveTo>
                    <a:pt x="1703" y="10576"/>
                  </a:moveTo>
                  <a:cubicBezTo>
                    <a:pt x="1633" y="10564"/>
                    <a:pt x="1584" y="10635"/>
                    <a:pt x="1558" y="10791"/>
                  </a:cubicBezTo>
                  <a:cubicBezTo>
                    <a:pt x="1533" y="10936"/>
                    <a:pt x="1555" y="11014"/>
                    <a:pt x="1625" y="11026"/>
                  </a:cubicBezTo>
                  <a:cubicBezTo>
                    <a:pt x="1693" y="11037"/>
                    <a:pt x="1739" y="10969"/>
                    <a:pt x="1764" y="10822"/>
                  </a:cubicBezTo>
                  <a:cubicBezTo>
                    <a:pt x="1790" y="10669"/>
                    <a:pt x="1770" y="10587"/>
                    <a:pt x="1703" y="10576"/>
                  </a:cubicBezTo>
                  <a:close/>
                  <a:moveTo>
                    <a:pt x="2079" y="11118"/>
                  </a:moveTo>
                  <a:cubicBezTo>
                    <a:pt x="1978" y="11118"/>
                    <a:pt x="1978" y="11118"/>
                    <a:pt x="1978" y="11118"/>
                  </a:cubicBezTo>
                  <a:cubicBezTo>
                    <a:pt x="1978" y="10529"/>
                    <a:pt x="1978" y="10529"/>
                    <a:pt x="1978" y="10529"/>
                  </a:cubicBezTo>
                  <a:cubicBezTo>
                    <a:pt x="2079" y="10529"/>
                    <a:pt x="2079" y="10529"/>
                    <a:pt x="2079" y="10529"/>
                  </a:cubicBezTo>
                  <a:lnTo>
                    <a:pt x="2079" y="11118"/>
                  </a:lnTo>
                  <a:close/>
                  <a:moveTo>
                    <a:pt x="2379" y="11128"/>
                  </a:moveTo>
                  <a:cubicBezTo>
                    <a:pt x="2317" y="11128"/>
                    <a:pt x="2269" y="11103"/>
                    <a:pt x="2235" y="11053"/>
                  </a:cubicBezTo>
                  <a:cubicBezTo>
                    <a:pt x="2201" y="11002"/>
                    <a:pt x="2184" y="10930"/>
                    <a:pt x="2184" y="10835"/>
                  </a:cubicBezTo>
                  <a:cubicBezTo>
                    <a:pt x="2184" y="10731"/>
                    <a:pt x="2201" y="10653"/>
                    <a:pt x="2237" y="10599"/>
                  </a:cubicBezTo>
                  <a:cubicBezTo>
                    <a:pt x="2273" y="10546"/>
                    <a:pt x="2325" y="10519"/>
                    <a:pt x="2393" y="10519"/>
                  </a:cubicBezTo>
                  <a:cubicBezTo>
                    <a:pt x="2522" y="10519"/>
                    <a:pt x="2587" y="10620"/>
                    <a:pt x="2587" y="10821"/>
                  </a:cubicBezTo>
                  <a:cubicBezTo>
                    <a:pt x="2587" y="10921"/>
                    <a:pt x="2568" y="10997"/>
                    <a:pt x="2532" y="11049"/>
                  </a:cubicBezTo>
                  <a:cubicBezTo>
                    <a:pt x="2495" y="11101"/>
                    <a:pt x="2444" y="11128"/>
                    <a:pt x="2379" y="11128"/>
                  </a:cubicBezTo>
                  <a:close/>
                  <a:moveTo>
                    <a:pt x="2388" y="10595"/>
                  </a:moveTo>
                  <a:cubicBezTo>
                    <a:pt x="2317" y="10595"/>
                    <a:pt x="2281" y="10674"/>
                    <a:pt x="2281" y="10831"/>
                  </a:cubicBezTo>
                  <a:cubicBezTo>
                    <a:pt x="2281" y="10979"/>
                    <a:pt x="2316" y="11052"/>
                    <a:pt x="2386" y="11052"/>
                  </a:cubicBezTo>
                  <a:cubicBezTo>
                    <a:pt x="2455" y="11052"/>
                    <a:pt x="2489" y="10977"/>
                    <a:pt x="2489" y="10828"/>
                  </a:cubicBezTo>
                  <a:cubicBezTo>
                    <a:pt x="2489" y="10673"/>
                    <a:pt x="2456" y="10595"/>
                    <a:pt x="2388" y="10595"/>
                  </a:cubicBezTo>
                  <a:close/>
                  <a:moveTo>
                    <a:pt x="2791" y="11118"/>
                  </a:moveTo>
                  <a:cubicBezTo>
                    <a:pt x="2690" y="11118"/>
                    <a:pt x="2690" y="11118"/>
                    <a:pt x="2690" y="11118"/>
                  </a:cubicBezTo>
                  <a:cubicBezTo>
                    <a:pt x="2690" y="10529"/>
                    <a:pt x="2690" y="10529"/>
                    <a:pt x="2690" y="10529"/>
                  </a:cubicBezTo>
                  <a:cubicBezTo>
                    <a:pt x="2791" y="10529"/>
                    <a:pt x="2791" y="10529"/>
                    <a:pt x="2791" y="10529"/>
                  </a:cubicBezTo>
                  <a:lnTo>
                    <a:pt x="2791" y="11118"/>
                  </a:lnTo>
                  <a:close/>
                  <a:moveTo>
                    <a:pt x="3091" y="11128"/>
                  </a:moveTo>
                  <a:cubicBezTo>
                    <a:pt x="3029" y="11128"/>
                    <a:pt x="2982" y="11103"/>
                    <a:pt x="2947" y="11053"/>
                  </a:cubicBezTo>
                  <a:cubicBezTo>
                    <a:pt x="2913" y="11002"/>
                    <a:pt x="2896" y="10930"/>
                    <a:pt x="2896" y="10835"/>
                  </a:cubicBezTo>
                  <a:cubicBezTo>
                    <a:pt x="2896" y="10731"/>
                    <a:pt x="2914" y="10653"/>
                    <a:pt x="2949" y="10599"/>
                  </a:cubicBezTo>
                  <a:cubicBezTo>
                    <a:pt x="2985" y="10546"/>
                    <a:pt x="3037" y="10519"/>
                    <a:pt x="3105" y="10519"/>
                  </a:cubicBezTo>
                  <a:cubicBezTo>
                    <a:pt x="3234" y="10519"/>
                    <a:pt x="3299" y="10620"/>
                    <a:pt x="3299" y="10821"/>
                  </a:cubicBezTo>
                  <a:cubicBezTo>
                    <a:pt x="3299" y="10921"/>
                    <a:pt x="3281" y="10997"/>
                    <a:pt x="3244" y="11049"/>
                  </a:cubicBezTo>
                  <a:cubicBezTo>
                    <a:pt x="3207" y="11101"/>
                    <a:pt x="3156" y="11128"/>
                    <a:pt x="3091" y="11128"/>
                  </a:cubicBezTo>
                  <a:close/>
                  <a:moveTo>
                    <a:pt x="3100" y="10595"/>
                  </a:moveTo>
                  <a:cubicBezTo>
                    <a:pt x="3029" y="10595"/>
                    <a:pt x="2993" y="10674"/>
                    <a:pt x="2993" y="10831"/>
                  </a:cubicBezTo>
                  <a:cubicBezTo>
                    <a:pt x="2993" y="10979"/>
                    <a:pt x="3028" y="11052"/>
                    <a:pt x="3098" y="11052"/>
                  </a:cubicBezTo>
                  <a:cubicBezTo>
                    <a:pt x="3167" y="11052"/>
                    <a:pt x="3202" y="10977"/>
                    <a:pt x="3202" y="10828"/>
                  </a:cubicBezTo>
                  <a:cubicBezTo>
                    <a:pt x="3202" y="10673"/>
                    <a:pt x="3168" y="10595"/>
                    <a:pt x="3100" y="10595"/>
                  </a:cubicBezTo>
                  <a:close/>
                  <a:moveTo>
                    <a:pt x="3503" y="11118"/>
                  </a:moveTo>
                  <a:cubicBezTo>
                    <a:pt x="3403" y="11118"/>
                    <a:pt x="3403" y="11118"/>
                    <a:pt x="3403" y="11118"/>
                  </a:cubicBezTo>
                  <a:cubicBezTo>
                    <a:pt x="3403" y="10529"/>
                    <a:pt x="3403" y="10529"/>
                    <a:pt x="3403" y="10529"/>
                  </a:cubicBezTo>
                  <a:cubicBezTo>
                    <a:pt x="3503" y="10529"/>
                    <a:pt x="3503" y="10529"/>
                    <a:pt x="3503" y="10529"/>
                  </a:cubicBezTo>
                  <a:lnTo>
                    <a:pt x="3503" y="11118"/>
                  </a:lnTo>
                  <a:close/>
                  <a:moveTo>
                    <a:pt x="3803" y="11128"/>
                  </a:moveTo>
                  <a:cubicBezTo>
                    <a:pt x="3741" y="11128"/>
                    <a:pt x="3694" y="11103"/>
                    <a:pt x="3659" y="11053"/>
                  </a:cubicBezTo>
                  <a:cubicBezTo>
                    <a:pt x="3625" y="11002"/>
                    <a:pt x="3608" y="10930"/>
                    <a:pt x="3608" y="10835"/>
                  </a:cubicBezTo>
                  <a:cubicBezTo>
                    <a:pt x="3608" y="10731"/>
                    <a:pt x="3626" y="10653"/>
                    <a:pt x="3662" y="10599"/>
                  </a:cubicBezTo>
                  <a:cubicBezTo>
                    <a:pt x="3697" y="10546"/>
                    <a:pt x="3749" y="10519"/>
                    <a:pt x="3817" y="10519"/>
                  </a:cubicBezTo>
                  <a:cubicBezTo>
                    <a:pt x="3946" y="10519"/>
                    <a:pt x="4011" y="10620"/>
                    <a:pt x="4011" y="10821"/>
                  </a:cubicBezTo>
                  <a:cubicBezTo>
                    <a:pt x="4011" y="10921"/>
                    <a:pt x="3993" y="10997"/>
                    <a:pt x="3956" y="11049"/>
                  </a:cubicBezTo>
                  <a:cubicBezTo>
                    <a:pt x="3920" y="11101"/>
                    <a:pt x="3868" y="11128"/>
                    <a:pt x="3803" y="11128"/>
                  </a:cubicBezTo>
                  <a:close/>
                  <a:moveTo>
                    <a:pt x="3812" y="10595"/>
                  </a:moveTo>
                  <a:cubicBezTo>
                    <a:pt x="3741" y="10595"/>
                    <a:pt x="3705" y="10674"/>
                    <a:pt x="3705" y="10831"/>
                  </a:cubicBezTo>
                  <a:cubicBezTo>
                    <a:pt x="3705" y="10979"/>
                    <a:pt x="3740" y="11052"/>
                    <a:pt x="3810" y="11052"/>
                  </a:cubicBezTo>
                  <a:cubicBezTo>
                    <a:pt x="3879" y="11052"/>
                    <a:pt x="3914" y="10977"/>
                    <a:pt x="3914" y="10828"/>
                  </a:cubicBezTo>
                  <a:cubicBezTo>
                    <a:pt x="3914" y="10673"/>
                    <a:pt x="3880" y="10595"/>
                    <a:pt x="3812" y="10595"/>
                  </a:cubicBezTo>
                  <a:close/>
                  <a:moveTo>
                    <a:pt x="4215" y="11118"/>
                  </a:moveTo>
                  <a:cubicBezTo>
                    <a:pt x="4115" y="11118"/>
                    <a:pt x="4115" y="11118"/>
                    <a:pt x="4115" y="11118"/>
                  </a:cubicBezTo>
                  <a:cubicBezTo>
                    <a:pt x="4115" y="10529"/>
                    <a:pt x="4115" y="10529"/>
                    <a:pt x="4115" y="10529"/>
                  </a:cubicBezTo>
                  <a:cubicBezTo>
                    <a:pt x="4215" y="10529"/>
                    <a:pt x="4215" y="10529"/>
                    <a:pt x="4215" y="10529"/>
                  </a:cubicBezTo>
                  <a:lnTo>
                    <a:pt x="4215" y="11118"/>
                  </a:lnTo>
                  <a:close/>
                  <a:moveTo>
                    <a:pt x="4514" y="11128"/>
                  </a:moveTo>
                  <a:cubicBezTo>
                    <a:pt x="4453" y="11128"/>
                    <a:pt x="4405" y="11103"/>
                    <a:pt x="4371" y="11053"/>
                  </a:cubicBezTo>
                  <a:cubicBezTo>
                    <a:pt x="4337" y="11002"/>
                    <a:pt x="4319" y="10930"/>
                    <a:pt x="4319" y="10835"/>
                  </a:cubicBezTo>
                  <a:cubicBezTo>
                    <a:pt x="4319" y="10731"/>
                    <a:pt x="4337" y="10653"/>
                    <a:pt x="4373" y="10599"/>
                  </a:cubicBezTo>
                  <a:cubicBezTo>
                    <a:pt x="4409" y="10546"/>
                    <a:pt x="4461" y="10519"/>
                    <a:pt x="4528" y="10519"/>
                  </a:cubicBezTo>
                  <a:cubicBezTo>
                    <a:pt x="4658" y="10519"/>
                    <a:pt x="4723" y="10620"/>
                    <a:pt x="4723" y="10821"/>
                  </a:cubicBezTo>
                  <a:cubicBezTo>
                    <a:pt x="4723" y="10921"/>
                    <a:pt x="4704" y="10997"/>
                    <a:pt x="4668" y="11049"/>
                  </a:cubicBezTo>
                  <a:cubicBezTo>
                    <a:pt x="4631" y="11101"/>
                    <a:pt x="4580" y="11128"/>
                    <a:pt x="4514" y="11128"/>
                  </a:cubicBezTo>
                  <a:close/>
                  <a:moveTo>
                    <a:pt x="4524" y="10595"/>
                  </a:moveTo>
                  <a:cubicBezTo>
                    <a:pt x="4452" y="10595"/>
                    <a:pt x="4417" y="10674"/>
                    <a:pt x="4417" y="10831"/>
                  </a:cubicBezTo>
                  <a:cubicBezTo>
                    <a:pt x="4417" y="10979"/>
                    <a:pt x="4452" y="11052"/>
                    <a:pt x="4522" y="11052"/>
                  </a:cubicBezTo>
                  <a:cubicBezTo>
                    <a:pt x="4591" y="11052"/>
                    <a:pt x="4625" y="10977"/>
                    <a:pt x="4625" y="10828"/>
                  </a:cubicBezTo>
                  <a:cubicBezTo>
                    <a:pt x="4625" y="10673"/>
                    <a:pt x="4592" y="10595"/>
                    <a:pt x="4524" y="10595"/>
                  </a:cubicBezTo>
                  <a:close/>
                  <a:moveTo>
                    <a:pt x="4927" y="11118"/>
                  </a:moveTo>
                  <a:cubicBezTo>
                    <a:pt x="4827" y="11118"/>
                    <a:pt x="4827" y="11118"/>
                    <a:pt x="4827" y="11118"/>
                  </a:cubicBezTo>
                  <a:cubicBezTo>
                    <a:pt x="4827" y="10529"/>
                    <a:pt x="4827" y="10529"/>
                    <a:pt x="4827" y="10529"/>
                  </a:cubicBezTo>
                  <a:cubicBezTo>
                    <a:pt x="4927" y="10529"/>
                    <a:pt x="4927" y="10529"/>
                    <a:pt x="4927" y="10529"/>
                  </a:cubicBezTo>
                  <a:lnTo>
                    <a:pt x="4927" y="11118"/>
                  </a:lnTo>
                  <a:close/>
                  <a:moveTo>
                    <a:pt x="5227" y="11128"/>
                  </a:moveTo>
                  <a:cubicBezTo>
                    <a:pt x="5165" y="11128"/>
                    <a:pt x="5117" y="11103"/>
                    <a:pt x="5083" y="11053"/>
                  </a:cubicBezTo>
                  <a:cubicBezTo>
                    <a:pt x="5049" y="11002"/>
                    <a:pt x="5032" y="10930"/>
                    <a:pt x="5032" y="10835"/>
                  </a:cubicBezTo>
                  <a:cubicBezTo>
                    <a:pt x="5032" y="10731"/>
                    <a:pt x="5049" y="10653"/>
                    <a:pt x="5085" y="10599"/>
                  </a:cubicBezTo>
                  <a:cubicBezTo>
                    <a:pt x="5121" y="10546"/>
                    <a:pt x="5173" y="10519"/>
                    <a:pt x="5241" y="10519"/>
                  </a:cubicBezTo>
                  <a:cubicBezTo>
                    <a:pt x="5370" y="10519"/>
                    <a:pt x="5435" y="10620"/>
                    <a:pt x="5435" y="10821"/>
                  </a:cubicBezTo>
                  <a:cubicBezTo>
                    <a:pt x="5435" y="10921"/>
                    <a:pt x="5416" y="10997"/>
                    <a:pt x="5380" y="11049"/>
                  </a:cubicBezTo>
                  <a:cubicBezTo>
                    <a:pt x="5343" y="11101"/>
                    <a:pt x="5292" y="11128"/>
                    <a:pt x="5227" y="11128"/>
                  </a:cubicBezTo>
                  <a:close/>
                  <a:moveTo>
                    <a:pt x="5236" y="10595"/>
                  </a:moveTo>
                  <a:cubicBezTo>
                    <a:pt x="5165" y="10595"/>
                    <a:pt x="5129" y="10674"/>
                    <a:pt x="5129" y="10831"/>
                  </a:cubicBezTo>
                  <a:cubicBezTo>
                    <a:pt x="5129" y="10979"/>
                    <a:pt x="5164" y="11052"/>
                    <a:pt x="5234" y="11052"/>
                  </a:cubicBezTo>
                  <a:cubicBezTo>
                    <a:pt x="5303" y="11052"/>
                    <a:pt x="5337" y="10977"/>
                    <a:pt x="5337" y="10828"/>
                  </a:cubicBezTo>
                  <a:cubicBezTo>
                    <a:pt x="5337" y="10673"/>
                    <a:pt x="5304" y="10595"/>
                    <a:pt x="5236" y="10595"/>
                  </a:cubicBezTo>
                  <a:close/>
                  <a:moveTo>
                    <a:pt x="5735" y="11054"/>
                  </a:moveTo>
                  <a:cubicBezTo>
                    <a:pt x="5638" y="11081"/>
                    <a:pt x="5638" y="11081"/>
                    <a:pt x="5638" y="11081"/>
                  </a:cubicBezTo>
                  <a:cubicBezTo>
                    <a:pt x="5478" y="10514"/>
                    <a:pt x="5478" y="10514"/>
                    <a:pt x="5478" y="10514"/>
                  </a:cubicBezTo>
                  <a:cubicBezTo>
                    <a:pt x="5575" y="10487"/>
                    <a:pt x="5575" y="10487"/>
                    <a:pt x="5575" y="10487"/>
                  </a:cubicBezTo>
                  <a:lnTo>
                    <a:pt x="5735" y="11054"/>
                  </a:lnTo>
                  <a:close/>
                  <a:moveTo>
                    <a:pt x="6043" y="10909"/>
                  </a:moveTo>
                  <a:cubicBezTo>
                    <a:pt x="5956" y="10959"/>
                    <a:pt x="5956" y="10959"/>
                    <a:pt x="5956" y="10959"/>
                  </a:cubicBezTo>
                  <a:cubicBezTo>
                    <a:pt x="5658" y="10451"/>
                    <a:pt x="5658" y="10451"/>
                    <a:pt x="5658" y="10451"/>
                  </a:cubicBezTo>
                  <a:cubicBezTo>
                    <a:pt x="5745" y="10401"/>
                    <a:pt x="5745" y="10401"/>
                    <a:pt x="5745" y="10401"/>
                  </a:cubicBezTo>
                  <a:lnTo>
                    <a:pt x="6043" y="10909"/>
                  </a:lnTo>
                  <a:close/>
                  <a:moveTo>
                    <a:pt x="6374" y="10623"/>
                  </a:moveTo>
                  <a:cubicBezTo>
                    <a:pt x="6336" y="10671"/>
                    <a:pt x="6286" y="10693"/>
                    <a:pt x="6226" y="10689"/>
                  </a:cubicBezTo>
                  <a:cubicBezTo>
                    <a:pt x="6165" y="10684"/>
                    <a:pt x="6098" y="10653"/>
                    <a:pt x="6024" y="10594"/>
                  </a:cubicBezTo>
                  <a:cubicBezTo>
                    <a:pt x="5942" y="10530"/>
                    <a:pt x="5891" y="10467"/>
                    <a:pt x="5872" y="10405"/>
                  </a:cubicBezTo>
                  <a:cubicBezTo>
                    <a:pt x="5852" y="10344"/>
                    <a:pt x="5863" y="10287"/>
                    <a:pt x="5905" y="10234"/>
                  </a:cubicBezTo>
                  <a:cubicBezTo>
                    <a:pt x="5986" y="10133"/>
                    <a:pt x="6105" y="10144"/>
                    <a:pt x="6262" y="10269"/>
                  </a:cubicBezTo>
                  <a:cubicBezTo>
                    <a:pt x="6341" y="10331"/>
                    <a:pt x="6389" y="10392"/>
                    <a:pt x="6407" y="10454"/>
                  </a:cubicBezTo>
                  <a:cubicBezTo>
                    <a:pt x="6426" y="10515"/>
                    <a:pt x="6415" y="10571"/>
                    <a:pt x="6374" y="10623"/>
                  </a:cubicBezTo>
                  <a:close/>
                  <a:moveTo>
                    <a:pt x="5962" y="10285"/>
                  </a:moveTo>
                  <a:cubicBezTo>
                    <a:pt x="5918" y="10341"/>
                    <a:pt x="5957" y="10418"/>
                    <a:pt x="6081" y="10515"/>
                  </a:cubicBezTo>
                  <a:cubicBezTo>
                    <a:pt x="6196" y="10607"/>
                    <a:pt x="6276" y="10625"/>
                    <a:pt x="6319" y="10570"/>
                  </a:cubicBezTo>
                  <a:cubicBezTo>
                    <a:pt x="6362" y="10516"/>
                    <a:pt x="6325" y="10442"/>
                    <a:pt x="6207" y="10349"/>
                  </a:cubicBezTo>
                  <a:cubicBezTo>
                    <a:pt x="6086" y="10253"/>
                    <a:pt x="6004" y="10232"/>
                    <a:pt x="5962" y="10285"/>
                  </a:cubicBezTo>
                  <a:close/>
                  <a:moveTo>
                    <a:pt x="6615" y="10240"/>
                  </a:moveTo>
                  <a:cubicBezTo>
                    <a:pt x="6558" y="10324"/>
                    <a:pt x="6558" y="10324"/>
                    <a:pt x="6558" y="10324"/>
                  </a:cubicBezTo>
                  <a:cubicBezTo>
                    <a:pt x="6070" y="9994"/>
                    <a:pt x="6070" y="9994"/>
                    <a:pt x="6070" y="9994"/>
                  </a:cubicBezTo>
                  <a:cubicBezTo>
                    <a:pt x="6127" y="9911"/>
                    <a:pt x="6127" y="9911"/>
                    <a:pt x="6127" y="9911"/>
                  </a:cubicBezTo>
                  <a:lnTo>
                    <a:pt x="6615" y="10240"/>
                  </a:lnTo>
                  <a:close/>
                  <a:moveTo>
                    <a:pt x="6755" y="10051"/>
                  </a:moveTo>
                  <a:cubicBezTo>
                    <a:pt x="6694" y="10131"/>
                    <a:pt x="6694" y="10131"/>
                    <a:pt x="6694" y="10131"/>
                  </a:cubicBezTo>
                  <a:cubicBezTo>
                    <a:pt x="6228" y="9770"/>
                    <a:pt x="6228" y="9770"/>
                    <a:pt x="6228" y="9770"/>
                  </a:cubicBezTo>
                  <a:cubicBezTo>
                    <a:pt x="6290" y="9691"/>
                    <a:pt x="6290" y="9691"/>
                    <a:pt x="6290" y="9691"/>
                  </a:cubicBezTo>
                  <a:lnTo>
                    <a:pt x="6755" y="10051"/>
                  </a:lnTo>
                  <a:close/>
                  <a:moveTo>
                    <a:pt x="6908" y="9872"/>
                  </a:moveTo>
                  <a:cubicBezTo>
                    <a:pt x="6842" y="9947"/>
                    <a:pt x="6842" y="9947"/>
                    <a:pt x="6842" y="9947"/>
                  </a:cubicBezTo>
                  <a:cubicBezTo>
                    <a:pt x="6400" y="9557"/>
                    <a:pt x="6400" y="9557"/>
                    <a:pt x="6400" y="9557"/>
                  </a:cubicBezTo>
                  <a:cubicBezTo>
                    <a:pt x="6467" y="9482"/>
                    <a:pt x="6467" y="9482"/>
                    <a:pt x="6467" y="9482"/>
                  </a:cubicBezTo>
                  <a:lnTo>
                    <a:pt x="6908" y="9872"/>
                  </a:lnTo>
                  <a:close/>
                  <a:moveTo>
                    <a:pt x="7116" y="9675"/>
                  </a:moveTo>
                  <a:cubicBezTo>
                    <a:pt x="7071" y="9717"/>
                    <a:pt x="7019" y="9731"/>
                    <a:pt x="6960" y="9718"/>
                  </a:cubicBezTo>
                  <a:cubicBezTo>
                    <a:pt x="6900" y="9705"/>
                    <a:pt x="6838" y="9664"/>
                    <a:pt x="6773" y="9595"/>
                  </a:cubicBezTo>
                  <a:cubicBezTo>
                    <a:pt x="6702" y="9519"/>
                    <a:pt x="6662" y="9450"/>
                    <a:pt x="6651" y="9386"/>
                  </a:cubicBezTo>
                  <a:cubicBezTo>
                    <a:pt x="6641" y="9323"/>
                    <a:pt x="6660" y="9268"/>
                    <a:pt x="6710" y="9222"/>
                  </a:cubicBezTo>
                  <a:cubicBezTo>
                    <a:pt x="6804" y="9133"/>
                    <a:pt x="6920" y="9162"/>
                    <a:pt x="7058" y="9309"/>
                  </a:cubicBezTo>
                  <a:cubicBezTo>
                    <a:pt x="7126" y="9382"/>
                    <a:pt x="7165" y="9450"/>
                    <a:pt x="7174" y="9513"/>
                  </a:cubicBezTo>
                  <a:cubicBezTo>
                    <a:pt x="7183" y="9576"/>
                    <a:pt x="7164" y="9630"/>
                    <a:pt x="7116" y="9675"/>
                  </a:cubicBezTo>
                  <a:close/>
                  <a:moveTo>
                    <a:pt x="6758" y="9280"/>
                  </a:moveTo>
                  <a:cubicBezTo>
                    <a:pt x="6706" y="9329"/>
                    <a:pt x="6734" y="9411"/>
                    <a:pt x="6842" y="9526"/>
                  </a:cubicBezTo>
                  <a:cubicBezTo>
                    <a:pt x="6942" y="9633"/>
                    <a:pt x="7018" y="9663"/>
                    <a:pt x="7069" y="9615"/>
                  </a:cubicBezTo>
                  <a:cubicBezTo>
                    <a:pt x="7120" y="9568"/>
                    <a:pt x="7094" y="9489"/>
                    <a:pt x="6991" y="9380"/>
                  </a:cubicBezTo>
                  <a:cubicBezTo>
                    <a:pt x="6885" y="9267"/>
                    <a:pt x="6808" y="9234"/>
                    <a:pt x="6758" y="9280"/>
                  </a:cubicBezTo>
                  <a:close/>
                  <a:moveTo>
                    <a:pt x="7414" y="9411"/>
                  </a:moveTo>
                  <a:cubicBezTo>
                    <a:pt x="7334" y="9472"/>
                    <a:pt x="7334" y="9472"/>
                    <a:pt x="7334" y="9472"/>
                  </a:cubicBezTo>
                  <a:cubicBezTo>
                    <a:pt x="6974" y="9007"/>
                    <a:pt x="6974" y="9007"/>
                    <a:pt x="6974" y="9007"/>
                  </a:cubicBezTo>
                  <a:cubicBezTo>
                    <a:pt x="7053" y="8945"/>
                    <a:pt x="7053" y="8945"/>
                    <a:pt x="7053" y="8945"/>
                  </a:cubicBezTo>
                  <a:lnTo>
                    <a:pt x="7414" y="9411"/>
                  </a:lnTo>
                  <a:close/>
                  <a:moveTo>
                    <a:pt x="7654" y="9257"/>
                  </a:moveTo>
                  <a:cubicBezTo>
                    <a:pt x="7602" y="9290"/>
                    <a:pt x="7548" y="9294"/>
                    <a:pt x="7493" y="9270"/>
                  </a:cubicBezTo>
                  <a:cubicBezTo>
                    <a:pt x="7437" y="9246"/>
                    <a:pt x="7384" y="9194"/>
                    <a:pt x="7333" y="9114"/>
                  </a:cubicBezTo>
                  <a:cubicBezTo>
                    <a:pt x="7277" y="9026"/>
                    <a:pt x="7250" y="8950"/>
                    <a:pt x="7252" y="8886"/>
                  </a:cubicBezTo>
                  <a:cubicBezTo>
                    <a:pt x="7254" y="8822"/>
                    <a:pt x="7283" y="8771"/>
                    <a:pt x="7340" y="8735"/>
                  </a:cubicBezTo>
                  <a:cubicBezTo>
                    <a:pt x="7450" y="8666"/>
                    <a:pt x="7558" y="8716"/>
                    <a:pt x="7666" y="8886"/>
                  </a:cubicBezTo>
                  <a:cubicBezTo>
                    <a:pt x="7719" y="8970"/>
                    <a:pt x="7744" y="9044"/>
                    <a:pt x="7742" y="9108"/>
                  </a:cubicBezTo>
                  <a:cubicBezTo>
                    <a:pt x="7739" y="9172"/>
                    <a:pt x="7710" y="9222"/>
                    <a:pt x="7654" y="9257"/>
                  </a:cubicBezTo>
                  <a:close/>
                  <a:moveTo>
                    <a:pt x="7377" y="8802"/>
                  </a:moveTo>
                  <a:cubicBezTo>
                    <a:pt x="7317" y="8840"/>
                    <a:pt x="7329" y="8926"/>
                    <a:pt x="7413" y="9059"/>
                  </a:cubicBezTo>
                  <a:cubicBezTo>
                    <a:pt x="7492" y="9183"/>
                    <a:pt x="7561" y="9226"/>
                    <a:pt x="7620" y="9189"/>
                  </a:cubicBezTo>
                  <a:cubicBezTo>
                    <a:pt x="7678" y="9152"/>
                    <a:pt x="7667" y="9070"/>
                    <a:pt x="7587" y="8944"/>
                  </a:cubicBezTo>
                  <a:cubicBezTo>
                    <a:pt x="7504" y="8813"/>
                    <a:pt x="7434" y="8766"/>
                    <a:pt x="7377" y="8802"/>
                  </a:cubicBezTo>
                  <a:close/>
                  <a:moveTo>
                    <a:pt x="7997" y="9053"/>
                  </a:moveTo>
                  <a:cubicBezTo>
                    <a:pt x="7907" y="9099"/>
                    <a:pt x="7907" y="9099"/>
                    <a:pt x="7907" y="9099"/>
                  </a:cubicBezTo>
                  <a:cubicBezTo>
                    <a:pt x="7640" y="8574"/>
                    <a:pt x="7640" y="8574"/>
                    <a:pt x="7640" y="8574"/>
                  </a:cubicBezTo>
                  <a:cubicBezTo>
                    <a:pt x="7730" y="8528"/>
                    <a:pt x="7730" y="8528"/>
                    <a:pt x="7730" y="8528"/>
                  </a:cubicBezTo>
                  <a:lnTo>
                    <a:pt x="7997" y="9053"/>
                  </a:lnTo>
                  <a:close/>
                  <a:moveTo>
                    <a:pt x="8261" y="8947"/>
                  </a:moveTo>
                  <a:cubicBezTo>
                    <a:pt x="8204" y="8970"/>
                    <a:pt x="8151" y="8964"/>
                    <a:pt x="8100" y="8930"/>
                  </a:cubicBezTo>
                  <a:cubicBezTo>
                    <a:pt x="8050" y="8896"/>
                    <a:pt x="8008" y="8835"/>
                    <a:pt x="7973" y="8747"/>
                  </a:cubicBezTo>
                  <a:cubicBezTo>
                    <a:pt x="7935" y="8650"/>
                    <a:pt x="7923" y="8570"/>
                    <a:pt x="7937" y="8507"/>
                  </a:cubicBezTo>
                  <a:cubicBezTo>
                    <a:pt x="7951" y="8444"/>
                    <a:pt x="7989" y="8401"/>
                    <a:pt x="8052" y="8376"/>
                  </a:cubicBezTo>
                  <a:cubicBezTo>
                    <a:pt x="8173" y="8329"/>
                    <a:pt x="8270" y="8399"/>
                    <a:pt x="8343" y="8586"/>
                  </a:cubicBezTo>
                  <a:cubicBezTo>
                    <a:pt x="8380" y="8679"/>
                    <a:pt x="8390" y="8756"/>
                    <a:pt x="8375" y="8818"/>
                  </a:cubicBezTo>
                  <a:cubicBezTo>
                    <a:pt x="8361" y="8880"/>
                    <a:pt x="8323" y="8923"/>
                    <a:pt x="8261" y="8947"/>
                  </a:cubicBezTo>
                  <a:close/>
                  <a:moveTo>
                    <a:pt x="8076" y="8448"/>
                  </a:moveTo>
                  <a:cubicBezTo>
                    <a:pt x="8009" y="8474"/>
                    <a:pt x="8005" y="8561"/>
                    <a:pt x="8062" y="8707"/>
                  </a:cubicBezTo>
                  <a:cubicBezTo>
                    <a:pt x="8116" y="8844"/>
                    <a:pt x="8175" y="8900"/>
                    <a:pt x="8241" y="8874"/>
                  </a:cubicBezTo>
                  <a:cubicBezTo>
                    <a:pt x="8305" y="8849"/>
                    <a:pt x="8310" y="8767"/>
                    <a:pt x="8255" y="8628"/>
                  </a:cubicBezTo>
                  <a:cubicBezTo>
                    <a:pt x="8198" y="8483"/>
                    <a:pt x="8139" y="8424"/>
                    <a:pt x="8076" y="8448"/>
                  </a:cubicBezTo>
                  <a:close/>
                  <a:moveTo>
                    <a:pt x="8636" y="8812"/>
                  </a:moveTo>
                  <a:cubicBezTo>
                    <a:pt x="8539" y="8840"/>
                    <a:pt x="8539" y="8840"/>
                    <a:pt x="8539" y="8840"/>
                  </a:cubicBezTo>
                  <a:cubicBezTo>
                    <a:pt x="8377" y="8274"/>
                    <a:pt x="8377" y="8274"/>
                    <a:pt x="8377" y="8274"/>
                  </a:cubicBezTo>
                  <a:cubicBezTo>
                    <a:pt x="8474" y="8246"/>
                    <a:pt x="8474" y="8246"/>
                    <a:pt x="8474" y="8246"/>
                  </a:cubicBezTo>
                  <a:lnTo>
                    <a:pt x="8636" y="8812"/>
                  </a:lnTo>
                  <a:close/>
                  <a:moveTo>
                    <a:pt x="8916" y="8759"/>
                  </a:moveTo>
                  <a:cubicBezTo>
                    <a:pt x="8856" y="8770"/>
                    <a:pt x="8804" y="8754"/>
                    <a:pt x="8761" y="8711"/>
                  </a:cubicBezTo>
                  <a:cubicBezTo>
                    <a:pt x="8719" y="8668"/>
                    <a:pt x="8688" y="8600"/>
                    <a:pt x="8671" y="8507"/>
                  </a:cubicBezTo>
                  <a:cubicBezTo>
                    <a:pt x="8652" y="8405"/>
                    <a:pt x="8655" y="8324"/>
                    <a:pt x="8681" y="8265"/>
                  </a:cubicBezTo>
                  <a:cubicBezTo>
                    <a:pt x="8707" y="8206"/>
                    <a:pt x="8753" y="8170"/>
                    <a:pt x="8819" y="8158"/>
                  </a:cubicBezTo>
                  <a:cubicBezTo>
                    <a:pt x="8946" y="8134"/>
                    <a:pt x="9028" y="8221"/>
                    <a:pt x="9065" y="8419"/>
                  </a:cubicBezTo>
                  <a:cubicBezTo>
                    <a:pt x="9083" y="8517"/>
                    <a:pt x="9079" y="8595"/>
                    <a:pt x="9053" y="8654"/>
                  </a:cubicBezTo>
                  <a:cubicBezTo>
                    <a:pt x="9026" y="8712"/>
                    <a:pt x="8981" y="8747"/>
                    <a:pt x="8916" y="8759"/>
                  </a:cubicBezTo>
                  <a:close/>
                  <a:moveTo>
                    <a:pt x="8828" y="8233"/>
                  </a:moveTo>
                  <a:cubicBezTo>
                    <a:pt x="8758" y="8246"/>
                    <a:pt x="8737" y="8330"/>
                    <a:pt x="8766" y="8485"/>
                  </a:cubicBezTo>
                  <a:cubicBezTo>
                    <a:pt x="8793" y="8630"/>
                    <a:pt x="8841" y="8696"/>
                    <a:pt x="8910" y="8683"/>
                  </a:cubicBezTo>
                  <a:cubicBezTo>
                    <a:pt x="8978" y="8671"/>
                    <a:pt x="8998" y="8591"/>
                    <a:pt x="8970" y="8443"/>
                  </a:cubicBezTo>
                  <a:cubicBezTo>
                    <a:pt x="8942" y="8291"/>
                    <a:pt x="8895" y="8221"/>
                    <a:pt x="8828" y="8233"/>
                  </a:cubicBezTo>
                  <a:close/>
                  <a:moveTo>
                    <a:pt x="9310" y="8697"/>
                  </a:moveTo>
                  <a:cubicBezTo>
                    <a:pt x="9210" y="8706"/>
                    <a:pt x="9210" y="8706"/>
                    <a:pt x="9210" y="8706"/>
                  </a:cubicBezTo>
                  <a:cubicBezTo>
                    <a:pt x="9158" y="8119"/>
                    <a:pt x="9158" y="8119"/>
                    <a:pt x="9158" y="8119"/>
                  </a:cubicBezTo>
                  <a:cubicBezTo>
                    <a:pt x="9258" y="8111"/>
                    <a:pt x="9258" y="8111"/>
                    <a:pt x="9258" y="8111"/>
                  </a:cubicBezTo>
                  <a:lnTo>
                    <a:pt x="9310" y="8697"/>
                  </a:lnTo>
                  <a:close/>
                  <a:moveTo>
                    <a:pt x="9595" y="8697"/>
                  </a:moveTo>
                  <a:cubicBezTo>
                    <a:pt x="9534" y="8696"/>
                    <a:pt x="9487" y="8671"/>
                    <a:pt x="9453" y="8620"/>
                  </a:cubicBezTo>
                  <a:cubicBezTo>
                    <a:pt x="9419" y="8570"/>
                    <a:pt x="9403" y="8497"/>
                    <a:pt x="9404" y="8403"/>
                  </a:cubicBezTo>
                  <a:cubicBezTo>
                    <a:pt x="9405" y="8299"/>
                    <a:pt x="9423" y="8220"/>
                    <a:pt x="9460" y="8167"/>
                  </a:cubicBezTo>
                  <a:cubicBezTo>
                    <a:pt x="9496" y="8114"/>
                    <a:pt x="9548" y="8088"/>
                    <a:pt x="9616" y="8089"/>
                  </a:cubicBezTo>
                  <a:cubicBezTo>
                    <a:pt x="9745" y="8090"/>
                    <a:pt x="9809" y="8191"/>
                    <a:pt x="9807" y="8393"/>
                  </a:cubicBezTo>
                  <a:cubicBezTo>
                    <a:pt x="9806" y="8492"/>
                    <a:pt x="9787" y="8568"/>
                    <a:pt x="9750" y="8620"/>
                  </a:cubicBezTo>
                  <a:cubicBezTo>
                    <a:pt x="9713" y="8672"/>
                    <a:pt x="9661" y="8698"/>
                    <a:pt x="9595" y="8697"/>
                  </a:cubicBezTo>
                  <a:close/>
                  <a:moveTo>
                    <a:pt x="9611" y="8165"/>
                  </a:moveTo>
                  <a:cubicBezTo>
                    <a:pt x="9539" y="8164"/>
                    <a:pt x="9503" y="8242"/>
                    <a:pt x="9501" y="8400"/>
                  </a:cubicBezTo>
                  <a:cubicBezTo>
                    <a:pt x="9499" y="8547"/>
                    <a:pt x="9534" y="8621"/>
                    <a:pt x="9604" y="8622"/>
                  </a:cubicBezTo>
                  <a:cubicBezTo>
                    <a:pt x="9673" y="8622"/>
                    <a:pt x="9708" y="8548"/>
                    <a:pt x="9710" y="8398"/>
                  </a:cubicBezTo>
                  <a:cubicBezTo>
                    <a:pt x="9711" y="8243"/>
                    <a:pt x="9678" y="8165"/>
                    <a:pt x="9611" y="8165"/>
                  </a:cubicBezTo>
                  <a:close/>
                  <a:moveTo>
                    <a:pt x="10042" y="8726"/>
                  </a:moveTo>
                  <a:cubicBezTo>
                    <a:pt x="9981" y="8718"/>
                    <a:pt x="9937" y="8687"/>
                    <a:pt x="9910" y="8633"/>
                  </a:cubicBezTo>
                  <a:cubicBezTo>
                    <a:pt x="9882" y="8579"/>
                    <a:pt x="9874" y="8505"/>
                    <a:pt x="9886" y="8411"/>
                  </a:cubicBezTo>
                  <a:cubicBezTo>
                    <a:pt x="9899" y="8308"/>
                    <a:pt x="9927" y="8232"/>
                    <a:pt x="9970" y="8184"/>
                  </a:cubicBezTo>
                  <a:cubicBezTo>
                    <a:pt x="10012" y="8136"/>
                    <a:pt x="10067" y="8116"/>
                    <a:pt x="10134" y="8124"/>
                  </a:cubicBezTo>
                  <a:cubicBezTo>
                    <a:pt x="10262" y="8141"/>
                    <a:pt x="10314" y="8249"/>
                    <a:pt x="10288" y="8448"/>
                  </a:cubicBezTo>
                  <a:cubicBezTo>
                    <a:pt x="10275" y="8547"/>
                    <a:pt x="10247" y="8620"/>
                    <a:pt x="10204" y="8668"/>
                  </a:cubicBezTo>
                  <a:cubicBezTo>
                    <a:pt x="10161" y="8715"/>
                    <a:pt x="10107" y="8734"/>
                    <a:pt x="10042" y="8726"/>
                  </a:cubicBezTo>
                  <a:close/>
                  <a:moveTo>
                    <a:pt x="10120" y="8199"/>
                  </a:moveTo>
                  <a:cubicBezTo>
                    <a:pt x="10049" y="8190"/>
                    <a:pt x="10003" y="8263"/>
                    <a:pt x="9983" y="8420"/>
                  </a:cubicBezTo>
                  <a:cubicBezTo>
                    <a:pt x="9964" y="8566"/>
                    <a:pt x="9990" y="8643"/>
                    <a:pt x="10059" y="8652"/>
                  </a:cubicBezTo>
                  <a:cubicBezTo>
                    <a:pt x="10128" y="8661"/>
                    <a:pt x="10171" y="8591"/>
                    <a:pt x="10191" y="8443"/>
                  </a:cubicBezTo>
                  <a:cubicBezTo>
                    <a:pt x="10210" y="8289"/>
                    <a:pt x="10187" y="8208"/>
                    <a:pt x="10120" y="8199"/>
                  </a:cubicBezTo>
                  <a:close/>
                  <a:moveTo>
                    <a:pt x="10436" y="8788"/>
                  </a:moveTo>
                  <a:cubicBezTo>
                    <a:pt x="10338" y="8766"/>
                    <a:pt x="10338" y="8766"/>
                    <a:pt x="10338" y="8766"/>
                  </a:cubicBezTo>
                  <a:cubicBezTo>
                    <a:pt x="10468" y="8192"/>
                    <a:pt x="10468" y="8192"/>
                    <a:pt x="10468" y="8192"/>
                  </a:cubicBezTo>
                  <a:cubicBezTo>
                    <a:pt x="10566" y="8214"/>
                    <a:pt x="10566" y="8214"/>
                    <a:pt x="10566" y="8214"/>
                  </a:cubicBezTo>
                  <a:lnTo>
                    <a:pt x="10436" y="8788"/>
                  </a:lnTo>
                  <a:close/>
                  <a:moveTo>
                    <a:pt x="10707" y="8876"/>
                  </a:moveTo>
                  <a:cubicBezTo>
                    <a:pt x="10649" y="8857"/>
                    <a:pt x="10612" y="8818"/>
                    <a:pt x="10595" y="8760"/>
                  </a:cubicBezTo>
                  <a:cubicBezTo>
                    <a:pt x="10578" y="8701"/>
                    <a:pt x="10584" y="8627"/>
                    <a:pt x="10614" y="8537"/>
                  </a:cubicBezTo>
                  <a:cubicBezTo>
                    <a:pt x="10646" y="8438"/>
                    <a:pt x="10688" y="8369"/>
                    <a:pt x="10739" y="8330"/>
                  </a:cubicBezTo>
                  <a:cubicBezTo>
                    <a:pt x="10790" y="8290"/>
                    <a:pt x="10847" y="8281"/>
                    <a:pt x="10911" y="8302"/>
                  </a:cubicBezTo>
                  <a:cubicBezTo>
                    <a:pt x="11034" y="8343"/>
                    <a:pt x="11064" y="8459"/>
                    <a:pt x="11001" y="8650"/>
                  </a:cubicBezTo>
                  <a:cubicBezTo>
                    <a:pt x="10970" y="8744"/>
                    <a:pt x="10929" y="8811"/>
                    <a:pt x="10878" y="8849"/>
                  </a:cubicBezTo>
                  <a:cubicBezTo>
                    <a:pt x="10826" y="8888"/>
                    <a:pt x="10770" y="8896"/>
                    <a:pt x="10707" y="8876"/>
                  </a:cubicBezTo>
                  <a:close/>
                  <a:moveTo>
                    <a:pt x="10883" y="8373"/>
                  </a:moveTo>
                  <a:cubicBezTo>
                    <a:pt x="10815" y="8351"/>
                    <a:pt x="10757" y="8414"/>
                    <a:pt x="10707" y="8564"/>
                  </a:cubicBezTo>
                  <a:cubicBezTo>
                    <a:pt x="10661" y="8704"/>
                    <a:pt x="10671" y="8784"/>
                    <a:pt x="10738" y="8806"/>
                  </a:cubicBezTo>
                  <a:cubicBezTo>
                    <a:pt x="10804" y="8828"/>
                    <a:pt x="10860" y="8768"/>
                    <a:pt x="10907" y="8626"/>
                  </a:cubicBezTo>
                  <a:cubicBezTo>
                    <a:pt x="10955" y="8478"/>
                    <a:pt x="10947" y="8394"/>
                    <a:pt x="10883" y="8373"/>
                  </a:cubicBezTo>
                  <a:close/>
                  <a:moveTo>
                    <a:pt x="11123" y="9041"/>
                  </a:moveTo>
                  <a:cubicBezTo>
                    <a:pt x="11067" y="9015"/>
                    <a:pt x="11035" y="8972"/>
                    <a:pt x="11025" y="8912"/>
                  </a:cubicBezTo>
                  <a:cubicBezTo>
                    <a:pt x="11016" y="8852"/>
                    <a:pt x="11031" y="8779"/>
                    <a:pt x="11072" y="8694"/>
                  </a:cubicBezTo>
                  <a:cubicBezTo>
                    <a:pt x="11117" y="8600"/>
                    <a:pt x="11167" y="8536"/>
                    <a:pt x="11222" y="8504"/>
                  </a:cubicBezTo>
                  <a:cubicBezTo>
                    <a:pt x="11277" y="8471"/>
                    <a:pt x="11335" y="8469"/>
                    <a:pt x="11396" y="8498"/>
                  </a:cubicBezTo>
                  <a:cubicBezTo>
                    <a:pt x="11513" y="8553"/>
                    <a:pt x="11529" y="8672"/>
                    <a:pt x="11442" y="8854"/>
                  </a:cubicBezTo>
                  <a:cubicBezTo>
                    <a:pt x="11400" y="8944"/>
                    <a:pt x="11350" y="9005"/>
                    <a:pt x="11295" y="9036"/>
                  </a:cubicBezTo>
                  <a:cubicBezTo>
                    <a:pt x="11239" y="9068"/>
                    <a:pt x="11182" y="9070"/>
                    <a:pt x="11123" y="9041"/>
                  </a:cubicBezTo>
                  <a:close/>
                  <a:moveTo>
                    <a:pt x="11360" y="8565"/>
                  </a:moveTo>
                  <a:cubicBezTo>
                    <a:pt x="11295" y="8534"/>
                    <a:pt x="11229" y="8590"/>
                    <a:pt x="11162" y="8732"/>
                  </a:cubicBezTo>
                  <a:cubicBezTo>
                    <a:pt x="11098" y="8865"/>
                    <a:pt x="11098" y="8946"/>
                    <a:pt x="11162" y="8976"/>
                  </a:cubicBezTo>
                  <a:cubicBezTo>
                    <a:pt x="11224" y="9006"/>
                    <a:pt x="11287" y="8953"/>
                    <a:pt x="11352" y="8818"/>
                  </a:cubicBezTo>
                  <a:cubicBezTo>
                    <a:pt x="11418" y="8678"/>
                    <a:pt x="11421" y="8594"/>
                    <a:pt x="11360" y="8565"/>
                  </a:cubicBezTo>
                  <a:close/>
                  <a:moveTo>
                    <a:pt x="11478" y="9223"/>
                  </a:moveTo>
                  <a:cubicBezTo>
                    <a:pt x="11391" y="9171"/>
                    <a:pt x="11391" y="9171"/>
                    <a:pt x="11391" y="9171"/>
                  </a:cubicBezTo>
                  <a:cubicBezTo>
                    <a:pt x="11693" y="8666"/>
                    <a:pt x="11693" y="8666"/>
                    <a:pt x="11693" y="8666"/>
                  </a:cubicBezTo>
                  <a:cubicBezTo>
                    <a:pt x="11780" y="8717"/>
                    <a:pt x="11780" y="8717"/>
                    <a:pt x="11780" y="8717"/>
                  </a:cubicBezTo>
                  <a:lnTo>
                    <a:pt x="11478" y="9223"/>
                  </a:lnTo>
                  <a:close/>
                  <a:moveTo>
                    <a:pt x="11709" y="9390"/>
                  </a:moveTo>
                  <a:cubicBezTo>
                    <a:pt x="11659" y="9354"/>
                    <a:pt x="11636" y="9306"/>
                    <a:pt x="11638" y="9245"/>
                  </a:cubicBezTo>
                  <a:cubicBezTo>
                    <a:pt x="11639" y="9184"/>
                    <a:pt x="11669" y="9116"/>
                    <a:pt x="11725" y="9039"/>
                  </a:cubicBezTo>
                  <a:cubicBezTo>
                    <a:pt x="11786" y="8955"/>
                    <a:pt x="11847" y="8903"/>
                    <a:pt x="11908" y="8881"/>
                  </a:cubicBezTo>
                  <a:cubicBezTo>
                    <a:pt x="11968" y="8859"/>
                    <a:pt x="12026" y="8868"/>
                    <a:pt x="12080" y="8908"/>
                  </a:cubicBezTo>
                  <a:cubicBezTo>
                    <a:pt x="12184" y="8985"/>
                    <a:pt x="12177" y="9104"/>
                    <a:pt x="12058" y="9266"/>
                  </a:cubicBezTo>
                  <a:cubicBezTo>
                    <a:pt x="11999" y="9347"/>
                    <a:pt x="11939" y="9397"/>
                    <a:pt x="11879" y="9418"/>
                  </a:cubicBezTo>
                  <a:cubicBezTo>
                    <a:pt x="11818" y="9438"/>
                    <a:pt x="11762" y="9429"/>
                    <a:pt x="11709" y="9390"/>
                  </a:cubicBezTo>
                  <a:close/>
                  <a:moveTo>
                    <a:pt x="12032" y="8967"/>
                  </a:moveTo>
                  <a:cubicBezTo>
                    <a:pt x="11974" y="8924"/>
                    <a:pt x="11899" y="8967"/>
                    <a:pt x="11805" y="9094"/>
                  </a:cubicBezTo>
                  <a:cubicBezTo>
                    <a:pt x="11718" y="9212"/>
                    <a:pt x="11703" y="9292"/>
                    <a:pt x="11759" y="9334"/>
                  </a:cubicBezTo>
                  <a:cubicBezTo>
                    <a:pt x="11815" y="9375"/>
                    <a:pt x="11887" y="9335"/>
                    <a:pt x="11976" y="9214"/>
                  </a:cubicBezTo>
                  <a:cubicBezTo>
                    <a:pt x="12067" y="9089"/>
                    <a:pt x="12086" y="9007"/>
                    <a:pt x="12032" y="8967"/>
                  </a:cubicBezTo>
                  <a:close/>
                  <a:moveTo>
                    <a:pt x="12053" y="9676"/>
                  </a:moveTo>
                  <a:cubicBezTo>
                    <a:pt x="12008" y="9634"/>
                    <a:pt x="11991" y="9583"/>
                    <a:pt x="12000" y="9523"/>
                  </a:cubicBezTo>
                  <a:cubicBezTo>
                    <a:pt x="12010" y="9463"/>
                    <a:pt x="12047" y="9399"/>
                    <a:pt x="12112" y="9330"/>
                  </a:cubicBezTo>
                  <a:cubicBezTo>
                    <a:pt x="12183" y="9254"/>
                    <a:pt x="12251" y="9210"/>
                    <a:pt x="12313" y="9195"/>
                  </a:cubicBezTo>
                  <a:cubicBezTo>
                    <a:pt x="12376" y="9181"/>
                    <a:pt x="12432" y="9197"/>
                    <a:pt x="12481" y="9244"/>
                  </a:cubicBezTo>
                  <a:cubicBezTo>
                    <a:pt x="12575" y="9333"/>
                    <a:pt x="12553" y="9450"/>
                    <a:pt x="12415" y="9597"/>
                  </a:cubicBezTo>
                  <a:cubicBezTo>
                    <a:pt x="12346" y="9669"/>
                    <a:pt x="12281" y="9712"/>
                    <a:pt x="12218" y="9725"/>
                  </a:cubicBezTo>
                  <a:cubicBezTo>
                    <a:pt x="12156" y="9738"/>
                    <a:pt x="12101" y="9722"/>
                    <a:pt x="12053" y="9676"/>
                  </a:cubicBezTo>
                  <a:close/>
                  <a:moveTo>
                    <a:pt x="12426" y="9296"/>
                  </a:moveTo>
                  <a:cubicBezTo>
                    <a:pt x="12374" y="9247"/>
                    <a:pt x="12294" y="9279"/>
                    <a:pt x="12186" y="9394"/>
                  </a:cubicBezTo>
                  <a:cubicBezTo>
                    <a:pt x="12084" y="9501"/>
                    <a:pt x="12059" y="9578"/>
                    <a:pt x="12110" y="9627"/>
                  </a:cubicBezTo>
                  <a:cubicBezTo>
                    <a:pt x="12160" y="9674"/>
                    <a:pt x="12237" y="9643"/>
                    <a:pt x="12340" y="9534"/>
                  </a:cubicBezTo>
                  <a:cubicBezTo>
                    <a:pt x="12446" y="9422"/>
                    <a:pt x="12475" y="9342"/>
                    <a:pt x="12426" y="9296"/>
                  </a:cubicBezTo>
                  <a:close/>
                  <a:moveTo>
                    <a:pt x="12335" y="9958"/>
                  </a:moveTo>
                  <a:cubicBezTo>
                    <a:pt x="12269" y="9882"/>
                    <a:pt x="12269" y="9882"/>
                    <a:pt x="12269" y="9882"/>
                  </a:cubicBezTo>
                  <a:cubicBezTo>
                    <a:pt x="12711" y="9494"/>
                    <a:pt x="12711" y="9494"/>
                    <a:pt x="12711" y="9494"/>
                  </a:cubicBezTo>
                  <a:cubicBezTo>
                    <a:pt x="12778" y="9570"/>
                    <a:pt x="12778" y="9570"/>
                    <a:pt x="12778" y="9570"/>
                  </a:cubicBezTo>
                  <a:lnTo>
                    <a:pt x="12335" y="9958"/>
                  </a:lnTo>
                  <a:close/>
                  <a:moveTo>
                    <a:pt x="12482" y="10142"/>
                  </a:moveTo>
                  <a:cubicBezTo>
                    <a:pt x="12421" y="10062"/>
                    <a:pt x="12421" y="10062"/>
                    <a:pt x="12421" y="10062"/>
                  </a:cubicBezTo>
                  <a:cubicBezTo>
                    <a:pt x="12888" y="9704"/>
                    <a:pt x="12888" y="9704"/>
                    <a:pt x="12888" y="9704"/>
                  </a:cubicBezTo>
                  <a:cubicBezTo>
                    <a:pt x="12949" y="9784"/>
                    <a:pt x="12949" y="9784"/>
                    <a:pt x="12949" y="9784"/>
                  </a:cubicBezTo>
                  <a:lnTo>
                    <a:pt x="12482" y="10142"/>
                  </a:lnTo>
                  <a:close/>
                  <a:moveTo>
                    <a:pt x="12617" y="10336"/>
                  </a:moveTo>
                  <a:cubicBezTo>
                    <a:pt x="12561" y="10252"/>
                    <a:pt x="12561" y="10252"/>
                    <a:pt x="12561" y="10252"/>
                  </a:cubicBezTo>
                  <a:cubicBezTo>
                    <a:pt x="13050" y="9925"/>
                    <a:pt x="13050" y="9925"/>
                    <a:pt x="13050" y="9925"/>
                  </a:cubicBezTo>
                  <a:cubicBezTo>
                    <a:pt x="13106" y="10008"/>
                    <a:pt x="13106" y="10008"/>
                    <a:pt x="13106" y="10008"/>
                  </a:cubicBezTo>
                  <a:lnTo>
                    <a:pt x="12617" y="10336"/>
                  </a:lnTo>
                  <a:close/>
                  <a:moveTo>
                    <a:pt x="12747" y="10546"/>
                  </a:moveTo>
                  <a:cubicBezTo>
                    <a:pt x="12693" y="10461"/>
                    <a:pt x="12693" y="10461"/>
                    <a:pt x="12693" y="10461"/>
                  </a:cubicBezTo>
                  <a:cubicBezTo>
                    <a:pt x="13189" y="10144"/>
                    <a:pt x="13189" y="10144"/>
                    <a:pt x="13189" y="10144"/>
                  </a:cubicBezTo>
                  <a:cubicBezTo>
                    <a:pt x="13243" y="10228"/>
                    <a:pt x="13243" y="10228"/>
                    <a:pt x="13243" y="10228"/>
                  </a:cubicBezTo>
                  <a:lnTo>
                    <a:pt x="12747" y="10546"/>
                  </a:lnTo>
                  <a:close/>
                  <a:moveTo>
                    <a:pt x="13046" y="10865"/>
                  </a:moveTo>
                  <a:cubicBezTo>
                    <a:pt x="12996" y="10829"/>
                    <a:pt x="12972" y="10781"/>
                    <a:pt x="12974" y="10720"/>
                  </a:cubicBezTo>
                  <a:cubicBezTo>
                    <a:pt x="12976" y="10659"/>
                    <a:pt x="13004" y="10591"/>
                    <a:pt x="13060" y="10514"/>
                  </a:cubicBezTo>
                  <a:cubicBezTo>
                    <a:pt x="13122" y="10430"/>
                    <a:pt x="13182" y="10377"/>
                    <a:pt x="13243" y="10355"/>
                  </a:cubicBezTo>
                  <a:cubicBezTo>
                    <a:pt x="13303" y="10333"/>
                    <a:pt x="13361" y="10342"/>
                    <a:pt x="13415" y="10382"/>
                  </a:cubicBezTo>
                  <a:cubicBezTo>
                    <a:pt x="13520" y="10458"/>
                    <a:pt x="13513" y="10577"/>
                    <a:pt x="13395" y="10740"/>
                  </a:cubicBezTo>
                  <a:cubicBezTo>
                    <a:pt x="13336" y="10821"/>
                    <a:pt x="13276" y="10871"/>
                    <a:pt x="13216" y="10892"/>
                  </a:cubicBezTo>
                  <a:cubicBezTo>
                    <a:pt x="13155" y="10913"/>
                    <a:pt x="13099" y="10904"/>
                    <a:pt x="13046" y="10865"/>
                  </a:cubicBezTo>
                  <a:close/>
                  <a:moveTo>
                    <a:pt x="13367" y="10441"/>
                  </a:moveTo>
                  <a:cubicBezTo>
                    <a:pt x="13309" y="10398"/>
                    <a:pt x="13234" y="10441"/>
                    <a:pt x="13141" y="10568"/>
                  </a:cubicBezTo>
                  <a:cubicBezTo>
                    <a:pt x="13055" y="10687"/>
                    <a:pt x="13040" y="10767"/>
                    <a:pt x="13096" y="10809"/>
                  </a:cubicBezTo>
                  <a:cubicBezTo>
                    <a:pt x="13152" y="10849"/>
                    <a:pt x="13224" y="10809"/>
                    <a:pt x="13312" y="10688"/>
                  </a:cubicBezTo>
                  <a:cubicBezTo>
                    <a:pt x="13403" y="10563"/>
                    <a:pt x="13422" y="10480"/>
                    <a:pt x="13367" y="10441"/>
                  </a:cubicBezTo>
                  <a:close/>
                  <a:moveTo>
                    <a:pt x="13549" y="11086"/>
                  </a:moveTo>
                  <a:cubicBezTo>
                    <a:pt x="13452" y="11060"/>
                    <a:pt x="13452" y="11060"/>
                    <a:pt x="13452" y="11060"/>
                  </a:cubicBezTo>
                  <a:cubicBezTo>
                    <a:pt x="13603" y="10491"/>
                    <a:pt x="13603" y="10491"/>
                    <a:pt x="13603" y="10491"/>
                  </a:cubicBezTo>
                  <a:cubicBezTo>
                    <a:pt x="13701" y="10517"/>
                    <a:pt x="13701" y="10517"/>
                    <a:pt x="13701" y="10517"/>
                  </a:cubicBezTo>
                  <a:lnTo>
                    <a:pt x="13549" y="11086"/>
                  </a:lnTo>
                  <a:close/>
                  <a:moveTo>
                    <a:pt x="13943" y="11128"/>
                  </a:moveTo>
                  <a:cubicBezTo>
                    <a:pt x="13881" y="11128"/>
                    <a:pt x="13833" y="11103"/>
                    <a:pt x="13799" y="11053"/>
                  </a:cubicBezTo>
                  <a:cubicBezTo>
                    <a:pt x="13765" y="11002"/>
                    <a:pt x="13747" y="10930"/>
                    <a:pt x="13747" y="10835"/>
                  </a:cubicBezTo>
                  <a:cubicBezTo>
                    <a:pt x="13747" y="10731"/>
                    <a:pt x="13765" y="10653"/>
                    <a:pt x="13801" y="10599"/>
                  </a:cubicBezTo>
                  <a:cubicBezTo>
                    <a:pt x="13837" y="10546"/>
                    <a:pt x="13889" y="10519"/>
                    <a:pt x="13956" y="10519"/>
                  </a:cubicBezTo>
                  <a:cubicBezTo>
                    <a:pt x="14086" y="10519"/>
                    <a:pt x="14151" y="10620"/>
                    <a:pt x="14151" y="10821"/>
                  </a:cubicBezTo>
                  <a:cubicBezTo>
                    <a:pt x="14151" y="10921"/>
                    <a:pt x="14132" y="10997"/>
                    <a:pt x="14096" y="11049"/>
                  </a:cubicBezTo>
                  <a:cubicBezTo>
                    <a:pt x="14059" y="11101"/>
                    <a:pt x="14008" y="11128"/>
                    <a:pt x="13943" y="11128"/>
                  </a:cubicBezTo>
                  <a:close/>
                  <a:moveTo>
                    <a:pt x="13952" y="10595"/>
                  </a:moveTo>
                  <a:cubicBezTo>
                    <a:pt x="13881" y="10595"/>
                    <a:pt x="13845" y="10674"/>
                    <a:pt x="13845" y="10831"/>
                  </a:cubicBezTo>
                  <a:cubicBezTo>
                    <a:pt x="13845" y="10979"/>
                    <a:pt x="13880" y="11052"/>
                    <a:pt x="13950" y="11052"/>
                  </a:cubicBezTo>
                  <a:cubicBezTo>
                    <a:pt x="14019" y="11052"/>
                    <a:pt x="14053" y="10977"/>
                    <a:pt x="14053" y="10828"/>
                  </a:cubicBezTo>
                  <a:cubicBezTo>
                    <a:pt x="14053" y="10673"/>
                    <a:pt x="14020" y="10595"/>
                    <a:pt x="13952" y="10595"/>
                  </a:cubicBezTo>
                  <a:close/>
                  <a:moveTo>
                    <a:pt x="14355" y="11118"/>
                  </a:moveTo>
                  <a:cubicBezTo>
                    <a:pt x="14255" y="11118"/>
                    <a:pt x="14255" y="11118"/>
                    <a:pt x="14255" y="11118"/>
                  </a:cubicBezTo>
                  <a:cubicBezTo>
                    <a:pt x="14255" y="10529"/>
                    <a:pt x="14255" y="10529"/>
                    <a:pt x="14255" y="10529"/>
                  </a:cubicBezTo>
                  <a:cubicBezTo>
                    <a:pt x="14355" y="10529"/>
                    <a:pt x="14355" y="10529"/>
                    <a:pt x="14355" y="10529"/>
                  </a:cubicBezTo>
                  <a:lnTo>
                    <a:pt x="14355" y="11118"/>
                  </a:lnTo>
                  <a:close/>
                  <a:moveTo>
                    <a:pt x="14654" y="11128"/>
                  </a:moveTo>
                  <a:cubicBezTo>
                    <a:pt x="14593" y="11128"/>
                    <a:pt x="14545" y="11103"/>
                    <a:pt x="14511" y="11053"/>
                  </a:cubicBezTo>
                  <a:cubicBezTo>
                    <a:pt x="14477" y="11002"/>
                    <a:pt x="14459" y="10930"/>
                    <a:pt x="14459" y="10835"/>
                  </a:cubicBezTo>
                  <a:cubicBezTo>
                    <a:pt x="14459" y="10731"/>
                    <a:pt x="14477" y="10653"/>
                    <a:pt x="14513" y="10599"/>
                  </a:cubicBezTo>
                  <a:cubicBezTo>
                    <a:pt x="14549" y="10546"/>
                    <a:pt x="14601" y="10519"/>
                    <a:pt x="14668" y="10519"/>
                  </a:cubicBezTo>
                  <a:cubicBezTo>
                    <a:pt x="14798" y="10519"/>
                    <a:pt x="14863" y="10620"/>
                    <a:pt x="14863" y="10821"/>
                  </a:cubicBezTo>
                  <a:cubicBezTo>
                    <a:pt x="14863" y="10921"/>
                    <a:pt x="14844" y="10997"/>
                    <a:pt x="14808" y="11049"/>
                  </a:cubicBezTo>
                  <a:cubicBezTo>
                    <a:pt x="14771" y="11101"/>
                    <a:pt x="14720" y="11128"/>
                    <a:pt x="14654" y="11128"/>
                  </a:cubicBezTo>
                  <a:close/>
                  <a:moveTo>
                    <a:pt x="14664" y="10595"/>
                  </a:moveTo>
                  <a:cubicBezTo>
                    <a:pt x="14592" y="10595"/>
                    <a:pt x="14557" y="10674"/>
                    <a:pt x="14557" y="10831"/>
                  </a:cubicBezTo>
                  <a:cubicBezTo>
                    <a:pt x="14557" y="10979"/>
                    <a:pt x="14592" y="11052"/>
                    <a:pt x="14662" y="11052"/>
                  </a:cubicBezTo>
                  <a:cubicBezTo>
                    <a:pt x="14731" y="11052"/>
                    <a:pt x="14765" y="10977"/>
                    <a:pt x="14765" y="10828"/>
                  </a:cubicBezTo>
                  <a:cubicBezTo>
                    <a:pt x="14765" y="10673"/>
                    <a:pt x="14732" y="10595"/>
                    <a:pt x="14664" y="10595"/>
                  </a:cubicBezTo>
                  <a:close/>
                  <a:moveTo>
                    <a:pt x="15067" y="11118"/>
                  </a:moveTo>
                  <a:cubicBezTo>
                    <a:pt x="14967" y="11118"/>
                    <a:pt x="14967" y="11118"/>
                    <a:pt x="14967" y="11118"/>
                  </a:cubicBezTo>
                  <a:cubicBezTo>
                    <a:pt x="14967" y="10529"/>
                    <a:pt x="14967" y="10529"/>
                    <a:pt x="14967" y="10529"/>
                  </a:cubicBezTo>
                  <a:cubicBezTo>
                    <a:pt x="15067" y="10529"/>
                    <a:pt x="15067" y="10529"/>
                    <a:pt x="15067" y="10529"/>
                  </a:cubicBezTo>
                  <a:lnTo>
                    <a:pt x="15067" y="11118"/>
                  </a:lnTo>
                  <a:close/>
                  <a:moveTo>
                    <a:pt x="15367" y="11128"/>
                  </a:moveTo>
                  <a:cubicBezTo>
                    <a:pt x="15305" y="11128"/>
                    <a:pt x="15258" y="11103"/>
                    <a:pt x="15223" y="11053"/>
                  </a:cubicBezTo>
                  <a:cubicBezTo>
                    <a:pt x="15189" y="11002"/>
                    <a:pt x="15172" y="10930"/>
                    <a:pt x="15172" y="10835"/>
                  </a:cubicBezTo>
                  <a:cubicBezTo>
                    <a:pt x="15172" y="10731"/>
                    <a:pt x="15190" y="10653"/>
                    <a:pt x="15225" y="10599"/>
                  </a:cubicBezTo>
                  <a:cubicBezTo>
                    <a:pt x="15261" y="10546"/>
                    <a:pt x="15313" y="10519"/>
                    <a:pt x="15381" y="10519"/>
                  </a:cubicBezTo>
                  <a:cubicBezTo>
                    <a:pt x="15510" y="10519"/>
                    <a:pt x="15575" y="10620"/>
                    <a:pt x="15575" y="10821"/>
                  </a:cubicBezTo>
                  <a:cubicBezTo>
                    <a:pt x="15575" y="10921"/>
                    <a:pt x="15557" y="10997"/>
                    <a:pt x="15520" y="11049"/>
                  </a:cubicBezTo>
                  <a:cubicBezTo>
                    <a:pt x="15483" y="11101"/>
                    <a:pt x="15432" y="11128"/>
                    <a:pt x="15367" y="11128"/>
                  </a:cubicBezTo>
                  <a:close/>
                  <a:moveTo>
                    <a:pt x="15376" y="10595"/>
                  </a:moveTo>
                  <a:cubicBezTo>
                    <a:pt x="15305" y="10595"/>
                    <a:pt x="15269" y="10674"/>
                    <a:pt x="15269" y="10831"/>
                  </a:cubicBezTo>
                  <a:cubicBezTo>
                    <a:pt x="15269" y="10979"/>
                    <a:pt x="15304" y="11052"/>
                    <a:pt x="15374" y="11052"/>
                  </a:cubicBezTo>
                  <a:cubicBezTo>
                    <a:pt x="15443" y="11052"/>
                    <a:pt x="15478" y="10977"/>
                    <a:pt x="15478" y="10828"/>
                  </a:cubicBezTo>
                  <a:cubicBezTo>
                    <a:pt x="15478" y="10673"/>
                    <a:pt x="15444" y="10595"/>
                    <a:pt x="15376" y="10595"/>
                  </a:cubicBezTo>
                  <a:close/>
                  <a:moveTo>
                    <a:pt x="15779" y="11118"/>
                  </a:moveTo>
                  <a:cubicBezTo>
                    <a:pt x="15679" y="11118"/>
                    <a:pt x="15679" y="11118"/>
                    <a:pt x="15679" y="11118"/>
                  </a:cubicBezTo>
                  <a:cubicBezTo>
                    <a:pt x="15679" y="10529"/>
                    <a:pt x="15679" y="10529"/>
                    <a:pt x="15679" y="10529"/>
                  </a:cubicBezTo>
                  <a:cubicBezTo>
                    <a:pt x="15779" y="10529"/>
                    <a:pt x="15779" y="10529"/>
                    <a:pt x="15779" y="10529"/>
                  </a:cubicBezTo>
                  <a:lnTo>
                    <a:pt x="15779" y="11118"/>
                  </a:lnTo>
                  <a:close/>
                  <a:moveTo>
                    <a:pt x="16024" y="11118"/>
                  </a:moveTo>
                  <a:cubicBezTo>
                    <a:pt x="15924" y="11118"/>
                    <a:pt x="15924" y="11118"/>
                    <a:pt x="15924" y="11118"/>
                  </a:cubicBezTo>
                  <a:cubicBezTo>
                    <a:pt x="15924" y="10529"/>
                    <a:pt x="15924" y="10529"/>
                    <a:pt x="15924" y="10529"/>
                  </a:cubicBezTo>
                  <a:cubicBezTo>
                    <a:pt x="16024" y="10529"/>
                    <a:pt x="16024" y="10529"/>
                    <a:pt x="16024" y="10529"/>
                  </a:cubicBezTo>
                  <a:lnTo>
                    <a:pt x="16024" y="11118"/>
                  </a:lnTo>
                  <a:close/>
                  <a:moveTo>
                    <a:pt x="16364" y="11120"/>
                  </a:moveTo>
                  <a:cubicBezTo>
                    <a:pt x="16303" y="11127"/>
                    <a:pt x="16253" y="11107"/>
                    <a:pt x="16213" y="11061"/>
                  </a:cubicBezTo>
                  <a:cubicBezTo>
                    <a:pt x="16173" y="11015"/>
                    <a:pt x="16148" y="10945"/>
                    <a:pt x="16137" y="10851"/>
                  </a:cubicBezTo>
                  <a:cubicBezTo>
                    <a:pt x="16126" y="10748"/>
                    <a:pt x="16135" y="10668"/>
                    <a:pt x="16165" y="10611"/>
                  </a:cubicBezTo>
                  <a:cubicBezTo>
                    <a:pt x="16194" y="10554"/>
                    <a:pt x="16243" y="10521"/>
                    <a:pt x="16310" y="10514"/>
                  </a:cubicBezTo>
                  <a:cubicBezTo>
                    <a:pt x="16439" y="10499"/>
                    <a:pt x="16514" y="10592"/>
                    <a:pt x="16537" y="10792"/>
                  </a:cubicBezTo>
                  <a:cubicBezTo>
                    <a:pt x="16548" y="10891"/>
                    <a:pt x="16538" y="10969"/>
                    <a:pt x="16508" y="11025"/>
                  </a:cubicBezTo>
                  <a:cubicBezTo>
                    <a:pt x="16477" y="11081"/>
                    <a:pt x="16429" y="11113"/>
                    <a:pt x="16364" y="11120"/>
                  </a:cubicBezTo>
                  <a:close/>
                  <a:moveTo>
                    <a:pt x="16314" y="10590"/>
                  </a:moveTo>
                  <a:cubicBezTo>
                    <a:pt x="16243" y="10598"/>
                    <a:pt x="16216" y="10680"/>
                    <a:pt x="16234" y="10836"/>
                  </a:cubicBezTo>
                  <a:cubicBezTo>
                    <a:pt x="16250" y="10983"/>
                    <a:pt x="16293" y="11052"/>
                    <a:pt x="16363" y="11044"/>
                  </a:cubicBezTo>
                  <a:cubicBezTo>
                    <a:pt x="16431" y="11036"/>
                    <a:pt x="16457" y="10958"/>
                    <a:pt x="16441" y="10809"/>
                  </a:cubicBezTo>
                  <a:cubicBezTo>
                    <a:pt x="16423" y="10655"/>
                    <a:pt x="16381" y="10582"/>
                    <a:pt x="16314" y="10590"/>
                  </a:cubicBezTo>
                  <a:close/>
                  <a:moveTo>
                    <a:pt x="16971" y="10899"/>
                  </a:moveTo>
                  <a:cubicBezTo>
                    <a:pt x="16920" y="10934"/>
                    <a:pt x="16867" y="10940"/>
                    <a:pt x="16810" y="10918"/>
                  </a:cubicBezTo>
                  <a:cubicBezTo>
                    <a:pt x="16754" y="10895"/>
                    <a:pt x="16699" y="10845"/>
                    <a:pt x="16646" y="10767"/>
                  </a:cubicBezTo>
                  <a:cubicBezTo>
                    <a:pt x="16587" y="10681"/>
                    <a:pt x="16558" y="10605"/>
                    <a:pt x="16558" y="10541"/>
                  </a:cubicBezTo>
                  <a:cubicBezTo>
                    <a:pt x="16557" y="10477"/>
                    <a:pt x="16585" y="10426"/>
                    <a:pt x="16641" y="10388"/>
                  </a:cubicBezTo>
                  <a:cubicBezTo>
                    <a:pt x="16748" y="10315"/>
                    <a:pt x="16858" y="10362"/>
                    <a:pt x="16971" y="10529"/>
                  </a:cubicBezTo>
                  <a:cubicBezTo>
                    <a:pt x="17027" y="10611"/>
                    <a:pt x="17055" y="10684"/>
                    <a:pt x="17054" y="10748"/>
                  </a:cubicBezTo>
                  <a:cubicBezTo>
                    <a:pt x="17053" y="10812"/>
                    <a:pt x="17025" y="10862"/>
                    <a:pt x="16971" y="10899"/>
                  </a:cubicBezTo>
                  <a:close/>
                  <a:moveTo>
                    <a:pt x="16680" y="10453"/>
                  </a:moveTo>
                  <a:cubicBezTo>
                    <a:pt x="16621" y="10493"/>
                    <a:pt x="16636" y="10578"/>
                    <a:pt x="16724" y="10709"/>
                  </a:cubicBezTo>
                  <a:cubicBezTo>
                    <a:pt x="16806" y="10831"/>
                    <a:pt x="16877" y="10872"/>
                    <a:pt x="16935" y="10833"/>
                  </a:cubicBezTo>
                  <a:cubicBezTo>
                    <a:pt x="16992" y="10794"/>
                    <a:pt x="16978" y="10713"/>
                    <a:pt x="16894" y="10589"/>
                  </a:cubicBezTo>
                  <a:cubicBezTo>
                    <a:pt x="16808" y="10460"/>
                    <a:pt x="16736" y="10415"/>
                    <a:pt x="16680" y="10453"/>
                  </a:cubicBezTo>
                  <a:close/>
                  <a:moveTo>
                    <a:pt x="17348" y="10501"/>
                  </a:moveTo>
                  <a:cubicBezTo>
                    <a:pt x="17291" y="10584"/>
                    <a:pt x="17291" y="10584"/>
                    <a:pt x="17291" y="10584"/>
                  </a:cubicBezTo>
                  <a:cubicBezTo>
                    <a:pt x="16807" y="10248"/>
                    <a:pt x="16807" y="10248"/>
                    <a:pt x="16807" y="10248"/>
                  </a:cubicBezTo>
                  <a:cubicBezTo>
                    <a:pt x="16864" y="10166"/>
                    <a:pt x="16864" y="10166"/>
                    <a:pt x="16864" y="10166"/>
                  </a:cubicBezTo>
                  <a:lnTo>
                    <a:pt x="17348" y="10501"/>
                  </a:lnTo>
                  <a:close/>
                  <a:moveTo>
                    <a:pt x="17523" y="10243"/>
                  </a:moveTo>
                  <a:cubicBezTo>
                    <a:pt x="17488" y="10293"/>
                    <a:pt x="17440" y="10318"/>
                    <a:pt x="17380" y="10317"/>
                  </a:cubicBezTo>
                  <a:cubicBezTo>
                    <a:pt x="17319" y="10317"/>
                    <a:pt x="17250" y="10289"/>
                    <a:pt x="17172" y="10235"/>
                  </a:cubicBezTo>
                  <a:cubicBezTo>
                    <a:pt x="17087" y="10175"/>
                    <a:pt x="17033" y="10115"/>
                    <a:pt x="17009" y="10055"/>
                  </a:cubicBezTo>
                  <a:cubicBezTo>
                    <a:pt x="16986" y="9995"/>
                    <a:pt x="16994" y="9938"/>
                    <a:pt x="17033" y="9882"/>
                  </a:cubicBezTo>
                  <a:cubicBezTo>
                    <a:pt x="17107" y="9776"/>
                    <a:pt x="17227" y="9781"/>
                    <a:pt x="17391" y="9896"/>
                  </a:cubicBezTo>
                  <a:cubicBezTo>
                    <a:pt x="17473" y="9953"/>
                    <a:pt x="17525" y="10012"/>
                    <a:pt x="17547" y="10072"/>
                  </a:cubicBezTo>
                  <a:cubicBezTo>
                    <a:pt x="17569" y="10132"/>
                    <a:pt x="17561" y="10189"/>
                    <a:pt x="17523" y="10243"/>
                  </a:cubicBezTo>
                  <a:close/>
                  <a:moveTo>
                    <a:pt x="17093" y="9930"/>
                  </a:moveTo>
                  <a:cubicBezTo>
                    <a:pt x="17052" y="9988"/>
                    <a:pt x="17096" y="10062"/>
                    <a:pt x="17225" y="10153"/>
                  </a:cubicBezTo>
                  <a:cubicBezTo>
                    <a:pt x="17345" y="10237"/>
                    <a:pt x="17426" y="10251"/>
                    <a:pt x="17466" y="10193"/>
                  </a:cubicBezTo>
                  <a:cubicBezTo>
                    <a:pt x="17505" y="10137"/>
                    <a:pt x="17464" y="10066"/>
                    <a:pt x="17341" y="9980"/>
                  </a:cubicBezTo>
                  <a:cubicBezTo>
                    <a:pt x="17214" y="9891"/>
                    <a:pt x="17131" y="9874"/>
                    <a:pt x="17093" y="9930"/>
                  </a:cubicBezTo>
                  <a:close/>
                  <a:moveTo>
                    <a:pt x="17761" y="9923"/>
                  </a:moveTo>
                  <a:cubicBezTo>
                    <a:pt x="17696" y="9999"/>
                    <a:pt x="17696" y="9999"/>
                    <a:pt x="17696" y="9999"/>
                  </a:cubicBezTo>
                  <a:cubicBezTo>
                    <a:pt x="17247" y="9618"/>
                    <a:pt x="17247" y="9618"/>
                    <a:pt x="17247" y="9618"/>
                  </a:cubicBezTo>
                  <a:cubicBezTo>
                    <a:pt x="17312" y="9541"/>
                    <a:pt x="17312" y="9541"/>
                    <a:pt x="17312" y="9541"/>
                  </a:cubicBezTo>
                  <a:lnTo>
                    <a:pt x="17761" y="9923"/>
                  </a:lnTo>
                  <a:close/>
                  <a:moveTo>
                    <a:pt x="17922" y="9750"/>
                  </a:moveTo>
                  <a:cubicBezTo>
                    <a:pt x="17852" y="9823"/>
                    <a:pt x="17852" y="9823"/>
                    <a:pt x="17852" y="9823"/>
                  </a:cubicBezTo>
                  <a:cubicBezTo>
                    <a:pt x="17429" y="9413"/>
                    <a:pt x="17429" y="9413"/>
                    <a:pt x="17429" y="9413"/>
                  </a:cubicBezTo>
                  <a:cubicBezTo>
                    <a:pt x="17499" y="9341"/>
                    <a:pt x="17499" y="9341"/>
                    <a:pt x="17499" y="9341"/>
                  </a:cubicBezTo>
                  <a:lnTo>
                    <a:pt x="17922" y="9750"/>
                  </a:lnTo>
                  <a:close/>
                  <a:moveTo>
                    <a:pt x="18093" y="9589"/>
                  </a:moveTo>
                  <a:cubicBezTo>
                    <a:pt x="18019" y="9656"/>
                    <a:pt x="18019" y="9656"/>
                    <a:pt x="18019" y="9656"/>
                  </a:cubicBezTo>
                  <a:cubicBezTo>
                    <a:pt x="17624" y="9220"/>
                    <a:pt x="17624" y="9220"/>
                    <a:pt x="17624" y="9220"/>
                  </a:cubicBezTo>
                  <a:cubicBezTo>
                    <a:pt x="17698" y="9152"/>
                    <a:pt x="17698" y="9152"/>
                    <a:pt x="17698" y="9152"/>
                  </a:cubicBezTo>
                  <a:lnTo>
                    <a:pt x="18093" y="9589"/>
                  </a:lnTo>
                  <a:close/>
                  <a:moveTo>
                    <a:pt x="18321" y="9417"/>
                  </a:moveTo>
                  <a:cubicBezTo>
                    <a:pt x="18272" y="9453"/>
                    <a:pt x="18218" y="9462"/>
                    <a:pt x="18161" y="9442"/>
                  </a:cubicBezTo>
                  <a:cubicBezTo>
                    <a:pt x="18103" y="9423"/>
                    <a:pt x="18046" y="9375"/>
                    <a:pt x="17990" y="9299"/>
                  </a:cubicBezTo>
                  <a:cubicBezTo>
                    <a:pt x="17927" y="9216"/>
                    <a:pt x="17895" y="9142"/>
                    <a:pt x="17891" y="9078"/>
                  </a:cubicBezTo>
                  <a:cubicBezTo>
                    <a:pt x="17888" y="9014"/>
                    <a:pt x="17914" y="8961"/>
                    <a:pt x="17968" y="8921"/>
                  </a:cubicBezTo>
                  <a:cubicBezTo>
                    <a:pt x="18071" y="8843"/>
                    <a:pt x="18183" y="8885"/>
                    <a:pt x="18304" y="9046"/>
                  </a:cubicBezTo>
                  <a:cubicBezTo>
                    <a:pt x="18364" y="9126"/>
                    <a:pt x="18394" y="9198"/>
                    <a:pt x="18397" y="9262"/>
                  </a:cubicBezTo>
                  <a:cubicBezTo>
                    <a:pt x="18399" y="9326"/>
                    <a:pt x="18374" y="9377"/>
                    <a:pt x="18321" y="9417"/>
                  </a:cubicBezTo>
                  <a:close/>
                  <a:moveTo>
                    <a:pt x="18010" y="8985"/>
                  </a:moveTo>
                  <a:cubicBezTo>
                    <a:pt x="17952" y="9027"/>
                    <a:pt x="17971" y="9112"/>
                    <a:pt x="18065" y="9238"/>
                  </a:cubicBezTo>
                  <a:cubicBezTo>
                    <a:pt x="18153" y="9356"/>
                    <a:pt x="18225" y="9394"/>
                    <a:pt x="18282" y="9352"/>
                  </a:cubicBezTo>
                  <a:cubicBezTo>
                    <a:pt x="18337" y="9310"/>
                    <a:pt x="18320" y="9230"/>
                    <a:pt x="18230" y="9110"/>
                  </a:cubicBezTo>
                  <a:cubicBezTo>
                    <a:pt x="18137" y="8986"/>
                    <a:pt x="18064" y="8944"/>
                    <a:pt x="18010" y="8985"/>
                  </a:cubicBezTo>
                  <a:close/>
                  <a:moveTo>
                    <a:pt x="18647" y="9187"/>
                  </a:moveTo>
                  <a:cubicBezTo>
                    <a:pt x="18561" y="9239"/>
                    <a:pt x="18561" y="9239"/>
                    <a:pt x="18561" y="9239"/>
                  </a:cubicBezTo>
                  <a:cubicBezTo>
                    <a:pt x="18254" y="8737"/>
                    <a:pt x="18254" y="8737"/>
                    <a:pt x="18254" y="8737"/>
                  </a:cubicBezTo>
                  <a:cubicBezTo>
                    <a:pt x="18340" y="8684"/>
                    <a:pt x="18340" y="8684"/>
                    <a:pt x="18340" y="8684"/>
                  </a:cubicBezTo>
                  <a:lnTo>
                    <a:pt x="18647" y="9187"/>
                  </a:lnTo>
                  <a:close/>
                  <a:moveTo>
                    <a:pt x="18854" y="9074"/>
                  </a:moveTo>
                  <a:cubicBezTo>
                    <a:pt x="18764" y="9120"/>
                    <a:pt x="18764" y="9120"/>
                    <a:pt x="18764" y="9120"/>
                  </a:cubicBezTo>
                  <a:cubicBezTo>
                    <a:pt x="18491" y="8599"/>
                    <a:pt x="18491" y="8599"/>
                    <a:pt x="18491" y="8599"/>
                  </a:cubicBezTo>
                  <a:cubicBezTo>
                    <a:pt x="18581" y="8552"/>
                    <a:pt x="18581" y="8552"/>
                    <a:pt x="18581" y="8552"/>
                  </a:cubicBezTo>
                  <a:lnTo>
                    <a:pt x="18854" y="9074"/>
                  </a:lnTo>
                  <a:close/>
                  <a:moveTo>
                    <a:pt x="19117" y="8964"/>
                  </a:moveTo>
                  <a:cubicBezTo>
                    <a:pt x="19060" y="8988"/>
                    <a:pt x="19007" y="8982"/>
                    <a:pt x="18956" y="8949"/>
                  </a:cubicBezTo>
                  <a:cubicBezTo>
                    <a:pt x="18905" y="8916"/>
                    <a:pt x="18862" y="8855"/>
                    <a:pt x="18826" y="8767"/>
                  </a:cubicBezTo>
                  <a:cubicBezTo>
                    <a:pt x="18787" y="8671"/>
                    <a:pt x="18774" y="8591"/>
                    <a:pt x="18787" y="8528"/>
                  </a:cubicBezTo>
                  <a:cubicBezTo>
                    <a:pt x="18800" y="8465"/>
                    <a:pt x="18838" y="8421"/>
                    <a:pt x="18901" y="8396"/>
                  </a:cubicBezTo>
                  <a:cubicBezTo>
                    <a:pt x="19020" y="8347"/>
                    <a:pt x="19118" y="8416"/>
                    <a:pt x="19194" y="8602"/>
                  </a:cubicBezTo>
                  <a:cubicBezTo>
                    <a:pt x="19232" y="8694"/>
                    <a:pt x="19244" y="8771"/>
                    <a:pt x="19230" y="8834"/>
                  </a:cubicBezTo>
                  <a:cubicBezTo>
                    <a:pt x="19215" y="8896"/>
                    <a:pt x="19178" y="8940"/>
                    <a:pt x="19117" y="8964"/>
                  </a:cubicBezTo>
                  <a:close/>
                  <a:moveTo>
                    <a:pt x="18925" y="8468"/>
                  </a:moveTo>
                  <a:cubicBezTo>
                    <a:pt x="18859" y="8495"/>
                    <a:pt x="18855" y="8581"/>
                    <a:pt x="18915" y="8727"/>
                  </a:cubicBezTo>
                  <a:cubicBezTo>
                    <a:pt x="18970" y="8863"/>
                    <a:pt x="19031" y="8918"/>
                    <a:pt x="19096" y="8892"/>
                  </a:cubicBezTo>
                  <a:cubicBezTo>
                    <a:pt x="19159" y="8866"/>
                    <a:pt x="19163" y="8783"/>
                    <a:pt x="19107" y="8645"/>
                  </a:cubicBezTo>
                  <a:cubicBezTo>
                    <a:pt x="19048" y="8501"/>
                    <a:pt x="18988" y="8442"/>
                    <a:pt x="18925" y="8468"/>
                  </a:cubicBezTo>
                  <a:close/>
                  <a:moveTo>
                    <a:pt x="19490" y="8825"/>
                  </a:moveTo>
                  <a:cubicBezTo>
                    <a:pt x="19394" y="8854"/>
                    <a:pt x="19394" y="8854"/>
                    <a:pt x="19394" y="8854"/>
                  </a:cubicBezTo>
                  <a:cubicBezTo>
                    <a:pt x="19224" y="8290"/>
                    <a:pt x="19224" y="8290"/>
                    <a:pt x="19224" y="8290"/>
                  </a:cubicBezTo>
                  <a:cubicBezTo>
                    <a:pt x="19321" y="8261"/>
                    <a:pt x="19321" y="8261"/>
                    <a:pt x="19321" y="8261"/>
                  </a:cubicBezTo>
                  <a:lnTo>
                    <a:pt x="19490" y="8825"/>
                  </a:lnTo>
                  <a:close/>
                  <a:moveTo>
                    <a:pt x="19719" y="8768"/>
                  </a:moveTo>
                  <a:cubicBezTo>
                    <a:pt x="19621" y="8790"/>
                    <a:pt x="19621" y="8790"/>
                    <a:pt x="19621" y="8790"/>
                  </a:cubicBezTo>
                  <a:cubicBezTo>
                    <a:pt x="19489" y="8216"/>
                    <a:pt x="19489" y="8216"/>
                    <a:pt x="19489" y="8216"/>
                  </a:cubicBezTo>
                  <a:cubicBezTo>
                    <a:pt x="19587" y="8194"/>
                    <a:pt x="19587" y="8194"/>
                    <a:pt x="19587" y="8194"/>
                  </a:cubicBezTo>
                  <a:lnTo>
                    <a:pt x="19719" y="8768"/>
                  </a:lnTo>
                  <a:close/>
                  <a:moveTo>
                    <a:pt x="20001" y="8729"/>
                  </a:moveTo>
                  <a:cubicBezTo>
                    <a:pt x="19941" y="8737"/>
                    <a:pt x="19890" y="8718"/>
                    <a:pt x="19849" y="8673"/>
                  </a:cubicBezTo>
                  <a:cubicBezTo>
                    <a:pt x="19809" y="8628"/>
                    <a:pt x="19782" y="8558"/>
                    <a:pt x="19770" y="8464"/>
                  </a:cubicBezTo>
                  <a:cubicBezTo>
                    <a:pt x="19756" y="8361"/>
                    <a:pt x="19764" y="8281"/>
                    <a:pt x="19793" y="8223"/>
                  </a:cubicBezTo>
                  <a:cubicBezTo>
                    <a:pt x="19821" y="8166"/>
                    <a:pt x="19869" y="8133"/>
                    <a:pt x="19936" y="8124"/>
                  </a:cubicBezTo>
                  <a:cubicBezTo>
                    <a:pt x="20064" y="8107"/>
                    <a:pt x="20142" y="8198"/>
                    <a:pt x="20168" y="8398"/>
                  </a:cubicBezTo>
                  <a:cubicBezTo>
                    <a:pt x="20181" y="8496"/>
                    <a:pt x="20173" y="8574"/>
                    <a:pt x="20143" y="8631"/>
                  </a:cubicBezTo>
                  <a:cubicBezTo>
                    <a:pt x="20114" y="8688"/>
                    <a:pt x="20067" y="8720"/>
                    <a:pt x="20001" y="8729"/>
                  </a:cubicBezTo>
                  <a:close/>
                  <a:moveTo>
                    <a:pt x="19941" y="8200"/>
                  </a:moveTo>
                  <a:cubicBezTo>
                    <a:pt x="19871" y="8209"/>
                    <a:pt x="19845" y="8292"/>
                    <a:pt x="19866" y="8448"/>
                  </a:cubicBezTo>
                  <a:cubicBezTo>
                    <a:pt x="19885" y="8594"/>
                    <a:pt x="19929" y="8662"/>
                    <a:pt x="19999" y="8653"/>
                  </a:cubicBezTo>
                  <a:cubicBezTo>
                    <a:pt x="20067" y="8644"/>
                    <a:pt x="20092" y="8565"/>
                    <a:pt x="20072" y="8417"/>
                  </a:cubicBezTo>
                  <a:cubicBezTo>
                    <a:pt x="20052" y="8263"/>
                    <a:pt x="20008" y="8191"/>
                    <a:pt x="19941" y="8200"/>
                  </a:cubicBezTo>
                  <a:close/>
                  <a:moveTo>
                    <a:pt x="20449" y="8697"/>
                  </a:moveTo>
                  <a:cubicBezTo>
                    <a:pt x="20387" y="8698"/>
                    <a:pt x="20339" y="8673"/>
                    <a:pt x="20304" y="8624"/>
                  </a:cubicBezTo>
                  <a:cubicBezTo>
                    <a:pt x="20269" y="8574"/>
                    <a:pt x="20252" y="8502"/>
                    <a:pt x="20251" y="8407"/>
                  </a:cubicBezTo>
                  <a:cubicBezTo>
                    <a:pt x="20249" y="8303"/>
                    <a:pt x="20266" y="8224"/>
                    <a:pt x="20302" y="8170"/>
                  </a:cubicBezTo>
                  <a:cubicBezTo>
                    <a:pt x="20337" y="8117"/>
                    <a:pt x="20388" y="8089"/>
                    <a:pt x="20456" y="8089"/>
                  </a:cubicBezTo>
                  <a:cubicBezTo>
                    <a:pt x="20586" y="8087"/>
                    <a:pt x="20651" y="8187"/>
                    <a:pt x="20654" y="8388"/>
                  </a:cubicBezTo>
                  <a:cubicBezTo>
                    <a:pt x="20655" y="8488"/>
                    <a:pt x="20637" y="8564"/>
                    <a:pt x="20601" y="8617"/>
                  </a:cubicBezTo>
                  <a:cubicBezTo>
                    <a:pt x="20565" y="8670"/>
                    <a:pt x="20514" y="8697"/>
                    <a:pt x="20449" y="8697"/>
                  </a:cubicBezTo>
                  <a:close/>
                  <a:moveTo>
                    <a:pt x="20452" y="8165"/>
                  </a:moveTo>
                  <a:cubicBezTo>
                    <a:pt x="20381" y="8165"/>
                    <a:pt x="20346" y="8245"/>
                    <a:pt x="20348" y="8402"/>
                  </a:cubicBezTo>
                  <a:cubicBezTo>
                    <a:pt x="20349" y="8549"/>
                    <a:pt x="20385" y="8622"/>
                    <a:pt x="20455" y="8622"/>
                  </a:cubicBezTo>
                  <a:cubicBezTo>
                    <a:pt x="20524" y="8621"/>
                    <a:pt x="20558" y="8546"/>
                    <a:pt x="20556" y="8396"/>
                  </a:cubicBezTo>
                  <a:cubicBezTo>
                    <a:pt x="20555" y="8241"/>
                    <a:pt x="20520" y="8164"/>
                    <a:pt x="20452" y="8165"/>
                  </a:cubicBezTo>
                  <a:close/>
                  <a:moveTo>
                    <a:pt x="20847" y="8705"/>
                  </a:moveTo>
                  <a:cubicBezTo>
                    <a:pt x="20746" y="8696"/>
                    <a:pt x="20746" y="8696"/>
                    <a:pt x="20746" y="8696"/>
                  </a:cubicBezTo>
                  <a:cubicBezTo>
                    <a:pt x="20797" y="8110"/>
                    <a:pt x="20797" y="8110"/>
                    <a:pt x="20797" y="8110"/>
                  </a:cubicBezTo>
                  <a:cubicBezTo>
                    <a:pt x="20897" y="8119"/>
                    <a:pt x="20897" y="8119"/>
                    <a:pt x="20897" y="8119"/>
                  </a:cubicBezTo>
                  <a:lnTo>
                    <a:pt x="20847" y="8705"/>
                  </a:lnTo>
                  <a:close/>
                  <a:moveTo>
                    <a:pt x="21080" y="8736"/>
                  </a:moveTo>
                  <a:cubicBezTo>
                    <a:pt x="20981" y="8721"/>
                    <a:pt x="20981" y="8721"/>
                    <a:pt x="20981" y="8721"/>
                  </a:cubicBezTo>
                  <a:cubicBezTo>
                    <a:pt x="21070" y="8139"/>
                    <a:pt x="21070" y="8139"/>
                    <a:pt x="21070" y="8139"/>
                  </a:cubicBezTo>
                  <a:cubicBezTo>
                    <a:pt x="21169" y="8154"/>
                    <a:pt x="21169" y="8154"/>
                    <a:pt x="21169" y="8154"/>
                  </a:cubicBezTo>
                  <a:lnTo>
                    <a:pt x="21080" y="8736"/>
                  </a:lnTo>
                  <a:close/>
                  <a:moveTo>
                    <a:pt x="21357" y="8804"/>
                  </a:moveTo>
                  <a:cubicBezTo>
                    <a:pt x="21298" y="8789"/>
                    <a:pt x="21257" y="8753"/>
                    <a:pt x="21236" y="8696"/>
                  </a:cubicBezTo>
                  <a:cubicBezTo>
                    <a:pt x="21215" y="8639"/>
                    <a:pt x="21216" y="8565"/>
                    <a:pt x="21239" y="8473"/>
                  </a:cubicBezTo>
                  <a:cubicBezTo>
                    <a:pt x="21265" y="8372"/>
                    <a:pt x="21301" y="8300"/>
                    <a:pt x="21349" y="8257"/>
                  </a:cubicBezTo>
                  <a:cubicBezTo>
                    <a:pt x="21397" y="8214"/>
                    <a:pt x="21454" y="8201"/>
                    <a:pt x="21519" y="8218"/>
                  </a:cubicBezTo>
                  <a:cubicBezTo>
                    <a:pt x="21645" y="8249"/>
                    <a:pt x="21683" y="8362"/>
                    <a:pt x="21634" y="8558"/>
                  </a:cubicBezTo>
                  <a:cubicBezTo>
                    <a:pt x="21610" y="8654"/>
                    <a:pt x="21573" y="8723"/>
                    <a:pt x="21525" y="8765"/>
                  </a:cubicBezTo>
                  <a:cubicBezTo>
                    <a:pt x="21477" y="8807"/>
                    <a:pt x="21421" y="8820"/>
                    <a:pt x="21357" y="8804"/>
                  </a:cubicBezTo>
                  <a:close/>
                  <a:moveTo>
                    <a:pt x="21496" y="8290"/>
                  </a:moveTo>
                  <a:cubicBezTo>
                    <a:pt x="21427" y="8273"/>
                    <a:pt x="21373" y="8340"/>
                    <a:pt x="21335" y="8493"/>
                  </a:cubicBezTo>
                  <a:cubicBezTo>
                    <a:pt x="21299" y="8636"/>
                    <a:pt x="21315" y="8716"/>
                    <a:pt x="21383" y="8733"/>
                  </a:cubicBezTo>
                  <a:cubicBezTo>
                    <a:pt x="21450" y="8750"/>
                    <a:pt x="21501" y="8685"/>
                    <a:pt x="21538" y="8540"/>
                  </a:cubicBezTo>
                  <a:cubicBezTo>
                    <a:pt x="21576" y="8390"/>
                    <a:pt x="21562" y="8307"/>
                    <a:pt x="21496" y="8290"/>
                  </a:cubicBezTo>
                  <a:close/>
                  <a:moveTo>
                    <a:pt x="21741" y="8912"/>
                  </a:moveTo>
                  <a:cubicBezTo>
                    <a:pt x="21646" y="8879"/>
                    <a:pt x="21646" y="8879"/>
                    <a:pt x="21646" y="8879"/>
                  </a:cubicBezTo>
                  <a:cubicBezTo>
                    <a:pt x="21843" y="8324"/>
                    <a:pt x="21843" y="8324"/>
                    <a:pt x="21843" y="8324"/>
                  </a:cubicBezTo>
                  <a:cubicBezTo>
                    <a:pt x="21938" y="8358"/>
                    <a:pt x="21938" y="8358"/>
                    <a:pt x="21938" y="8358"/>
                  </a:cubicBezTo>
                  <a:lnTo>
                    <a:pt x="21741" y="8912"/>
                  </a:lnTo>
                  <a:close/>
                  <a:moveTo>
                    <a:pt x="22000" y="9032"/>
                  </a:moveTo>
                  <a:cubicBezTo>
                    <a:pt x="21944" y="9006"/>
                    <a:pt x="21911" y="8963"/>
                    <a:pt x="21902" y="8903"/>
                  </a:cubicBezTo>
                  <a:cubicBezTo>
                    <a:pt x="21892" y="8843"/>
                    <a:pt x="21907" y="8770"/>
                    <a:pt x="21947" y="8684"/>
                  </a:cubicBezTo>
                  <a:cubicBezTo>
                    <a:pt x="21991" y="8590"/>
                    <a:pt x="22040" y="8526"/>
                    <a:pt x="22096" y="8493"/>
                  </a:cubicBezTo>
                  <a:cubicBezTo>
                    <a:pt x="22151" y="8460"/>
                    <a:pt x="22209" y="8458"/>
                    <a:pt x="22270" y="8486"/>
                  </a:cubicBezTo>
                  <a:cubicBezTo>
                    <a:pt x="22387" y="8541"/>
                    <a:pt x="22403" y="8660"/>
                    <a:pt x="22318" y="8842"/>
                  </a:cubicBezTo>
                  <a:cubicBezTo>
                    <a:pt x="22276" y="8932"/>
                    <a:pt x="22227" y="8993"/>
                    <a:pt x="22172" y="9025"/>
                  </a:cubicBezTo>
                  <a:cubicBezTo>
                    <a:pt x="22117" y="9057"/>
                    <a:pt x="22059" y="9059"/>
                    <a:pt x="22000" y="9032"/>
                  </a:cubicBezTo>
                  <a:close/>
                  <a:moveTo>
                    <a:pt x="22234" y="8553"/>
                  </a:moveTo>
                  <a:cubicBezTo>
                    <a:pt x="22169" y="8523"/>
                    <a:pt x="22103" y="8579"/>
                    <a:pt x="22037" y="8722"/>
                  </a:cubicBezTo>
                  <a:cubicBezTo>
                    <a:pt x="21974" y="8855"/>
                    <a:pt x="21975" y="8937"/>
                    <a:pt x="22038" y="8966"/>
                  </a:cubicBezTo>
                  <a:cubicBezTo>
                    <a:pt x="22101" y="8996"/>
                    <a:pt x="22164" y="8942"/>
                    <a:pt x="22227" y="8807"/>
                  </a:cubicBezTo>
                  <a:cubicBezTo>
                    <a:pt x="22293" y="8666"/>
                    <a:pt x="22295" y="8582"/>
                    <a:pt x="22234" y="8553"/>
                  </a:cubicBezTo>
                  <a:close/>
                  <a:moveTo>
                    <a:pt x="22393" y="9245"/>
                  </a:moveTo>
                  <a:cubicBezTo>
                    <a:pt x="22341" y="9213"/>
                    <a:pt x="22314" y="9166"/>
                    <a:pt x="22311" y="9105"/>
                  </a:cubicBezTo>
                  <a:cubicBezTo>
                    <a:pt x="22309" y="9044"/>
                    <a:pt x="22333" y="8974"/>
                    <a:pt x="22383" y="8894"/>
                  </a:cubicBezTo>
                  <a:cubicBezTo>
                    <a:pt x="22439" y="8806"/>
                    <a:pt x="22496" y="8749"/>
                    <a:pt x="22555" y="8723"/>
                  </a:cubicBezTo>
                  <a:cubicBezTo>
                    <a:pt x="22613" y="8697"/>
                    <a:pt x="22671" y="8702"/>
                    <a:pt x="22729" y="8738"/>
                  </a:cubicBezTo>
                  <a:cubicBezTo>
                    <a:pt x="22838" y="8807"/>
                    <a:pt x="22839" y="8926"/>
                    <a:pt x="22732" y="9096"/>
                  </a:cubicBezTo>
                  <a:cubicBezTo>
                    <a:pt x="22679" y="9181"/>
                    <a:pt x="22623" y="9235"/>
                    <a:pt x="22564" y="9260"/>
                  </a:cubicBezTo>
                  <a:cubicBezTo>
                    <a:pt x="22506" y="9285"/>
                    <a:pt x="22448" y="9280"/>
                    <a:pt x="22393" y="9245"/>
                  </a:cubicBezTo>
                  <a:close/>
                  <a:moveTo>
                    <a:pt x="22684" y="8800"/>
                  </a:moveTo>
                  <a:cubicBezTo>
                    <a:pt x="22624" y="8761"/>
                    <a:pt x="22552" y="8809"/>
                    <a:pt x="22468" y="8942"/>
                  </a:cubicBezTo>
                  <a:cubicBezTo>
                    <a:pt x="22389" y="9067"/>
                    <a:pt x="22380" y="9148"/>
                    <a:pt x="22439" y="9185"/>
                  </a:cubicBezTo>
                  <a:cubicBezTo>
                    <a:pt x="22498" y="9222"/>
                    <a:pt x="22567" y="9177"/>
                    <a:pt x="22646" y="9050"/>
                  </a:cubicBezTo>
                  <a:cubicBezTo>
                    <a:pt x="22729" y="8919"/>
                    <a:pt x="22742" y="8836"/>
                    <a:pt x="22684" y="8800"/>
                  </a:cubicBezTo>
                  <a:close/>
                  <a:moveTo>
                    <a:pt x="22724" y="9467"/>
                  </a:moveTo>
                  <a:cubicBezTo>
                    <a:pt x="22644" y="9405"/>
                    <a:pt x="22644" y="9405"/>
                    <a:pt x="22644" y="9405"/>
                  </a:cubicBezTo>
                  <a:cubicBezTo>
                    <a:pt x="23003" y="8939"/>
                    <a:pt x="23003" y="8939"/>
                    <a:pt x="23003" y="8939"/>
                  </a:cubicBezTo>
                  <a:cubicBezTo>
                    <a:pt x="23083" y="9000"/>
                    <a:pt x="23083" y="9000"/>
                    <a:pt x="23083" y="9000"/>
                  </a:cubicBezTo>
                  <a:lnTo>
                    <a:pt x="22724" y="9467"/>
                  </a:lnTo>
                  <a:close/>
                  <a:moveTo>
                    <a:pt x="22934" y="9660"/>
                  </a:moveTo>
                  <a:cubicBezTo>
                    <a:pt x="22889" y="9618"/>
                    <a:pt x="22871" y="9567"/>
                    <a:pt x="22880" y="9507"/>
                  </a:cubicBezTo>
                  <a:cubicBezTo>
                    <a:pt x="22889" y="9447"/>
                    <a:pt x="22926" y="9383"/>
                    <a:pt x="22990" y="9313"/>
                  </a:cubicBezTo>
                  <a:cubicBezTo>
                    <a:pt x="23061" y="9237"/>
                    <a:pt x="23128" y="9192"/>
                    <a:pt x="23191" y="9177"/>
                  </a:cubicBezTo>
                  <a:cubicBezTo>
                    <a:pt x="23253" y="9163"/>
                    <a:pt x="23309" y="9179"/>
                    <a:pt x="23359" y="9225"/>
                  </a:cubicBezTo>
                  <a:cubicBezTo>
                    <a:pt x="23454" y="9313"/>
                    <a:pt x="23432" y="9431"/>
                    <a:pt x="23295" y="9578"/>
                  </a:cubicBezTo>
                  <a:cubicBezTo>
                    <a:pt x="23227" y="9651"/>
                    <a:pt x="23162" y="9694"/>
                    <a:pt x="23099" y="9707"/>
                  </a:cubicBezTo>
                  <a:cubicBezTo>
                    <a:pt x="23037" y="9721"/>
                    <a:pt x="22982" y="9705"/>
                    <a:pt x="22934" y="9660"/>
                  </a:cubicBezTo>
                  <a:close/>
                  <a:moveTo>
                    <a:pt x="23304" y="9277"/>
                  </a:moveTo>
                  <a:cubicBezTo>
                    <a:pt x="23252" y="9228"/>
                    <a:pt x="23172" y="9262"/>
                    <a:pt x="23064" y="9377"/>
                  </a:cubicBezTo>
                  <a:cubicBezTo>
                    <a:pt x="22964" y="9484"/>
                    <a:pt x="22939" y="9562"/>
                    <a:pt x="22991" y="9610"/>
                  </a:cubicBezTo>
                  <a:cubicBezTo>
                    <a:pt x="23041" y="9657"/>
                    <a:pt x="23117" y="9626"/>
                    <a:pt x="23219" y="9516"/>
                  </a:cubicBezTo>
                  <a:cubicBezTo>
                    <a:pt x="23325" y="9403"/>
                    <a:pt x="23353" y="9323"/>
                    <a:pt x="23304" y="9277"/>
                  </a:cubicBezTo>
                  <a:close/>
                  <a:moveTo>
                    <a:pt x="23218" y="9940"/>
                  </a:moveTo>
                  <a:cubicBezTo>
                    <a:pt x="23151" y="9865"/>
                    <a:pt x="23151" y="9865"/>
                    <a:pt x="23151" y="9865"/>
                  </a:cubicBezTo>
                  <a:cubicBezTo>
                    <a:pt x="23591" y="9474"/>
                    <a:pt x="23591" y="9474"/>
                    <a:pt x="23591" y="9474"/>
                  </a:cubicBezTo>
                  <a:cubicBezTo>
                    <a:pt x="23658" y="9549"/>
                    <a:pt x="23658" y="9549"/>
                    <a:pt x="23658" y="9549"/>
                  </a:cubicBezTo>
                  <a:lnTo>
                    <a:pt x="23218" y="9940"/>
                  </a:lnTo>
                  <a:close/>
                  <a:moveTo>
                    <a:pt x="23366" y="10123"/>
                  </a:moveTo>
                  <a:cubicBezTo>
                    <a:pt x="23304" y="10044"/>
                    <a:pt x="23304" y="10044"/>
                    <a:pt x="23304" y="10044"/>
                  </a:cubicBezTo>
                  <a:cubicBezTo>
                    <a:pt x="23769" y="9683"/>
                    <a:pt x="23769" y="9683"/>
                    <a:pt x="23769" y="9683"/>
                  </a:cubicBezTo>
                  <a:cubicBezTo>
                    <a:pt x="23831" y="9762"/>
                    <a:pt x="23831" y="9762"/>
                    <a:pt x="23831" y="9762"/>
                  </a:cubicBezTo>
                  <a:lnTo>
                    <a:pt x="23366" y="10123"/>
                  </a:lnTo>
                  <a:close/>
                  <a:moveTo>
                    <a:pt x="23502" y="10316"/>
                  </a:moveTo>
                  <a:cubicBezTo>
                    <a:pt x="23445" y="10233"/>
                    <a:pt x="23445" y="10233"/>
                    <a:pt x="23445" y="10233"/>
                  </a:cubicBezTo>
                  <a:cubicBezTo>
                    <a:pt x="23933" y="9902"/>
                    <a:pt x="23933" y="9902"/>
                    <a:pt x="23933" y="9902"/>
                  </a:cubicBezTo>
                  <a:cubicBezTo>
                    <a:pt x="23989" y="9986"/>
                    <a:pt x="23989" y="9986"/>
                    <a:pt x="23989" y="9986"/>
                  </a:cubicBezTo>
                  <a:lnTo>
                    <a:pt x="23502" y="10316"/>
                  </a:lnTo>
                  <a:close/>
                  <a:moveTo>
                    <a:pt x="23676" y="10603"/>
                  </a:moveTo>
                  <a:cubicBezTo>
                    <a:pt x="23638" y="10554"/>
                    <a:pt x="23629" y="10501"/>
                    <a:pt x="23647" y="10443"/>
                  </a:cubicBezTo>
                  <a:cubicBezTo>
                    <a:pt x="23666" y="10385"/>
                    <a:pt x="23712" y="10327"/>
                    <a:pt x="23787" y="10269"/>
                  </a:cubicBezTo>
                  <a:cubicBezTo>
                    <a:pt x="23869" y="10206"/>
                    <a:pt x="23942" y="10172"/>
                    <a:pt x="24007" y="10167"/>
                  </a:cubicBezTo>
                  <a:cubicBezTo>
                    <a:pt x="24071" y="10163"/>
                    <a:pt x="24124" y="10187"/>
                    <a:pt x="24165" y="10241"/>
                  </a:cubicBezTo>
                  <a:cubicBezTo>
                    <a:pt x="24244" y="10343"/>
                    <a:pt x="24205" y="10456"/>
                    <a:pt x="24046" y="10579"/>
                  </a:cubicBezTo>
                  <a:cubicBezTo>
                    <a:pt x="23967" y="10640"/>
                    <a:pt x="23896" y="10672"/>
                    <a:pt x="23832" y="10676"/>
                  </a:cubicBezTo>
                  <a:cubicBezTo>
                    <a:pt x="23768" y="10679"/>
                    <a:pt x="23716" y="10655"/>
                    <a:pt x="23676" y="10603"/>
                  </a:cubicBezTo>
                  <a:close/>
                  <a:moveTo>
                    <a:pt x="24102" y="10284"/>
                  </a:moveTo>
                  <a:cubicBezTo>
                    <a:pt x="24058" y="10227"/>
                    <a:pt x="23974" y="10247"/>
                    <a:pt x="23850" y="10344"/>
                  </a:cubicBezTo>
                  <a:cubicBezTo>
                    <a:pt x="23734" y="10434"/>
                    <a:pt x="23697" y="10507"/>
                    <a:pt x="23740" y="10562"/>
                  </a:cubicBezTo>
                  <a:cubicBezTo>
                    <a:pt x="23782" y="10617"/>
                    <a:pt x="23862" y="10598"/>
                    <a:pt x="23981" y="10506"/>
                  </a:cubicBezTo>
                  <a:cubicBezTo>
                    <a:pt x="24103" y="10411"/>
                    <a:pt x="24144" y="10337"/>
                    <a:pt x="24102" y="10284"/>
                  </a:cubicBezTo>
                  <a:close/>
                  <a:moveTo>
                    <a:pt x="24182" y="11005"/>
                  </a:moveTo>
                  <a:cubicBezTo>
                    <a:pt x="24126" y="10980"/>
                    <a:pt x="24093" y="10938"/>
                    <a:pt x="24082" y="10878"/>
                  </a:cubicBezTo>
                  <a:cubicBezTo>
                    <a:pt x="24071" y="10818"/>
                    <a:pt x="24085" y="10745"/>
                    <a:pt x="24124" y="10659"/>
                  </a:cubicBezTo>
                  <a:cubicBezTo>
                    <a:pt x="24167" y="10564"/>
                    <a:pt x="24216" y="10500"/>
                    <a:pt x="24271" y="10466"/>
                  </a:cubicBezTo>
                  <a:cubicBezTo>
                    <a:pt x="24325" y="10432"/>
                    <a:pt x="24384" y="10429"/>
                    <a:pt x="24445" y="10457"/>
                  </a:cubicBezTo>
                  <a:cubicBezTo>
                    <a:pt x="24563" y="10510"/>
                    <a:pt x="24581" y="10628"/>
                    <a:pt x="24498" y="10812"/>
                  </a:cubicBezTo>
                  <a:cubicBezTo>
                    <a:pt x="24457" y="10902"/>
                    <a:pt x="24409" y="10964"/>
                    <a:pt x="24354" y="10997"/>
                  </a:cubicBezTo>
                  <a:cubicBezTo>
                    <a:pt x="24299" y="11030"/>
                    <a:pt x="24242" y="11032"/>
                    <a:pt x="24182" y="11005"/>
                  </a:cubicBezTo>
                  <a:close/>
                  <a:moveTo>
                    <a:pt x="24410" y="10524"/>
                  </a:moveTo>
                  <a:cubicBezTo>
                    <a:pt x="24345" y="10495"/>
                    <a:pt x="24280" y="10552"/>
                    <a:pt x="24215" y="10695"/>
                  </a:cubicBezTo>
                  <a:cubicBezTo>
                    <a:pt x="24154" y="10829"/>
                    <a:pt x="24156" y="10911"/>
                    <a:pt x="24220" y="10940"/>
                  </a:cubicBezTo>
                  <a:cubicBezTo>
                    <a:pt x="24282" y="10968"/>
                    <a:pt x="24345" y="10914"/>
                    <a:pt x="24406" y="10778"/>
                  </a:cubicBezTo>
                  <a:cubicBezTo>
                    <a:pt x="24470" y="10636"/>
                    <a:pt x="24471" y="10552"/>
                    <a:pt x="24410" y="10524"/>
                  </a:cubicBezTo>
                  <a:close/>
                  <a:moveTo>
                    <a:pt x="24790" y="11128"/>
                  </a:moveTo>
                  <a:cubicBezTo>
                    <a:pt x="24729" y="11127"/>
                    <a:pt x="24681" y="11102"/>
                    <a:pt x="24647" y="11052"/>
                  </a:cubicBezTo>
                  <a:cubicBezTo>
                    <a:pt x="24613" y="11001"/>
                    <a:pt x="24597" y="10929"/>
                    <a:pt x="24597" y="10834"/>
                  </a:cubicBezTo>
                  <a:cubicBezTo>
                    <a:pt x="24598" y="10730"/>
                    <a:pt x="24616" y="10651"/>
                    <a:pt x="24653" y="10598"/>
                  </a:cubicBezTo>
                  <a:cubicBezTo>
                    <a:pt x="24689" y="10545"/>
                    <a:pt x="24741" y="10519"/>
                    <a:pt x="24808" y="10519"/>
                  </a:cubicBezTo>
                  <a:cubicBezTo>
                    <a:pt x="24938" y="10520"/>
                    <a:pt x="25002" y="10621"/>
                    <a:pt x="25001" y="10822"/>
                  </a:cubicBezTo>
                  <a:cubicBezTo>
                    <a:pt x="25000" y="10922"/>
                    <a:pt x="24981" y="10998"/>
                    <a:pt x="24944" y="11050"/>
                  </a:cubicBezTo>
                  <a:cubicBezTo>
                    <a:pt x="24907" y="11102"/>
                    <a:pt x="24856" y="11128"/>
                    <a:pt x="24790" y="11128"/>
                  </a:cubicBezTo>
                  <a:close/>
                  <a:moveTo>
                    <a:pt x="24803" y="10595"/>
                  </a:moveTo>
                  <a:cubicBezTo>
                    <a:pt x="24732" y="10595"/>
                    <a:pt x="24696" y="10673"/>
                    <a:pt x="24695" y="10831"/>
                  </a:cubicBezTo>
                  <a:cubicBezTo>
                    <a:pt x="24694" y="10978"/>
                    <a:pt x="24728" y="11052"/>
                    <a:pt x="24798" y="11052"/>
                  </a:cubicBezTo>
                  <a:cubicBezTo>
                    <a:pt x="24867" y="11053"/>
                    <a:pt x="24902" y="10978"/>
                    <a:pt x="24903" y="10828"/>
                  </a:cubicBezTo>
                  <a:cubicBezTo>
                    <a:pt x="24904" y="10673"/>
                    <a:pt x="24871" y="10596"/>
                    <a:pt x="24803" y="10595"/>
                  </a:cubicBezTo>
                  <a:close/>
                  <a:moveTo>
                    <a:pt x="25206" y="11118"/>
                  </a:moveTo>
                  <a:cubicBezTo>
                    <a:pt x="25105" y="11118"/>
                    <a:pt x="25105" y="11118"/>
                    <a:pt x="25105" y="11118"/>
                  </a:cubicBezTo>
                  <a:cubicBezTo>
                    <a:pt x="25105" y="10529"/>
                    <a:pt x="25105" y="10529"/>
                    <a:pt x="25105" y="10529"/>
                  </a:cubicBezTo>
                  <a:cubicBezTo>
                    <a:pt x="25206" y="10529"/>
                    <a:pt x="25206" y="10529"/>
                    <a:pt x="25206" y="10529"/>
                  </a:cubicBezTo>
                  <a:lnTo>
                    <a:pt x="25206" y="11118"/>
                  </a:lnTo>
                  <a:close/>
                  <a:moveTo>
                    <a:pt x="25505" y="11128"/>
                  </a:moveTo>
                  <a:cubicBezTo>
                    <a:pt x="25444" y="11128"/>
                    <a:pt x="25396" y="11103"/>
                    <a:pt x="25362" y="11053"/>
                  </a:cubicBezTo>
                  <a:cubicBezTo>
                    <a:pt x="25327" y="11002"/>
                    <a:pt x="25310" y="10930"/>
                    <a:pt x="25310" y="10835"/>
                  </a:cubicBezTo>
                  <a:cubicBezTo>
                    <a:pt x="25310" y="10731"/>
                    <a:pt x="25328" y="10653"/>
                    <a:pt x="25364" y="10599"/>
                  </a:cubicBezTo>
                  <a:cubicBezTo>
                    <a:pt x="25400" y="10546"/>
                    <a:pt x="25451" y="10519"/>
                    <a:pt x="25519" y="10519"/>
                  </a:cubicBezTo>
                  <a:cubicBezTo>
                    <a:pt x="25649" y="10519"/>
                    <a:pt x="25713" y="10620"/>
                    <a:pt x="25713" y="10821"/>
                  </a:cubicBezTo>
                  <a:cubicBezTo>
                    <a:pt x="25713" y="10921"/>
                    <a:pt x="25695" y="10997"/>
                    <a:pt x="25658" y="11049"/>
                  </a:cubicBezTo>
                  <a:cubicBezTo>
                    <a:pt x="25622" y="11101"/>
                    <a:pt x="25571" y="11128"/>
                    <a:pt x="25505" y="11128"/>
                  </a:cubicBezTo>
                  <a:close/>
                  <a:moveTo>
                    <a:pt x="25515" y="10595"/>
                  </a:moveTo>
                  <a:cubicBezTo>
                    <a:pt x="25443" y="10595"/>
                    <a:pt x="25407" y="10674"/>
                    <a:pt x="25407" y="10831"/>
                  </a:cubicBezTo>
                  <a:cubicBezTo>
                    <a:pt x="25407" y="10979"/>
                    <a:pt x="25442" y="11052"/>
                    <a:pt x="25512" y="11052"/>
                  </a:cubicBezTo>
                  <a:cubicBezTo>
                    <a:pt x="25581" y="11052"/>
                    <a:pt x="25616" y="10977"/>
                    <a:pt x="25616" y="10828"/>
                  </a:cubicBezTo>
                  <a:cubicBezTo>
                    <a:pt x="25616" y="10673"/>
                    <a:pt x="25582" y="10595"/>
                    <a:pt x="25515" y="10595"/>
                  </a:cubicBezTo>
                  <a:close/>
                  <a:moveTo>
                    <a:pt x="25918" y="11118"/>
                  </a:moveTo>
                  <a:cubicBezTo>
                    <a:pt x="25817" y="11118"/>
                    <a:pt x="25817" y="11118"/>
                    <a:pt x="25817" y="11118"/>
                  </a:cubicBezTo>
                  <a:cubicBezTo>
                    <a:pt x="25817" y="10529"/>
                    <a:pt x="25817" y="10529"/>
                    <a:pt x="25817" y="10529"/>
                  </a:cubicBezTo>
                  <a:cubicBezTo>
                    <a:pt x="25918" y="10529"/>
                    <a:pt x="25918" y="10529"/>
                    <a:pt x="25918" y="10529"/>
                  </a:cubicBezTo>
                  <a:lnTo>
                    <a:pt x="25918" y="11118"/>
                  </a:lnTo>
                  <a:close/>
                  <a:moveTo>
                    <a:pt x="26217" y="11128"/>
                  </a:moveTo>
                  <a:cubicBezTo>
                    <a:pt x="26156" y="11128"/>
                    <a:pt x="26108" y="11103"/>
                    <a:pt x="26074" y="11053"/>
                  </a:cubicBezTo>
                  <a:cubicBezTo>
                    <a:pt x="26039" y="11002"/>
                    <a:pt x="26022" y="10930"/>
                    <a:pt x="26022" y="10835"/>
                  </a:cubicBezTo>
                  <a:cubicBezTo>
                    <a:pt x="26022" y="10731"/>
                    <a:pt x="26040" y="10653"/>
                    <a:pt x="26076" y="10599"/>
                  </a:cubicBezTo>
                  <a:cubicBezTo>
                    <a:pt x="26112" y="10546"/>
                    <a:pt x="26164" y="10519"/>
                    <a:pt x="26231" y="10519"/>
                  </a:cubicBezTo>
                  <a:cubicBezTo>
                    <a:pt x="26361" y="10519"/>
                    <a:pt x="26425" y="10620"/>
                    <a:pt x="26425" y="10821"/>
                  </a:cubicBezTo>
                  <a:cubicBezTo>
                    <a:pt x="26425" y="10921"/>
                    <a:pt x="26407" y="10997"/>
                    <a:pt x="26371" y="11049"/>
                  </a:cubicBezTo>
                  <a:cubicBezTo>
                    <a:pt x="26334" y="11101"/>
                    <a:pt x="26283" y="11128"/>
                    <a:pt x="26217" y="11128"/>
                  </a:cubicBezTo>
                  <a:close/>
                  <a:moveTo>
                    <a:pt x="26227" y="10595"/>
                  </a:moveTo>
                  <a:cubicBezTo>
                    <a:pt x="26155" y="10595"/>
                    <a:pt x="26119" y="10674"/>
                    <a:pt x="26119" y="10831"/>
                  </a:cubicBezTo>
                  <a:cubicBezTo>
                    <a:pt x="26119" y="10979"/>
                    <a:pt x="26155" y="11052"/>
                    <a:pt x="26225" y="11052"/>
                  </a:cubicBezTo>
                  <a:cubicBezTo>
                    <a:pt x="26294" y="11052"/>
                    <a:pt x="26328" y="10977"/>
                    <a:pt x="26328" y="10828"/>
                  </a:cubicBezTo>
                  <a:cubicBezTo>
                    <a:pt x="26328" y="10673"/>
                    <a:pt x="26294" y="10595"/>
                    <a:pt x="26227" y="10595"/>
                  </a:cubicBezTo>
                  <a:close/>
                  <a:moveTo>
                    <a:pt x="26630" y="11118"/>
                  </a:moveTo>
                  <a:cubicBezTo>
                    <a:pt x="26530" y="11118"/>
                    <a:pt x="26530" y="11118"/>
                    <a:pt x="26530" y="11118"/>
                  </a:cubicBezTo>
                  <a:cubicBezTo>
                    <a:pt x="26530" y="10529"/>
                    <a:pt x="26530" y="10529"/>
                    <a:pt x="26530" y="10529"/>
                  </a:cubicBezTo>
                  <a:cubicBezTo>
                    <a:pt x="26630" y="10529"/>
                    <a:pt x="26630" y="10529"/>
                    <a:pt x="26630" y="10529"/>
                  </a:cubicBezTo>
                  <a:lnTo>
                    <a:pt x="26630" y="11118"/>
                  </a:lnTo>
                  <a:close/>
                  <a:moveTo>
                    <a:pt x="26929" y="11128"/>
                  </a:moveTo>
                  <a:cubicBezTo>
                    <a:pt x="26868" y="11128"/>
                    <a:pt x="26820" y="11103"/>
                    <a:pt x="26786" y="11053"/>
                  </a:cubicBezTo>
                  <a:cubicBezTo>
                    <a:pt x="26751" y="11002"/>
                    <a:pt x="26734" y="10930"/>
                    <a:pt x="26734" y="10835"/>
                  </a:cubicBezTo>
                  <a:cubicBezTo>
                    <a:pt x="26734" y="10731"/>
                    <a:pt x="26752" y="10653"/>
                    <a:pt x="26788" y="10599"/>
                  </a:cubicBezTo>
                  <a:cubicBezTo>
                    <a:pt x="26824" y="10546"/>
                    <a:pt x="26876" y="10519"/>
                    <a:pt x="26943" y="10519"/>
                  </a:cubicBezTo>
                  <a:cubicBezTo>
                    <a:pt x="27073" y="10519"/>
                    <a:pt x="27137" y="10620"/>
                    <a:pt x="27137" y="10821"/>
                  </a:cubicBezTo>
                  <a:cubicBezTo>
                    <a:pt x="27137" y="10921"/>
                    <a:pt x="27119" y="10997"/>
                    <a:pt x="27083" y="11049"/>
                  </a:cubicBezTo>
                  <a:cubicBezTo>
                    <a:pt x="27046" y="11101"/>
                    <a:pt x="26995" y="11128"/>
                    <a:pt x="26929" y="11128"/>
                  </a:cubicBezTo>
                  <a:close/>
                  <a:moveTo>
                    <a:pt x="26939" y="10595"/>
                  </a:moveTo>
                  <a:cubicBezTo>
                    <a:pt x="26867" y="10595"/>
                    <a:pt x="26831" y="10674"/>
                    <a:pt x="26831" y="10831"/>
                  </a:cubicBezTo>
                  <a:cubicBezTo>
                    <a:pt x="26831" y="10979"/>
                    <a:pt x="26866" y="11052"/>
                    <a:pt x="26937" y="11052"/>
                  </a:cubicBezTo>
                  <a:cubicBezTo>
                    <a:pt x="27006" y="11052"/>
                    <a:pt x="27040" y="10977"/>
                    <a:pt x="27040" y="10828"/>
                  </a:cubicBezTo>
                  <a:cubicBezTo>
                    <a:pt x="27040" y="10673"/>
                    <a:pt x="27006" y="10595"/>
                    <a:pt x="26939" y="10595"/>
                  </a:cubicBezTo>
                  <a:close/>
                  <a:moveTo>
                    <a:pt x="27406" y="11087"/>
                  </a:moveTo>
                  <a:cubicBezTo>
                    <a:pt x="27307" y="11105"/>
                    <a:pt x="27307" y="11105"/>
                    <a:pt x="27307" y="11105"/>
                  </a:cubicBezTo>
                  <a:cubicBezTo>
                    <a:pt x="27202" y="10526"/>
                    <a:pt x="27202" y="10526"/>
                    <a:pt x="27202" y="10526"/>
                  </a:cubicBezTo>
                  <a:cubicBezTo>
                    <a:pt x="27301" y="10508"/>
                    <a:pt x="27301" y="10508"/>
                    <a:pt x="27301" y="10508"/>
                  </a:cubicBezTo>
                  <a:lnTo>
                    <a:pt x="27406" y="11087"/>
                  </a:lnTo>
                  <a:close/>
                  <a:moveTo>
                    <a:pt x="27815" y="10934"/>
                  </a:moveTo>
                  <a:cubicBezTo>
                    <a:pt x="27763" y="10966"/>
                    <a:pt x="27709" y="10969"/>
                    <a:pt x="27653" y="10944"/>
                  </a:cubicBezTo>
                  <a:cubicBezTo>
                    <a:pt x="27598" y="10919"/>
                    <a:pt x="27546" y="10867"/>
                    <a:pt x="27496" y="10786"/>
                  </a:cubicBezTo>
                  <a:cubicBezTo>
                    <a:pt x="27442" y="10697"/>
                    <a:pt x="27416" y="10621"/>
                    <a:pt x="27419" y="10556"/>
                  </a:cubicBezTo>
                  <a:cubicBezTo>
                    <a:pt x="27422" y="10492"/>
                    <a:pt x="27452" y="10442"/>
                    <a:pt x="27510" y="10407"/>
                  </a:cubicBezTo>
                  <a:cubicBezTo>
                    <a:pt x="27620" y="10340"/>
                    <a:pt x="27728" y="10392"/>
                    <a:pt x="27833" y="10563"/>
                  </a:cubicBezTo>
                  <a:cubicBezTo>
                    <a:pt x="27885" y="10649"/>
                    <a:pt x="27909" y="10723"/>
                    <a:pt x="27905" y="10787"/>
                  </a:cubicBezTo>
                  <a:cubicBezTo>
                    <a:pt x="27901" y="10850"/>
                    <a:pt x="27871" y="10899"/>
                    <a:pt x="27815" y="10934"/>
                  </a:cubicBezTo>
                  <a:close/>
                  <a:moveTo>
                    <a:pt x="27546" y="10474"/>
                  </a:moveTo>
                  <a:cubicBezTo>
                    <a:pt x="27485" y="10511"/>
                    <a:pt x="27495" y="10597"/>
                    <a:pt x="27577" y="10732"/>
                  </a:cubicBezTo>
                  <a:cubicBezTo>
                    <a:pt x="27654" y="10857"/>
                    <a:pt x="27722" y="10902"/>
                    <a:pt x="27782" y="10865"/>
                  </a:cubicBezTo>
                  <a:cubicBezTo>
                    <a:pt x="27841" y="10829"/>
                    <a:pt x="27831" y="10748"/>
                    <a:pt x="27753" y="10620"/>
                  </a:cubicBezTo>
                  <a:cubicBezTo>
                    <a:pt x="27673" y="10488"/>
                    <a:pt x="27603" y="10439"/>
                    <a:pt x="27546" y="10474"/>
                  </a:cubicBezTo>
                  <a:close/>
                  <a:moveTo>
                    <a:pt x="28211" y="10553"/>
                  </a:moveTo>
                  <a:cubicBezTo>
                    <a:pt x="28150" y="10633"/>
                    <a:pt x="28150" y="10633"/>
                    <a:pt x="28150" y="10633"/>
                  </a:cubicBezTo>
                  <a:cubicBezTo>
                    <a:pt x="27682" y="10276"/>
                    <a:pt x="27682" y="10276"/>
                    <a:pt x="27682" y="10276"/>
                  </a:cubicBezTo>
                  <a:cubicBezTo>
                    <a:pt x="27743" y="10196"/>
                    <a:pt x="27743" y="10196"/>
                    <a:pt x="27743" y="10196"/>
                  </a:cubicBezTo>
                  <a:lnTo>
                    <a:pt x="28211" y="10553"/>
                  </a:lnTo>
                  <a:close/>
                  <a:moveTo>
                    <a:pt x="28397" y="10279"/>
                  </a:moveTo>
                  <a:cubicBezTo>
                    <a:pt x="28362" y="10330"/>
                    <a:pt x="28314" y="10355"/>
                    <a:pt x="28254" y="10355"/>
                  </a:cubicBezTo>
                  <a:cubicBezTo>
                    <a:pt x="28193" y="10355"/>
                    <a:pt x="28123" y="10329"/>
                    <a:pt x="28045" y="10275"/>
                  </a:cubicBezTo>
                  <a:cubicBezTo>
                    <a:pt x="27959" y="10217"/>
                    <a:pt x="27904" y="10158"/>
                    <a:pt x="27880" y="10098"/>
                  </a:cubicBezTo>
                  <a:cubicBezTo>
                    <a:pt x="27856" y="10038"/>
                    <a:pt x="27864" y="9981"/>
                    <a:pt x="27902" y="9925"/>
                  </a:cubicBezTo>
                  <a:cubicBezTo>
                    <a:pt x="27975" y="9818"/>
                    <a:pt x="28094" y="9821"/>
                    <a:pt x="28260" y="9934"/>
                  </a:cubicBezTo>
                  <a:cubicBezTo>
                    <a:pt x="28343" y="9990"/>
                    <a:pt x="28395" y="10048"/>
                    <a:pt x="28418" y="10108"/>
                  </a:cubicBezTo>
                  <a:cubicBezTo>
                    <a:pt x="28441" y="10168"/>
                    <a:pt x="28434" y="10225"/>
                    <a:pt x="28397" y="10279"/>
                  </a:cubicBezTo>
                  <a:close/>
                  <a:moveTo>
                    <a:pt x="27962" y="9971"/>
                  </a:moveTo>
                  <a:cubicBezTo>
                    <a:pt x="27922" y="10030"/>
                    <a:pt x="27966" y="10104"/>
                    <a:pt x="28097" y="10193"/>
                  </a:cubicBezTo>
                  <a:cubicBezTo>
                    <a:pt x="28218" y="10276"/>
                    <a:pt x="28299" y="10288"/>
                    <a:pt x="28338" y="10230"/>
                  </a:cubicBezTo>
                  <a:cubicBezTo>
                    <a:pt x="28377" y="10173"/>
                    <a:pt x="28335" y="10103"/>
                    <a:pt x="28211" y="10018"/>
                  </a:cubicBezTo>
                  <a:cubicBezTo>
                    <a:pt x="28083" y="9931"/>
                    <a:pt x="28000" y="9915"/>
                    <a:pt x="27962" y="9971"/>
                  </a:cubicBezTo>
                  <a:close/>
                  <a:moveTo>
                    <a:pt x="28630" y="9956"/>
                  </a:moveTo>
                  <a:cubicBezTo>
                    <a:pt x="28566" y="10033"/>
                    <a:pt x="28566" y="10033"/>
                    <a:pt x="28566" y="10033"/>
                  </a:cubicBezTo>
                  <a:cubicBezTo>
                    <a:pt x="28113" y="9657"/>
                    <a:pt x="28113" y="9657"/>
                    <a:pt x="28113" y="9657"/>
                  </a:cubicBezTo>
                  <a:cubicBezTo>
                    <a:pt x="28177" y="9580"/>
                    <a:pt x="28177" y="9580"/>
                    <a:pt x="28177" y="9580"/>
                  </a:cubicBezTo>
                  <a:lnTo>
                    <a:pt x="28630" y="9956"/>
                  </a:lnTo>
                  <a:close/>
                  <a:moveTo>
                    <a:pt x="28831" y="9753"/>
                  </a:moveTo>
                  <a:cubicBezTo>
                    <a:pt x="28788" y="9796"/>
                    <a:pt x="28736" y="9812"/>
                    <a:pt x="28677" y="9801"/>
                  </a:cubicBezTo>
                  <a:cubicBezTo>
                    <a:pt x="28617" y="9790"/>
                    <a:pt x="28554" y="9751"/>
                    <a:pt x="28487" y="9684"/>
                  </a:cubicBezTo>
                  <a:cubicBezTo>
                    <a:pt x="28413" y="9610"/>
                    <a:pt x="28370" y="9542"/>
                    <a:pt x="28358" y="9479"/>
                  </a:cubicBezTo>
                  <a:cubicBezTo>
                    <a:pt x="28346" y="9415"/>
                    <a:pt x="28364" y="9360"/>
                    <a:pt x="28412" y="9312"/>
                  </a:cubicBezTo>
                  <a:cubicBezTo>
                    <a:pt x="28503" y="9221"/>
                    <a:pt x="28620" y="9246"/>
                    <a:pt x="28762" y="9389"/>
                  </a:cubicBezTo>
                  <a:cubicBezTo>
                    <a:pt x="28833" y="9459"/>
                    <a:pt x="28873" y="9526"/>
                    <a:pt x="28884" y="9589"/>
                  </a:cubicBezTo>
                  <a:cubicBezTo>
                    <a:pt x="28896" y="9652"/>
                    <a:pt x="28878" y="9707"/>
                    <a:pt x="28831" y="9753"/>
                  </a:cubicBezTo>
                  <a:close/>
                  <a:moveTo>
                    <a:pt x="28462" y="9369"/>
                  </a:moveTo>
                  <a:cubicBezTo>
                    <a:pt x="28411" y="9420"/>
                    <a:pt x="28442" y="9501"/>
                    <a:pt x="28553" y="9612"/>
                  </a:cubicBezTo>
                  <a:cubicBezTo>
                    <a:pt x="28657" y="9716"/>
                    <a:pt x="28734" y="9744"/>
                    <a:pt x="28783" y="9694"/>
                  </a:cubicBezTo>
                  <a:cubicBezTo>
                    <a:pt x="28832" y="9646"/>
                    <a:pt x="28804" y="9568"/>
                    <a:pt x="28698" y="9462"/>
                  </a:cubicBezTo>
                  <a:cubicBezTo>
                    <a:pt x="28588" y="9353"/>
                    <a:pt x="28510" y="9322"/>
                    <a:pt x="28462" y="9369"/>
                  </a:cubicBezTo>
                  <a:close/>
                  <a:moveTo>
                    <a:pt x="29121" y="9480"/>
                  </a:moveTo>
                  <a:cubicBezTo>
                    <a:pt x="29043" y="9544"/>
                    <a:pt x="29043" y="9544"/>
                    <a:pt x="29043" y="9544"/>
                  </a:cubicBezTo>
                  <a:cubicBezTo>
                    <a:pt x="28669" y="9090"/>
                    <a:pt x="28669" y="9090"/>
                    <a:pt x="28669" y="9090"/>
                  </a:cubicBezTo>
                  <a:cubicBezTo>
                    <a:pt x="28746" y="9026"/>
                    <a:pt x="28746" y="9026"/>
                    <a:pt x="28746" y="9026"/>
                  </a:cubicBezTo>
                  <a:lnTo>
                    <a:pt x="29121" y="9480"/>
                  </a:lnTo>
                  <a:close/>
                  <a:moveTo>
                    <a:pt x="29357" y="9318"/>
                  </a:moveTo>
                  <a:cubicBezTo>
                    <a:pt x="29306" y="9353"/>
                    <a:pt x="29252" y="9359"/>
                    <a:pt x="29196" y="9337"/>
                  </a:cubicBezTo>
                  <a:cubicBezTo>
                    <a:pt x="29139" y="9314"/>
                    <a:pt x="29084" y="9264"/>
                    <a:pt x="29031" y="9186"/>
                  </a:cubicBezTo>
                  <a:cubicBezTo>
                    <a:pt x="28973" y="9100"/>
                    <a:pt x="28943" y="9024"/>
                    <a:pt x="28943" y="8960"/>
                  </a:cubicBezTo>
                  <a:cubicBezTo>
                    <a:pt x="28943" y="8896"/>
                    <a:pt x="28971" y="8845"/>
                    <a:pt x="29027" y="8807"/>
                  </a:cubicBezTo>
                  <a:cubicBezTo>
                    <a:pt x="29134" y="8734"/>
                    <a:pt x="29244" y="8781"/>
                    <a:pt x="29357" y="8948"/>
                  </a:cubicBezTo>
                  <a:cubicBezTo>
                    <a:pt x="29413" y="9030"/>
                    <a:pt x="29440" y="9103"/>
                    <a:pt x="29439" y="9167"/>
                  </a:cubicBezTo>
                  <a:cubicBezTo>
                    <a:pt x="29439" y="9231"/>
                    <a:pt x="29411" y="9282"/>
                    <a:pt x="29357" y="9318"/>
                  </a:cubicBezTo>
                  <a:close/>
                  <a:moveTo>
                    <a:pt x="29066" y="8872"/>
                  </a:moveTo>
                  <a:cubicBezTo>
                    <a:pt x="29007" y="8912"/>
                    <a:pt x="29021" y="8997"/>
                    <a:pt x="29109" y="9128"/>
                  </a:cubicBezTo>
                  <a:cubicBezTo>
                    <a:pt x="29192" y="9250"/>
                    <a:pt x="29262" y="9291"/>
                    <a:pt x="29320" y="9252"/>
                  </a:cubicBezTo>
                  <a:cubicBezTo>
                    <a:pt x="29377" y="9213"/>
                    <a:pt x="29364" y="9132"/>
                    <a:pt x="29280" y="9008"/>
                  </a:cubicBezTo>
                  <a:cubicBezTo>
                    <a:pt x="29193" y="8879"/>
                    <a:pt x="29122" y="8834"/>
                    <a:pt x="29066" y="8872"/>
                  </a:cubicBezTo>
                  <a:close/>
                  <a:moveTo>
                    <a:pt x="29692" y="9104"/>
                  </a:moveTo>
                  <a:cubicBezTo>
                    <a:pt x="29604" y="9153"/>
                    <a:pt x="29604" y="9153"/>
                    <a:pt x="29604" y="9153"/>
                  </a:cubicBezTo>
                  <a:cubicBezTo>
                    <a:pt x="29322" y="8636"/>
                    <a:pt x="29322" y="8636"/>
                    <a:pt x="29322" y="8636"/>
                  </a:cubicBezTo>
                  <a:cubicBezTo>
                    <a:pt x="29410" y="8588"/>
                    <a:pt x="29410" y="8588"/>
                    <a:pt x="29410" y="8588"/>
                  </a:cubicBezTo>
                  <a:lnTo>
                    <a:pt x="29692" y="9104"/>
                  </a:lnTo>
                  <a:close/>
                  <a:moveTo>
                    <a:pt x="29904" y="9001"/>
                  </a:moveTo>
                  <a:cubicBezTo>
                    <a:pt x="29813" y="9043"/>
                    <a:pt x="29813" y="9043"/>
                    <a:pt x="29813" y="9043"/>
                  </a:cubicBezTo>
                  <a:cubicBezTo>
                    <a:pt x="29565" y="8509"/>
                    <a:pt x="29565" y="8509"/>
                    <a:pt x="29565" y="8509"/>
                  </a:cubicBezTo>
                  <a:cubicBezTo>
                    <a:pt x="29656" y="8467"/>
                    <a:pt x="29656" y="8467"/>
                    <a:pt x="29656" y="8467"/>
                  </a:cubicBezTo>
                  <a:lnTo>
                    <a:pt x="29904" y="9001"/>
                  </a:lnTo>
                  <a:close/>
                  <a:moveTo>
                    <a:pt x="30173" y="8904"/>
                  </a:moveTo>
                  <a:cubicBezTo>
                    <a:pt x="30115" y="8925"/>
                    <a:pt x="30061" y="8917"/>
                    <a:pt x="30012" y="8881"/>
                  </a:cubicBezTo>
                  <a:cubicBezTo>
                    <a:pt x="29963" y="8845"/>
                    <a:pt x="29923" y="8783"/>
                    <a:pt x="29891" y="8694"/>
                  </a:cubicBezTo>
                  <a:cubicBezTo>
                    <a:pt x="29857" y="8596"/>
                    <a:pt x="29847" y="8515"/>
                    <a:pt x="29863" y="8453"/>
                  </a:cubicBezTo>
                  <a:cubicBezTo>
                    <a:pt x="29879" y="8391"/>
                    <a:pt x="29919" y="8348"/>
                    <a:pt x="29983" y="8326"/>
                  </a:cubicBezTo>
                  <a:cubicBezTo>
                    <a:pt x="30105" y="8283"/>
                    <a:pt x="30200" y="8356"/>
                    <a:pt x="30267" y="8546"/>
                  </a:cubicBezTo>
                  <a:cubicBezTo>
                    <a:pt x="30300" y="8640"/>
                    <a:pt x="30308" y="8717"/>
                    <a:pt x="30291" y="8779"/>
                  </a:cubicBezTo>
                  <a:cubicBezTo>
                    <a:pt x="30274" y="8841"/>
                    <a:pt x="30235" y="8882"/>
                    <a:pt x="30173" y="8904"/>
                  </a:cubicBezTo>
                  <a:close/>
                  <a:moveTo>
                    <a:pt x="30004" y="8399"/>
                  </a:moveTo>
                  <a:cubicBezTo>
                    <a:pt x="29937" y="8423"/>
                    <a:pt x="29929" y="8509"/>
                    <a:pt x="29982" y="8657"/>
                  </a:cubicBezTo>
                  <a:cubicBezTo>
                    <a:pt x="30031" y="8796"/>
                    <a:pt x="30088" y="8854"/>
                    <a:pt x="30154" y="8831"/>
                  </a:cubicBezTo>
                  <a:cubicBezTo>
                    <a:pt x="30220" y="8808"/>
                    <a:pt x="30227" y="8726"/>
                    <a:pt x="30177" y="8584"/>
                  </a:cubicBezTo>
                  <a:cubicBezTo>
                    <a:pt x="30126" y="8438"/>
                    <a:pt x="30068" y="8376"/>
                    <a:pt x="30004" y="8399"/>
                  </a:cubicBezTo>
                  <a:close/>
                  <a:moveTo>
                    <a:pt x="30552" y="8782"/>
                  </a:moveTo>
                  <a:cubicBezTo>
                    <a:pt x="30454" y="8806"/>
                    <a:pt x="30454" y="8806"/>
                    <a:pt x="30454" y="8806"/>
                  </a:cubicBezTo>
                  <a:cubicBezTo>
                    <a:pt x="30312" y="8235"/>
                    <a:pt x="30312" y="8235"/>
                    <a:pt x="30312" y="8235"/>
                  </a:cubicBezTo>
                  <a:cubicBezTo>
                    <a:pt x="30410" y="8211"/>
                    <a:pt x="30410" y="8211"/>
                    <a:pt x="30410" y="8211"/>
                  </a:cubicBezTo>
                  <a:lnTo>
                    <a:pt x="30552" y="8782"/>
                  </a:lnTo>
                  <a:close/>
                  <a:moveTo>
                    <a:pt x="30783" y="8736"/>
                  </a:moveTo>
                  <a:cubicBezTo>
                    <a:pt x="30684" y="8754"/>
                    <a:pt x="30684" y="8754"/>
                    <a:pt x="30684" y="8754"/>
                  </a:cubicBezTo>
                  <a:cubicBezTo>
                    <a:pt x="30579" y="8174"/>
                    <a:pt x="30579" y="8174"/>
                    <a:pt x="30579" y="8174"/>
                  </a:cubicBezTo>
                  <a:cubicBezTo>
                    <a:pt x="30678" y="8157"/>
                    <a:pt x="30678" y="8157"/>
                    <a:pt x="30678" y="8157"/>
                  </a:cubicBezTo>
                  <a:lnTo>
                    <a:pt x="30783" y="8736"/>
                  </a:lnTo>
                  <a:close/>
                  <a:moveTo>
                    <a:pt x="31016" y="8705"/>
                  </a:moveTo>
                  <a:cubicBezTo>
                    <a:pt x="30917" y="8716"/>
                    <a:pt x="30917" y="8716"/>
                    <a:pt x="30917" y="8716"/>
                  </a:cubicBezTo>
                  <a:cubicBezTo>
                    <a:pt x="30850" y="8131"/>
                    <a:pt x="30850" y="8131"/>
                    <a:pt x="30850" y="8131"/>
                  </a:cubicBezTo>
                  <a:cubicBezTo>
                    <a:pt x="30950" y="8120"/>
                    <a:pt x="30950" y="8120"/>
                    <a:pt x="30950" y="8120"/>
                  </a:cubicBezTo>
                  <a:lnTo>
                    <a:pt x="31016" y="8705"/>
                  </a:lnTo>
                  <a:close/>
                  <a:moveTo>
                    <a:pt x="31302" y="8698"/>
                  </a:moveTo>
                  <a:cubicBezTo>
                    <a:pt x="31241" y="8699"/>
                    <a:pt x="31192" y="8675"/>
                    <a:pt x="31157" y="8626"/>
                  </a:cubicBezTo>
                  <a:cubicBezTo>
                    <a:pt x="31122" y="8576"/>
                    <a:pt x="31103" y="8504"/>
                    <a:pt x="31101" y="8409"/>
                  </a:cubicBezTo>
                  <a:cubicBezTo>
                    <a:pt x="31099" y="8305"/>
                    <a:pt x="31116" y="8226"/>
                    <a:pt x="31150" y="8172"/>
                  </a:cubicBezTo>
                  <a:cubicBezTo>
                    <a:pt x="31185" y="8118"/>
                    <a:pt x="31236" y="8091"/>
                    <a:pt x="31304" y="8089"/>
                  </a:cubicBezTo>
                  <a:cubicBezTo>
                    <a:pt x="31433" y="8087"/>
                    <a:pt x="31500" y="8186"/>
                    <a:pt x="31504" y="8387"/>
                  </a:cubicBezTo>
                  <a:cubicBezTo>
                    <a:pt x="31506" y="8487"/>
                    <a:pt x="31489" y="8563"/>
                    <a:pt x="31454" y="8616"/>
                  </a:cubicBezTo>
                  <a:cubicBezTo>
                    <a:pt x="31418" y="8669"/>
                    <a:pt x="31368" y="8697"/>
                    <a:pt x="31302" y="8698"/>
                  </a:cubicBezTo>
                  <a:close/>
                  <a:moveTo>
                    <a:pt x="31301" y="8165"/>
                  </a:moveTo>
                  <a:cubicBezTo>
                    <a:pt x="31230" y="8167"/>
                    <a:pt x="31195" y="8246"/>
                    <a:pt x="31198" y="8403"/>
                  </a:cubicBezTo>
                  <a:cubicBezTo>
                    <a:pt x="31201" y="8551"/>
                    <a:pt x="31238" y="8624"/>
                    <a:pt x="31308" y="8622"/>
                  </a:cubicBezTo>
                  <a:cubicBezTo>
                    <a:pt x="31377" y="8621"/>
                    <a:pt x="31410" y="8545"/>
                    <a:pt x="31407" y="8396"/>
                  </a:cubicBezTo>
                  <a:cubicBezTo>
                    <a:pt x="31404" y="8241"/>
                    <a:pt x="31369" y="8164"/>
                    <a:pt x="31301" y="8165"/>
                  </a:cubicBezTo>
                  <a:close/>
                  <a:moveTo>
                    <a:pt x="31701" y="8701"/>
                  </a:moveTo>
                  <a:cubicBezTo>
                    <a:pt x="31600" y="8694"/>
                    <a:pt x="31600" y="8694"/>
                    <a:pt x="31600" y="8694"/>
                  </a:cubicBezTo>
                  <a:cubicBezTo>
                    <a:pt x="31644" y="8106"/>
                    <a:pt x="31644" y="8106"/>
                    <a:pt x="31644" y="8106"/>
                  </a:cubicBezTo>
                  <a:cubicBezTo>
                    <a:pt x="31744" y="8114"/>
                    <a:pt x="31744" y="8114"/>
                    <a:pt x="31744" y="8114"/>
                  </a:cubicBezTo>
                  <a:lnTo>
                    <a:pt x="31701" y="8701"/>
                  </a:lnTo>
                  <a:close/>
                  <a:moveTo>
                    <a:pt x="31982" y="8747"/>
                  </a:moveTo>
                  <a:cubicBezTo>
                    <a:pt x="31922" y="8737"/>
                    <a:pt x="31879" y="8704"/>
                    <a:pt x="31854" y="8649"/>
                  </a:cubicBezTo>
                  <a:cubicBezTo>
                    <a:pt x="31828" y="8594"/>
                    <a:pt x="31823" y="8520"/>
                    <a:pt x="31839" y="8426"/>
                  </a:cubicBezTo>
                  <a:cubicBezTo>
                    <a:pt x="31857" y="8324"/>
                    <a:pt x="31888" y="8249"/>
                    <a:pt x="31932" y="8203"/>
                  </a:cubicBezTo>
                  <a:cubicBezTo>
                    <a:pt x="31976" y="8156"/>
                    <a:pt x="32032" y="8138"/>
                    <a:pt x="32098" y="8150"/>
                  </a:cubicBezTo>
                  <a:cubicBezTo>
                    <a:pt x="32226" y="8172"/>
                    <a:pt x="32273" y="8282"/>
                    <a:pt x="32239" y="8480"/>
                  </a:cubicBezTo>
                  <a:cubicBezTo>
                    <a:pt x="32222" y="8578"/>
                    <a:pt x="32192" y="8650"/>
                    <a:pt x="32147" y="8696"/>
                  </a:cubicBezTo>
                  <a:cubicBezTo>
                    <a:pt x="32102" y="8741"/>
                    <a:pt x="32047" y="8758"/>
                    <a:pt x="31982" y="8747"/>
                  </a:cubicBezTo>
                  <a:close/>
                  <a:moveTo>
                    <a:pt x="32081" y="8224"/>
                  </a:moveTo>
                  <a:cubicBezTo>
                    <a:pt x="32011" y="8212"/>
                    <a:pt x="31962" y="8284"/>
                    <a:pt x="31936" y="8439"/>
                  </a:cubicBezTo>
                  <a:cubicBezTo>
                    <a:pt x="31911" y="8584"/>
                    <a:pt x="31933" y="8662"/>
                    <a:pt x="32002" y="8674"/>
                  </a:cubicBezTo>
                  <a:cubicBezTo>
                    <a:pt x="32070" y="8686"/>
                    <a:pt x="32117" y="8618"/>
                    <a:pt x="32142" y="8470"/>
                  </a:cubicBezTo>
                  <a:cubicBezTo>
                    <a:pt x="32168" y="8317"/>
                    <a:pt x="32148" y="8235"/>
                    <a:pt x="32081" y="8224"/>
                  </a:cubicBezTo>
                  <a:close/>
                  <a:moveTo>
                    <a:pt x="32373" y="8825"/>
                  </a:moveTo>
                  <a:cubicBezTo>
                    <a:pt x="32276" y="8799"/>
                    <a:pt x="32276" y="8799"/>
                    <a:pt x="32276" y="8799"/>
                  </a:cubicBezTo>
                  <a:cubicBezTo>
                    <a:pt x="32429" y="8230"/>
                    <a:pt x="32429" y="8230"/>
                    <a:pt x="32429" y="8230"/>
                  </a:cubicBezTo>
                  <a:cubicBezTo>
                    <a:pt x="32526" y="8257"/>
                    <a:pt x="32526" y="8257"/>
                    <a:pt x="32526" y="8257"/>
                  </a:cubicBezTo>
                  <a:lnTo>
                    <a:pt x="32373" y="8825"/>
                  </a:lnTo>
                  <a:close/>
                  <a:moveTo>
                    <a:pt x="32640" y="8924"/>
                  </a:moveTo>
                  <a:cubicBezTo>
                    <a:pt x="32583" y="8902"/>
                    <a:pt x="32547" y="8862"/>
                    <a:pt x="32533" y="8803"/>
                  </a:cubicBezTo>
                  <a:cubicBezTo>
                    <a:pt x="32518" y="8744"/>
                    <a:pt x="32527" y="8670"/>
                    <a:pt x="32561" y="8582"/>
                  </a:cubicBezTo>
                  <a:cubicBezTo>
                    <a:pt x="32597" y="8484"/>
                    <a:pt x="32642" y="8417"/>
                    <a:pt x="32694" y="8380"/>
                  </a:cubicBezTo>
                  <a:cubicBezTo>
                    <a:pt x="32746" y="8342"/>
                    <a:pt x="32804" y="8335"/>
                    <a:pt x="32867" y="8359"/>
                  </a:cubicBezTo>
                  <a:cubicBezTo>
                    <a:pt x="32989" y="8405"/>
                    <a:pt x="33014" y="8522"/>
                    <a:pt x="32943" y="8710"/>
                  </a:cubicBezTo>
                  <a:cubicBezTo>
                    <a:pt x="32908" y="8803"/>
                    <a:pt x="32864" y="8868"/>
                    <a:pt x="32812" y="8904"/>
                  </a:cubicBezTo>
                  <a:cubicBezTo>
                    <a:pt x="32759" y="8940"/>
                    <a:pt x="32702" y="8947"/>
                    <a:pt x="32640" y="8924"/>
                  </a:cubicBezTo>
                  <a:close/>
                  <a:moveTo>
                    <a:pt x="32837" y="8429"/>
                  </a:moveTo>
                  <a:cubicBezTo>
                    <a:pt x="32770" y="8404"/>
                    <a:pt x="32709" y="8465"/>
                    <a:pt x="32653" y="8612"/>
                  </a:cubicBezTo>
                  <a:cubicBezTo>
                    <a:pt x="32601" y="8750"/>
                    <a:pt x="32608" y="8831"/>
                    <a:pt x="32674" y="8856"/>
                  </a:cubicBezTo>
                  <a:cubicBezTo>
                    <a:pt x="32738" y="8880"/>
                    <a:pt x="32797" y="8822"/>
                    <a:pt x="32850" y="8682"/>
                  </a:cubicBezTo>
                  <a:cubicBezTo>
                    <a:pt x="32904" y="8537"/>
                    <a:pt x="32900" y="8452"/>
                    <a:pt x="32837" y="8429"/>
                  </a:cubicBezTo>
                  <a:close/>
                  <a:moveTo>
                    <a:pt x="33009" y="9074"/>
                  </a:moveTo>
                  <a:cubicBezTo>
                    <a:pt x="32919" y="9030"/>
                    <a:pt x="32919" y="9030"/>
                    <a:pt x="32919" y="9030"/>
                  </a:cubicBezTo>
                  <a:cubicBezTo>
                    <a:pt x="33177" y="8501"/>
                    <a:pt x="33177" y="8501"/>
                    <a:pt x="33177" y="8501"/>
                  </a:cubicBezTo>
                  <a:cubicBezTo>
                    <a:pt x="33268" y="8545"/>
                    <a:pt x="33268" y="8545"/>
                    <a:pt x="33268" y="8545"/>
                  </a:cubicBezTo>
                  <a:lnTo>
                    <a:pt x="33009" y="9074"/>
                  </a:lnTo>
                  <a:close/>
                  <a:moveTo>
                    <a:pt x="33254" y="9222"/>
                  </a:moveTo>
                  <a:cubicBezTo>
                    <a:pt x="33201" y="9190"/>
                    <a:pt x="33174" y="9144"/>
                    <a:pt x="33171" y="9083"/>
                  </a:cubicBezTo>
                  <a:cubicBezTo>
                    <a:pt x="33167" y="9022"/>
                    <a:pt x="33191" y="8952"/>
                    <a:pt x="33240" y="8871"/>
                  </a:cubicBezTo>
                  <a:cubicBezTo>
                    <a:pt x="33294" y="8782"/>
                    <a:pt x="33351" y="8725"/>
                    <a:pt x="33409" y="8698"/>
                  </a:cubicBezTo>
                  <a:cubicBezTo>
                    <a:pt x="33468" y="8671"/>
                    <a:pt x="33526" y="8675"/>
                    <a:pt x="33583" y="8711"/>
                  </a:cubicBezTo>
                  <a:cubicBezTo>
                    <a:pt x="33694" y="8778"/>
                    <a:pt x="33696" y="8898"/>
                    <a:pt x="33591" y="9069"/>
                  </a:cubicBezTo>
                  <a:cubicBezTo>
                    <a:pt x="33539" y="9154"/>
                    <a:pt x="33484" y="9210"/>
                    <a:pt x="33425" y="9235"/>
                  </a:cubicBezTo>
                  <a:cubicBezTo>
                    <a:pt x="33367" y="9261"/>
                    <a:pt x="33310" y="9256"/>
                    <a:pt x="33254" y="9222"/>
                  </a:cubicBezTo>
                  <a:close/>
                  <a:moveTo>
                    <a:pt x="33540" y="8773"/>
                  </a:moveTo>
                  <a:cubicBezTo>
                    <a:pt x="33479" y="8736"/>
                    <a:pt x="33407" y="8784"/>
                    <a:pt x="33325" y="8918"/>
                  </a:cubicBezTo>
                  <a:cubicBezTo>
                    <a:pt x="33248" y="9044"/>
                    <a:pt x="33240" y="9125"/>
                    <a:pt x="33299" y="9162"/>
                  </a:cubicBezTo>
                  <a:cubicBezTo>
                    <a:pt x="33358" y="9198"/>
                    <a:pt x="33427" y="9152"/>
                    <a:pt x="33505" y="9024"/>
                  </a:cubicBezTo>
                  <a:cubicBezTo>
                    <a:pt x="33586" y="8892"/>
                    <a:pt x="33597" y="8808"/>
                    <a:pt x="33540" y="8773"/>
                  </a:cubicBezTo>
                  <a:close/>
                  <a:moveTo>
                    <a:pt x="33587" y="9439"/>
                  </a:moveTo>
                  <a:cubicBezTo>
                    <a:pt x="33507" y="9379"/>
                    <a:pt x="33507" y="9379"/>
                    <a:pt x="33507" y="9379"/>
                  </a:cubicBezTo>
                  <a:cubicBezTo>
                    <a:pt x="33860" y="8908"/>
                    <a:pt x="33860" y="8908"/>
                    <a:pt x="33860" y="8908"/>
                  </a:cubicBezTo>
                  <a:cubicBezTo>
                    <a:pt x="33941" y="8969"/>
                    <a:pt x="33941" y="8969"/>
                    <a:pt x="33941" y="8969"/>
                  </a:cubicBezTo>
                  <a:lnTo>
                    <a:pt x="33587" y="9439"/>
                  </a:lnTo>
                  <a:close/>
                  <a:moveTo>
                    <a:pt x="33800" y="9631"/>
                  </a:moveTo>
                  <a:cubicBezTo>
                    <a:pt x="33754" y="9590"/>
                    <a:pt x="33736" y="9539"/>
                    <a:pt x="33744" y="9479"/>
                  </a:cubicBezTo>
                  <a:cubicBezTo>
                    <a:pt x="33753" y="9418"/>
                    <a:pt x="33789" y="9353"/>
                    <a:pt x="33852" y="9283"/>
                  </a:cubicBezTo>
                  <a:cubicBezTo>
                    <a:pt x="33922" y="9206"/>
                    <a:pt x="33989" y="9160"/>
                    <a:pt x="34051" y="9145"/>
                  </a:cubicBezTo>
                  <a:cubicBezTo>
                    <a:pt x="34113" y="9130"/>
                    <a:pt x="34170" y="9145"/>
                    <a:pt x="34220" y="9190"/>
                  </a:cubicBezTo>
                  <a:cubicBezTo>
                    <a:pt x="34315" y="9277"/>
                    <a:pt x="34296" y="9395"/>
                    <a:pt x="34160" y="9544"/>
                  </a:cubicBezTo>
                  <a:cubicBezTo>
                    <a:pt x="34093" y="9618"/>
                    <a:pt x="34028" y="9662"/>
                    <a:pt x="33966" y="9676"/>
                  </a:cubicBezTo>
                  <a:cubicBezTo>
                    <a:pt x="33904" y="9690"/>
                    <a:pt x="33848" y="9675"/>
                    <a:pt x="33800" y="9631"/>
                  </a:cubicBezTo>
                  <a:close/>
                  <a:moveTo>
                    <a:pt x="34165" y="9243"/>
                  </a:moveTo>
                  <a:cubicBezTo>
                    <a:pt x="34112" y="9195"/>
                    <a:pt x="34033" y="9229"/>
                    <a:pt x="33927" y="9346"/>
                  </a:cubicBezTo>
                  <a:cubicBezTo>
                    <a:pt x="33828" y="9455"/>
                    <a:pt x="33804" y="9533"/>
                    <a:pt x="33856" y="9580"/>
                  </a:cubicBezTo>
                  <a:cubicBezTo>
                    <a:pt x="33907" y="9626"/>
                    <a:pt x="33983" y="9594"/>
                    <a:pt x="34084" y="9483"/>
                  </a:cubicBezTo>
                  <a:cubicBezTo>
                    <a:pt x="34188" y="9369"/>
                    <a:pt x="34215" y="9289"/>
                    <a:pt x="34165" y="9243"/>
                  </a:cubicBezTo>
                  <a:close/>
                  <a:moveTo>
                    <a:pt x="34112" y="9951"/>
                  </a:moveTo>
                  <a:cubicBezTo>
                    <a:pt x="34072" y="9905"/>
                    <a:pt x="34060" y="9852"/>
                    <a:pt x="34075" y="9793"/>
                  </a:cubicBezTo>
                  <a:cubicBezTo>
                    <a:pt x="34091" y="9735"/>
                    <a:pt x="34135" y="9675"/>
                    <a:pt x="34207" y="9613"/>
                  </a:cubicBezTo>
                  <a:cubicBezTo>
                    <a:pt x="34286" y="9545"/>
                    <a:pt x="34357" y="9508"/>
                    <a:pt x="34421" y="9500"/>
                  </a:cubicBezTo>
                  <a:cubicBezTo>
                    <a:pt x="34485" y="9492"/>
                    <a:pt x="34539" y="9514"/>
                    <a:pt x="34583" y="9566"/>
                  </a:cubicBezTo>
                  <a:cubicBezTo>
                    <a:pt x="34667" y="9664"/>
                    <a:pt x="34633" y="9779"/>
                    <a:pt x="34480" y="9910"/>
                  </a:cubicBezTo>
                  <a:cubicBezTo>
                    <a:pt x="34405" y="9974"/>
                    <a:pt x="34335" y="10010"/>
                    <a:pt x="34271" y="10016"/>
                  </a:cubicBezTo>
                  <a:cubicBezTo>
                    <a:pt x="34208" y="10023"/>
                    <a:pt x="34155" y="10001"/>
                    <a:pt x="34112" y="9951"/>
                  </a:cubicBezTo>
                  <a:close/>
                  <a:moveTo>
                    <a:pt x="34522" y="9612"/>
                  </a:moveTo>
                  <a:cubicBezTo>
                    <a:pt x="34476" y="9557"/>
                    <a:pt x="34393" y="9582"/>
                    <a:pt x="34273" y="9684"/>
                  </a:cubicBezTo>
                  <a:cubicBezTo>
                    <a:pt x="34161" y="9780"/>
                    <a:pt x="34128" y="9854"/>
                    <a:pt x="34174" y="9908"/>
                  </a:cubicBezTo>
                  <a:cubicBezTo>
                    <a:pt x="34219" y="9960"/>
                    <a:pt x="34298" y="9937"/>
                    <a:pt x="34412" y="9840"/>
                  </a:cubicBezTo>
                  <a:cubicBezTo>
                    <a:pt x="34529" y="9739"/>
                    <a:pt x="34566" y="9663"/>
                    <a:pt x="34522" y="9612"/>
                  </a:cubicBezTo>
                  <a:close/>
                  <a:moveTo>
                    <a:pt x="34363" y="10261"/>
                  </a:moveTo>
                  <a:cubicBezTo>
                    <a:pt x="34305" y="10178"/>
                    <a:pt x="34305" y="10178"/>
                    <a:pt x="34305" y="10178"/>
                  </a:cubicBezTo>
                  <a:cubicBezTo>
                    <a:pt x="34786" y="9839"/>
                    <a:pt x="34786" y="9839"/>
                    <a:pt x="34786" y="9839"/>
                  </a:cubicBezTo>
                  <a:cubicBezTo>
                    <a:pt x="34844" y="9921"/>
                    <a:pt x="34844" y="9921"/>
                    <a:pt x="34844" y="9921"/>
                  </a:cubicBezTo>
                  <a:lnTo>
                    <a:pt x="34363" y="10261"/>
                  </a:lnTo>
                  <a:close/>
                  <a:moveTo>
                    <a:pt x="34518" y="10525"/>
                  </a:moveTo>
                  <a:cubicBezTo>
                    <a:pt x="34484" y="10474"/>
                    <a:pt x="34479" y="10420"/>
                    <a:pt x="34501" y="10364"/>
                  </a:cubicBezTo>
                  <a:cubicBezTo>
                    <a:pt x="34524" y="10308"/>
                    <a:pt x="34574" y="10253"/>
                    <a:pt x="34653" y="10200"/>
                  </a:cubicBezTo>
                  <a:cubicBezTo>
                    <a:pt x="34739" y="10143"/>
                    <a:pt x="34815" y="10114"/>
                    <a:pt x="34879" y="10114"/>
                  </a:cubicBezTo>
                  <a:cubicBezTo>
                    <a:pt x="34943" y="10114"/>
                    <a:pt x="34994" y="10142"/>
                    <a:pt x="35032" y="10198"/>
                  </a:cubicBezTo>
                  <a:cubicBezTo>
                    <a:pt x="35104" y="10306"/>
                    <a:pt x="35056" y="10416"/>
                    <a:pt x="34889" y="10527"/>
                  </a:cubicBezTo>
                  <a:cubicBezTo>
                    <a:pt x="34806" y="10583"/>
                    <a:pt x="34733" y="10610"/>
                    <a:pt x="34669" y="10609"/>
                  </a:cubicBezTo>
                  <a:cubicBezTo>
                    <a:pt x="34605" y="10608"/>
                    <a:pt x="34555" y="10580"/>
                    <a:pt x="34518" y="10525"/>
                  </a:cubicBezTo>
                  <a:close/>
                  <a:moveTo>
                    <a:pt x="34966" y="10237"/>
                  </a:moveTo>
                  <a:cubicBezTo>
                    <a:pt x="34926" y="10177"/>
                    <a:pt x="34841" y="10191"/>
                    <a:pt x="34710" y="10279"/>
                  </a:cubicBezTo>
                  <a:cubicBezTo>
                    <a:pt x="34588" y="10361"/>
                    <a:pt x="34546" y="10431"/>
                    <a:pt x="34585" y="10489"/>
                  </a:cubicBezTo>
                  <a:cubicBezTo>
                    <a:pt x="34624" y="10546"/>
                    <a:pt x="34705" y="10534"/>
                    <a:pt x="34829" y="10450"/>
                  </a:cubicBezTo>
                  <a:cubicBezTo>
                    <a:pt x="34958" y="10364"/>
                    <a:pt x="35004" y="10293"/>
                    <a:pt x="34966" y="10237"/>
                  </a:cubicBezTo>
                  <a:close/>
                  <a:moveTo>
                    <a:pt x="34993" y="10962"/>
                  </a:moveTo>
                  <a:cubicBezTo>
                    <a:pt x="34939" y="10933"/>
                    <a:pt x="34909" y="10888"/>
                    <a:pt x="34903" y="10828"/>
                  </a:cubicBezTo>
                  <a:cubicBezTo>
                    <a:pt x="34897" y="10767"/>
                    <a:pt x="34916" y="10695"/>
                    <a:pt x="34961" y="10612"/>
                  </a:cubicBezTo>
                  <a:cubicBezTo>
                    <a:pt x="35011" y="10521"/>
                    <a:pt x="35064" y="10460"/>
                    <a:pt x="35121" y="10430"/>
                  </a:cubicBezTo>
                  <a:cubicBezTo>
                    <a:pt x="35178" y="10400"/>
                    <a:pt x="35236" y="10401"/>
                    <a:pt x="35296" y="10434"/>
                  </a:cubicBezTo>
                  <a:cubicBezTo>
                    <a:pt x="35409" y="10495"/>
                    <a:pt x="35418" y="10615"/>
                    <a:pt x="35323" y="10791"/>
                  </a:cubicBezTo>
                  <a:cubicBezTo>
                    <a:pt x="35275" y="10879"/>
                    <a:pt x="35223" y="10937"/>
                    <a:pt x="35166" y="10966"/>
                  </a:cubicBezTo>
                  <a:cubicBezTo>
                    <a:pt x="35109" y="10995"/>
                    <a:pt x="35051" y="10993"/>
                    <a:pt x="34993" y="10962"/>
                  </a:cubicBezTo>
                  <a:close/>
                  <a:moveTo>
                    <a:pt x="35255" y="10498"/>
                  </a:moveTo>
                  <a:cubicBezTo>
                    <a:pt x="35193" y="10464"/>
                    <a:pt x="35124" y="10516"/>
                    <a:pt x="35049" y="10655"/>
                  </a:cubicBezTo>
                  <a:cubicBezTo>
                    <a:pt x="34979" y="10784"/>
                    <a:pt x="34974" y="10866"/>
                    <a:pt x="35036" y="10899"/>
                  </a:cubicBezTo>
                  <a:cubicBezTo>
                    <a:pt x="35097" y="10932"/>
                    <a:pt x="35163" y="10883"/>
                    <a:pt x="35234" y="10751"/>
                  </a:cubicBezTo>
                  <a:cubicBezTo>
                    <a:pt x="35308" y="10615"/>
                    <a:pt x="35315" y="10530"/>
                    <a:pt x="35255" y="10498"/>
                  </a:cubicBezTo>
                  <a:close/>
                  <a:moveTo>
                    <a:pt x="35520" y="11113"/>
                  </a:moveTo>
                  <a:cubicBezTo>
                    <a:pt x="35421" y="11100"/>
                    <a:pt x="35421" y="11100"/>
                    <a:pt x="35421" y="11100"/>
                  </a:cubicBezTo>
                  <a:cubicBezTo>
                    <a:pt x="35496" y="10517"/>
                    <a:pt x="35496" y="10517"/>
                    <a:pt x="35496" y="10517"/>
                  </a:cubicBezTo>
                  <a:cubicBezTo>
                    <a:pt x="35595" y="10529"/>
                    <a:pt x="35595" y="10529"/>
                    <a:pt x="35595" y="10529"/>
                  </a:cubicBezTo>
                  <a:lnTo>
                    <a:pt x="35520" y="11113"/>
                  </a:lnTo>
                  <a:close/>
                  <a:moveTo>
                    <a:pt x="35866" y="11128"/>
                  </a:moveTo>
                  <a:cubicBezTo>
                    <a:pt x="35804" y="11128"/>
                    <a:pt x="35756" y="11103"/>
                    <a:pt x="35722" y="11053"/>
                  </a:cubicBezTo>
                  <a:cubicBezTo>
                    <a:pt x="35688" y="11002"/>
                    <a:pt x="35670" y="10930"/>
                    <a:pt x="35670" y="10835"/>
                  </a:cubicBezTo>
                  <a:cubicBezTo>
                    <a:pt x="35670" y="10731"/>
                    <a:pt x="35688" y="10653"/>
                    <a:pt x="35724" y="10599"/>
                  </a:cubicBezTo>
                  <a:cubicBezTo>
                    <a:pt x="35760" y="10546"/>
                    <a:pt x="35812" y="10519"/>
                    <a:pt x="35879" y="10519"/>
                  </a:cubicBezTo>
                  <a:cubicBezTo>
                    <a:pt x="36009" y="10519"/>
                    <a:pt x="36074" y="10620"/>
                    <a:pt x="36074" y="10821"/>
                  </a:cubicBezTo>
                  <a:cubicBezTo>
                    <a:pt x="36074" y="10921"/>
                    <a:pt x="36055" y="10997"/>
                    <a:pt x="36019" y="11049"/>
                  </a:cubicBezTo>
                  <a:cubicBezTo>
                    <a:pt x="35982" y="11101"/>
                    <a:pt x="35931" y="11128"/>
                    <a:pt x="35866" y="11128"/>
                  </a:cubicBezTo>
                  <a:close/>
                  <a:moveTo>
                    <a:pt x="35875" y="10595"/>
                  </a:moveTo>
                  <a:cubicBezTo>
                    <a:pt x="35804" y="10595"/>
                    <a:pt x="35768" y="10674"/>
                    <a:pt x="35768" y="10831"/>
                  </a:cubicBezTo>
                  <a:cubicBezTo>
                    <a:pt x="35768" y="10979"/>
                    <a:pt x="35803" y="11052"/>
                    <a:pt x="35873" y="11052"/>
                  </a:cubicBezTo>
                  <a:cubicBezTo>
                    <a:pt x="35942" y="11052"/>
                    <a:pt x="35976" y="10977"/>
                    <a:pt x="35976" y="10828"/>
                  </a:cubicBezTo>
                  <a:cubicBezTo>
                    <a:pt x="35976" y="10673"/>
                    <a:pt x="35943" y="10595"/>
                    <a:pt x="35875" y="10595"/>
                  </a:cubicBezTo>
                  <a:close/>
                  <a:moveTo>
                    <a:pt x="36332" y="11128"/>
                  </a:moveTo>
                  <a:cubicBezTo>
                    <a:pt x="36271" y="11128"/>
                    <a:pt x="36223" y="11103"/>
                    <a:pt x="36189" y="11053"/>
                  </a:cubicBezTo>
                  <a:cubicBezTo>
                    <a:pt x="36154" y="11002"/>
                    <a:pt x="36137" y="10930"/>
                    <a:pt x="36137" y="10835"/>
                  </a:cubicBezTo>
                  <a:cubicBezTo>
                    <a:pt x="36137" y="10731"/>
                    <a:pt x="36155" y="10653"/>
                    <a:pt x="36191" y="10599"/>
                  </a:cubicBezTo>
                  <a:cubicBezTo>
                    <a:pt x="36227" y="10546"/>
                    <a:pt x="36279" y="10519"/>
                    <a:pt x="36346" y="10519"/>
                  </a:cubicBezTo>
                  <a:cubicBezTo>
                    <a:pt x="36476" y="10519"/>
                    <a:pt x="36540" y="10620"/>
                    <a:pt x="36540" y="10821"/>
                  </a:cubicBezTo>
                  <a:cubicBezTo>
                    <a:pt x="36540" y="10921"/>
                    <a:pt x="36522" y="10997"/>
                    <a:pt x="36486" y="11049"/>
                  </a:cubicBezTo>
                  <a:cubicBezTo>
                    <a:pt x="36449" y="11101"/>
                    <a:pt x="36398" y="11128"/>
                    <a:pt x="36332" y="11128"/>
                  </a:cubicBezTo>
                  <a:close/>
                  <a:moveTo>
                    <a:pt x="36342" y="10595"/>
                  </a:moveTo>
                  <a:cubicBezTo>
                    <a:pt x="36270" y="10595"/>
                    <a:pt x="36235" y="10674"/>
                    <a:pt x="36235" y="10831"/>
                  </a:cubicBezTo>
                  <a:cubicBezTo>
                    <a:pt x="36235" y="10979"/>
                    <a:pt x="36270" y="11052"/>
                    <a:pt x="36340" y="11052"/>
                  </a:cubicBezTo>
                  <a:cubicBezTo>
                    <a:pt x="36409" y="11052"/>
                    <a:pt x="36443" y="10977"/>
                    <a:pt x="36443" y="10828"/>
                  </a:cubicBezTo>
                  <a:cubicBezTo>
                    <a:pt x="36443" y="10673"/>
                    <a:pt x="36409" y="10595"/>
                    <a:pt x="36342" y="10595"/>
                  </a:cubicBezTo>
                  <a:close/>
                  <a:moveTo>
                    <a:pt x="36745" y="11118"/>
                  </a:moveTo>
                  <a:cubicBezTo>
                    <a:pt x="36644" y="11118"/>
                    <a:pt x="36644" y="11118"/>
                    <a:pt x="36644" y="11118"/>
                  </a:cubicBezTo>
                  <a:cubicBezTo>
                    <a:pt x="36644" y="10529"/>
                    <a:pt x="36644" y="10529"/>
                    <a:pt x="36644" y="10529"/>
                  </a:cubicBezTo>
                  <a:cubicBezTo>
                    <a:pt x="36745" y="10529"/>
                    <a:pt x="36745" y="10529"/>
                    <a:pt x="36745" y="10529"/>
                  </a:cubicBezTo>
                  <a:lnTo>
                    <a:pt x="36745" y="11118"/>
                  </a:lnTo>
                  <a:close/>
                  <a:moveTo>
                    <a:pt x="36990" y="11118"/>
                  </a:moveTo>
                  <a:cubicBezTo>
                    <a:pt x="36890" y="11118"/>
                    <a:pt x="36890" y="11118"/>
                    <a:pt x="36890" y="11118"/>
                  </a:cubicBezTo>
                  <a:cubicBezTo>
                    <a:pt x="36890" y="10529"/>
                    <a:pt x="36890" y="10529"/>
                    <a:pt x="36890" y="10529"/>
                  </a:cubicBezTo>
                  <a:cubicBezTo>
                    <a:pt x="36990" y="10529"/>
                    <a:pt x="36990" y="10529"/>
                    <a:pt x="36990" y="10529"/>
                  </a:cubicBezTo>
                  <a:lnTo>
                    <a:pt x="36990" y="11118"/>
                  </a:lnTo>
                  <a:close/>
                  <a:moveTo>
                    <a:pt x="37235" y="11118"/>
                  </a:moveTo>
                  <a:cubicBezTo>
                    <a:pt x="37134" y="11118"/>
                    <a:pt x="37134" y="11118"/>
                    <a:pt x="37134" y="11118"/>
                  </a:cubicBezTo>
                  <a:cubicBezTo>
                    <a:pt x="37134" y="10529"/>
                    <a:pt x="37134" y="10529"/>
                    <a:pt x="37134" y="10529"/>
                  </a:cubicBezTo>
                  <a:cubicBezTo>
                    <a:pt x="37235" y="10529"/>
                    <a:pt x="37235" y="10529"/>
                    <a:pt x="37235" y="10529"/>
                  </a:cubicBezTo>
                  <a:lnTo>
                    <a:pt x="37235" y="11118"/>
                  </a:lnTo>
                  <a:close/>
                  <a:moveTo>
                    <a:pt x="37480" y="11118"/>
                  </a:moveTo>
                  <a:cubicBezTo>
                    <a:pt x="37379" y="11118"/>
                    <a:pt x="37379" y="11118"/>
                    <a:pt x="37379" y="11118"/>
                  </a:cubicBezTo>
                  <a:cubicBezTo>
                    <a:pt x="37379" y="10529"/>
                    <a:pt x="37379" y="10529"/>
                    <a:pt x="37379" y="10529"/>
                  </a:cubicBezTo>
                  <a:cubicBezTo>
                    <a:pt x="37480" y="10529"/>
                    <a:pt x="37480" y="10529"/>
                    <a:pt x="37480" y="10529"/>
                  </a:cubicBezTo>
                  <a:lnTo>
                    <a:pt x="37480" y="11118"/>
                  </a:lnTo>
                  <a:close/>
                  <a:moveTo>
                    <a:pt x="37780" y="11128"/>
                  </a:moveTo>
                  <a:cubicBezTo>
                    <a:pt x="37718" y="11128"/>
                    <a:pt x="37671" y="11103"/>
                    <a:pt x="37636" y="11053"/>
                  </a:cubicBezTo>
                  <a:cubicBezTo>
                    <a:pt x="37602" y="11002"/>
                    <a:pt x="37585" y="10930"/>
                    <a:pt x="37585" y="10835"/>
                  </a:cubicBezTo>
                  <a:cubicBezTo>
                    <a:pt x="37585" y="10731"/>
                    <a:pt x="37603" y="10653"/>
                    <a:pt x="37639" y="10599"/>
                  </a:cubicBezTo>
                  <a:cubicBezTo>
                    <a:pt x="37674" y="10546"/>
                    <a:pt x="37726" y="10519"/>
                    <a:pt x="37794" y="10519"/>
                  </a:cubicBezTo>
                  <a:cubicBezTo>
                    <a:pt x="37923" y="10519"/>
                    <a:pt x="37988" y="10620"/>
                    <a:pt x="37988" y="10821"/>
                  </a:cubicBezTo>
                  <a:cubicBezTo>
                    <a:pt x="37988" y="10921"/>
                    <a:pt x="37970" y="10997"/>
                    <a:pt x="37933" y="11049"/>
                  </a:cubicBezTo>
                  <a:cubicBezTo>
                    <a:pt x="37897" y="11101"/>
                    <a:pt x="37845" y="11128"/>
                    <a:pt x="37780" y="11128"/>
                  </a:cubicBezTo>
                  <a:close/>
                  <a:moveTo>
                    <a:pt x="37789" y="10595"/>
                  </a:moveTo>
                  <a:cubicBezTo>
                    <a:pt x="37718" y="10595"/>
                    <a:pt x="37682" y="10674"/>
                    <a:pt x="37682" y="10831"/>
                  </a:cubicBezTo>
                  <a:cubicBezTo>
                    <a:pt x="37682" y="10979"/>
                    <a:pt x="37717" y="11052"/>
                    <a:pt x="37787" y="11052"/>
                  </a:cubicBezTo>
                  <a:cubicBezTo>
                    <a:pt x="37856" y="11052"/>
                    <a:pt x="37891" y="10977"/>
                    <a:pt x="37891" y="10828"/>
                  </a:cubicBezTo>
                  <a:cubicBezTo>
                    <a:pt x="37891" y="10673"/>
                    <a:pt x="37857" y="10595"/>
                    <a:pt x="37789" y="10595"/>
                  </a:cubicBezTo>
                  <a:close/>
                  <a:moveTo>
                    <a:pt x="38240" y="11100"/>
                  </a:moveTo>
                  <a:cubicBezTo>
                    <a:pt x="38140" y="11113"/>
                    <a:pt x="38140" y="11113"/>
                    <a:pt x="38140" y="11113"/>
                  </a:cubicBezTo>
                  <a:cubicBezTo>
                    <a:pt x="38064" y="10529"/>
                    <a:pt x="38064" y="10529"/>
                    <a:pt x="38064" y="10529"/>
                  </a:cubicBezTo>
                  <a:cubicBezTo>
                    <a:pt x="38163" y="10516"/>
                    <a:pt x="38163" y="10516"/>
                    <a:pt x="38163" y="10516"/>
                  </a:cubicBezTo>
                  <a:lnTo>
                    <a:pt x="38240" y="11100"/>
                  </a:lnTo>
                  <a:close/>
                  <a:moveTo>
                    <a:pt x="38656" y="10967"/>
                  </a:moveTo>
                  <a:cubicBezTo>
                    <a:pt x="38602" y="10996"/>
                    <a:pt x="38548" y="10997"/>
                    <a:pt x="38494" y="10969"/>
                  </a:cubicBezTo>
                  <a:cubicBezTo>
                    <a:pt x="38439" y="10942"/>
                    <a:pt x="38390" y="10886"/>
                    <a:pt x="38344" y="10803"/>
                  </a:cubicBezTo>
                  <a:cubicBezTo>
                    <a:pt x="38295" y="10712"/>
                    <a:pt x="38273" y="10634"/>
                    <a:pt x="38279" y="10570"/>
                  </a:cubicBezTo>
                  <a:cubicBezTo>
                    <a:pt x="38285" y="10506"/>
                    <a:pt x="38317" y="10458"/>
                    <a:pt x="38377" y="10426"/>
                  </a:cubicBezTo>
                  <a:cubicBezTo>
                    <a:pt x="38491" y="10364"/>
                    <a:pt x="38595" y="10421"/>
                    <a:pt x="38692" y="10598"/>
                  </a:cubicBezTo>
                  <a:cubicBezTo>
                    <a:pt x="38739" y="10685"/>
                    <a:pt x="38760" y="10761"/>
                    <a:pt x="38753" y="10824"/>
                  </a:cubicBezTo>
                  <a:cubicBezTo>
                    <a:pt x="38746" y="10888"/>
                    <a:pt x="38713" y="10935"/>
                    <a:pt x="38656" y="10967"/>
                  </a:cubicBezTo>
                  <a:close/>
                  <a:moveTo>
                    <a:pt x="38409" y="10494"/>
                  </a:moveTo>
                  <a:cubicBezTo>
                    <a:pt x="38346" y="10529"/>
                    <a:pt x="38353" y="10615"/>
                    <a:pt x="38428" y="10753"/>
                  </a:cubicBezTo>
                  <a:cubicBezTo>
                    <a:pt x="38498" y="10882"/>
                    <a:pt x="38564" y="10930"/>
                    <a:pt x="38626" y="10897"/>
                  </a:cubicBezTo>
                  <a:cubicBezTo>
                    <a:pt x="38686" y="10864"/>
                    <a:pt x="38681" y="10781"/>
                    <a:pt x="38609" y="10650"/>
                  </a:cubicBezTo>
                  <a:cubicBezTo>
                    <a:pt x="38535" y="10514"/>
                    <a:pt x="38469" y="10462"/>
                    <a:pt x="38409" y="10494"/>
                  </a:cubicBezTo>
                  <a:close/>
                  <a:moveTo>
                    <a:pt x="39070" y="10606"/>
                  </a:moveTo>
                  <a:cubicBezTo>
                    <a:pt x="39005" y="10683"/>
                    <a:pt x="39005" y="10683"/>
                    <a:pt x="39005" y="10683"/>
                  </a:cubicBezTo>
                  <a:cubicBezTo>
                    <a:pt x="38555" y="10303"/>
                    <a:pt x="38555" y="10303"/>
                    <a:pt x="38555" y="10303"/>
                  </a:cubicBezTo>
                  <a:cubicBezTo>
                    <a:pt x="38620" y="10226"/>
                    <a:pt x="38620" y="10226"/>
                    <a:pt x="38620" y="10226"/>
                  </a:cubicBezTo>
                  <a:lnTo>
                    <a:pt x="39070" y="10606"/>
                  </a:lnTo>
                  <a:close/>
                  <a:moveTo>
                    <a:pt x="39268" y="10319"/>
                  </a:moveTo>
                  <a:cubicBezTo>
                    <a:pt x="39234" y="10370"/>
                    <a:pt x="39187" y="10396"/>
                    <a:pt x="39126" y="10397"/>
                  </a:cubicBezTo>
                  <a:cubicBezTo>
                    <a:pt x="39065" y="10398"/>
                    <a:pt x="38996" y="10372"/>
                    <a:pt x="38917" y="10320"/>
                  </a:cubicBezTo>
                  <a:cubicBezTo>
                    <a:pt x="38830" y="10262"/>
                    <a:pt x="38774" y="10204"/>
                    <a:pt x="38750" y="10145"/>
                  </a:cubicBezTo>
                  <a:cubicBezTo>
                    <a:pt x="38725" y="10085"/>
                    <a:pt x="38731" y="10027"/>
                    <a:pt x="38769" y="9971"/>
                  </a:cubicBezTo>
                  <a:cubicBezTo>
                    <a:pt x="38840" y="9863"/>
                    <a:pt x="38960" y="9865"/>
                    <a:pt x="39127" y="9976"/>
                  </a:cubicBezTo>
                  <a:cubicBezTo>
                    <a:pt x="39210" y="10031"/>
                    <a:pt x="39264" y="10088"/>
                    <a:pt x="39287" y="10147"/>
                  </a:cubicBezTo>
                  <a:cubicBezTo>
                    <a:pt x="39311" y="10207"/>
                    <a:pt x="39304" y="10264"/>
                    <a:pt x="39268" y="10319"/>
                  </a:cubicBezTo>
                  <a:close/>
                  <a:moveTo>
                    <a:pt x="38829" y="10017"/>
                  </a:moveTo>
                  <a:cubicBezTo>
                    <a:pt x="38790" y="10076"/>
                    <a:pt x="38836" y="10149"/>
                    <a:pt x="38967" y="10236"/>
                  </a:cubicBezTo>
                  <a:cubicBezTo>
                    <a:pt x="39090" y="10318"/>
                    <a:pt x="39171" y="10329"/>
                    <a:pt x="39209" y="10271"/>
                  </a:cubicBezTo>
                  <a:cubicBezTo>
                    <a:pt x="39247" y="10213"/>
                    <a:pt x="39204" y="10143"/>
                    <a:pt x="39079" y="10060"/>
                  </a:cubicBezTo>
                  <a:cubicBezTo>
                    <a:pt x="38950" y="9975"/>
                    <a:pt x="38867" y="9960"/>
                    <a:pt x="38829" y="10017"/>
                  </a:cubicBezTo>
                  <a:close/>
                  <a:moveTo>
                    <a:pt x="39497" y="9993"/>
                  </a:moveTo>
                  <a:cubicBezTo>
                    <a:pt x="39434" y="10071"/>
                    <a:pt x="39434" y="10071"/>
                    <a:pt x="39434" y="10071"/>
                  </a:cubicBezTo>
                  <a:cubicBezTo>
                    <a:pt x="38976" y="9701"/>
                    <a:pt x="38976" y="9701"/>
                    <a:pt x="38976" y="9701"/>
                  </a:cubicBezTo>
                  <a:cubicBezTo>
                    <a:pt x="39039" y="9623"/>
                    <a:pt x="39039" y="9623"/>
                    <a:pt x="39039" y="9623"/>
                  </a:cubicBezTo>
                  <a:lnTo>
                    <a:pt x="39497" y="9993"/>
                  </a:lnTo>
                  <a:close/>
                  <a:moveTo>
                    <a:pt x="39696" y="9787"/>
                  </a:moveTo>
                  <a:cubicBezTo>
                    <a:pt x="39653" y="9831"/>
                    <a:pt x="39602" y="9848"/>
                    <a:pt x="39542" y="9837"/>
                  </a:cubicBezTo>
                  <a:cubicBezTo>
                    <a:pt x="39482" y="9827"/>
                    <a:pt x="39418" y="9789"/>
                    <a:pt x="39350" y="9723"/>
                  </a:cubicBezTo>
                  <a:cubicBezTo>
                    <a:pt x="39276" y="9650"/>
                    <a:pt x="39232" y="9582"/>
                    <a:pt x="39219" y="9519"/>
                  </a:cubicBezTo>
                  <a:cubicBezTo>
                    <a:pt x="39206" y="9456"/>
                    <a:pt x="39223" y="9400"/>
                    <a:pt x="39270" y="9352"/>
                  </a:cubicBezTo>
                  <a:cubicBezTo>
                    <a:pt x="39361" y="9259"/>
                    <a:pt x="39478" y="9283"/>
                    <a:pt x="39622" y="9424"/>
                  </a:cubicBezTo>
                  <a:cubicBezTo>
                    <a:pt x="39693" y="9494"/>
                    <a:pt x="39735" y="9560"/>
                    <a:pt x="39747" y="9623"/>
                  </a:cubicBezTo>
                  <a:cubicBezTo>
                    <a:pt x="39759" y="9685"/>
                    <a:pt x="39742" y="9740"/>
                    <a:pt x="39696" y="9787"/>
                  </a:cubicBezTo>
                  <a:close/>
                  <a:moveTo>
                    <a:pt x="39321" y="9408"/>
                  </a:moveTo>
                  <a:cubicBezTo>
                    <a:pt x="39271" y="9459"/>
                    <a:pt x="39303" y="9540"/>
                    <a:pt x="39415" y="9650"/>
                  </a:cubicBezTo>
                  <a:cubicBezTo>
                    <a:pt x="39521" y="9753"/>
                    <a:pt x="39598" y="9779"/>
                    <a:pt x="39647" y="9729"/>
                  </a:cubicBezTo>
                  <a:cubicBezTo>
                    <a:pt x="39695" y="9680"/>
                    <a:pt x="39666" y="9603"/>
                    <a:pt x="39558" y="9498"/>
                  </a:cubicBezTo>
                  <a:cubicBezTo>
                    <a:pt x="39448" y="9390"/>
                    <a:pt x="39369" y="9360"/>
                    <a:pt x="39321" y="9408"/>
                  </a:cubicBezTo>
                  <a:close/>
                  <a:moveTo>
                    <a:pt x="39982" y="9510"/>
                  </a:moveTo>
                  <a:cubicBezTo>
                    <a:pt x="39905" y="9575"/>
                    <a:pt x="39905" y="9575"/>
                    <a:pt x="39905" y="9575"/>
                  </a:cubicBezTo>
                  <a:cubicBezTo>
                    <a:pt x="39524" y="9126"/>
                    <a:pt x="39524" y="9126"/>
                    <a:pt x="39524" y="9126"/>
                  </a:cubicBezTo>
                  <a:cubicBezTo>
                    <a:pt x="39601" y="9061"/>
                    <a:pt x="39601" y="9061"/>
                    <a:pt x="39601" y="9061"/>
                  </a:cubicBezTo>
                  <a:lnTo>
                    <a:pt x="39982" y="9510"/>
                  </a:lnTo>
                  <a:close/>
                  <a:moveTo>
                    <a:pt x="40169" y="9366"/>
                  </a:moveTo>
                  <a:cubicBezTo>
                    <a:pt x="40088" y="9426"/>
                    <a:pt x="40088" y="9426"/>
                    <a:pt x="40088" y="9426"/>
                  </a:cubicBezTo>
                  <a:cubicBezTo>
                    <a:pt x="39737" y="8953"/>
                    <a:pt x="39737" y="8953"/>
                    <a:pt x="39737" y="8953"/>
                  </a:cubicBezTo>
                  <a:cubicBezTo>
                    <a:pt x="39818" y="8893"/>
                    <a:pt x="39818" y="8893"/>
                    <a:pt x="39818" y="8893"/>
                  </a:cubicBezTo>
                  <a:lnTo>
                    <a:pt x="40169" y="9366"/>
                  </a:lnTo>
                  <a:close/>
                  <a:moveTo>
                    <a:pt x="40412" y="9217"/>
                  </a:moveTo>
                  <a:cubicBezTo>
                    <a:pt x="40359" y="9249"/>
                    <a:pt x="40305" y="9252"/>
                    <a:pt x="40250" y="9227"/>
                  </a:cubicBezTo>
                  <a:cubicBezTo>
                    <a:pt x="40195" y="9202"/>
                    <a:pt x="40143" y="9149"/>
                    <a:pt x="40094" y="9068"/>
                  </a:cubicBezTo>
                  <a:cubicBezTo>
                    <a:pt x="40040" y="8979"/>
                    <a:pt x="40015" y="8902"/>
                    <a:pt x="40018" y="8838"/>
                  </a:cubicBezTo>
                  <a:cubicBezTo>
                    <a:pt x="40021" y="8774"/>
                    <a:pt x="40051" y="8724"/>
                    <a:pt x="40109" y="8689"/>
                  </a:cubicBezTo>
                  <a:cubicBezTo>
                    <a:pt x="40220" y="8622"/>
                    <a:pt x="40327" y="8675"/>
                    <a:pt x="40431" y="8847"/>
                  </a:cubicBezTo>
                  <a:cubicBezTo>
                    <a:pt x="40483" y="8932"/>
                    <a:pt x="40507" y="9007"/>
                    <a:pt x="40502" y="9071"/>
                  </a:cubicBezTo>
                  <a:cubicBezTo>
                    <a:pt x="40498" y="9134"/>
                    <a:pt x="40468" y="9183"/>
                    <a:pt x="40412" y="9217"/>
                  </a:cubicBezTo>
                  <a:close/>
                  <a:moveTo>
                    <a:pt x="40145" y="8757"/>
                  </a:moveTo>
                  <a:cubicBezTo>
                    <a:pt x="40083" y="8794"/>
                    <a:pt x="40094" y="8879"/>
                    <a:pt x="40175" y="9014"/>
                  </a:cubicBezTo>
                  <a:cubicBezTo>
                    <a:pt x="40251" y="9140"/>
                    <a:pt x="40319" y="9185"/>
                    <a:pt x="40379" y="9149"/>
                  </a:cubicBezTo>
                  <a:cubicBezTo>
                    <a:pt x="40438" y="9113"/>
                    <a:pt x="40429" y="9031"/>
                    <a:pt x="40352" y="8903"/>
                  </a:cubicBezTo>
                  <a:cubicBezTo>
                    <a:pt x="40271" y="8770"/>
                    <a:pt x="40202" y="8722"/>
                    <a:pt x="40145" y="8757"/>
                  </a:cubicBezTo>
                  <a:close/>
                  <a:moveTo>
                    <a:pt x="40808" y="9010"/>
                  </a:moveTo>
                  <a:cubicBezTo>
                    <a:pt x="40752" y="9034"/>
                    <a:pt x="40698" y="9031"/>
                    <a:pt x="40646" y="8999"/>
                  </a:cubicBezTo>
                  <a:cubicBezTo>
                    <a:pt x="40595" y="8967"/>
                    <a:pt x="40549" y="8908"/>
                    <a:pt x="40511" y="8822"/>
                  </a:cubicBezTo>
                  <a:cubicBezTo>
                    <a:pt x="40469" y="8727"/>
                    <a:pt x="40453" y="8648"/>
                    <a:pt x="40464" y="8584"/>
                  </a:cubicBezTo>
                  <a:cubicBezTo>
                    <a:pt x="40475" y="8521"/>
                    <a:pt x="40511" y="8475"/>
                    <a:pt x="40573" y="8448"/>
                  </a:cubicBezTo>
                  <a:cubicBezTo>
                    <a:pt x="40692" y="8395"/>
                    <a:pt x="40792" y="8461"/>
                    <a:pt x="40873" y="8645"/>
                  </a:cubicBezTo>
                  <a:cubicBezTo>
                    <a:pt x="40914" y="8736"/>
                    <a:pt x="40928" y="8813"/>
                    <a:pt x="40916" y="8875"/>
                  </a:cubicBezTo>
                  <a:cubicBezTo>
                    <a:pt x="40904" y="8938"/>
                    <a:pt x="40868" y="8983"/>
                    <a:pt x="40808" y="9010"/>
                  </a:cubicBezTo>
                  <a:close/>
                  <a:moveTo>
                    <a:pt x="40600" y="8519"/>
                  </a:moveTo>
                  <a:cubicBezTo>
                    <a:pt x="40535" y="8548"/>
                    <a:pt x="40534" y="8635"/>
                    <a:pt x="40598" y="8778"/>
                  </a:cubicBezTo>
                  <a:cubicBezTo>
                    <a:pt x="40658" y="8913"/>
                    <a:pt x="40720" y="8966"/>
                    <a:pt x="40784" y="8938"/>
                  </a:cubicBezTo>
                  <a:cubicBezTo>
                    <a:pt x="40847" y="8909"/>
                    <a:pt x="40848" y="8827"/>
                    <a:pt x="40787" y="8690"/>
                  </a:cubicBezTo>
                  <a:cubicBezTo>
                    <a:pt x="40724" y="8549"/>
                    <a:pt x="40662" y="8492"/>
                    <a:pt x="40600" y="8519"/>
                  </a:cubicBezTo>
                  <a:close/>
                  <a:moveTo>
                    <a:pt x="41176" y="8858"/>
                  </a:moveTo>
                  <a:cubicBezTo>
                    <a:pt x="41081" y="8890"/>
                    <a:pt x="41081" y="8890"/>
                    <a:pt x="41081" y="8890"/>
                  </a:cubicBezTo>
                  <a:cubicBezTo>
                    <a:pt x="40894" y="8332"/>
                    <a:pt x="40894" y="8332"/>
                    <a:pt x="40894" y="8332"/>
                  </a:cubicBezTo>
                  <a:cubicBezTo>
                    <a:pt x="40989" y="8300"/>
                    <a:pt x="40989" y="8300"/>
                    <a:pt x="40989" y="8300"/>
                  </a:cubicBezTo>
                  <a:lnTo>
                    <a:pt x="41176" y="8858"/>
                  </a:lnTo>
                  <a:close/>
                  <a:moveTo>
                    <a:pt x="41454" y="8792"/>
                  </a:moveTo>
                  <a:cubicBezTo>
                    <a:pt x="41394" y="8806"/>
                    <a:pt x="41342" y="8792"/>
                    <a:pt x="41297" y="8751"/>
                  </a:cubicBezTo>
                  <a:cubicBezTo>
                    <a:pt x="41252" y="8710"/>
                    <a:pt x="41219" y="8643"/>
                    <a:pt x="41198" y="8551"/>
                  </a:cubicBezTo>
                  <a:cubicBezTo>
                    <a:pt x="41174" y="8450"/>
                    <a:pt x="41174" y="8369"/>
                    <a:pt x="41197" y="8309"/>
                  </a:cubicBezTo>
                  <a:cubicBezTo>
                    <a:pt x="41220" y="8249"/>
                    <a:pt x="41264" y="8211"/>
                    <a:pt x="41330" y="8196"/>
                  </a:cubicBezTo>
                  <a:cubicBezTo>
                    <a:pt x="41456" y="8167"/>
                    <a:pt x="41542" y="8250"/>
                    <a:pt x="41587" y="8446"/>
                  </a:cubicBezTo>
                  <a:cubicBezTo>
                    <a:pt x="41610" y="8543"/>
                    <a:pt x="41609" y="8621"/>
                    <a:pt x="41585" y="8680"/>
                  </a:cubicBezTo>
                  <a:cubicBezTo>
                    <a:pt x="41562" y="8740"/>
                    <a:pt x="41518" y="8777"/>
                    <a:pt x="41454" y="8792"/>
                  </a:cubicBezTo>
                  <a:close/>
                  <a:moveTo>
                    <a:pt x="41343" y="8271"/>
                  </a:moveTo>
                  <a:cubicBezTo>
                    <a:pt x="41273" y="8287"/>
                    <a:pt x="41256" y="8372"/>
                    <a:pt x="41292" y="8525"/>
                  </a:cubicBezTo>
                  <a:cubicBezTo>
                    <a:pt x="41325" y="8669"/>
                    <a:pt x="41376" y="8732"/>
                    <a:pt x="41444" y="8716"/>
                  </a:cubicBezTo>
                  <a:cubicBezTo>
                    <a:pt x="41511" y="8701"/>
                    <a:pt x="41528" y="8620"/>
                    <a:pt x="41494" y="8474"/>
                  </a:cubicBezTo>
                  <a:cubicBezTo>
                    <a:pt x="41459" y="8323"/>
                    <a:pt x="41408" y="8256"/>
                    <a:pt x="41343" y="8271"/>
                  </a:cubicBezTo>
                  <a:close/>
                  <a:moveTo>
                    <a:pt x="41844" y="8713"/>
                  </a:moveTo>
                  <a:cubicBezTo>
                    <a:pt x="41745" y="8726"/>
                    <a:pt x="41745" y="8726"/>
                    <a:pt x="41745" y="8726"/>
                  </a:cubicBezTo>
                  <a:cubicBezTo>
                    <a:pt x="41667" y="8142"/>
                    <a:pt x="41667" y="8142"/>
                    <a:pt x="41667" y="8142"/>
                  </a:cubicBezTo>
                  <a:cubicBezTo>
                    <a:pt x="41766" y="8129"/>
                    <a:pt x="41766" y="8129"/>
                    <a:pt x="41766" y="8129"/>
                  </a:cubicBezTo>
                  <a:lnTo>
                    <a:pt x="41844" y="8713"/>
                  </a:lnTo>
                  <a:close/>
                  <a:moveTo>
                    <a:pt x="42079" y="8692"/>
                  </a:moveTo>
                  <a:cubicBezTo>
                    <a:pt x="41979" y="8699"/>
                    <a:pt x="41979" y="8699"/>
                    <a:pt x="41979" y="8699"/>
                  </a:cubicBezTo>
                  <a:cubicBezTo>
                    <a:pt x="41939" y="8112"/>
                    <a:pt x="41939" y="8112"/>
                    <a:pt x="41939" y="8112"/>
                  </a:cubicBezTo>
                  <a:cubicBezTo>
                    <a:pt x="42039" y="8105"/>
                    <a:pt x="42039" y="8105"/>
                    <a:pt x="42039" y="8105"/>
                  </a:cubicBezTo>
                  <a:lnTo>
                    <a:pt x="42079" y="8692"/>
                  </a:lnTo>
                  <a:close/>
                  <a:moveTo>
                    <a:pt x="42315" y="8687"/>
                  </a:moveTo>
                  <a:cubicBezTo>
                    <a:pt x="42215" y="8688"/>
                    <a:pt x="42215" y="8688"/>
                    <a:pt x="42215" y="8688"/>
                  </a:cubicBezTo>
                  <a:cubicBezTo>
                    <a:pt x="42209" y="8099"/>
                    <a:pt x="42209" y="8099"/>
                    <a:pt x="42209" y="8099"/>
                  </a:cubicBezTo>
                  <a:cubicBezTo>
                    <a:pt x="42309" y="8098"/>
                    <a:pt x="42309" y="8098"/>
                    <a:pt x="42309" y="8098"/>
                  </a:cubicBezTo>
                  <a:lnTo>
                    <a:pt x="42315" y="8687"/>
                  </a:lnTo>
                  <a:close/>
                  <a:moveTo>
                    <a:pt x="42600" y="8711"/>
                  </a:moveTo>
                  <a:cubicBezTo>
                    <a:pt x="42539" y="8706"/>
                    <a:pt x="42493" y="8677"/>
                    <a:pt x="42464" y="8624"/>
                  </a:cubicBezTo>
                  <a:cubicBezTo>
                    <a:pt x="42434" y="8571"/>
                    <a:pt x="42423" y="8497"/>
                    <a:pt x="42432" y="8403"/>
                  </a:cubicBezTo>
                  <a:cubicBezTo>
                    <a:pt x="42441" y="8299"/>
                    <a:pt x="42466" y="8222"/>
                    <a:pt x="42507" y="8172"/>
                  </a:cubicBezTo>
                  <a:cubicBezTo>
                    <a:pt x="42547" y="8122"/>
                    <a:pt x="42601" y="8100"/>
                    <a:pt x="42668" y="8107"/>
                  </a:cubicBezTo>
                  <a:cubicBezTo>
                    <a:pt x="42797" y="8118"/>
                    <a:pt x="42853" y="8224"/>
                    <a:pt x="42835" y="8425"/>
                  </a:cubicBezTo>
                  <a:cubicBezTo>
                    <a:pt x="42826" y="8524"/>
                    <a:pt x="42801" y="8598"/>
                    <a:pt x="42759" y="8647"/>
                  </a:cubicBezTo>
                  <a:cubicBezTo>
                    <a:pt x="42718" y="8696"/>
                    <a:pt x="42665" y="8717"/>
                    <a:pt x="42600" y="8711"/>
                  </a:cubicBezTo>
                  <a:close/>
                  <a:moveTo>
                    <a:pt x="42657" y="8182"/>
                  </a:moveTo>
                  <a:cubicBezTo>
                    <a:pt x="42586" y="8175"/>
                    <a:pt x="42543" y="8251"/>
                    <a:pt x="42529" y="8407"/>
                  </a:cubicBezTo>
                  <a:cubicBezTo>
                    <a:pt x="42516" y="8554"/>
                    <a:pt x="42544" y="8630"/>
                    <a:pt x="42614" y="8637"/>
                  </a:cubicBezTo>
                  <a:cubicBezTo>
                    <a:pt x="42683" y="8643"/>
                    <a:pt x="42724" y="8571"/>
                    <a:pt x="42737" y="8422"/>
                  </a:cubicBezTo>
                  <a:cubicBezTo>
                    <a:pt x="42751" y="8268"/>
                    <a:pt x="42724" y="8188"/>
                    <a:pt x="42657" y="8182"/>
                  </a:cubicBezTo>
                  <a:close/>
                  <a:moveTo>
                    <a:pt x="42996" y="8758"/>
                  </a:moveTo>
                  <a:cubicBezTo>
                    <a:pt x="42897" y="8740"/>
                    <a:pt x="42897" y="8740"/>
                    <a:pt x="42897" y="8740"/>
                  </a:cubicBezTo>
                  <a:cubicBezTo>
                    <a:pt x="43005" y="8161"/>
                    <a:pt x="43005" y="8161"/>
                    <a:pt x="43005" y="8161"/>
                  </a:cubicBezTo>
                  <a:cubicBezTo>
                    <a:pt x="43104" y="8179"/>
                    <a:pt x="43104" y="8179"/>
                    <a:pt x="43104" y="8179"/>
                  </a:cubicBezTo>
                  <a:lnTo>
                    <a:pt x="42996" y="8758"/>
                  </a:lnTo>
                  <a:close/>
                  <a:moveTo>
                    <a:pt x="43225" y="8812"/>
                  </a:moveTo>
                  <a:cubicBezTo>
                    <a:pt x="43127" y="8787"/>
                    <a:pt x="43127" y="8787"/>
                    <a:pt x="43127" y="8787"/>
                  </a:cubicBezTo>
                  <a:cubicBezTo>
                    <a:pt x="43273" y="8217"/>
                    <a:pt x="43273" y="8217"/>
                    <a:pt x="43273" y="8217"/>
                  </a:cubicBezTo>
                  <a:cubicBezTo>
                    <a:pt x="43370" y="8242"/>
                    <a:pt x="43370" y="8242"/>
                    <a:pt x="43370" y="8242"/>
                  </a:cubicBezTo>
                  <a:lnTo>
                    <a:pt x="43225" y="8812"/>
                  </a:lnTo>
                  <a:close/>
                  <a:moveTo>
                    <a:pt x="43494" y="8908"/>
                  </a:moveTo>
                  <a:cubicBezTo>
                    <a:pt x="43436" y="8887"/>
                    <a:pt x="43400" y="8847"/>
                    <a:pt x="43384" y="8788"/>
                  </a:cubicBezTo>
                  <a:cubicBezTo>
                    <a:pt x="43369" y="8729"/>
                    <a:pt x="43377" y="8655"/>
                    <a:pt x="43410" y="8566"/>
                  </a:cubicBezTo>
                  <a:cubicBezTo>
                    <a:pt x="43445" y="8469"/>
                    <a:pt x="43488" y="8401"/>
                    <a:pt x="43540" y="8362"/>
                  </a:cubicBezTo>
                  <a:cubicBezTo>
                    <a:pt x="43592" y="8324"/>
                    <a:pt x="43650" y="8317"/>
                    <a:pt x="43713" y="8340"/>
                  </a:cubicBezTo>
                  <a:cubicBezTo>
                    <a:pt x="43835" y="8384"/>
                    <a:pt x="43862" y="8500"/>
                    <a:pt x="43794" y="8690"/>
                  </a:cubicBezTo>
                  <a:cubicBezTo>
                    <a:pt x="43760" y="8783"/>
                    <a:pt x="43717" y="8849"/>
                    <a:pt x="43665" y="8886"/>
                  </a:cubicBezTo>
                  <a:cubicBezTo>
                    <a:pt x="43613" y="8922"/>
                    <a:pt x="43556" y="8930"/>
                    <a:pt x="43494" y="8908"/>
                  </a:cubicBezTo>
                  <a:close/>
                  <a:moveTo>
                    <a:pt x="43683" y="8410"/>
                  </a:moveTo>
                  <a:cubicBezTo>
                    <a:pt x="43616" y="8386"/>
                    <a:pt x="43556" y="8447"/>
                    <a:pt x="43502" y="8596"/>
                  </a:cubicBezTo>
                  <a:cubicBezTo>
                    <a:pt x="43453" y="8734"/>
                    <a:pt x="43461" y="8815"/>
                    <a:pt x="43526" y="8839"/>
                  </a:cubicBezTo>
                  <a:cubicBezTo>
                    <a:pt x="43591" y="8862"/>
                    <a:pt x="43649" y="8804"/>
                    <a:pt x="43700" y="8663"/>
                  </a:cubicBezTo>
                  <a:cubicBezTo>
                    <a:pt x="43753" y="8517"/>
                    <a:pt x="43747" y="8433"/>
                    <a:pt x="43683" y="8410"/>
                  </a:cubicBezTo>
                  <a:close/>
                  <a:moveTo>
                    <a:pt x="43865" y="9053"/>
                  </a:moveTo>
                  <a:cubicBezTo>
                    <a:pt x="43774" y="9010"/>
                    <a:pt x="43774" y="9010"/>
                    <a:pt x="43774" y="9010"/>
                  </a:cubicBezTo>
                  <a:cubicBezTo>
                    <a:pt x="44025" y="8478"/>
                    <a:pt x="44025" y="8478"/>
                    <a:pt x="44025" y="8478"/>
                  </a:cubicBezTo>
                  <a:cubicBezTo>
                    <a:pt x="44116" y="8521"/>
                    <a:pt x="44116" y="8521"/>
                    <a:pt x="44116" y="8521"/>
                  </a:cubicBezTo>
                  <a:lnTo>
                    <a:pt x="43865" y="9053"/>
                  </a:lnTo>
                  <a:close/>
                  <a:moveTo>
                    <a:pt x="44073" y="9164"/>
                  </a:moveTo>
                  <a:cubicBezTo>
                    <a:pt x="43985" y="9115"/>
                    <a:pt x="43985" y="9115"/>
                    <a:pt x="43985" y="9115"/>
                  </a:cubicBezTo>
                  <a:cubicBezTo>
                    <a:pt x="44270" y="8600"/>
                    <a:pt x="44270" y="8600"/>
                    <a:pt x="44270" y="8600"/>
                  </a:cubicBezTo>
                  <a:cubicBezTo>
                    <a:pt x="44358" y="8649"/>
                    <a:pt x="44358" y="8649"/>
                    <a:pt x="44358" y="8649"/>
                  </a:cubicBezTo>
                  <a:lnTo>
                    <a:pt x="44073" y="9164"/>
                  </a:lnTo>
                  <a:close/>
                  <a:moveTo>
                    <a:pt x="44309" y="9324"/>
                  </a:moveTo>
                  <a:cubicBezTo>
                    <a:pt x="44258" y="9289"/>
                    <a:pt x="44233" y="9241"/>
                    <a:pt x="44233" y="9181"/>
                  </a:cubicBezTo>
                  <a:cubicBezTo>
                    <a:pt x="44233" y="9120"/>
                    <a:pt x="44260" y="9051"/>
                    <a:pt x="44314" y="8972"/>
                  </a:cubicBezTo>
                  <a:cubicBezTo>
                    <a:pt x="44373" y="8887"/>
                    <a:pt x="44432" y="8832"/>
                    <a:pt x="44492" y="8808"/>
                  </a:cubicBezTo>
                  <a:cubicBezTo>
                    <a:pt x="44551" y="8785"/>
                    <a:pt x="44609" y="8792"/>
                    <a:pt x="44665" y="8830"/>
                  </a:cubicBezTo>
                  <a:cubicBezTo>
                    <a:pt x="44772" y="8903"/>
                    <a:pt x="44768" y="9023"/>
                    <a:pt x="44654" y="9189"/>
                  </a:cubicBezTo>
                  <a:cubicBezTo>
                    <a:pt x="44598" y="9271"/>
                    <a:pt x="44540" y="9323"/>
                    <a:pt x="44480" y="9346"/>
                  </a:cubicBezTo>
                  <a:cubicBezTo>
                    <a:pt x="44420" y="9368"/>
                    <a:pt x="44363" y="9361"/>
                    <a:pt x="44309" y="9324"/>
                  </a:cubicBezTo>
                  <a:close/>
                  <a:moveTo>
                    <a:pt x="44618" y="8890"/>
                  </a:moveTo>
                  <a:cubicBezTo>
                    <a:pt x="44559" y="8850"/>
                    <a:pt x="44485" y="8894"/>
                    <a:pt x="44396" y="9024"/>
                  </a:cubicBezTo>
                  <a:cubicBezTo>
                    <a:pt x="44313" y="9146"/>
                    <a:pt x="44300" y="9226"/>
                    <a:pt x="44358" y="9266"/>
                  </a:cubicBezTo>
                  <a:cubicBezTo>
                    <a:pt x="44415" y="9305"/>
                    <a:pt x="44486" y="9263"/>
                    <a:pt x="44570" y="9139"/>
                  </a:cubicBezTo>
                  <a:cubicBezTo>
                    <a:pt x="44658" y="9011"/>
                    <a:pt x="44674" y="8928"/>
                    <a:pt x="44618" y="8890"/>
                  </a:cubicBezTo>
                  <a:close/>
                  <a:moveTo>
                    <a:pt x="44662" y="9599"/>
                  </a:moveTo>
                  <a:cubicBezTo>
                    <a:pt x="44616" y="9558"/>
                    <a:pt x="44597" y="9507"/>
                    <a:pt x="44604" y="9447"/>
                  </a:cubicBezTo>
                  <a:cubicBezTo>
                    <a:pt x="44612" y="9387"/>
                    <a:pt x="44647" y="9321"/>
                    <a:pt x="44710" y="9250"/>
                  </a:cubicBezTo>
                  <a:cubicBezTo>
                    <a:pt x="44779" y="9173"/>
                    <a:pt x="44844" y="9126"/>
                    <a:pt x="44907" y="9109"/>
                  </a:cubicBezTo>
                  <a:cubicBezTo>
                    <a:pt x="44969" y="9093"/>
                    <a:pt x="45025" y="9108"/>
                    <a:pt x="45076" y="9152"/>
                  </a:cubicBezTo>
                  <a:cubicBezTo>
                    <a:pt x="45173" y="9238"/>
                    <a:pt x="45154" y="9356"/>
                    <a:pt x="45021" y="9507"/>
                  </a:cubicBezTo>
                  <a:cubicBezTo>
                    <a:pt x="44955" y="9582"/>
                    <a:pt x="44891" y="9626"/>
                    <a:pt x="44829" y="9641"/>
                  </a:cubicBezTo>
                  <a:cubicBezTo>
                    <a:pt x="44767" y="9656"/>
                    <a:pt x="44711" y="9642"/>
                    <a:pt x="44662" y="9599"/>
                  </a:cubicBezTo>
                  <a:close/>
                  <a:moveTo>
                    <a:pt x="45022" y="9206"/>
                  </a:moveTo>
                  <a:cubicBezTo>
                    <a:pt x="44969" y="9159"/>
                    <a:pt x="44890" y="9194"/>
                    <a:pt x="44785" y="9312"/>
                  </a:cubicBezTo>
                  <a:cubicBezTo>
                    <a:pt x="44688" y="9422"/>
                    <a:pt x="44665" y="9500"/>
                    <a:pt x="44717" y="9547"/>
                  </a:cubicBezTo>
                  <a:cubicBezTo>
                    <a:pt x="44769" y="9593"/>
                    <a:pt x="44844" y="9559"/>
                    <a:pt x="44944" y="9447"/>
                  </a:cubicBezTo>
                  <a:cubicBezTo>
                    <a:pt x="45047" y="9331"/>
                    <a:pt x="45073" y="9251"/>
                    <a:pt x="45022" y="9206"/>
                  </a:cubicBezTo>
                  <a:close/>
                  <a:moveTo>
                    <a:pt x="44953" y="9871"/>
                  </a:moveTo>
                  <a:cubicBezTo>
                    <a:pt x="44884" y="9798"/>
                    <a:pt x="44884" y="9798"/>
                    <a:pt x="44884" y="9798"/>
                  </a:cubicBezTo>
                  <a:cubicBezTo>
                    <a:pt x="45314" y="9396"/>
                    <a:pt x="45314" y="9396"/>
                    <a:pt x="45314" y="9396"/>
                  </a:cubicBezTo>
                  <a:cubicBezTo>
                    <a:pt x="45383" y="9469"/>
                    <a:pt x="45383" y="9469"/>
                    <a:pt x="45383" y="9469"/>
                  </a:cubicBezTo>
                  <a:lnTo>
                    <a:pt x="44953" y="9871"/>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62" name="Freeform 7"/>
            <p:cNvSpPr>
              <a:spLocks noEditPoints="1"/>
            </p:cNvSpPr>
            <p:nvPr/>
          </p:nvSpPr>
          <p:spPr bwMode="auto">
            <a:xfrm>
              <a:off x="-49688" y="4914"/>
              <a:ext cx="107212" cy="26289"/>
            </a:xfrm>
            <a:custGeom>
              <a:avLst/>
              <a:gdLst>
                <a:gd name="T0" fmla="*/ 297 w 45383"/>
                <a:gd name="T1" fmla="*/ 10564 h 11128"/>
                <a:gd name="T2" fmla="*/ 10 w 45383"/>
                <a:gd name="T3" fmla="*/ 9341 h 11128"/>
                <a:gd name="T4" fmla="*/ 300 w 45383"/>
                <a:gd name="T5" fmla="*/ 8440 h 11128"/>
                <a:gd name="T6" fmla="*/ 599 w 45383"/>
                <a:gd name="T7" fmla="*/ 7182 h 11128"/>
                <a:gd name="T8" fmla="*/ 307 w 45383"/>
                <a:gd name="T9" fmla="*/ 5962 h 11128"/>
                <a:gd name="T10" fmla="*/ 609 w 45383"/>
                <a:gd name="T11" fmla="*/ 5199 h 11128"/>
                <a:gd name="T12" fmla="*/ 300 w 45383"/>
                <a:gd name="T13" fmla="*/ 4390 h 11128"/>
                <a:gd name="T14" fmla="*/ 307 w 45383"/>
                <a:gd name="T15" fmla="*/ 3114 h 11128"/>
                <a:gd name="T16" fmla="*/ 10 w 45383"/>
                <a:gd name="T17" fmla="*/ 2520 h 11128"/>
                <a:gd name="T18" fmla="*/ 348 w 45383"/>
                <a:gd name="T19" fmla="*/ 1531 h 11128"/>
                <a:gd name="T20" fmla="*/ 1144 w 45383"/>
                <a:gd name="T21" fmla="*/ 499 h 11128"/>
                <a:gd name="T22" fmla="*/ 1769 w 45383"/>
                <a:gd name="T23" fmla="*/ 81 h 11128"/>
                <a:gd name="T24" fmla="*/ 2791 w 45383"/>
                <a:gd name="T25" fmla="*/ 599 h 11128"/>
                <a:gd name="T26" fmla="*/ 4011 w 45383"/>
                <a:gd name="T27" fmla="*/ 307 h 11128"/>
                <a:gd name="T28" fmla="*/ 4668 w 45383"/>
                <a:gd name="T29" fmla="*/ 79 h 11128"/>
                <a:gd name="T30" fmla="*/ 5575 w 45383"/>
                <a:gd name="T31" fmla="*/ 641 h 11128"/>
                <a:gd name="T32" fmla="*/ 6070 w 45383"/>
                <a:gd name="T33" fmla="*/ 1134 h 11128"/>
                <a:gd name="T34" fmla="*/ 6842 w 45383"/>
                <a:gd name="T35" fmla="*/ 1603 h 11128"/>
                <a:gd name="T36" fmla="*/ 7997 w 45383"/>
                <a:gd name="T37" fmla="*/ 2075 h 11128"/>
                <a:gd name="T38" fmla="*/ 8671 w 45383"/>
                <a:gd name="T39" fmla="*/ 2621 h 11128"/>
                <a:gd name="T40" fmla="*/ 9501 w 45383"/>
                <a:gd name="T41" fmla="*/ 2729 h 11128"/>
                <a:gd name="T42" fmla="*/ 10739 w 45383"/>
                <a:gd name="T43" fmla="*/ 2798 h 11128"/>
                <a:gd name="T44" fmla="*/ 11693 w 45383"/>
                <a:gd name="T45" fmla="*/ 2463 h 11128"/>
                <a:gd name="T46" fmla="*/ 12218 w 45383"/>
                <a:gd name="T47" fmla="*/ 1404 h 11128"/>
                <a:gd name="T48" fmla="*/ 12747 w 45383"/>
                <a:gd name="T49" fmla="*/ 582 h 11128"/>
                <a:gd name="T50" fmla="*/ 13747 w 45383"/>
                <a:gd name="T51" fmla="*/ 293 h 11128"/>
                <a:gd name="T52" fmla="*/ 14557 w 45383"/>
                <a:gd name="T53" fmla="*/ 297 h 11128"/>
                <a:gd name="T54" fmla="*/ 15780 w 45383"/>
                <a:gd name="T55" fmla="*/ 10 h 11128"/>
                <a:gd name="T56" fmla="*/ 16646 w 45383"/>
                <a:gd name="T57" fmla="*/ 361 h 11128"/>
                <a:gd name="T58" fmla="*/ 17225 w 45383"/>
                <a:gd name="T59" fmla="*/ 975 h 11128"/>
                <a:gd name="T60" fmla="*/ 18321 w 45383"/>
                <a:gd name="T61" fmla="*/ 1712 h 11128"/>
                <a:gd name="T62" fmla="*/ 19230 w 45383"/>
                <a:gd name="T63" fmla="*/ 2294 h 11128"/>
                <a:gd name="T64" fmla="*/ 20072 w 45383"/>
                <a:gd name="T65" fmla="*/ 2711 h 11128"/>
                <a:gd name="T66" fmla="*/ 21070 w 45383"/>
                <a:gd name="T67" fmla="*/ 2989 h 11128"/>
                <a:gd name="T68" fmla="*/ 22270 w 45383"/>
                <a:gd name="T69" fmla="*/ 2642 h 11128"/>
                <a:gd name="T70" fmla="*/ 23083 w 45383"/>
                <a:gd name="T71" fmla="*/ 2128 h 11128"/>
                <a:gd name="T72" fmla="*/ 23769 w 45383"/>
                <a:gd name="T73" fmla="*/ 1446 h 11128"/>
                <a:gd name="T74" fmla="*/ 24445 w 45383"/>
                <a:gd name="T75" fmla="*/ 671 h 11128"/>
                <a:gd name="T76" fmla="*/ 25206 w 45383"/>
                <a:gd name="T77" fmla="*/ 599 h 11128"/>
                <a:gd name="T78" fmla="*/ 26425 w 45383"/>
                <a:gd name="T79" fmla="*/ 307 h 11128"/>
                <a:gd name="T80" fmla="*/ 27083 w 45383"/>
                <a:gd name="T81" fmla="*/ 79 h 11128"/>
                <a:gd name="T82" fmla="*/ 27743 w 45383"/>
                <a:gd name="T83" fmla="*/ 932 h 11128"/>
                <a:gd name="T84" fmla="*/ 28762 w 45383"/>
                <a:gd name="T85" fmla="*/ 1739 h 11128"/>
                <a:gd name="T86" fmla="*/ 29439 w 45383"/>
                <a:gd name="T87" fmla="*/ 1961 h 11128"/>
                <a:gd name="T88" fmla="*/ 30177 w 45383"/>
                <a:gd name="T89" fmla="*/ 2544 h 11128"/>
                <a:gd name="T90" fmla="*/ 31102 w 45383"/>
                <a:gd name="T91" fmla="*/ 2719 h 11128"/>
                <a:gd name="T92" fmla="*/ 31936 w 45383"/>
                <a:gd name="T93" fmla="*/ 2689 h 11128"/>
                <a:gd name="T94" fmla="*/ 33010 w 45383"/>
                <a:gd name="T95" fmla="*/ 2054 h 11128"/>
                <a:gd name="T96" fmla="*/ 33852 w 45383"/>
                <a:gd name="T97" fmla="*/ 1845 h 11128"/>
                <a:gd name="T98" fmla="*/ 34305 w 45383"/>
                <a:gd name="T99" fmla="*/ 949 h 11128"/>
                <a:gd name="T100" fmla="*/ 35234 w 45383"/>
                <a:gd name="T101" fmla="*/ 377 h 11128"/>
                <a:gd name="T102" fmla="*/ 36540 w 45383"/>
                <a:gd name="T103" fmla="*/ 307 h 11128"/>
                <a:gd name="T104" fmla="*/ 37135 w 45383"/>
                <a:gd name="T105" fmla="*/ 10 h 11128"/>
                <a:gd name="T106" fmla="*/ 38240 w 45383"/>
                <a:gd name="T107" fmla="*/ 28 h 11128"/>
                <a:gd name="T108" fmla="*/ 38917 w 45383"/>
                <a:gd name="T109" fmla="*/ 808 h 11128"/>
                <a:gd name="T110" fmla="*/ 39415 w 45383"/>
                <a:gd name="T111" fmla="*/ 1478 h 11128"/>
                <a:gd name="T112" fmla="*/ 40145 w 45383"/>
                <a:gd name="T113" fmla="*/ 2372 h 11128"/>
                <a:gd name="T114" fmla="*/ 41198 w 45383"/>
                <a:gd name="T115" fmla="*/ 2577 h 11128"/>
                <a:gd name="T116" fmla="*/ 42759 w 45383"/>
                <a:gd name="T117" fmla="*/ 2481 h 11128"/>
                <a:gd name="T118" fmla="*/ 43794 w 45383"/>
                <a:gd name="T119" fmla="*/ 2439 h 11128"/>
                <a:gd name="T120" fmla="*/ 44665 w 45383"/>
                <a:gd name="T121" fmla="*/ 2298 h 11128"/>
                <a:gd name="T122" fmla="*/ 45383 w 45383"/>
                <a:gd name="T123" fmla="*/ 1659 h 1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5383" h="11128">
                  <a:moveTo>
                    <a:pt x="79" y="10779"/>
                  </a:moveTo>
                  <a:cubicBezTo>
                    <a:pt x="131" y="10743"/>
                    <a:pt x="207" y="10725"/>
                    <a:pt x="307" y="10725"/>
                  </a:cubicBezTo>
                  <a:cubicBezTo>
                    <a:pt x="508" y="10725"/>
                    <a:pt x="609" y="10789"/>
                    <a:pt x="609" y="10919"/>
                  </a:cubicBezTo>
                  <a:cubicBezTo>
                    <a:pt x="609" y="10986"/>
                    <a:pt x="582" y="11038"/>
                    <a:pt x="529" y="11074"/>
                  </a:cubicBezTo>
                  <a:cubicBezTo>
                    <a:pt x="475" y="11110"/>
                    <a:pt x="397" y="11128"/>
                    <a:pt x="293" y="11128"/>
                  </a:cubicBezTo>
                  <a:cubicBezTo>
                    <a:pt x="198" y="11128"/>
                    <a:pt x="126" y="11111"/>
                    <a:pt x="75" y="11076"/>
                  </a:cubicBezTo>
                  <a:cubicBezTo>
                    <a:pt x="25" y="11042"/>
                    <a:pt x="0" y="10994"/>
                    <a:pt x="0" y="10933"/>
                  </a:cubicBezTo>
                  <a:cubicBezTo>
                    <a:pt x="0" y="10867"/>
                    <a:pt x="27" y="10816"/>
                    <a:pt x="79" y="10779"/>
                  </a:cubicBezTo>
                  <a:close/>
                  <a:moveTo>
                    <a:pt x="300" y="10822"/>
                  </a:moveTo>
                  <a:cubicBezTo>
                    <a:pt x="151" y="10822"/>
                    <a:pt x="76" y="10856"/>
                    <a:pt x="76" y="10925"/>
                  </a:cubicBezTo>
                  <a:cubicBezTo>
                    <a:pt x="76" y="10996"/>
                    <a:pt x="150" y="11031"/>
                    <a:pt x="297" y="11031"/>
                  </a:cubicBezTo>
                  <a:cubicBezTo>
                    <a:pt x="454" y="11031"/>
                    <a:pt x="533" y="10995"/>
                    <a:pt x="533" y="10923"/>
                  </a:cubicBezTo>
                  <a:cubicBezTo>
                    <a:pt x="533" y="10856"/>
                    <a:pt x="455" y="10822"/>
                    <a:pt x="300" y="10822"/>
                  </a:cubicBezTo>
                  <a:close/>
                  <a:moveTo>
                    <a:pt x="79" y="10313"/>
                  </a:moveTo>
                  <a:cubicBezTo>
                    <a:pt x="131" y="10276"/>
                    <a:pt x="207" y="10258"/>
                    <a:pt x="307" y="10258"/>
                  </a:cubicBezTo>
                  <a:cubicBezTo>
                    <a:pt x="508" y="10258"/>
                    <a:pt x="609" y="10322"/>
                    <a:pt x="609" y="10452"/>
                  </a:cubicBezTo>
                  <a:cubicBezTo>
                    <a:pt x="609" y="10520"/>
                    <a:pt x="582" y="10571"/>
                    <a:pt x="529" y="10607"/>
                  </a:cubicBezTo>
                  <a:cubicBezTo>
                    <a:pt x="475" y="10643"/>
                    <a:pt x="397" y="10661"/>
                    <a:pt x="293" y="10661"/>
                  </a:cubicBezTo>
                  <a:cubicBezTo>
                    <a:pt x="198" y="10661"/>
                    <a:pt x="126" y="10644"/>
                    <a:pt x="75" y="10609"/>
                  </a:cubicBezTo>
                  <a:cubicBezTo>
                    <a:pt x="25" y="10575"/>
                    <a:pt x="0" y="10527"/>
                    <a:pt x="0" y="10466"/>
                  </a:cubicBezTo>
                  <a:cubicBezTo>
                    <a:pt x="0" y="10400"/>
                    <a:pt x="27" y="10349"/>
                    <a:pt x="79" y="10313"/>
                  </a:cubicBezTo>
                  <a:close/>
                  <a:moveTo>
                    <a:pt x="300" y="10355"/>
                  </a:moveTo>
                  <a:cubicBezTo>
                    <a:pt x="151" y="10355"/>
                    <a:pt x="76" y="10390"/>
                    <a:pt x="76" y="10459"/>
                  </a:cubicBezTo>
                  <a:cubicBezTo>
                    <a:pt x="76" y="10529"/>
                    <a:pt x="150" y="10564"/>
                    <a:pt x="297" y="10564"/>
                  </a:cubicBezTo>
                  <a:cubicBezTo>
                    <a:pt x="454" y="10564"/>
                    <a:pt x="533" y="10528"/>
                    <a:pt x="533" y="10456"/>
                  </a:cubicBezTo>
                  <a:cubicBezTo>
                    <a:pt x="533" y="10389"/>
                    <a:pt x="455" y="10355"/>
                    <a:pt x="300" y="10355"/>
                  </a:cubicBezTo>
                  <a:close/>
                  <a:moveTo>
                    <a:pt x="599" y="10053"/>
                  </a:moveTo>
                  <a:cubicBezTo>
                    <a:pt x="599" y="10154"/>
                    <a:pt x="599" y="10154"/>
                    <a:pt x="599" y="10154"/>
                  </a:cubicBezTo>
                  <a:cubicBezTo>
                    <a:pt x="10" y="10154"/>
                    <a:pt x="10" y="10154"/>
                    <a:pt x="10" y="10154"/>
                  </a:cubicBezTo>
                  <a:cubicBezTo>
                    <a:pt x="10" y="10053"/>
                    <a:pt x="10" y="10053"/>
                    <a:pt x="10" y="10053"/>
                  </a:cubicBezTo>
                  <a:lnTo>
                    <a:pt x="599" y="10053"/>
                  </a:lnTo>
                  <a:close/>
                  <a:moveTo>
                    <a:pt x="79" y="9601"/>
                  </a:moveTo>
                  <a:cubicBezTo>
                    <a:pt x="131" y="9564"/>
                    <a:pt x="207" y="9546"/>
                    <a:pt x="307" y="9546"/>
                  </a:cubicBezTo>
                  <a:cubicBezTo>
                    <a:pt x="508" y="9546"/>
                    <a:pt x="609" y="9610"/>
                    <a:pt x="609" y="9740"/>
                  </a:cubicBezTo>
                  <a:cubicBezTo>
                    <a:pt x="609" y="9808"/>
                    <a:pt x="582" y="9859"/>
                    <a:pt x="529" y="9895"/>
                  </a:cubicBezTo>
                  <a:cubicBezTo>
                    <a:pt x="475" y="9931"/>
                    <a:pt x="397" y="9949"/>
                    <a:pt x="293" y="9949"/>
                  </a:cubicBezTo>
                  <a:cubicBezTo>
                    <a:pt x="198" y="9949"/>
                    <a:pt x="126" y="9932"/>
                    <a:pt x="75" y="9897"/>
                  </a:cubicBezTo>
                  <a:cubicBezTo>
                    <a:pt x="25" y="9863"/>
                    <a:pt x="0" y="9815"/>
                    <a:pt x="0" y="9754"/>
                  </a:cubicBezTo>
                  <a:cubicBezTo>
                    <a:pt x="0" y="9688"/>
                    <a:pt x="27" y="9637"/>
                    <a:pt x="79" y="9601"/>
                  </a:cubicBezTo>
                  <a:close/>
                  <a:moveTo>
                    <a:pt x="300" y="9643"/>
                  </a:moveTo>
                  <a:cubicBezTo>
                    <a:pt x="151" y="9643"/>
                    <a:pt x="76" y="9677"/>
                    <a:pt x="76" y="9746"/>
                  </a:cubicBezTo>
                  <a:cubicBezTo>
                    <a:pt x="76" y="9817"/>
                    <a:pt x="150" y="9852"/>
                    <a:pt x="297" y="9852"/>
                  </a:cubicBezTo>
                  <a:cubicBezTo>
                    <a:pt x="454" y="9852"/>
                    <a:pt x="533" y="9816"/>
                    <a:pt x="533" y="9744"/>
                  </a:cubicBezTo>
                  <a:cubicBezTo>
                    <a:pt x="533" y="9677"/>
                    <a:pt x="455" y="9643"/>
                    <a:pt x="300" y="9643"/>
                  </a:cubicBezTo>
                  <a:close/>
                  <a:moveTo>
                    <a:pt x="599" y="9341"/>
                  </a:moveTo>
                  <a:cubicBezTo>
                    <a:pt x="599" y="9442"/>
                    <a:pt x="599" y="9442"/>
                    <a:pt x="599" y="9442"/>
                  </a:cubicBezTo>
                  <a:cubicBezTo>
                    <a:pt x="10" y="9442"/>
                    <a:pt x="10" y="9442"/>
                    <a:pt x="10" y="9442"/>
                  </a:cubicBezTo>
                  <a:cubicBezTo>
                    <a:pt x="10" y="9341"/>
                    <a:pt x="10" y="9341"/>
                    <a:pt x="10" y="9341"/>
                  </a:cubicBezTo>
                  <a:lnTo>
                    <a:pt x="599" y="9341"/>
                  </a:lnTo>
                  <a:close/>
                  <a:moveTo>
                    <a:pt x="599" y="9096"/>
                  </a:moveTo>
                  <a:cubicBezTo>
                    <a:pt x="599" y="9196"/>
                    <a:pt x="599" y="9196"/>
                    <a:pt x="599" y="9196"/>
                  </a:cubicBezTo>
                  <a:cubicBezTo>
                    <a:pt x="10" y="9196"/>
                    <a:pt x="10" y="9196"/>
                    <a:pt x="10" y="9196"/>
                  </a:cubicBezTo>
                  <a:cubicBezTo>
                    <a:pt x="10" y="9096"/>
                    <a:pt x="10" y="9096"/>
                    <a:pt x="10" y="9096"/>
                  </a:cubicBezTo>
                  <a:lnTo>
                    <a:pt x="599" y="9096"/>
                  </a:lnTo>
                  <a:close/>
                  <a:moveTo>
                    <a:pt x="599" y="8851"/>
                  </a:moveTo>
                  <a:cubicBezTo>
                    <a:pt x="599" y="8951"/>
                    <a:pt x="599" y="8951"/>
                    <a:pt x="599" y="8951"/>
                  </a:cubicBezTo>
                  <a:cubicBezTo>
                    <a:pt x="10" y="8951"/>
                    <a:pt x="10" y="8951"/>
                    <a:pt x="10" y="8951"/>
                  </a:cubicBezTo>
                  <a:cubicBezTo>
                    <a:pt x="10" y="8851"/>
                    <a:pt x="10" y="8851"/>
                    <a:pt x="10" y="8851"/>
                  </a:cubicBezTo>
                  <a:lnTo>
                    <a:pt x="599" y="8851"/>
                  </a:lnTo>
                  <a:close/>
                  <a:moveTo>
                    <a:pt x="79" y="8398"/>
                  </a:moveTo>
                  <a:cubicBezTo>
                    <a:pt x="131" y="8361"/>
                    <a:pt x="207" y="8343"/>
                    <a:pt x="307" y="8343"/>
                  </a:cubicBezTo>
                  <a:cubicBezTo>
                    <a:pt x="508" y="8343"/>
                    <a:pt x="609" y="8408"/>
                    <a:pt x="609" y="8537"/>
                  </a:cubicBezTo>
                  <a:cubicBezTo>
                    <a:pt x="609" y="8605"/>
                    <a:pt x="582" y="8657"/>
                    <a:pt x="529" y="8692"/>
                  </a:cubicBezTo>
                  <a:cubicBezTo>
                    <a:pt x="475" y="8728"/>
                    <a:pt x="397" y="8746"/>
                    <a:pt x="293" y="8746"/>
                  </a:cubicBezTo>
                  <a:cubicBezTo>
                    <a:pt x="198" y="8746"/>
                    <a:pt x="126" y="8729"/>
                    <a:pt x="75" y="8695"/>
                  </a:cubicBezTo>
                  <a:cubicBezTo>
                    <a:pt x="25" y="8660"/>
                    <a:pt x="0" y="8613"/>
                    <a:pt x="0" y="8551"/>
                  </a:cubicBezTo>
                  <a:cubicBezTo>
                    <a:pt x="0" y="8486"/>
                    <a:pt x="27" y="8434"/>
                    <a:pt x="79" y="8398"/>
                  </a:cubicBezTo>
                  <a:close/>
                  <a:moveTo>
                    <a:pt x="300" y="8440"/>
                  </a:moveTo>
                  <a:cubicBezTo>
                    <a:pt x="151" y="8440"/>
                    <a:pt x="76" y="8475"/>
                    <a:pt x="76" y="8544"/>
                  </a:cubicBezTo>
                  <a:cubicBezTo>
                    <a:pt x="76" y="8614"/>
                    <a:pt x="150" y="8649"/>
                    <a:pt x="297" y="8649"/>
                  </a:cubicBezTo>
                  <a:cubicBezTo>
                    <a:pt x="454" y="8649"/>
                    <a:pt x="533" y="8613"/>
                    <a:pt x="533" y="8542"/>
                  </a:cubicBezTo>
                  <a:cubicBezTo>
                    <a:pt x="533" y="8474"/>
                    <a:pt x="455" y="8440"/>
                    <a:pt x="300" y="8440"/>
                  </a:cubicBezTo>
                  <a:close/>
                  <a:moveTo>
                    <a:pt x="599" y="8139"/>
                  </a:moveTo>
                  <a:cubicBezTo>
                    <a:pt x="599" y="8239"/>
                    <a:pt x="599" y="8239"/>
                    <a:pt x="599" y="8239"/>
                  </a:cubicBezTo>
                  <a:cubicBezTo>
                    <a:pt x="10" y="8239"/>
                    <a:pt x="10" y="8239"/>
                    <a:pt x="10" y="8239"/>
                  </a:cubicBezTo>
                  <a:cubicBezTo>
                    <a:pt x="10" y="8139"/>
                    <a:pt x="10" y="8139"/>
                    <a:pt x="10" y="8139"/>
                  </a:cubicBezTo>
                  <a:lnTo>
                    <a:pt x="599" y="8139"/>
                  </a:lnTo>
                  <a:close/>
                  <a:moveTo>
                    <a:pt x="599" y="7894"/>
                  </a:moveTo>
                  <a:cubicBezTo>
                    <a:pt x="599" y="7994"/>
                    <a:pt x="599" y="7994"/>
                    <a:pt x="599" y="7994"/>
                  </a:cubicBezTo>
                  <a:cubicBezTo>
                    <a:pt x="10" y="7994"/>
                    <a:pt x="10" y="7994"/>
                    <a:pt x="10" y="7994"/>
                  </a:cubicBezTo>
                  <a:cubicBezTo>
                    <a:pt x="10" y="7894"/>
                    <a:pt x="10" y="7894"/>
                    <a:pt x="10" y="7894"/>
                  </a:cubicBezTo>
                  <a:lnTo>
                    <a:pt x="599" y="7894"/>
                  </a:lnTo>
                  <a:close/>
                  <a:moveTo>
                    <a:pt x="79" y="7441"/>
                  </a:moveTo>
                  <a:cubicBezTo>
                    <a:pt x="131" y="7404"/>
                    <a:pt x="207" y="7386"/>
                    <a:pt x="307" y="7386"/>
                  </a:cubicBezTo>
                  <a:cubicBezTo>
                    <a:pt x="508" y="7386"/>
                    <a:pt x="609" y="7451"/>
                    <a:pt x="609" y="7580"/>
                  </a:cubicBezTo>
                  <a:cubicBezTo>
                    <a:pt x="609" y="7648"/>
                    <a:pt x="582" y="7700"/>
                    <a:pt x="529" y="7736"/>
                  </a:cubicBezTo>
                  <a:cubicBezTo>
                    <a:pt x="475" y="7771"/>
                    <a:pt x="397" y="7789"/>
                    <a:pt x="293" y="7789"/>
                  </a:cubicBezTo>
                  <a:cubicBezTo>
                    <a:pt x="198" y="7789"/>
                    <a:pt x="126" y="7772"/>
                    <a:pt x="75" y="7738"/>
                  </a:cubicBezTo>
                  <a:cubicBezTo>
                    <a:pt x="25" y="7704"/>
                    <a:pt x="0" y="7656"/>
                    <a:pt x="0" y="7594"/>
                  </a:cubicBezTo>
                  <a:cubicBezTo>
                    <a:pt x="0" y="7529"/>
                    <a:pt x="27" y="7478"/>
                    <a:pt x="79" y="7441"/>
                  </a:cubicBezTo>
                  <a:close/>
                  <a:moveTo>
                    <a:pt x="300" y="7483"/>
                  </a:moveTo>
                  <a:cubicBezTo>
                    <a:pt x="151" y="7483"/>
                    <a:pt x="76" y="7518"/>
                    <a:pt x="76" y="7587"/>
                  </a:cubicBezTo>
                  <a:cubicBezTo>
                    <a:pt x="76" y="7657"/>
                    <a:pt x="150" y="7692"/>
                    <a:pt x="297" y="7692"/>
                  </a:cubicBezTo>
                  <a:cubicBezTo>
                    <a:pt x="454" y="7692"/>
                    <a:pt x="533" y="7656"/>
                    <a:pt x="533" y="7585"/>
                  </a:cubicBezTo>
                  <a:cubicBezTo>
                    <a:pt x="533" y="7517"/>
                    <a:pt x="455" y="7483"/>
                    <a:pt x="300" y="7483"/>
                  </a:cubicBezTo>
                  <a:close/>
                  <a:moveTo>
                    <a:pt x="599" y="7182"/>
                  </a:moveTo>
                  <a:cubicBezTo>
                    <a:pt x="599" y="7282"/>
                    <a:pt x="599" y="7282"/>
                    <a:pt x="599" y="7282"/>
                  </a:cubicBezTo>
                  <a:cubicBezTo>
                    <a:pt x="10" y="7282"/>
                    <a:pt x="10" y="7282"/>
                    <a:pt x="10" y="7282"/>
                  </a:cubicBezTo>
                  <a:cubicBezTo>
                    <a:pt x="10" y="7182"/>
                    <a:pt x="10" y="7182"/>
                    <a:pt x="10" y="7182"/>
                  </a:cubicBezTo>
                  <a:lnTo>
                    <a:pt x="599" y="7182"/>
                  </a:lnTo>
                  <a:close/>
                  <a:moveTo>
                    <a:pt x="599" y="6937"/>
                  </a:moveTo>
                  <a:cubicBezTo>
                    <a:pt x="599" y="7037"/>
                    <a:pt x="599" y="7037"/>
                    <a:pt x="599" y="7037"/>
                  </a:cubicBezTo>
                  <a:cubicBezTo>
                    <a:pt x="10" y="7037"/>
                    <a:pt x="10" y="7037"/>
                    <a:pt x="10" y="7037"/>
                  </a:cubicBezTo>
                  <a:cubicBezTo>
                    <a:pt x="10" y="6937"/>
                    <a:pt x="10" y="6937"/>
                    <a:pt x="10" y="6937"/>
                  </a:cubicBezTo>
                  <a:lnTo>
                    <a:pt x="599" y="6937"/>
                  </a:lnTo>
                  <a:close/>
                  <a:moveTo>
                    <a:pt x="79" y="6484"/>
                  </a:moveTo>
                  <a:cubicBezTo>
                    <a:pt x="131" y="6447"/>
                    <a:pt x="207" y="6429"/>
                    <a:pt x="307" y="6429"/>
                  </a:cubicBezTo>
                  <a:cubicBezTo>
                    <a:pt x="508" y="6429"/>
                    <a:pt x="609" y="6494"/>
                    <a:pt x="609" y="6623"/>
                  </a:cubicBezTo>
                  <a:cubicBezTo>
                    <a:pt x="609" y="6691"/>
                    <a:pt x="582" y="6743"/>
                    <a:pt x="529" y="6778"/>
                  </a:cubicBezTo>
                  <a:cubicBezTo>
                    <a:pt x="475" y="6814"/>
                    <a:pt x="397" y="6832"/>
                    <a:pt x="293" y="6832"/>
                  </a:cubicBezTo>
                  <a:cubicBezTo>
                    <a:pt x="198" y="6832"/>
                    <a:pt x="126" y="6815"/>
                    <a:pt x="75" y="6781"/>
                  </a:cubicBezTo>
                  <a:cubicBezTo>
                    <a:pt x="25" y="6746"/>
                    <a:pt x="0" y="6699"/>
                    <a:pt x="0" y="6637"/>
                  </a:cubicBezTo>
                  <a:cubicBezTo>
                    <a:pt x="0" y="6572"/>
                    <a:pt x="27" y="6520"/>
                    <a:pt x="79" y="6484"/>
                  </a:cubicBezTo>
                  <a:close/>
                  <a:moveTo>
                    <a:pt x="300" y="6526"/>
                  </a:moveTo>
                  <a:cubicBezTo>
                    <a:pt x="151" y="6526"/>
                    <a:pt x="76" y="6561"/>
                    <a:pt x="76" y="6630"/>
                  </a:cubicBezTo>
                  <a:cubicBezTo>
                    <a:pt x="76" y="6700"/>
                    <a:pt x="150" y="6735"/>
                    <a:pt x="297" y="6735"/>
                  </a:cubicBezTo>
                  <a:cubicBezTo>
                    <a:pt x="454" y="6735"/>
                    <a:pt x="533" y="6699"/>
                    <a:pt x="533" y="6628"/>
                  </a:cubicBezTo>
                  <a:cubicBezTo>
                    <a:pt x="533" y="6560"/>
                    <a:pt x="455" y="6526"/>
                    <a:pt x="300" y="6526"/>
                  </a:cubicBezTo>
                  <a:close/>
                  <a:moveTo>
                    <a:pt x="79" y="6017"/>
                  </a:moveTo>
                  <a:cubicBezTo>
                    <a:pt x="131" y="5980"/>
                    <a:pt x="207" y="5962"/>
                    <a:pt x="307" y="5962"/>
                  </a:cubicBezTo>
                  <a:cubicBezTo>
                    <a:pt x="508" y="5962"/>
                    <a:pt x="609" y="6027"/>
                    <a:pt x="609" y="6156"/>
                  </a:cubicBezTo>
                  <a:cubicBezTo>
                    <a:pt x="609" y="6224"/>
                    <a:pt x="582" y="6276"/>
                    <a:pt x="529" y="6311"/>
                  </a:cubicBezTo>
                  <a:cubicBezTo>
                    <a:pt x="475" y="6347"/>
                    <a:pt x="397" y="6365"/>
                    <a:pt x="293" y="6365"/>
                  </a:cubicBezTo>
                  <a:cubicBezTo>
                    <a:pt x="198" y="6365"/>
                    <a:pt x="126" y="6348"/>
                    <a:pt x="75" y="6314"/>
                  </a:cubicBezTo>
                  <a:cubicBezTo>
                    <a:pt x="25" y="6279"/>
                    <a:pt x="0" y="6232"/>
                    <a:pt x="0" y="6170"/>
                  </a:cubicBezTo>
                  <a:cubicBezTo>
                    <a:pt x="0" y="6105"/>
                    <a:pt x="27" y="6053"/>
                    <a:pt x="79" y="6017"/>
                  </a:cubicBezTo>
                  <a:close/>
                  <a:moveTo>
                    <a:pt x="300" y="6059"/>
                  </a:moveTo>
                  <a:cubicBezTo>
                    <a:pt x="151" y="6059"/>
                    <a:pt x="76" y="6094"/>
                    <a:pt x="76" y="6163"/>
                  </a:cubicBezTo>
                  <a:cubicBezTo>
                    <a:pt x="76" y="6233"/>
                    <a:pt x="150" y="6268"/>
                    <a:pt x="297" y="6268"/>
                  </a:cubicBezTo>
                  <a:cubicBezTo>
                    <a:pt x="454" y="6268"/>
                    <a:pt x="533" y="6232"/>
                    <a:pt x="533" y="6161"/>
                  </a:cubicBezTo>
                  <a:cubicBezTo>
                    <a:pt x="533" y="6093"/>
                    <a:pt x="455" y="6059"/>
                    <a:pt x="300" y="6059"/>
                  </a:cubicBezTo>
                  <a:close/>
                  <a:moveTo>
                    <a:pt x="599" y="5758"/>
                  </a:moveTo>
                  <a:cubicBezTo>
                    <a:pt x="599" y="5858"/>
                    <a:pt x="599" y="5858"/>
                    <a:pt x="599" y="5858"/>
                  </a:cubicBezTo>
                  <a:cubicBezTo>
                    <a:pt x="10" y="5858"/>
                    <a:pt x="10" y="5858"/>
                    <a:pt x="10" y="5858"/>
                  </a:cubicBezTo>
                  <a:cubicBezTo>
                    <a:pt x="10" y="5758"/>
                    <a:pt x="10" y="5758"/>
                    <a:pt x="10" y="5758"/>
                  </a:cubicBezTo>
                  <a:lnTo>
                    <a:pt x="599" y="5758"/>
                  </a:lnTo>
                  <a:close/>
                  <a:moveTo>
                    <a:pt x="599" y="5512"/>
                  </a:moveTo>
                  <a:cubicBezTo>
                    <a:pt x="599" y="5613"/>
                    <a:pt x="599" y="5613"/>
                    <a:pt x="599" y="5613"/>
                  </a:cubicBezTo>
                  <a:cubicBezTo>
                    <a:pt x="10" y="5613"/>
                    <a:pt x="10" y="5613"/>
                    <a:pt x="10" y="5613"/>
                  </a:cubicBezTo>
                  <a:cubicBezTo>
                    <a:pt x="10" y="5512"/>
                    <a:pt x="10" y="5512"/>
                    <a:pt x="10" y="5512"/>
                  </a:cubicBezTo>
                  <a:lnTo>
                    <a:pt x="599" y="5512"/>
                  </a:lnTo>
                  <a:close/>
                  <a:moveTo>
                    <a:pt x="79" y="5060"/>
                  </a:moveTo>
                  <a:cubicBezTo>
                    <a:pt x="131" y="5023"/>
                    <a:pt x="207" y="5005"/>
                    <a:pt x="307" y="5005"/>
                  </a:cubicBezTo>
                  <a:cubicBezTo>
                    <a:pt x="508" y="5005"/>
                    <a:pt x="609" y="5070"/>
                    <a:pt x="609" y="5199"/>
                  </a:cubicBezTo>
                  <a:cubicBezTo>
                    <a:pt x="609" y="5267"/>
                    <a:pt x="582" y="5318"/>
                    <a:pt x="529" y="5354"/>
                  </a:cubicBezTo>
                  <a:cubicBezTo>
                    <a:pt x="475" y="5390"/>
                    <a:pt x="397" y="5408"/>
                    <a:pt x="293" y="5408"/>
                  </a:cubicBezTo>
                  <a:cubicBezTo>
                    <a:pt x="198" y="5408"/>
                    <a:pt x="126" y="5391"/>
                    <a:pt x="75" y="5356"/>
                  </a:cubicBezTo>
                  <a:cubicBezTo>
                    <a:pt x="25" y="5322"/>
                    <a:pt x="0" y="5274"/>
                    <a:pt x="0" y="5213"/>
                  </a:cubicBezTo>
                  <a:cubicBezTo>
                    <a:pt x="0" y="5147"/>
                    <a:pt x="27" y="5096"/>
                    <a:pt x="79" y="5060"/>
                  </a:cubicBezTo>
                  <a:close/>
                  <a:moveTo>
                    <a:pt x="300" y="5102"/>
                  </a:moveTo>
                  <a:cubicBezTo>
                    <a:pt x="151" y="5102"/>
                    <a:pt x="76" y="5137"/>
                    <a:pt x="76" y="5206"/>
                  </a:cubicBezTo>
                  <a:cubicBezTo>
                    <a:pt x="76" y="5276"/>
                    <a:pt x="150" y="5311"/>
                    <a:pt x="297" y="5311"/>
                  </a:cubicBezTo>
                  <a:cubicBezTo>
                    <a:pt x="454" y="5311"/>
                    <a:pt x="533" y="5275"/>
                    <a:pt x="533" y="5204"/>
                  </a:cubicBezTo>
                  <a:cubicBezTo>
                    <a:pt x="533" y="5136"/>
                    <a:pt x="455" y="5102"/>
                    <a:pt x="300" y="5102"/>
                  </a:cubicBezTo>
                  <a:close/>
                  <a:moveTo>
                    <a:pt x="599" y="4800"/>
                  </a:moveTo>
                  <a:cubicBezTo>
                    <a:pt x="599" y="4901"/>
                    <a:pt x="599" y="4901"/>
                    <a:pt x="599" y="4901"/>
                  </a:cubicBezTo>
                  <a:cubicBezTo>
                    <a:pt x="10" y="4901"/>
                    <a:pt x="10" y="4901"/>
                    <a:pt x="10" y="4901"/>
                  </a:cubicBezTo>
                  <a:cubicBezTo>
                    <a:pt x="10" y="4800"/>
                    <a:pt x="10" y="4800"/>
                    <a:pt x="10" y="4800"/>
                  </a:cubicBezTo>
                  <a:lnTo>
                    <a:pt x="599" y="4800"/>
                  </a:lnTo>
                  <a:close/>
                  <a:moveTo>
                    <a:pt x="79" y="4348"/>
                  </a:moveTo>
                  <a:cubicBezTo>
                    <a:pt x="131" y="4311"/>
                    <a:pt x="207" y="4293"/>
                    <a:pt x="307" y="4293"/>
                  </a:cubicBezTo>
                  <a:cubicBezTo>
                    <a:pt x="508" y="4293"/>
                    <a:pt x="609" y="4358"/>
                    <a:pt x="609" y="4487"/>
                  </a:cubicBezTo>
                  <a:cubicBezTo>
                    <a:pt x="609" y="4555"/>
                    <a:pt x="582" y="4607"/>
                    <a:pt x="529" y="4642"/>
                  </a:cubicBezTo>
                  <a:cubicBezTo>
                    <a:pt x="475" y="4678"/>
                    <a:pt x="397" y="4696"/>
                    <a:pt x="293" y="4696"/>
                  </a:cubicBezTo>
                  <a:cubicBezTo>
                    <a:pt x="198" y="4696"/>
                    <a:pt x="126" y="4679"/>
                    <a:pt x="75" y="4645"/>
                  </a:cubicBezTo>
                  <a:cubicBezTo>
                    <a:pt x="25" y="4610"/>
                    <a:pt x="0" y="4562"/>
                    <a:pt x="0" y="4501"/>
                  </a:cubicBezTo>
                  <a:cubicBezTo>
                    <a:pt x="0" y="4435"/>
                    <a:pt x="27" y="4384"/>
                    <a:pt x="79" y="4348"/>
                  </a:cubicBezTo>
                  <a:close/>
                  <a:moveTo>
                    <a:pt x="300" y="4390"/>
                  </a:moveTo>
                  <a:cubicBezTo>
                    <a:pt x="151" y="4390"/>
                    <a:pt x="76" y="4425"/>
                    <a:pt x="76" y="4494"/>
                  </a:cubicBezTo>
                  <a:cubicBezTo>
                    <a:pt x="76" y="4564"/>
                    <a:pt x="150" y="4599"/>
                    <a:pt x="297" y="4599"/>
                  </a:cubicBezTo>
                  <a:cubicBezTo>
                    <a:pt x="454" y="4599"/>
                    <a:pt x="533" y="4563"/>
                    <a:pt x="533" y="4492"/>
                  </a:cubicBezTo>
                  <a:cubicBezTo>
                    <a:pt x="533" y="4424"/>
                    <a:pt x="455" y="4390"/>
                    <a:pt x="300" y="4390"/>
                  </a:cubicBezTo>
                  <a:close/>
                  <a:moveTo>
                    <a:pt x="79" y="3881"/>
                  </a:moveTo>
                  <a:cubicBezTo>
                    <a:pt x="131" y="3844"/>
                    <a:pt x="207" y="3826"/>
                    <a:pt x="307" y="3826"/>
                  </a:cubicBezTo>
                  <a:cubicBezTo>
                    <a:pt x="508" y="3826"/>
                    <a:pt x="609" y="3891"/>
                    <a:pt x="609" y="4020"/>
                  </a:cubicBezTo>
                  <a:cubicBezTo>
                    <a:pt x="609" y="4088"/>
                    <a:pt x="582" y="4140"/>
                    <a:pt x="529" y="4175"/>
                  </a:cubicBezTo>
                  <a:cubicBezTo>
                    <a:pt x="475" y="4211"/>
                    <a:pt x="397" y="4229"/>
                    <a:pt x="293" y="4229"/>
                  </a:cubicBezTo>
                  <a:cubicBezTo>
                    <a:pt x="198" y="4229"/>
                    <a:pt x="126" y="4212"/>
                    <a:pt x="75" y="4178"/>
                  </a:cubicBezTo>
                  <a:cubicBezTo>
                    <a:pt x="25" y="4143"/>
                    <a:pt x="0" y="4096"/>
                    <a:pt x="0" y="4034"/>
                  </a:cubicBezTo>
                  <a:cubicBezTo>
                    <a:pt x="0" y="3969"/>
                    <a:pt x="27" y="3917"/>
                    <a:pt x="79" y="3881"/>
                  </a:cubicBezTo>
                  <a:close/>
                  <a:moveTo>
                    <a:pt x="300" y="3923"/>
                  </a:moveTo>
                  <a:cubicBezTo>
                    <a:pt x="151" y="3923"/>
                    <a:pt x="76" y="3958"/>
                    <a:pt x="76" y="4027"/>
                  </a:cubicBezTo>
                  <a:cubicBezTo>
                    <a:pt x="76" y="4097"/>
                    <a:pt x="150" y="4132"/>
                    <a:pt x="297" y="4132"/>
                  </a:cubicBezTo>
                  <a:cubicBezTo>
                    <a:pt x="454" y="4132"/>
                    <a:pt x="533" y="4096"/>
                    <a:pt x="533" y="4025"/>
                  </a:cubicBezTo>
                  <a:cubicBezTo>
                    <a:pt x="533" y="3957"/>
                    <a:pt x="455" y="3923"/>
                    <a:pt x="300" y="3923"/>
                  </a:cubicBezTo>
                  <a:close/>
                  <a:moveTo>
                    <a:pt x="599" y="3622"/>
                  </a:moveTo>
                  <a:cubicBezTo>
                    <a:pt x="599" y="3722"/>
                    <a:pt x="599" y="3722"/>
                    <a:pt x="599" y="3722"/>
                  </a:cubicBezTo>
                  <a:cubicBezTo>
                    <a:pt x="10" y="3722"/>
                    <a:pt x="10" y="3722"/>
                    <a:pt x="10" y="3722"/>
                  </a:cubicBezTo>
                  <a:cubicBezTo>
                    <a:pt x="10" y="3622"/>
                    <a:pt x="10" y="3622"/>
                    <a:pt x="10" y="3622"/>
                  </a:cubicBezTo>
                  <a:lnTo>
                    <a:pt x="599" y="3622"/>
                  </a:lnTo>
                  <a:close/>
                  <a:moveTo>
                    <a:pt x="79" y="3169"/>
                  </a:moveTo>
                  <a:cubicBezTo>
                    <a:pt x="131" y="3132"/>
                    <a:pt x="207" y="3114"/>
                    <a:pt x="307" y="3114"/>
                  </a:cubicBezTo>
                  <a:cubicBezTo>
                    <a:pt x="508" y="3114"/>
                    <a:pt x="609" y="3179"/>
                    <a:pt x="609" y="3308"/>
                  </a:cubicBezTo>
                  <a:cubicBezTo>
                    <a:pt x="609" y="3376"/>
                    <a:pt x="582" y="3427"/>
                    <a:pt x="529" y="3463"/>
                  </a:cubicBezTo>
                  <a:cubicBezTo>
                    <a:pt x="475" y="3499"/>
                    <a:pt x="397" y="3517"/>
                    <a:pt x="293" y="3517"/>
                  </a:cubicBezTo>
                  <a:cubicBezTo>
                    <a:pt x="198" y="3517"/>
                    <a:pt x="126" y="3500"/>
                    <a:pt x="75" y="3465"/>
                  </a:cubicBezTo>
                  <a:cubicBezTo>
                    <a:pt x="25" y="3431"/>
                    <a:pt x="0" y="3383"/>
                    <a:pt x="0" y="3322"/>
                  </a:cubicBezTo>
                  <a:cubicBezTo>
                    <a:pt x="0" y="3256"/>
                    <a:pt x="27" y="3205"/>
                    <a:pt x="79" y="3169"/>
                  </a:cubicBezTo>
                  <a:close/>
                  <a:moveTo>
                    <a:pt x="300" y="3211"/>
                  </a:moveTo>
                  <a:cubicBezTo>
                    <a:pt x="151" y="3211"/>
                    <a:pt x="76" y="3246"/>
                    <a:pt x="76" y="3315"/>
                  </a:cubicBezTo>
                  <a:cubicBezTo>
                    <a:pt x="76" y="3385"/>
                    <a:pt x="150" y="3420"/>
                    <a:pt x="297" y="3420"/>
                  </a:cubicBezTo>
                  <a:cubicBezTo>
                    <a:pt x="454" y="3420"/>
                    <a:pt x="533" y="3384"/>
                    <a:pt x="533" y="3312"/>
                  </a:cubicBezTo>
                  <a:cubicBezTo>
                    <a:pt x="533" y="3245"/>
                    <a:pt x="455" y="3211"/>
                    <a:pt x="300" y="3211"/>
                  </a:cubicBezTo>
                  <a:close/>
                  <a:moveTo>
                    <a:pt x="599" y="2909"/>
                  </a:moveTo>
                  <a:cubicBezTo>
                    <a:pt x="599" y="3010"/>
                    <a:pt x="599" y="3010"/>
                    <a:pt x="599" y="3010"/>
                  </a:cubicBezTo>
                  <a:cubicBezTo>
                    <a:pt x="10" y="3010"/>
                    <a:pt x="10" y="3010"/>
                    <a:pt x="10" y="3010"/>
                  </a:cubicBezTo>
                  <a:cubicBezTo>
                    <a:pt x="10" y="2909"/>
                    <a:pt x="10" y="2909"/>
                    <a:pt x="10" y="2909"/>
                  </a:cubicBezTo>
                  <a:lnTo>
                    <a:pt x="599" y="2909"/>
                  </a:lnTo>
                  <a:close/>
                  <a:moveTo>
                    <a:pt x="599" y="2665"/>
                  </a:moveTo>
                  <a:cubicBezTo>
                    <a:pt x="599" y="2765"/>
                    <a:pt x="599" y="2765"/>
                    <a:pt x="599" y="2765"/>
                  </a:cubicBezTo>
                  <a:cubicBezTo>
                    <a:pt x="10" y="2765"/>
                    <a:pt x="10" y="2765"/>
                    <a:pt x="10" y="2765"/>
                  </a:cubicBezTo>
                  <a:cubicBezTo>
                    <a:pt x="10" y="2665"/>
                    <a:pt x="10" y="2665"/>
                    <a:pt x="10" y="2665"/>
                  </a:cubicBezTo>
                  <a:lnTo>
                    <a:pt x="599" y="2665"/>
                  </a:lnTo>
                  <a:close/>
                  <a:moveTo>
                    <a:pt x="599" y="2419"/>
                  </a:moveTo>
                  <a:cubicBezTo>
                    <a:pt x="599" y="2520"/>
                    <a:pt x="599" y="2520"/>
                    <a:pt x="599" y="2520"/>
                  </a:cubicBezTo>
                  <a:cubicBezTo>
                    <a:pt x="10" y="2520"/>
                    <a:pt x="10" y="2520"/>
                    <a:pt x="10" y="2520"/>
                  </a:cubicBezTo>
                  <a:cubicBezTo>
                    <a:pt x="10" y="2419"/>
                    <a:pt x="10" y="2419"/>
                    <a:pt x="10" y="2419"/>
                  </a:cubicBezTo>
                  <a:lnTo>
                    <a:pt x="599" y="2419"/>
                  </a:lnTo>
                  <a:close/>
                  <a:moveTo>
                    <a:pt x="79" y="1966"/>
                  </a:moveTo>
                  <a:cubicBezTo>
                    <a:pt x="131" y="1930"/>
                    <a:pt x="207" y="1912"/>
                    <a:pt x="307" y="1912"/>
                  </a:cubicBezTo>
                  <a:cubicBezTo>
                    <a:pt x="508" y="1912"/>
                    <a:pt x="609" y="1976"/>
                    <a:pt x="609" y="2106"/>
                  </a:cubicBezTo>
                  <a:cubicBezTo>
                    <a:pt x="609" y="2173"/>
                    <a:pt x="582" y="2225"/>
                    <a:pt x="529" y="2261"/>
                  </a:cubicBezTo>
                  <a:cubicBezTo>
                    <a:pt x="475" y="2297"/>
                    <a:pt x="397" y="2315"/>
                    <a:pt x="293" y="2315"/>
                  </a:cubicBezTo>
                  <a:cubicBezTo>
                    <a:pt x="198" y="2315"/>
                    <a:pt x="126" y="2298"/>
                    <a:pt x="75" y="2263"/>
                  </a:cubicBezTo>
                  <a:cubicBezTo>
                    <a:pt x="25" y="2229"/>
                    <a:pt x="0" y="2181"/>
                    <a:pt x="0" y="2120"/>
                  </a:cubicBezTo>
                  <a:cubicBezTo>
                    <a:pt x="0" y="2054"/>
                    <a:pt x="27" y="2003"/>
                    <a:pt x="79" y="1966"/>
                  </a:cubicBezTo>
                  <a:close/>
                  <a:moveTo>
                    <a:pt x="300" y="2009"/>
                  </a:moveTo>
                  <a:cubicBezTo>
                    <a:pt x="151" y="2009"/>
                    <a:pt x="76" y="2043"/>
                    <a:pt x="76" y="2112"/>
                  </a:cubicBezTo>
                  <a:cubicBezTo>
                    <a:pt x="76" y="2182"/>
                    <a:pt x="150" y="2218"/>
                    <a:pt x="297" y="2218"/>
                  </a:cubicBezTo>
                  <a:cubicBezTo>
                    <a:pt x="454" y="2218"/>
                    <a:pt x="533" y="2182"/>
                    <a:pt x="533" y="2110"/>
                  </a:cubicBezTo>
                  <a:cubicBezTo>
                    <a:pt x="533" y="2043"/>
                    <a:pt x="455" y="2009"/>
                    <a:pt x="300" y="2009"/>
                  </a:cubicBezTo>
                  <a:close/>
                  <a:moveTo>
                    <a:pt x="138" y="1449"/>
                  </a:moveTo>
                  <a:cubicBezTo>
                    <a:pt x="196" y="1422"/>
                    <a:pt x="274" y="1418"/>
                    <a:pt x="372" y="1437"/>
                  </a:cubicBezTo>
                  <a:cubicBezTo>
                    <a:pt x="570" y="1474"/>
                    <a:pt x="657" y="1556"/>
                    <a:pt x="633" y="1683"/>
                  </a:cubicBezTo>
                  <a:cubicBezTo>
                    <a:pt x="621" y="1750"/>
                    <a:pt x="585" y="1796"/>
                    <a:pt x="526" y="1821"/>
                  </a:cubicBezTo>
                  <a:cubicBezTo>
                    <a:pt x="467" y="1846"/>
                    <a:pt x="386" y="1850"/>
                    <a:pt x="284" y="1830"/>
                  </a:cubicBezTo>
                  <a:cubicBezTo>
                    <a:pt x="191" y="1813"/>
                    <a:pt x="123" y="1783"/>
                    <a:pt x="80" y="1740"/>
                  </a:cubicBezTo>
                  <a:cubicBezTo>
                    <a:pt x="37" y="1697"/>
                    <a:pt x="21" y="1645"/>
                    <a:pt x="32" y="1585"/>
                  </a:cubicBezTo>
                  <a:cubicBezTo>
                    <a:pt x="45" y="1520"/>
                    <a:pt x="80" y="1475"/>
                    <a:pt x="138" y="1449"/>
                  </a:cubicBezTo>
                  <a:close/>
                  <a:moveTo>
                    <a:pt x="348" y="1531"/>
                  </a:moveTo>
                  <a:cubicBezTo>
                    <a:pt x="201" y="1504"/>
                    <a:pt x="121" y="1524"/>
                    <a:pt x="108" y="1592"/>
                  </a:cubicBezTo>
                  <a:cubicBezTo>
                    <a:pt x="95" y="1660"/>
                    <a:pt x="161" y="1708"/>
                    <a:pt x="306" y="1736"/>
                  </a:cubicBezTo>
                  <a:cubicBezTo>
                    <a:pt x="460" y="1765"/>
                    <a:pt x="544" y="1744"/>
                    <a:pt x="558" y="1674"/>
                  </a:cubicBezTo>
                  <a:cubicBezTo>
                    <a:pt x="570" y="1607"/>
                    <a:pt x="500" y="1560"/>
                    <a:pt x="348" y="1531"/>
                  </a:cubicBezTo>
                  <a:close/>
                  <a:moveTo>
                    <a:pt x="363" y="938"/>
                  </a:moveTo>
                  <a:cubicBezTo>
                    <a:pt x="427" y="931"/>
                    <a:pt x="502" y="950"/>
                    <a:pt x="591" y="997"/>
                  </a:cubicBezTo>
                  <a:cubicBezTo>
                    <a:pt x="768" y="1091"/>
                    <a:pt x="827" y="1196"/>
                    <a:pt x="766" y="1310"/>
                  </a:cubicBezTo>
                  <a:cubicBezTo>
                    <a:pt x="734" y="1370"/>
                    <a:pt x="687" y="1403"/>
                    <a:pt x="623" y="1409"/>
                  </a:cubicBezTo>
                  <a:cubicBezTo>
                    <a:pt x="559" y="1416"/>
                    <a:pt x="481" y="1395"/>
                    <a:pt x="389" y="1346"/>
                  </a:cubicBezTo>
                  <a:cubicBezTo>
                    <a:pt x="305" y="1302"/>
                    <a:pt x="249" y="1253"/>
                    <a:pt x="221" y="1199"/>
                  </a:cubicBezTo>
                  <a:cubicBezTo>
                    <a:pt x="193" y="1145"/>
                    <a:pt x="193" y="1091"/>
                    <a:pt x="222" y="1037"/>
                  </a:cubicBezTo>
                  <a:cubicBezTo>
                    <a:pt x="253" y="979"/>
                    <a:pt x="300" y="946"/>
                    <a:pt x="363" y="938"/>
                  </a:cubicBezTo>
                  <a:close/>
                  <a:moveTo>
                    <a:pt x="539" y="1080"/>
                  </a:moveTo>
                  <a:cubicBezTo>
                    <a:pt x="407" y="1010"/>
                    <a:pt x="325" y="1005"/>
                    <a:pt x="292" y="1066"/>
                  </a:cubicBezTo>
                  <a:cubicBezTo>
                    <a:pt x="259" y="1128"/>
                    <a:pt x="308" y="1193"/>
                    <a:pt x="438" y="1262"/>
                  </a:cubicBezTo>
                  <a:cubicBezTo>
                    <a:pt x="577" y="1336"/>
                    <a:pt x="663" y="1341"/>
                    <a:pt x="697" y="1278"/>
                  </a:cubicBezTo>
                  <a:cubicBezTo>
                    <a:pt x="729" y="1219"/>
                    <a:pt x="676" y="1152"/>
                    <a:pt x="539" y="1080"/>
                  </a:cubicBezTo>
                  <a:close/>
                  <a:moveTo>
                    <a:pt x="960" y="1022"/>
                  </a:moveTo>
                  <a:cubicBezTo>
                    <a:pt x="894" y="1098"/>
                    <a:pt x="894" y="1098"/>
                    <a:pt x="894" y="1098"/>
                  </a:cubicBezTo>
                  <a:cubicBezTo>
                    <a:pt x="450" y="712"/>
                    <a:pt x="450" y="712"/>
                    <a:pt x="450" y="712"/>
                  </a:cubicBezTo>
                  <a:cubicBezTo>
                    <a:pt x="516" y="636"/>
                    <a:pt x="516" y="636"/>
                    <a:pt x="516" y="636"/>
                  </a:cubicBezTo>
                  <a:lnTo>
                    <a:pt x="960" y="1022"/>
                  </a:lnTo>
                  <a:close/>
                  <a:moveTo>
                    <a:pt x="966" y="346"/>
                  </a:moveTo>
                  <a:cubicBezTo>
                    <a:pt x="1026" y="367"/>
                    <a:pt x="1086" y="418"/>
                    <a:pt x="1144" y="499"/>
                  </a:cubicBezTo>
                  <a:cubicBezTo>
                    <a:pt x="1263" y="661"/>
                    <a:pt x="1269" y="781"/>
                    <a:pt x="1164" y="857"/>
                  </a:cubicBezTo>
                  <a:cubicBezTo>
                    <a:pt x="1110" y="897"/>
                    <a:pt x="1052" y="905"/>
                    <a:pt x="992" y="883"/>
                  </a:cubicBezTo>
                  <a:cubicBezTo>
                    <a:pt x="931" y="861"/>
                    <a:pt x="871" y="808"/>
                    <a:pt x="810" y="724"/>
                  </a:cubicBezTo>
                  <a:cubicBezTo>
                    <a:pt x="754" y="647"/>
                    <a:pt x="725" y="579"/>
                    <a:pt x="724" y="518"/>
                  </a:cubicBezTo>
                  <a:cubicBezTo>
                    <a:pt x="722" y="457"/>
                    <a:pt x="746" y="409"/>
                    <a:pt x="796" y="373"/>
                  </a:cubicBezTo>
                  <a:cubicBezTo>
                    <a:pt x="849" y="334"/>
                    <a:pt x="906" y="325"/>
                    <a:pt x="966" y="346"/>
                  </a:cubicBezTo>
                  <a:close/>
                  <a:moveTo>
                    <a:pt x="1062" y="550"/>
                  </a:moveTo>
                  <a:cubicBezTo>
                    <a:pt x="974" y="429"/>
                    <a:pt x="902" y="389"/>
                    <a:pt x="846" y="430"/>
                  </a:cubicBezTo>
                  <a:cubicBezTo>
                    <a:pt x="789" y="471"/>
                    <a:pt x="804" y="551"/>
                    <a:pt x="891" y="670"/>
                  </a:cubicBezTo>
                  <a:cubicBezTo>
                    <a:pt x="983" y="797"/>
                    <a:pt x="1058" y="840"/>
                    <a:pt x="1116" y="798"/>
                  </a:cubicBezTo>
                  <a:cubicBezTo>
                    <a:pt x="1171" y="758"/>
                    <a:pt x="1153" y="676"/>
                    <a:pt x="1062" y="550"/>
                  </a:cubicBezTo>
                  <a:close/>
                  <a:moveTo>
                    <a:pt x="1465" y="684"/>
                  </a:moveTo>
                  <a:cubicBezTo>
                    <a:pt x="1372" y="723"/>
                    <a:pt x="1372" y="723"/>
                    <a:pt x="1372" y="723"/>
                  </a:cubicBezTo>
                  <a:cubicBezTo>
                    <a:pt x="1143" y="180"/>
                    <a:pt x="1143" y="180"/>
                    <a:pt x="1143" y="180"/>
                  </a:cubicBezTo>
                  <a:cubicBezTo>
                    <a:pt x="1236" y="141"/>
                    <a:pt x="1236" y="141"/>
                    <a:pt x="1236" y="141"/>
                  </a:cubicBezTo>
                  <a:lnTo>
                    <a:pt x="1465" y="684"/>
                  </a:lnTo>
                  <a:close/>
                  <a:moveTo>
                    <a:pt x="1769" y="81"/>
                  </a:moveTo>
                  <a:cubicBezTo>
                    <a:pt x="1814" y="126"/>
                    <a:pt x="1845" y="198"/>
                    <a:pt x="1861" y="297"/>
                  </a:cubicBezTo>
                  <a:cubicBezTo>
                    <a:pt x="1895" y="495"/>
                    <a:pt x="1848" y="605"/>
                    <a:pt x="1720" y="627"/>
                  </a:cubicBezTo>
                  <a:cubicBezTo>
                    <a:pt x="1654" y="638"/>
                    <a:pt x="1598" y="620"/>
                    <a:pt x="1554" y="574"/>
                  </a:cubicBezTo>
                  <a:cubicBezTo>
                    <a:pt x="1510" y="527"/>
                    <a:pt x="1479" y="452"/>
                    <a:pt x="1461" y="350"/>
                  </a:cubicBezTo>
                  <a:cubicBezTo>
                    <a:pt x="1445" y="257"/>
                    <a:pt x="1450" y="182"/>
                    <a:pt x="1476" y="127"/>
                  </a:cubicBezTo>
                  <a:cubicBezTo>
                    <a:pt x="1501" y="72"/>
                    <a:pt x="1544" y="39"/>
                    <a:pt x="1605" y="29"/>
                  </a:cubicBezTo>
                  <a:cubicBezTo>
                    <a:pt x="1669" y="18"/>
                    <a:pt x="1724" y="35"/>
                    <a:pt x="1769" y="81"/>
                  </a:cubicBezTo>
                  <a:close/>
                  <a:moveTo>
                    <a:pt x="1764" y="306"/>
                  </a:moveTo>
                  <a:cubicBezTo>
                    <a:pt x="1739" y="159"/>
                    <a:pt x="1693" y="91"/>
                    <a:pt x="1625" y="102"/>
                  </a:cubicBezTo>
                  <a:cubicBezTo>
                    <a:pt x="1555" y="114"/>
                    <a:pt x="1533" y="192"/>
                    <a:pt x="1558" y="338"/>
                  </a:cubicBezTo>
                  <a:cubicBezTo>
                    <a:pt x="1584" y="493"/>
                    <a:pt x="1633" y="564"/>
                    <a:pt x="1703" y="552"/>
                  </a:cubicBezTo>
                  <a:cubicBezTo>
                    <a:pt x="1770" y="541"/>
                    <a:pt x="1790" y="459"/>
                    <a:pt x="1764" y="306"/>
                  </a:cubicBezTo>
                  <a:close/>
                  <a:moveTo>
                    <a:pt x="2079" y="599"/>
                  </a:moveTo>
                  <a:cubicBezTo>
                    <a:pt x="1978" y="599"/>
                    <a:pt x="1978" y="599"/>
                    <a:pt x="1978" y="599"/>
                  </a:cubicBezTo>
                  <a:cubicBezTo>
                    <a:pt x="1978" y="10"/>
                    <a:pt x="1978" y="10"/>
                    <a:pt x="1978" y="10"/>
                  </a:cubicBezTo>
                  <a:cubicBezTo>
                    <a:pt x="2079" y="10"/>
                    <a:pt x="2079" y="10"/>
                    <a:pt x="2079" y="10"/>
                  </a:cubicBezTo>
                  <a:lnTo>
                    <a:pt x="2079" y="599"/>
                  </a:lnTo>
                  <a:close/>
                  <a:moveTo>
                    <a:pt x="2532" y="79"/>
                  </a:moveTo>
                  <a:cubicBezTo>
                    <a:pt x="2568" y="132"/>
                    <a:pt x="2587" y="208"/>
                    <a:pt x="2587" y="307"/>
                  </a:cubicBezTo>
                  <a:cubicBezTo>
                    <a:pt x="2587" y="508"/>
                    <a:pt x="2522" y="609"/>
                    <a:pt x="2393" y="609"/>
                  </a:cubicBezTo>
                  <a:cubicBezTo>
                    <a:pt x="2325" y="609"/>
                    <a:pt x="2273" y="582"/>
                    <a:pt x="2237" y="529"/>
                  </a:cubicBezTo>
                  <a:cubicBezTo>
                    <a:pt x="2201" y="476"/>
                    <a:pt x="2184" y="397"/>
                    <a:pt x="2184" y="293"/>
                  </a:cubicBezTo>
                  <a:cubicBezTo>
                    <a:pt x="2184" y="198"/>
                    <a:pt x="2201" y="126"/>
                    <a:pt x="2235" y="76"/>
                  </a:cubicBezTo>
                  <a:cubicBezTo>
                    <a:pt x="2269" y="26"/>
                    <a:pt x="2317" y="0"/>
                    <a:pt x="2379" y="0"/>
                  </a:cubicBezTo>
                  <a:cubicBezTo>
                    <a:pt x="2444" y="0"/>
                    <a:pt x="2495" y="27"/>
                    <a:pt x="2532" y="79"/>
                  </a:cubicBezTo>
                  <a:close/>
                  <a:moveTo>
                    <a:pt x="2489" y="301"/>
                  </a:moveTo>
                  <a:cubicBezTo>
                    <a:pt x="2489" y="151"/>
                    <a:pt x="2455" y="76"/>
                    <a:pt x="2386" y="76"/>
                  </a:cubicBezTo>
                  <a:cubicBezTo>
                    <a:pt x="2316" y="76"/>
                    <a:pt x="2281" y="150"/>
                    <a:pt x="2281" y="297"/>
                  </a:cubicBezTo>
                  <a:cubicBezTo>
                    <a:pt x="2281" y="454"/>
                    <a:pt x="2317" y="533"/>
                    <a:pt x="2388" y="533"/>
                  </a:cubicBezTo>
                  <a:cubicBezTo>
                    <a:pt x="2456" y="533"/>
                    <a:pt x="2489" y="456"/>
                    <a:pt x="2489" y="301"/>
                  </a:cubicBezTo>
                  <a:close/>
                  <a:moveTo>
                    <a:pt x="2791" y="599"/>
                  </a:moveTo>
                  <a:cubicBezTo>
                    <a:pt x="2690" y="599"/>
                    <a:pt x="2690" y="599"/>
                    <a:pt x="2690" y="599"/>
                  </a:cubicBezTo>
                  <a:cubicBezTo>
                    <a:pt x="2690" y="10"/>
                    <a:pt x="2690" y="10"/>
                    <a:pt x="2690" y="10"/>
                  </a:cubicBezTo>
                  <a:cubicBezTo>
                    <a:pt x="2791" y="10"/>
                    <a:pt x="2791" y="10"/>
                    <a:pt x="2791" y="10"/>
                  </a:cubicBezTo>
                  <a:lnTo>
                    <a:pt x="2791" y="599"/>
                  </a:lnTo>
                  <a:close/>
                  <a:moveTo>
                    <a:pt x="3244" y="79"/>
                  </a:moveTo>
                  <a:cubicBezTo>
                    <a:pt x="3281" y="132"/>
                    <a:pt x="3299" y="208"/>
                    <a:pt x="3299" y="307"/>
                  </a:cubicBezTo>
                  <a:cubicBezTo>
                    <a:pt x="3299" y="508"/>
                    <a:pt x="3234" y="609"/>
                    <a:pt x="3105" y="609"/>
                  </a:cubicBezTo>
                  <a:cubicBezTo>
                    <a:pt x="3037" y="609"/>
                    <a:pt x="2985" y="582"/>
                    <a:pt x="2949" y="529"/>
                  </a:cubicBezTo>
                  <a:cubicBezTo>
                    <a:pt x="2914" y="476"/>
                    <a:pt x="2896" y="397"/>
                    <a:pt x="2896" y="293"/>
                  </a:cubicBezTo>
                  <a:cubicBezTo>
                    <a:pt x="2896" y="198"/>
                    <a:pt x="2913" y="126"/>
                    <a:pt x="2947" y="76"/>
                  </a:cubicBezTo>
                  <a:cubicBezTo>
                    <a:pt x="2982" y="26"/>
                    <a:pt x="3029" y="0"/>
                    <a:pt x="3091" y="0"/>
                  </a:cubicBezTo>
                  <a:cubicBezTo>
                    <a:pt x="3156" y="0"/>
                    <a:pt x="3207" y="27"/>
                    <a:pt x="3244" y="79"/>
                  </a:cubicBezTo>
                  <a:close/>
                  <a:moveTo>
                    <a:pt x="3202" y="301"/>
                  </a:moveTo>
                  <a:cubicBezTo>
                    <a:pt x="3202" y="151"/>
                    <a:pt x="3167" y="76"/>
                    <a:pt x="3098" y="76"/>
                  </a:cubicBezTo>
                  <a:cubicBezTo>
                    <a:pt x="3028" y="76"/>
                    <a:pt x="2993" y="150"/>
                    <a:pt x="2993" y="297"/>
                  </a:cubicBezTo>
                  <a:cubicBezTo>
                    <a:pt x="2993" y="454"/>
                    <a:pt x="3029" y="533"/>
                    <a:pt x="3100" y="533"/>
                  </a:cubicBezTo>
                  <a:cubicBezTo>
                    <a:pt x="3168" y="533"/>
                    <a:pt x="3202" y="456"/>
                    <a:pt x="3202" y="301"/>
                  </a:cubicBezTo>
                  <a:close/>
                  <a:moveTo>
                    <a:pt x="3503" y="599"/>
                  </a:moveTo>
                  <a:cubicBezTo>
                    <a:pt x="3403" y="599"/>
                    <a:pt x="3403" y="599"/>
                    <a:pt x="3403" y="599"/>
                  </a:cubicBezTo>
                  <a:cubicBezTo>
                    <a:pt x="3403" y="10"/>
                    <a:pt x="3403" y="10"/>
                    <a:pt x="3403" y="10"/>
                  </a:cubicBezTo>
                  <a:cubicBezTo>
                    <a:pt x="3503" y="10"/>
                    <a:pt x="3503" y="10"/>
                    <a:pt x="3503" y="10"/>
                  </a:cubicBezTo>
                  <a:lnTo>
                    <a:pt x="3503" y="599"/>
                  </a:lnTo>
                  <a:close/>
                  <a:moveTo>
                    <a:pt x="3956" y="79"/>
                  </a:moveTo>
                  <a:cubicBezTo>
                    <a:pt x="3993" y="132"/>
                    <a:pt x="4011" y="208"/>
                    <a:pt x="4011" y="307"/>
                  </a:cubicBezTo>
                  <a:cubicBezTo>
                    <a:pt x="4011" y="508"/>
                    <a:pt x="3946" y="609"/>
                    <a:pt x="3817" y="609"/>
                  </a:cubicBezTo>
                  <a:cubicBezTo>
                    <a:pt x="3749" y="609"/>
                    <a:pt x="3697" y="582"/>
                    <a:pt x="3662" y="529"/>
                  </a:cubicBezTo>
                  <a:cubicBezTo>
                    <a:pt x="3626" y="476"/>
                    <a:pt x="3608" y="397"/>
                    <a:pt x="3608" y="293"/>
                  </a:cubicBezTo>
                  <a:cubicBezTo>
                    <a:pt x="3608" y="198"/>
                    <a:pt x="3625" y="126"/>
                    <a:pt x="3659" y="76"/>
                  </a:cubicBezTo>
                  <a:cubicBezTo>
                    <a:pt x="3694" y="26"/>
                    <a:pt x="3741" y="0"/>
                    <a:pt x="3803" y="0"/>
                  </a:cubicBezTo>
                  <a:cubicBezTo>
                    <a:pt x="3868" y="0"/>
                    <a:pt x="3920" y="27"/>
                    <a:pt x="3956" y="79"/>
                  </a:cubicBezTo>
                  <a:close/>
                  <a:moveTo>
                    <a:pt x="3914" y="301"/>
                  </a:moveTo>
                  <a:cubicBezTo>
                    <a:pt x="3914" y="151"/>
                    <a:pt x="3879" y="76"/>
                    <a:pt x="3810" y="76"/>
                  </a:cubicBezTo>
                  <a:cubicBezTo>
                    <a:pt x="3740" y="76"/>
                    <a:pt x="3705" y="150"/>
                    <a:pt x="3705" y="297"/>
                  </a:cubicBezTo>
                  <a:cubicBezTo>
                    <a:pt x="3705" y="454"/>
                    <a:pt x="3741" y="533"/>
                    <a:pt x="3812" y="533"/>
                  </a:cubicBezTo>
                  <a:cubicBezTo>
                    <a:pt x="3880" y="533"/>
                    <a:pt x="3914" y="456"/>
                    <a:pt x="3914" y="301"/>
                  </a:cubicBezTo>
                  <a:close/>
                  <a:moveTo>
                    <a:pt x="4215" y="599"/>
                  </a:moveTo>
                  <a:cubicBezTo>
                    <a:pt x="4115" y="599"/>
                    <a:pt x="4115" y="599"/>
                    <a:pt x="4115" y="599"/>
                  </a:cubicBezTo>
                  <a:cubicBezTo>
                    <a:pt x="4115" y="10"/>
                    <a:pt x="4115" y="10"/>
                    <a:pt x="4115" y="10"/>
                  </a:cubicBezTo>
                  <a:cubicBezTo>
                    <a:pt x="4215" y="10"/>
                    <a:pt x="4215" y="10"/>
                    <a:pt x="4215" y="10"/>
                  </a:cubicBezTo>
                  <a:lnTo>
                    <a:pt x="4215" y="599"/>
                  </a:lnTo>
                  <a:close/>
                  <a:moveTo>
                    <a:pt x="4668" y="79"/>
                  </a:moveTo>
                  <a:cubicBezTo>
                    <a:pt x="4704" y="132"/>
                    <a:pt x="4723" y="208"/>
                    <a:pt x="4723" y="307"/>
                  </a:cubicBezTo>
                  <a:cubicBezTo>
                    <a:pt x="4723" y="508"/>
                    <a:pt x="4658" y="609"/>
                    <a:pt x="4528" y="609"/>
                  </a:cubicBezTo>
                  <a:cubicBezTo>
                    <a:pt x="4461" y="609"/>
                    <a:pt x="4409" y="582"/>
                    <a:pt x="4373" y="529"/>
                  </a:cubicBezTo>
                  <a:cubicBezTo>
                    <a:pt x="4337" y="476"/>
                    <a:pt x="4319" y="397"/>
                    <a:pt x="4319" y="293"/>
                  </a:cubicBezTo>
                  <a:cubicBezTo>
                    <a:pt x="4319" y="198"/>
                    <a:pt x="4337" y="126"/>
                    <a:pt x="4371" y="76"/>
                  </a:cubicBezTo>
                  <a:cubicBezTo>
                    <a:pt x="4405" y="26"/>
                    <a:pt x="4453" y="0"/>
                    <a:pt x="4514" y="0"/>
                  </a:cubicBezTo>
                  <a:cubicBezTo>
                    <a:pt x="4580" y="0"/>
                    <a:pt x="4631" y="27"/>
                    <a:pt x="4668" y="79"/>
                  </a:cubicBezTo>
                  <a:close/>
                  <a:moveTo>
                    <a:pt x="4625" y="301"/>
                  </a:moveTo>
                  <a:cubicBezTo>
                    <a:pt x="4625" y="151"/>
                    <a:pt x="4591" y="76"/>
                    <a:pt x="4522" y="76"/>
                  </a:cubicBezTo>
                  <a:cubicBezTo>
                    <a:pt x="4452" y="76"/>
                    <a:pt x="4417" y="150"/>
                    <a:pt x="4417" y="297"/>
                  </a:cubicBezTo>
                  <a:cubicBezTo>
                    <a:pt x="4417" y="454"/>
                    <a:pt x="4452" y="533"/>
                    <a:pt x="4524" y="533"/>
                  </a:cubicBezTo>
                  <a:cubicBezTo>
                    <a:pt x="4592" y="533"/>
                    <a:pt x="4625" y="456"/>
                    <a:pt x="4625" y="301"/>
                  </a:cubicBezTo>
                  <a:close/>
                  <a:moveTo>
                    <a:pt x="4927" y="599"/>
                  </a:moveTo>
                  <a:cubicBezTo>
                    <a:pt x="4827" y="599"/>
                    <a:pt x="4827" y="599"/>
                    <a:pt x="4827" y="599"/>
                  </a:cubicBezTo>
                  <a:cubicBezTo>
                    <a:pt x="4827" y="10"/>
                    <a:pt x="4827" y="10"/>
                    <a:pt x="4827" y="10"/>
                  </a:cubicBezTo>
                  <a:cubicBezTo>
                    <a:pt x="4927" y="10"/>
                    <a:pt x="4927" y="10"/>
                    <a:pt x="4927" y="10"/>
                  </a:cubicBezTo>
                  <a:lnTo>
                    <a:pt x="4927" y="599"/>
                  </a:lnTo>
                  <a:close/>
                  <a:moveTo>
                    <a:pt x="5380" y="79"/>
                  </a:moveTo>
                  <a:cubicBezTo>
                    <a:pt x="5416" y="132"/>
                    <a:pt x="5435" y="208"/>
                    <a:pt x="5435" y="307"/>
                  </a:cubicBezTo>
                  <a:cubicBezTo>
                    <a:pt x="5435" y="508"/>
                    <a:pt x="5370" y="609"/>
                    <a:pt x="5241" y="609"/>
                  </a:cubicBezTo>
                  <a:cubicBezTo>
                    <a:pt x="5173" y="609"/>
                    <a:pt x="5121" y="582"/>
                    <a:pt x="5085" y="529"/>
                  </a:cubicBezTo>
                  <a:cubicBezTo>
                    <a:pt x="5049" y="476"/>
                    <a:pt x="5032" y="397"/>
                    <a:pt x="5032" y="293"/>
                  </a:cubicBezTo>
                  <a:cubicBezTo>
                    <a:pt x="5032" y="198"/>
                    <a:pt x="5049" y="126"/>
                    <a:pt x="5083" y="76"/>
                  </a:cubicBezTo>
                  <a:cubicBezTo>
                    <a:pt x="5117" y="26"/>
                    <a:pt x="5165" y="0"/>
                    <a:pt x="5227" y="0"/>
                  </a:cubicBezTo>
                  <a:cubicBezTo>
                    <a:pt x="5292" y="0"/>
                    <a:pt x="5343" y="27"/>
                    <a:pt x="5380" y="79"/>
                  </a:cubicBezTo>
                  <a:close/>
                  <a:moveTo>
                    <a:pt x="5337" y="301"/>
                  </a:moveTo>
                  <a:cubicBezTo>
                    <a:pt x="5337" y="151"/>
                    <a:pt x="5303" y="76"/>
                    <a:pt x="5234" y="76"/>
                  </a:cubicBezTo>
                  <a:cubicBezTo>
                    <a:pt x="5164" y="76"/>
                    <a:pt x="5129" y="150"/>
                    <a:pt x="5129" y="297"/>
                  </a:cubicBezTo>
                  <a:cubicBezTo>
                    <a:pt x="5129" y="454"/>
                    <a:pt x="5165" y="533"/>
                    <a:pt x="5236" y="533"/>
                  </a:cubicBezTo>
                  <a:cubicBezTo>
                    <a:pt x="5304" y="533"/>
                    <a:pt x="5337" y="456"/>
                    <a:pt x="5337" y="301"/>
                  </a:cubicBezTo>
                  <a:close/>
                  <a:moveTo>
                    <a:pt x="5575" y="641"/>
                  </a:moveTo>
                  <a:cubicBezTo>
                    <a:pt x="5478" y="614"/>
                    <a:pt x="5478" y="614"/>
                    <a:pt x="5478" y="614"/>
                  </a:cubicBezTo>
                  <a:cubicBezTo>
                    <a:pt x="5638" y="47"/>
                    <a:pt x="5638" y="47"/>
                    <a:pt x="5638" y="47"/>
                  </a:cubicBezTo>
                  <a:cubicBezTo>
                    <a:pt x="5735" y="75"/>
                    <a:pt x="5735" y="75"/>
                    <a:pt x="5735" y="75"/>
                  </a:cubicBezTo>
                  <a:lnTo>
                    <a:pt x="5575" y="641"/>
                  </a:lnTo>
                  <a:close/>
                  <a:moveTo>
                    <a:pt x="5745" y="728"/>
                  </a:moveTo>
                  <a:cubicBezTo>
                    <a:pt x="5658" y="677"/>
                    <a:pt x="5658" y="677"/>
                    <a:pt x="5658" y="677"/>
                  </a:cubicBezTo>
                  <a:cubicBezTo>
                    <a:pt x="5956" y="169"/>
                    <a:pt x="5956" y="169"/>
                    <a:pt x="5956" y="169"/>
                  </a:cubicBezTo>
                  <a:cubicBezTo>
                    <a:pt x="6043" y="220"/>
                    <a:pt x="6043" y="220"/>
                    <a:pt x="6043" y="220"/>
                  </a:cubicBezTo>
                  <a:lnTo>
                    <a:pt x="5745" y="728"/>
                  </a:lnTo>
                  <a:close/>
                  <a:moveTo>
                    <a:pt x="6407" y="675"/>
                  </a:moveTo>
                  <a:cubicBezTo>
                    <a:pt x="6389" y="736"/>
                    <a:pt x="6341" y="797"/>
                    <a:pt x="6262" y="859"/>
                  </a:cubicBezTo>
                  <a:cubicBezTo>
                    <a:pt x="6105" y="984"/>
                    <a:pt x="5986" y="996"/>
                    <a:pt x="5905" y="894"/>
                  </a:cubicBezTo>
                  <a:cubicBezTo>
                    <a:pt x="5863" y="841"/>
                    <a:pt x="5852" y="784"/>
                    <a:pt x="5872" y="723"/>
                  </a:cubicBezTo>
                  <a:cubicBezTo>
                    <a:pt x="5891" y="661"/>
                    <a:pt x="5942" y="599"/>
                    <a:pt x="6024" y="534"/>
                  </a:cubicBezTo>
                  <a:cubicBezTo>
                    <a:pt x="6098" y="475"/>
                    <a:pt x="6165" y="444"/>
                    <a:pt x="6226" y="440"/>
                  </a:cubicBezTo>
                  <a:cubicBezTo>
                    <a:pt x="6286" y="435"/>
                    <a:pt x="6336" y="457"/>
                    <a:pt x="6374" y="506"/>
                  </a:cubicBezTo>
                  <a:cubicBezTo>
                    <a:pt x="6415" y="557"/>
                    <a:pt x="6426" y="613"/>
                    <a:pt x="6407" y="675"/>
                  </a:cubicBezTo>
                  <a:close/>
                  <a:moveTo>
                    <a:pt x="6207" y="779"/>
                  </a:moveTo>
                  <a:cubicBezTo>
                    <a:pt x="6325" y="686"/>
                    <a:pt x="6362" y="612"/>
                    <a:pt x="6319" y="558"/>
                  </a:cubicBezTo>
                  <a:cubicBezTo>
                    <a:pt x="6276" y="503"/>
                    <a:pt x="6196" y="521"/>
                    <a:pt x="6081" y="613"/>
                  </a:cubicBezTo>
                  <a:cubicBezTo>
                    <a:pt x="5957" y="710"/>
                    <a:pt x="5918" y="787"/>
                    <a:pt x="5962" y="843"/>
                  </a:cubicBezTo>
                  <a:cubicBezTo>
                    <a:pt x="6004" y="896"/>
                    <a:pt x="6086" y="875"/>
                    <a:pt x="6207" y="779"/>
                  </a:cubicBezTo>
                  <a:close/>
                  <a:moveTo>
                    <a:pt x="6127" y="1217"/>
                  </a:moveTo>
                  <a:cubicBezTo>
                    <a:pt x="6070" y="1134"/>
                    <a:pt x="6070" y="1134"/>
                    <a:pt x="6070" y="1134"/>
                  </a:cubicBezTo>
                  <a:cubicBezTo>
                    <a:pt x="6558" y="805"/>
                    <a:pt x="6558" y="805"/>
                    <a:pt x="6558" y="805"/>
                  </a:cubicBezTo>
                  <a:cubicBezTo>
                    <a:pt x="6615" y="888"/>
                    <a:pt x="6615" y="888"/>
                    <a:pt x="6615" y="888"/>
                  </a:cubicBezTo>
                  <a:lnTo>
                    <a:pt x="6127" y="1217"/>
                  </a:lnTo>
                  <a:close/>
                  <a:moveTo>
                    <a:pt x="6290" y="1438"/>
                  </a:moveTo>
                  <a:cubicBezTo>
                    <a:pt x="6229" y="1358"/>
                    <a:pt x="6229" y="1358"/>
                    <a:pt x="6229" y="1358"/>
                  </a:cubicBezTo>
                  <a:cubicBezTo>
                    <a:pt x="6694" y="998"/>
                    <a:pt x="6694" y="998"/>
                    <a:pt x="6694" y="998"/>
                  </a:cubicBezTo>
                  <a:cubicBezTo>
                    <a:pt x="6756" y="1077"/>
                    <a:pt x="6756" y="1077"/>
                    <a:pt x="6756" y="1077"/>
                  </a:cubicBezTo>
                  <a:lnTo>
                    <a:pt x="6290" y="1438"/>
                  </a:lnTo>
                  <a:close/>
                  <a:moveTo>
                    <a:pt x="6467" y="1647"/>
                  </a:moveTo>
                  <a:cubicBezTo>
                    <a:pt x="6401" y="1571"/>
                    <a:pt x="6401" y="1571"/>
                    <a:pt x="6401" y="1571"/>
                  </a:cubicBezTo>
                  <a:cubicBezTo>
                    <a:pt x="6842" y="1182"/>
                    <a:pt x="6842" y="1182"/>
                    <a:pt x="6842" y="1182"/>
                  </a:cubicBezTo>
                  <a:cubicBezTo>
                    <a:pt x="6908" y="1257"/>
                    <a:pt x="6908" y="1257"/>
                    <a:pt x="6908" y="1257"/>
                  </a:cubicBezTo>
                  <a:lnTo>
                    <a:pt x="6467" y="1647"/>
                  </a:lnTo>
                  <a:close/>
                  <a:moveTo>
                    <a:pt x="7174" y="1615"/>
                  </a:moveTo>
                  <a:cubicBezTo>
                    <a:pt x="7165" y="1679"/>
                    <a:pt x="7126" y="1747"/>
                    <a:pt x="7058" y="1819"/>
                  </a:cubicBezTo>
                  <a:cubicBezTo>
                    <a:pt x="6920" y="1966"/>
                    <a:pt x="6804" y="1995"/>
                    <a:pt x="6710" y="1907"/>
                  </a:cubicBezTo>
                  <a:cubicBezTo>
                    <a:pt x="6660" y="1860"/>
                    <a:pt x="6641" y="1806"/>
                    <a:pt x="6651" y="1742"/>
                  </a:cubicBezTo>
                  <a:cubicBezTo>
                    <a:pt x="6662" y="1679"/>
                    <a:pt x="6702" y="1609"/>
                    <a:pt x="6773" y="1533"/>
                  </a:cubicBezTo>
                  <a:cubicBezTo>
                    <a:pt x="6838" y="1464"/>
                    <a:pt x="6900" y="1423"/>
                    <a:pt x="6960" y="1410"/>
                  </a:cubicBezTo>
                  <a:cubicBezTo>
                    <a:pt x="7019" y="1397"/>
                    <a:pt x="7071" y="1411"/>
                    <a:pt x="7116" y="1453"/>
                  </a:cubicBezTo>
                  <a:cubicBezTo>
                    <a:pt x="7164" y="1498"/>
                    <a:pt x="7183" y="1552"/>
                    <a:pt x="7174" y="1615"/>
                  </a:cubicBezTo>
                  <a:close/>
                  <a:moveTo>
                    <a:pt x="6991" y="1748"/>
                  </a:moveTo>
                  <a:cubicBezTo>
                    <a:pt x="7094" y="1639"/>
                    <a:pt x="7120" y="1560"/>
                    <a:pt x="7069" y="1513"/>
                  </a:cubicBezTo>
                  <a:cubicBezTo>
                    <a:pt x="7018" y="1465"/>
                    <a:pt x="6942" y="1495"/>
                    <a:pt x="6842" y="1603"/>
                  </a:cubicBezTo>
                  <a:cubicBezTo>
                    <a:pt x="6734" y="1717"/>
                    <a:pt x="6706" y="1799"/>
                    <a:pt x="6758" y="1848"/>
                  </a:cubicBezTo>
                  <a:cubicBezTo>
                    <a:pt x="6808" y="1894"/>
                    <a:pt x="6885" y="1861"/>
                    <a:pt x="6991" y="1748"/>
                  </a:cubicBezTo>
                  <a:close/>
                  <a:moveTo>
                    <a:pt x="7053" y="2183"/>
                  </a:moveTo>
                  <a:cubicBezTo>
                    <a:pt x="6974" y="2122"/>
                    <a:pt x="6974" y="2122"/>
                    <a:pt x="6974" y="2122"/>
                  </a:cubicBezTo>
                  <a:cubicBezTo>
                    <a:pt x="7334" y="1656"/>
                    <a:pt x="7334" y="1656"/>
                    <a:pt x="7334" y="1656"/>
                  </a:cubicBezTo>
                  <a:cubicBezTo>
                    <a:pt x="7414" y="1717"/>
                    <a:pt x="7414" y="1717"/>
                    <a:pt x="7414" y="1717"/>
                  </a:cubicBezTo>
                  <a:lnTo>
                    <a:pt x="7053" y="2183"/>
                  </a:lnTo>
                  <a:close/>
                  <a:moveTo>
                    <a:pt x="7742" y="2020"/>
                  </a:moveTo>
                  <a:cubicBezTo>
                    <a:pt x="7744" y="2084"/>
                    <a:pt x="7719" y="2158"/>
                    <a:pt x="7666" y="2242"/>
                  </a:cubicBezTo>
                  <a:cubicBezTo>
                    <a:pt x="7558" y="2412"/>
                    <a:pt x="7450" y="2462"/>
                    <a:pt x="7340" y="2393"/>
                  </a:cubicBezTo>
                  <a:cubicBezTo>
                    <a:pt x="7283" y="2357"/>
                    <a:pt x="7254" y="2307"/>
                    <a:pt x="7252" y="2242"/>
                  </a:cubicBezTo>
                  <a:cubicBezTo>
                    <a:pt x="7250" y="2178"/>
                    <a:pt x="7277" y="2102"/>
                    <a:pt x="7333" y="2014"/>
                  </a:cubicBezTo>
                  <a:cubicBezTo>
                    <a:pt x="7384" y="1934"/>
                    <a:pt x="7437" y="1882"/>
                    <a:pt x="7493" y="1858"/>
                  </a:cubicBezTo>
                  <a:cubicBezTo>
                    <a:pt x="7548" y="1834"/>
                    <a:pt x="7602" y="1839"/>
                    <a:pt x="7654" y="1871"/>
                  </a:cubicBezTo>
                  <a:cubicBezTo>
                    <a:pt x="7710" y="1907"/>
                    <a:pt x="7739" y="1956"/>
                    <a:pt x="7742" y="2020"/>
                  </a:cubicBezTo>
                  <a:close/>
                  <a:moveTo>
                    <a:pt x="7587" y="2184"/>
                  </a:moveTo>
                  <a:cubicBezTo>
                    <a:pt x="7667" y="2058"/>
                    <a:pt x="7678" y="1976"/>
                    <a:pt x="7620" y="1939"/>
                  </a:cubicBezTo>
                  <a:cubicBezTo>
                    <a:pt x="7561" y="1902"/>
                    <a:pt x="7492" y="1945"/>
                    <a:pt x="7413" y="2070"/>
                  </a:cubicBezTo>
                  <a:cubicBezTo>
                    <a:pt x="7329" y="2203"/>
                    <a:pt x="7317" y="2288"/>
                    <a:pt x="7377" y="2326"/>
                  </a:cubicBezTo>
                  <a:cubicBezTo>
                    <a:pt x="7434" y="2363"/>
                    <a:pt x="7504" y="2315"/>
                    <a:pt x="7587" y="2184"/>
                  </a:cubicBezTo>
                  <a:close/>
                  <a:moveTo>
                    <a:pt x="7730" y="2600"/>
                  </a:moveTo>
                  <a:cubicBezTo>
                    <a:pt x="7640" y="2555"/>
                    <a:pt x="7640" y="2555"/>
                    <a:pt x="7640" y="2555"/>
                  </a:cubicBezTo>
                  <a:cubicBezTo>
                    <a:pt x="7907" y="2029"/>
                    <a:pt x="7907" y="2029"/>
                    <a:pt x="7907" y="2029"/>
                  </a:cubicBezTo>
                  <a:cubicBezTo>
                    <a:pt x="7997" y="2075"/>
                    <a:pt x="7997" y="2075"/>
                    <a:pt x="7997" y="2075"/>
                  </a:cubicBezTo>
                  <a:lnTo>
                    <a:pt x="7730" y="2600"/>
                  </a:lnTo>
                  <a:close/>
                  <a:moveTo>
                    <a:pt x="8375" y="2310"/>
                  </a:moveTo>
                  <a:cubicBezTo>
                    <a:pt x="8390" y="2372"/>
                    <a:pt x="8380" y="2450"/>
                    <a:pt x="8343" y="2542"/>
                  </a:cubicBezTo>
                  <a:cubicBezTo>
                    <a:pt x="8270" y="2730"/>
                    <a:pt x="8173" y="2800"/>
                    <a:pt x="8052" y="2752"/>
                  </a:cubicBezTo>
                  <a:cubicBezTo>
                    <a:pt x="7989" y="2728"/>
                    <a:pt x="7951" y="2684"/>
                    <a:pt x="7937" y="2621"/>
                  </a:cubicBezTo>
                  <a:cubicBezTo>
                    <a:pt x="7923" y="2558"/>
                    <a:pt x="7935" y="2478"/>
                    <a:pt x="7973" y="2382"/>
                  </a:cubicBezTo>
                  <a:cubicBezTo>
                    <a:pt x="8008" y="2293"/>
                    <a:pt x="8050" y="2232"/>
                    <a:pt x="8100" y="2198"/>
                  </a:cubicBezTo>
                  <a:cubicBezTo>
                    <a:pt x="8151" y="2164"/>
                    <a:pt x="8204" y="2158"/>
                    <a:pt x="8261" y="2181"/>
                  </a:cubicBezTo>
                  <a:cubicBezTo>
                    <a:pt x="8323" y="2205"/>
                    <a:pt x="8361" y="2248"/>
                    <a:pt x="8375" y="2310"/>
                  </a:cubicBezTo>
                  <a:close/>
                  <a:moveTo>
                    <a:pt x="8255" y="2501"/>
                  </a:moveTo>
                  <a:cubicBezTo>
                    <a:pt x="8310" y="2361"/>
                    <a:pt x="8305" y="2279"/>
                    <a:pt x="8241" y="2254"/>
                  </a:cubicBezTo>
                  <a:cubicBezTo>
                    <a:pt x="8175" y="2228"/>
                    <a:pt x="8116" y="2284"/>
                    <a:pt x="8062" y="2421"/>
                  </a:cubicBezTo>
                  <a:cubicBezTo>
                    <a:pt x="8005" y="2567"/>
                    <a:pt x="8009" y="2654"/>
                    <a:pt x="8076" y="2680"/>
                  </a:cubicBezTo>
                  <a:cubicBezTo>
                    <a:pt x="8139" y="2705"/>
                    <a:pt x="8198" y="2645"/>
                    <a:pt x="8255" y="2501"/>
                  </a:cubicBezTo>
                  <a:close/>
                  <a:moveTo>
                    <a:pt x="8475" y="2882"/>
                  </a:moveTo>
                  <a:cubicBezTo>
                    <a:pt x="8378" y="2854"/>
                    <a:pt x="8378" y="2854"/>
                    <a:pt x="8378" y="2854"/>
                  </a:cubicBezTo>
                  <a:cubicBezTo>
                    <a:pt x="8540" y="2288"/>
                    <a:pt x="8540" y="2288"/>
                    <a:pt x="8540" y="2288"/>
                  </a:cubicBezTo>
                  <a:cubicBezTo>
                    <a:pt x="8636" y="2316"/>
                    <a:pt x="8636" y="2316"/>
                    <a:pt x="8636" y="2316"/>
                  </a:cubicBezTo>
                  <a:lnTo>
                    <a:pt x="8475" y="2882"/>
                  </a:lnTo>
                  <a:close/>
                  <a:moveTo>
                    <a:pt x="9053" y="2475"/>
                  </a:moveTo>
                  <a:cubicBezTo>
                    <a:pt x="9079" y="2533"/>
                    <a:pt x="9083" y="2611"/>
                    <a:pt x="9065" y="2709"/>
                  </a:cubicBezTo>
                  <a:cubicBezTo>
                    <a:pt x="9028" y="2907"/>
                    <a:pt x="8946" y="2994"/>
                    <a:pt x="8819" y="2970"/>
                  </a:cubicBezTo>
                  <a:cubicBezTo>
                    <a:pt x="8753" y="2958"/>
                    <a:pt x="8707" y="2922"/>
                    <a:pt x="8681" y="2863"/>
                  </a:cubicBezTo>
                  <a:cubicBezTo>
                    <a:pt x="8655" y="2804"/>
                    <a:pt x="8652" y="2724"/>
                    <a:pt x="8671" y="2621"/>
                  </a:cubicBezTo>
                  <a:cubicBezTo>
                    <a:pt x="8688" y="2528"/>
                    <a:pt x="8719" y="2460"/>
                    <a:pt x="8761" y="2417"/>
                  </a:cubicBezTo>
                  <a:cubicBezTo>
                    <a:pt x="8804" y="2374"/>
                    <a:pt x="8856" y="2358"/>
                    <a:pt x="8916" y="2369"/>
                  </a:cubicBezTo>
                  <a:cubicBezTo>
                    <a:pt x="8981" y="2381"/>
                    <a:pt x="9026" y="2416"/>
                    <a:pt x="9053" y="2475"/>
                  </a:cubicBezTo>
                  <a:close/>
                  <a:moveTo>
                    <a:pt x="8970" y="2685"/>
                  </a:moveTo>
                  <a:cubicBezTo>
                    <a:pt x="8998" y="2537"/>
                    <a:pt x="8978" y="2458"/>
                    <a:pt x="8910" y="2445"/>
                  </a:cubicBezTo>
                  <a:cubicBezTo>
                    <a:pt x="8841" y="2432"/>
                    <a:pt x="8793" y="2498"/>
                    <a:pt x="8766" y="2643"/>
                  </a:cubicBezTo>
                  <a:cubicBezTo>
                    <a:pt x="8737" y="2798"/>
                    <a:pt x="8758" y="2882"/>
                    <a:pt x="8828" y="2895"/>
                  </a:cubicBezTo>
                  <a:cubicBezTo>
                    <a:pt x="8895" y="2907"/>
                    <a:pt x="8942" y="2837"/>
                    <a:pt x="8970" y="2685"/>
                  </a:cubicBezTo>
                  <a:close/>
                  <a:moveTo>
                    <a:pt x="9258" y="3018"/>
                  </a:moveTo>
                  <a:cubicBezTo>
                    <a:pt x="9158" y="3009"/>
                    <a:pt x="9158" y="3009"/>
                    <a:pt x="9158" y="3009"/>
                  </a:cubicBezTo>
                  <a:cubicBezTo>
                    <a:pt x="9210" y="2422"/>
                    <a:pt x="9210" y="2422"/>
                    <a:pt x="9210" y="2422"/>
                  </a:cubicBezTo>
                  <a:cubicBezTo>
                    <a:pt x="9310" y="2431"/>
                    <a:pt x="9310" y="2431"/>
                    <a:pt x="9310" y="2431"/>
                  </a:cubicBezTo>
                  <a:lnTo>
                    <a:pt x="9258" y="3018"/>
                  </a:lnTo>
                  <a:close/>
                  <a:moveTo>
                    <a:pt x="9750" y="2508"/>
                  </a:moveTo>
                  <a:cubicBezTo>
                    <a:pt x="9787" y="2560"/>
                    <a:pt x="9806" y="2636"/>
                    <a:pt x="9807" y="2736"/>
                  </a:cubicBezTo>
                  <a:cubicBezTo>
                    <a:pt x="9809" y="2937"/>
                    <a:pt x="9745" y="3038"/>
                    <a:pt x="9616" y="3039"/>
                  </a:cubicBezTo>
                  <a:cubicBezTo>
                    <a:pt x="9548" y="3040"/>
                    <a:pt x="9496" y="3014"/>
                    <a:pt x="9460" y="2961"/>
                  </a:cubicBezTo>
                  <a:cubicBezTo>
                    <a:pt x="9423" y="2908"/>
                    <a:pt x="9405" y="2829"/>
                    <a:pt x="9404" y="2725"/>
                  </a:cubicBezTo>
                  <a:cubicBezTo>
                    <a:pt x="9403" y="2631"/>
                    <a:pt x="9419" y="2558"/>
                    <a:pt x="9453" y="2508"/>
                  </a:cubicBezTo>
                  <a:cubicBezTo>
                    <a:pt x="9487" y="2457"/>
                    <a:pt x="9534" y="2432"/>
                    <a:pt x="9595" y="2431"/>
                  </a:cubicBezTo>
                  <a:cubicBezTo>
                    <a:pt x="9661" y="2430"/>
                    <a:pt x="9713" y="2456"/>
                    <a:pt x="9750" y="2508"/>
                  </a:cubicBezTo>
                  <a:close/>
                  <a:moveTo>
                    <a:pt x="9710" y="2730"/>
                  </a:moveTo>
                  <a:cubicBezTo>
                    <a:pt x="9708" y="2580"/>
                    <a:pt x="9673" y="2506"/>
                    <a:pt x="9604" y="2507"/>
                  </a:cubicBezTo>
                  <a:cubicBezTo>
                    <a:pt x="9534" y="2507"/>
                    <a:pt x="9499" y="2581"/>
                    <a:pt x="9501" y="2729"/>
                  </a:cubicBezTo>
                  <a:cubicBezTo>
                    <a:pt x="9503" y="2886"/>
                    <a:pt x="9539" y="2964"/>
                    <a:pt x="9611" y="2963"/>
                  </a:cubicBezTo>
                  <a:cubicBezTo>
                    <a:pt x="9678" y="2963"/>
                    <a:pt x="9711" y="2885"/>
                    <a:pt x="9710" y="2730"/>
                  </a:cubicBezTo>
                  <a:close/>
                  <a:moveTo>
                    <a:pt x="10204" y="2461"/>
                  </a:moveTo>
                  <a:cubicBezTo>
                    <a:pt x="10247" y="2508"/>
                    <a:pt x="10275" y="2581"/>
                    <a:pt x="10288" y="2680"/>
                  </a:cubicBezTo>
                  <a:cubicBezTo>
                    <a:pt x="10314" y="2879"/>
                    <a:pt x="10262" y="2987"/>
                    <a:pt x="10134" y="3004"/>
                  </a:cubicBezTo>
                  <a:cubicBezTo>
                    <a:pt x="10067" y="3012"/>
                    <a:pt x="10012" y="2993"/>
                    <a:pt x="9970" y="2944"/>
                  </a:cubicBezTo>
                  <a:cubicBezTo>
                    <a:pt x="9927" y="2896"/>
                    <a:pt x="9899" y="2820"/>
                    <a:pt x="9886" y="2717"/>
                  </a:cubicBezTo>
                  <a:cubicBezTo>
                    <a:pt x="9874" y="2623"/>
                    <a:pt x="9882" y="2549"/>
                    <a:pt x="9910" y="2495"/>
                  </a:cubicBezTo>
                  <a:cubicBezTo>
                    <a:pt x="9937" y="2441"/>
                    <a:pt x="9981" y="2410"/>
                    <a:pt x="10042" y="2402"/>
                  </a:cubicBezTo>
                  <a:cubicBezTo>
                    <a:pt x="10107" y="2394"/>
                    <a:pt x="10161" y="2413"/>
                    <a:pt x="10204" y="2461"/>
                  </a:cubicBezTo>
                  <a:close/>
                  <a:moveTo>
                    <a:pt x="10191" y="2686"/>
                  </a:moveTo>
                  <a:cubicBezTo>
                    <a:pt x="10171" y="2537"/>
                    <a:pt x="10128" y="2467"/>
                    <a:pt x="10059" y="2476"/>
                  </a:cubicBezTo>
                  <a:cubicBezTo>
                    <a:pt x="9990" y="2485"/>
                    <a:pt x="9964" y="2563"/>
                    <a:pt x="9983" y="2709"/>
                  </a:cubicBezTo>
                  <a:cubicBezTo>
                    <a:pt x="10003" y="2865"/>
                    <a:pt x="10049" y="2938"/>
                    <a:pt x="10120" y="2929"/>
                  </a:cubicBezTo>
                  <a:cubicBezTo>
                    <a:pt x="10187" y="2920"/>
                    <a:pt x="10210" y="2839"/>
                    <a:pt x="10191" y="2686"/>
                  </a:cubicBezTo>
                  <a:close/>
                  <a:moveTo>
                    <a:pt x="10566" y="2914"/>
                  </a:moveTo>
                  <a:cubicBezTo>
                    <a:pt x="10468" y="2937"/>
                    <a:pt x="10468" y="2937"/>
                    <a:pt x="10468" y="2937"/>
                  </a:cubicBezTo>
                  <a:cubicBezTo>
                    <a:pt x="10338" y="2362"/>
                    <a:pt x="10338" y="2362"/>
                    <a:pt x="10338" y="2362"/>
                  </a:cubicBezTo>
                  <a:cubicBezTo>
                    <a:pt x="10436" y="2340"/>
                    <a:pt x="10436" y="2340"/>
                    <a:pt x="10436" y="2340"/>
                  </a:cubicBezTo>
                  <a:lnTo>
                    <a:pt x="10566" y="2914"/>
                  </a:lnTo>
                  <a:close/>
                  <a:moveTo>
                    <a:pt x="10878" y="2279"/>
                  </a:moveTo>
                  <a:cubicBezTo>
                    <a:pt x="10929" y="2317"/>
                    <a:pt x="10970" y="2384"/>
                    <a:pt x="11001" y="2478"/>
                  </a:cubicBezTo>
                  <a:cubicBezTo>
                    <a:pt x="11064" y="2669"/>
                    <a:pt x="11034" y="2785"/>
                    <a:pt x="10911" y="2826"/>
                  </a:cubicBezTo>
                  <a:cubicBezTo>
                    <a:pt x="10847" y="2847"/>
                    <a:pt x="10790" y="2838"/>
                    <a:pt x="10739" y="2798"/>
                  </a:cubicBezTo>
                  <a:cubicBezTo>
                    <a:pt x="10688" y="2759"/>
                    <a:pt x="10646" y="2690"/>
                    <a:pt x="10614" y="2591"/>
                  </a:cubicBezTo>
                  <a:cubicBezTo>
                    <a:pt x="10584" y="2501"/>
                    <a:pt x="10578" y="2427"/>
                    <a:pt x="10595" y="2369"/>
                  </a:cubicBezTo>
                  <a:cubicBezTo>
                    <a:pt x="10612" y="2310"/>
                    <a:pt x="10649" y="2272"/>
                    <a:pt x="10707" y="2252"/>
                  </a:cubicBezTo>
                  <a:cubicBezTo>
                    <a:pt x="10770" y="2232"/>
                    <a:pt x="10826" y="2241"/>
                    <a:pt x="10878" y="2279"/>
                  </a:cubicBezTo>
                  <a:close/>
                  <a:moveTo>
                    <a:pt x="10907" y="2503"/>
                  </a:moveTo>
                  <a:cubicBezTo>
                    <a:pt x="10860" y="2360"/>
                    <a:pt x="10804" y="2300"/>
                    <a:pt x="10738" y="2322"/>
                  </a:cubicBezTo>
                  <a:cubicBezTo>
                    <a:pt x="10671" y="2344"/>
                    <a:pt x="10661" y="2425"/>
                    <a:pt x="10707" y="2564"/>
                  </a:cubicBezTo>
                  <a:cubicBezTo>
                    <a:pt x="10757" y="2714"/>
                    <a:pt x="10815" y="2777"/>
                    <a:pt x="10883" y="2755"/>
                  </a:cubicBezTo>
                  <a:cubicBezTo>
                    <a:pt x="10947" y="2734"/>
                    <a:pt x="10955" y="2650"/>
                    <a:pt x="10907" y="2503"/>
                  </a:cubicBezTo>
                  <a:close/>
                  <a:moveTo>
                    <a:pt x="11295" y="2092"/>
                  </a:moveTo>
                  <a:cubicBezTo>
                    <a:pt x="11350" y="2124"/>
                    <a:pt x="11400" y="2184"/>
                    <a:pt x="11442" y="2274"/>
                  </a:cubicBezTo>
                  <a:cubicBezTo>
                    <a:pt x="11529" y="2456"/>
                    <a:pt x="11513" y="2575"/>
                    <a:pt x="11396" y="2630"/>
                  </a:cubicBezTo>
                  <a:cubicBezTo>
                    <a:pt x="11335" y="2659"/>
                    <a:pt x="11277" y="2657"/>
                    <a:pt x="11222" y="2625"/>
                  </a:cubicBezTo>
                  <a:cubicBezTo>
                    <a:pt x="11167" y="2592"/>
                    <a:pt x="11117" y="2528"/>
                    <a:pt x="11072" y="2434"/>
                  </a:cubicBezTo>
                  <a:cubicBezTo>
                    <a:pt x="11031" y="2349"/>
                    <a:pt x="11016" y="2276"/>
                    <a:pt x="11025" y="2216"/>
                  </a:cubicBezTo>
                  <a:cubicBezTo>
                    <a:pt x="11035" y="2156"/>
                    <a:pt x="11067" y="2113"/>
                    <a:pt x="11123" y="2087"/>
                  </a:cubicBezTo>
                  <a:cubicBezTo>
                    <a:pt x="11182" y="2059"/>
                    <a:pt x="11239" y="2060"/>
                    <a:pt x="11295" y="2092"/>
                  </a:cubicBezTo>
                  <a:close/>
                  <a:moveTo>
                    <a:pt x="11352" y="2310"/>
                  </a:moveTo>
                  <a:cubicBezTo>
                    <a:pt x="11287" y="2175"/>
                    <a:pt x="11224" y="2122"/>
                    <a:pt x="11162" y="2152"/>
                  </a:cubicBezTo>
                  <a:cubicBezTo>
                    <a:pt x="11098" y="2182"/>
                    <a:pt x="11098" y="2263"/>
                    <a:pt x="11162" y="2396"/>
                  </a:cubicBezTo>
                  <a:cubicBezTo>
                    <a:pt x="11229" y="2539"/>
                    <a:pt x="11295" y="2594"/>
                    <a:pt x="11360" y="2564"/>
                  </a:cubicBezTo>
                  <a:cubicBezTo>
                    <a:pt x="11421" y="2535"/>
                    <a:pt x="11418" y="2450"/>
                    <a:pt x="11352" y="2310"/>
                  </a:cubicBezTo>
                  <a:close/>
                  <a:moveTo>
                    <a:pt x="11780" y="2411"/>
                  </a:moveTo>
                  <a:cubicBezTo>
                    <a:pt x="11693" y="2463"/>
                    <a:pt x="11693" y="2463"/>
                    <a:pt x="11693" y="2463"/>
                  </a:cubicBezTo>
                  <a:cubicBezTo>
                    <a:pt x="11391" y="1957"/>
                    <a:pt x="11391" y="1957"/>
                    <a:pt x="11391" y="1957"/>
                  </a:cubicBezTo>
                  <a:cubicBezTo>
                    <a:pt x="11478" y="1906"/>
                    <a:pt x="11478" y="1906"/>
                    <a:pt x="11478" y="1906"/>
                  </a:cubicBezTo>
                  <a:lnTo>
                    <a:pt x="11780" y="2411"/>
                  </a:lnTo>
                  <a:close/>
                  <a:moveTo>
                    <a:pt x="11879" y="1710"/>
                  </a:moveTo>
                  <a:cubicBezTo>
                    <a:pt x="11939" y="1731"/>
                    <a:pt x="11999" y="1782"/>
                    <a:pt x="12058" y="1862"/>
                  </a:cubicBezTo>
                  <a:cubicBezTo>
                    <a:pt x="12177" y="2024"/>
                    <a:pt x="12184" y="2143"/>
                    <a:pt x="12080" y="2220"/>
                  </a:cubicBezTo>
                  <a:cubicBezTo>
                    <a:pt x="12026" y="2260"/>
                    <a:pt x="11968" y="2269"/>
                    <a:pt x="11908" y="2247"/>
                  </a:cubicBezTo>
                  <a:cubicBezTo>
                    <a:pt x="11847" y="2226"/>
                    <a:pt x="11786" y="2173"/>
                    <a:pt x="11725" y="2089"/>
                  </a:cubicBezTo>
                  <a:cubicBezTo>
                    <a:pt x="11669" y="2013"/>
                    <a:pt x="11639" y="1944"/>
                    <a:pt x="11638" y="1883"/>
                  </a:cubicBezTo>
                  <a:cubicBezTo>
                    <a:pt x="11636" y="1823"/>
                    <a:pt x="11659" y="1774"/>
                    <a:pt x="11709" y="1738"/>
                  </a:cubicBezTo>
                  <a:cubicBezTo>
                    <a:pt x="11762" y="1699"/>
                    <a:pt x="11818" y="1690"/>
                    <a:pt x="11879" y="1710"/>
                  </a:cubicBezTo>
                  <a:close/>
                  <a:moveTo>
                    <a:pt x="11976" y="1914"/>
                  </a:moveTo>
                  <a:cubicBezTo>
                    <a:pt x="11887" y="1793"/>
                    <a:pt x="11815" y="1754"/>
                    <a:pt x="11759" y="1794"/>
                  </a:cubicBezTo>
                  <a:cubicBezTo>
                    <a:pt x="11703" y="1836"/>
                    <a:pt x="11718" y="1916"/>
                    <a:pt x="11805" y="2035"/>
                  </a:cubicBezTo>
                  <a:cubicBezTo>
                    <a:pt x="11899" y="2161"/>
                    <a:pt x="11974" y="2204"/>
                    <a:pt x="12032" y="2161"/>
                  </a:cubicBezTo>
                  <a:cubicBezTo>
                    <a:pt x="12086" y="2121"/>
                    <a:pt x="12067" y="2039"/>
                    <a:pt x="11976" y="1914"/>
                  </a:cubicBezTo>
                  <a:close/>
                  <a:moveTo>
                    <a:pt x="12218" y="1404"/>
                  </a:moveTo>
                  <a:cubicBezTo>
                    <a:pt x="12281" y="1417"/>
                    <a:pt x="12346" y="1459"/>
                    <a:pt x="12415" y="1532"/>
                  </a:cubicBezTo>
                  <a:cubicBezTo>
                    <a:pt x="12553" y="1678"/>
                    <a:pt x="12575" y="1795"/>
                    <a:pt x="12481" y="1884"/>
                  </a:cubicBezTo>
                  <a:cubicBezTo>
                    <a:pt x="12432" y="1931"/>
                    <a:pt x="12376" y="1947"/>
                    <a:pt x="12313" y="1933"/>
                  </a:cubicBezTo>
                  <a:cubicBezTo>
                    <a:pt x="12251" y="1919"/>
                    <a:pt x="12183" y="1874"/>
                    <a:pt x="12112" y="1798"/>
                  </a:cubicBezTo>
                  <a:cubicBezTo>
                    <a:pt x="12047" y="1729"/>
                    <a:pt x="12010" y="1665"/>
                    <a:pt x="12000" y="1605"/>
                  </a:cubicBezTo>
                  <a:cubicBezTo>
                    <a:pt x="11991" y="1545"/>
                    <a:pt x="12008" y="1494"/>
                    <a:pt x="12053" y="1452"/>
                  </a:cubicBezTo>
                  <a:cubicBezTo>
                    <a:pt x="12101" y="1407"/>
                    <a:pt x="12156" y="1391"/>
                    <a:pt x="12218" y="1404"/>
                  </a:cubicBezTo>
                  <a:close/>
                  <a:moveTo>
                    <a:pt x="12340" y="1594"/>
                  </a:moveTo>
                  <a:cubicBezTo>
                    <a:pt x="12237" y="1485"/>
                    <a:pt x="12160" y="1454"/>
                    <a:pt x="12110" y="1502"/>
                  </a:cubicBezTo>
                  <a:cubicBezTo>
                    <a:pt x="12059" y="1550"/>
                    <a:pt x="12084" y="1627"/>
                    <a:pt x="12186" y="1734"/>
                  </a:cubicBezTo>
                  <a:cubicBezTo>
                    <a:pt x="12294" y="1849"/>
                    <a:pt x="12374" y="1881"/>
                    <a:pt x="12426" y="1832"/>
                  </a:cubicBezTo>
                  <a:cubicBezTo>
                    <a:pt x="12475" y="1786"/>
                    <a:pt x="12446" y="1706"/>
                    <a:pt x="12340" y="1594"/>
                  </a:cubicBezTo>
                  <a:close/>
                  <a:moveTo>
                    <a:pt x="12778" y="1558"/>
                  </a:moveTo>
                  <a:cubicBezTo>
                    <a:pt x="12711" y="1634"/>
                    <a:pt x="12711" y="1634"/>
                    <a:pt x="12711" y="1634"/>
                  </a:cubicBezTo>
                  <a:cubicBezTo>
                    <a:pt x="12269" y="1246"/>
                    <a:pt x="12269" y="1246"/>
                    <a:pt x="12269" y="1246"/>
                  </a:cubicBezTo>
                  <a:cubicBezTo>
                    <a:pt x="12335" y="1170"/>
                    <a:pt x="12335" y="1170"/>
                    <a:pt x="12335" y="1170"/>
                  </a:cubicBezTo>
                  <a:lnTo>
                    <a:pt x="12778" y="1558"/>
                  </a:lnTo>
                  <a:close/>
                  <a:moveTo>
                    <a:pt x="12949" y="1344"/>
                  </a:moveTo>
                  <a:cubicBezTo>
                    <a:pt x="12888" y="1424"/>
                    <a:pt x="12888" y="1424"/>
                    <a:pt x="12888" y="1424"/>
                  </a:cubicBezTo>
                  <a:cubicBezTo>
                    <a:pt x="12421" y="1066"/>
                    <a:pt x="12421" y="1066"/>
                    <a:pt x="12421" y="1066"/>
                  </a:cubicBezTo>
                  <a:cubicBezTo>
                    <a:pt x="12482" y="986"/>
                    <a:pt x="12482" y="986"/>
                    <a:pt x="12482" y="986"/>
                  </a:cubicBezTo>
                  <a:lnTo>
                    <a:pt x="12949" y="1344"/>
                  </a:lnTo>
                  <a:close/>
                  <a:moveTo>
                    <a:pt x="13106" y="1120"/>
                  </a:moveTo>
                  <a:cubicBezTo>
                    <a:pt x="13050" y="1203"/>
                    <a:pt x="13050" y="1203"/>
                    <a:pt x="13050" y="1203"/>
                  </a:cubicBezTo>
                  <a:cubicBezTo>
                    <a:pt x="12561" y="876"/>
                    <a:pt x="12561" y="876"/>
                    <a:pt x="12561" y="876"/>
                  </a:cubicBezTo>
                  <a:cubicBezTo>
                    <a:pt x="12617" y="792"/>
                    <a:pt x="12617" y="792"/>
                    <a:pt x="12617" y="792"/>
                  </a:cubicBezTo>
                  <a:lnTo>
                    <a:pt x="13106" y="1120"/>
                  </a:lnTo>
                  <a:close/>
                  <a:moveTo>
                    <a:pt x="13243" y="900"/>
                  </a:moveTo>
                  <a:cubicBezTo>
                    <a:pt x="13189" y="984"/>
                    <a:pt x="13189" y="984"/>
                    <a:pt x="13189" y="984"/>
                  </a:cubicBezTo>
                  <a:cubicBezTo>
                    <a:pt x="12693" y="667"/>
                    <a:pt x="12693" y="667"/>
                    <a:pt x="12693" y="667"/>
                  </a:cubicBezTo>
                  <a:cubicBezTo>
                    <a:pt x="12747" y="582"/>
                    <a:pt x="12747" y="582"/>
                    <a:pt x="12747" y="582"/>
                  </a:cubicBezTo>
                  <a:lnTo>
                    <a:pt x="13243" y="900"/>
                  </a:lnTo>
                  <a:close/>
                  <a:moveTo>
                    <a:pt x="13216" y="236"/>
                  </a:moveTo>
                  <a:cubicBezTo>
                    <a:pt x="13276" y="257"/>
                    <a:pt x="13336" y="308"/>
                    <a:pt x="13395" y="388"/>
                  </a:cubicBezTo>
                  <a:cubicBezTo>
                    <a:pt x="13513" y="551"/>
                    <a:pt x="13520" y="670"/>
                    <a:pt x="13415" y="746"/>
                  </a:cubicBezTo>
                  <a:cubicBezTo>
                    <a:pt x="13361" y="786"/>
                    <a:pt x="13303" y="795"/>
                    <a:pt x="13243" y="773"/>
                  </a:cubicBezTo>
                  <a:cubicBezTo>
                    <a:pt x="13182" y="751"/>
                    <a:pt x="13122" y="698"/>
                    <a:pt x="13060" y="614"/>
                  </a:cubicBezTo>
                  <a:cubicBezTo>
                    <a:pt x="13004" y="537"/>
                    <a:pt x="12976" y="469"/>
                    <a:pt x="12974" y="408"/>
                  </a:cubicBezTo>
                  <a:cubicBezTo>
                    <a:pt x="12972" y="347"/>
                    <a:pt x="12996" y="299"/>
                    <a:pt x="13046" y="263"/>
                  </a:cubicBezTo>
                  <a:cubicBezTo>
                    <a:pt x="13099" y="224"/>
                    <a:pt x="13155" y="215"/>
                    <a:pt x="13216" y="236"/>
                  </a:cubicBezTo>
                  <a:close/>
                  <a:moveTo>
                    <a:pt x="13312" y="440"/>
                  </a:moveTo>
                  <a:cubicBezTo>
                    <a:pt x="13224" y="319"/>
                    <a:pt x="13152" y="279"/>
                    <a:pt x="13096" y="320"/>
                  </a:cubicBezTo>
                  <a:cubicBezTo>
                    <a:pt x="13039" y="361"/>
                    <a:pt x="13055" y="441"/>
                    <a:pt x="13141" y="560"/>
                  </a:cubicBezTo>
                  <a:cubicBezTo>
                    <a:pt x="13234" y="687"/>
                    <a:pt x="13309" y="730"/>
                    <a:pt x="13367" y="688"/>
                  </a:cubicBezTo>
                  <a:cubicBezTo>
                    <a:pt x="13422" y="648"/>
                    <a:pt x="13403" y="565"/>
                    <a:pt x="13312" y="440"/>
                  </a:cubicBezTo>
                  <a:close/>
                  <a:moveTo>
                    <a:pt x="13701" y="611"/>
                  </a:moveTo>
                  <a:cubicBezTo>
                    <a:pt x="13603" y="637"/>
                    <a:pt x="13603" y="637"/>
                    <a:pt x="13603" y="637"/>
                  </a:cubicBezTo>
                  <a:cubicBezTo>
                    <a:pt x="13452" y="68"/>
                    <a:pt x="13452" y="68"/>
                    <a:pt x="13452" y="68"/>
                  </a:cubicBezTo>
                  <a:cubicBezTo>
                    <a:pt x="13549" y="42"/>
                    <a:pt x="13549" y="42"/>
                    <a:pt x="13549" y="42"/>
                  </a:cubicBezTo>
                  <a:lnTo>
                    <a:pt x="13701" y="611"/>
                  </a:lnTo>
                  <a:close/>
                  <a:moveTo>
                    <a:pt x="14096" y="79"/>
                  </a:moveTo>
                  <a:cubicBezTo>
                    <a:pt x="14132" y="132"/>
                    <a:pt x="14151" y="208"/>
                    <a:pt x="14151" y="307"/>
                  </a:cubicBezTo>
                  <a:cubicBezTo>
                    <a:pt x="14151" y="508"/>
                    <a:pt x="14086" y="609"/>
                    <a:pt x="13956" y="609"/>
                  </a:cubicBezTo>
                  <a:cubicBezTo>
                    <a:pt x="13889" y="609"/>
                    <a:pt x="13837" y="582"/>
                    <a:pt x="13801" y="529"/>
                  </a:cubicBezTo>
                  <a:cubicBezTo>
                    <a:pt x="13765" y="476"/>
                    <a:pt x="13747" y="397"/>
                    <a:pt x="13747" y="293"/>
                  </a:cubicBezTo>
                  <a:cubicBezTo>
                    <a:pt x="13747" y="198"/>
                    <a:pt x="13765" y="126"/>
                    <a:pt x="13799" y="76"/>
                  </a:cubicBezTo>
                  <a:cubicBezTo>
                    <a:pt x="13833" y="26"/>
                    <a:pt x="13881" y="0"/>
                    <a:pt x="13943" y="0"/>
                  </a:cubicBezTo>
                  <a:cubicBezTo>
                    <a:pt x="14008" y="0"/>
                    <a:pt x="14059" y="27"/>
                    <a:pt x="14096" y="79"/>
                  </a:cubicBezTo>
                  <a:close/>
                  <a:moveTo>
                    <a:pt x="14053" y="301"/>
                  </a:moveTo>
                  <a:cubicBezTo>
                    <a:pt x="14053" y="151"/>
                    <a:pt x="14019" y="76"/>
                    <a:pt x="13950" y="76"/>
                  </a:cubicBezTo>
                  <a:cubicBezTo>
                    <a:pt x="13880" y="76"/>
                    <a:pt x="13845" y="150"/>
                    <a:pt x="13845" y="297"/>
                  </a:cubicBezTo>
                  <a:cubicBezTo>
                    <a:pt x="13845" y="454"/>
                    <a:pt x="13881" y="533"/>
                    <a:pt x="13952" y="533"/>
                  </a:cubicBezTo>
                  <a:cubicBezTo>
                    <a:pt x="14020" y="533"/>
                    <a:pt x="14053" y="456"/>
                    <a:pt x="14053" y="301"/>
                  </a:cubicBezTo>
                  <a:close/>
                  <a:moveTo>
                    <a:pt x="14356" y="599"/>
                  </a:moveTo>
                  <a:cubicBezTo>
                    <a:pt x="14255" y="599"/>
                    <a:pt x="14255" y="599"/>
                    <a:pt x="14255" y="599"/>
                  </a:cubicBezTo>
                  <a:cubicBezTo>
                    <a:pt x="14255" y="10"/>
                    <a:pt x="14255" y="10"/>
                    <a:pt x="14255" y="10"/>
                  </a:cubicBezTo>
                  <a:cubicBezTo>
                    <a:pt x="14356" y="10"/>
                    <a:pt x="14356" y="10"/>
                    <a:pt x="14356" y="10"/>
                  </a:cubicBezTo>
                  <a:lnTo>
                    <a:pt x="14356" y="599"/>
                  </a:lnTo>
                  <a:close/>
                  <a:moveTo>
                    <a:pt x="14808" y="79"/>
                  </a:moveTo>
                  <a:cubicBezTo>
                    <a:pt x="14844" y="132"/>
                    <a:pt x="14863" y="208"/>
                    <a:pt x="14863" y="307"/>
                  </a:cubicBezTo>
                  <a:cubicBezTo>
                    <a:pt x="14863" y="508"/>
                    <a:pt x="14798" y="609"/>
                    <a:pt x="14668" y="609"/>
                  </a:cubicBezTo>
                  <a:cubicBezTo>
                    <a:pt x="14601" y="609"/>
                    <a:pt x="14549" y="582"/>
                    <a:pt x="14513" y="529"/>
                  </a:cubicBezTo>
                  <a:cubicBezTo>
                    <a:pt x="14477" y="476"/>
                    <a:pt x="14459" y="397"/>
                    <a:pt x="14459" y="293"/>
                  </a:cubicBezTo>
                  <a:cubicBezTo>
                    <a:pt x="14459" y="198"/>
                    <a:pt x="14477" y="126"/>
                    <a:pt x="14511" y="76"/>
                  </a:cubicBezTo>
                  <a:cubicBezTo>
                    <a:pt x="14545" y="26"/>
                    <a:pt x="14593" y="0"/>
                    <a:pt x="14654" y="0"/>
                  </a:cubicBezTo>
                  <a:cubicBezTo>
                    <a:pt x="14720" y="0"/>
                    <a:pt x="14771" y="27"/>
                    <a:pt x="14808" y="79"/>
                  </a:cubicBezTo>
                  <a:close/>
                  <a:moveTo>
                    <a:pt x="14765" y="301"/>
                  </a:moveTo>
                  <a:cubicBezTo>
                    <a:pt x="14765" y="151"/>
                    <a:pt x="14731" y="76"/>
                    <a:pt x="14662" y="76"/>
                  </a:cubicBezTo>
                  <a:cubicBezTo>
                    <a:pt x="14592" y="76"/>
                    <a:pt x="14557" y="150"/>
                    <a:pt x="14557" y="297"/>
                  </a:cubicBezTo>
                  <a:cubicBezTo>
                    <a:pt x="14557" y="454"/>
                    <a:pt x="14592" y="533"/>
                    <a:pt x="14664" y="533"/>
                  </a:cubicBezTo>
                  <a:cubicBezTo>
                    <a:pt x="14732" y="533"/>
                    <a:pt x="14765" y="456"/>
                    <a:pt x="14765" y="301"/>
                  </a:cubicBezTo>
                  <a:close/>
                  <a:moveTo>
                    <a:pt x="15067" y="599"/>
                  </a:moveTo>
                  <a:cubicBezTo>
                    <a:pt x="14967" y="599"/>
                    <a:pt x="14967" y="599"/>
                    <a:pt x="14967" y="599"/>
                  </a:cubicBezTo>
                  <a:cubicBezTo>
                    <a:pt x="14967" y="10"/>
                    <a:pt x="14967" y="10"/>
                    <a:pt x="14967" y="10"/>
                  </a:cubicBezTo>
                  <a:cubicBezTo>
                    <a:pt x="15067" y="10"/>
                    <a:pt x="15067" y="10"/>
                    <a:pt x="15067" y="10"/>
                  </a:cubicBezTo>
                  <a:lnTo>
                    <a:pt x="15067" y="599"/>
                  </a:lnTo>
                  <a:close/>
                  <a:moveTo>
                    <a:pt x="15520" y="79"/>
                  </a:moveTo>
                  <a:cubicBezTo>
                    <a:pt x="15557" y="132"/>
                    <a:pt x="15575" y="208"/>
                    <a:pt x="15575" y="307"/>
                  </a:cubicBezTo>
                  <a:cubicBezTo>
                    <a:pt x="15575" y="508"/>
                    <a:pt x="15510" y="609"/>
                    <a:pt x="15381" y="609"/>
                  </a:cubicBezTo>
                  <a:cubicBezTo>
                    <a:pt x="15313" y="609"/>
                    <a:pt x="15261" y="582"/>
                    <a:pt x="15225" y="529"/>
                  </a:cubicBezTo>
                  <a:cubicBezTo>
                    <a:pt x="15190" y="476"/>
                    <a:pt x="15172" y="397"/>
                    <a:pt x="15172" y="293"/>
                  </a:cubicBezTo>
                  <a:cubicBezTo>
                    <a:pt x="15172" y="198"/>
                    <a:pt x="15189" y="126"/>
                    <a:pt x="15223" y="76"/>
                  </a:cubicBezTo>
                  <a:cubicBezTo>
                    <a:pt x="15258" y="26"/>
                    <a:pt x="15305" y="0"/>
                    <a:pt x="15367" y="0"/>
                  </a:cubicBezTo>
                  <a:cubicBezTo>
                    <a:pt x="15432" y="0"/>
                    <a:pt x="15483" y="27"/>
                    <a:pt x="15520" y="79"/>
                  </a:cubicBezTo>
                  <a:close/>
                  <a:moveTo>
                    <a:pt x="15478" y="301"/>
                  </a:moveTo>
                  <a:cubicBezTo>
                    <a:pt x="15478" y="151"/>
                    <a:pt x="15443" y="76"/>
                    <a:pt x="15374" y="76"/>
                  </a:cubicBezTo>
                  <a:cubicBezTo>
                    <a:pt x="15304" y="76"/>
                    <a:pt x="15269" y="150"/>
                    <a:pt x="15269" y="297"/>
                  </a:cubicBezTo>
                  <a:cubicBezTo>
                    <a:pt x="15269" y="454"/>
                    <a:pt x="15305" y="533"/>
                    <a:pt x="15376" y="533"/>
                  </a:cubicBezTo>
                  <a:cubicBezTo>
                    <a:pt x="15444" y="533"/>
                    <a:pt x="15478" y="456"/>
                    <a:pt x="15478" y="301"/>
                  </a:cubicBezTo>
                  <a:close/>
                  <a:moveTo>
                    <a:pt x="15780" y="599"/>
                  </a:moveTo>
                  <a:cubicBezTo>
                    <a:pt x="15679" y="599"/>
                    <a:pt x="15679" y="599"/>
                    <a:pt x="15679" y="599"/>
                  </a:cubicBezTo>
                  <a:cubicBezTo>
                    <a:pt x="15679" y="10"/>
                    <a:pt x="15679" y="10"/>
                    <a:pt x="15679" y="10"/>
                  </a:cubicBezTo>
                  <a:cubicBezTo>
                    <a:pt x="15780" y="10"/>
                    <a:pt x="15780" y="10"/>
                    <a:pt x="15780" y="10"/>
                  </a:cubicBezTo>
                  <a:lnTo>
                    <a:pt x="15780" y="599"/>
                  </a:lnTo>
                  <a:close/>
                  <a:moveTo>
                    <a:pt x="16024" y="599"/>
                  </a:moveTo>
                  <a:cubicBezTo>
                    <a:pt x="15924" y="599"/>
                    <a:pt x="15924" y="599"/>
                    <a:pt x="15924" y="599"/>
                  </a:cubicBezTo>
                  <a:cubicBezTo>
                    <a:pt x="15924" y="10"/>
                    <a:pt x="15924" y="10"/>
                    <a:pt x="15924" y="10"/>
                  </a:cubicBezTo>
                  <a:cubicBezTo>
                    <a:pt x="16024" y="10"/>
                    <a:pt x="16024" y="10"/>
                    <a:pt x="16024" y="10"/>
                  </a:cubicBezTo>
                  <a:lnTo>
                    <a:pt x="16024" y="599"/>
                  </a:lnTo>
                  <a:close/>
                  <a:moveTo>
                    <a:pt x="16508" y="103"/>
                  </a:moveTo>
                  <a:cubicBezTo>
                    <a:pt x="16538" y="160"/>
                    <a:pt x="16548" y="237"/>
                    <a:pt x="16537" y="336"/>
                  </a:cubicBezTo>
                  <a:cubicBezTo>
                    <a:pt x="16514" y="536"/>
                    <a:pt x="16439" y="629"/>
                    <a:pt x="16310" y="614"/>
                  </a:cubicBezTo>
                  <a:cubicBezTo>
                    <a:pt x="16243" y="607"/>
                    <a:pt x="16195" y="575"/>
                    <a:pt x="16165" y="518"/>
                  </a:cubicBezTo>
                  <a:cubicBezTo>
                    <a:pt x="16135" y="460"/>
                    <a:pt x="16126" y="380"/>
                    <a:pt x="16138" y="277"/>
                  </a:cubicBezTo>
                  <a:cubicBezTo>
                    <a:pt x="16148" y="183"/>
                    <a:pt x="16174" y="113"/>
                    <a:pt x="16213" y="67"/>
                  </a:cubicBezTo>
                  <a:cubicBezTo>
                    <a:pt x="16253" y="21"/>
                    <a:pt x="16303" y="1"/>
                    <a:pt x="16364" y="8"/>
                  </a:cubicBezTo>
                  <a:cubicBezTo>
                    <a:pt x="16430" y="16"/>
                    <a:pt x="16477" y="47"/>
                    <a:pt x="16508" y="103"/>
                  </a:cubicBezTo>
                  <a:close/>
                  <a:moveTo>
                    <a:pt x="16441" y="319"/>
                  </a:moveTo>
                  <a:cubicBezTo>
                    <a:pt x="16458" y="170"/>
                    <a:pt x="16432" y="92"/>
                    <a:pt x="16363" y="84"/>
                  </a:cubicBezTo>
                  <a:cubicBezTo>
                    <a:pt x="16294" y="76"/>
                    <a:pt x="16250" y="146"/>
                    <a:pt x="16234" y="292"/>
                  </a:cubicBezTo>
                  <a:cubicBezTo>
                    <a:pt x="16216" y="448"/>
                    <a:pt x="16243" y="530"/>
                    <a:pt x="16314" y="538"/>
                  </a:cubicBezTo>
                  <a:cubicBezTo>
                    <a:pt x="16381" y="546"/>
                    <a:pt x="16424" y="473"/>
                    <a:pt x="16441" y="319"/>
                  </a:cubicBezTo>
                  <a:close/>
                  <a:moveTo>
                    <a:pt x="17054" y="380"/>
                  </a:moveTo>
                  <a:cubicBezTo>
                    <a:pt x="17055" y="444"/>
                    <a:pt x="17027" y="517"/>
                    <a:pt x="16971" y="600"/>
                  </a:cubicBezTo>
                  <a:cubicBezTo>
                    <a:pt x="16858" y="766"/>
                    <a:pt x="16748" y="813"/>
                    <a:pt x="16641" y="740"/>
                  </a:cubicBezTo>
                  <a:cubicBezTo>
                    <a:pt x="16585" y="702"/>
                    <a:pt x="16557" y="651"/>
                    <a:pt x="16558" y="587"/>
                  </a:cubicBezTo>
                  <a:cubicBezTo>
                    <a:pt x="16558" y="523"/>
                    <a:pt x="16587" y="448"/>
                    <a:pt x="16646" y="361"/>
                  </a:cubicBezTo>
                  <a:cubicBezTo>
                    <a:pt x="16699" y="283"/>
                    <a:pt x="16754" y="233"/>
                    <a:pt x="16810" y="211"/>
                  </a:cubicBezTo>
                  <a:cubicBezTo>
                    <a:pt x="16867" y="188"/>
                    <a:pt x="16920" y="194"/>
                    <a:pt x="16971" y="229"/>
                  </a:cubicBezTo>
                  <a:cubicBezTo>
                    <a:pt x="17025" y="266"/>
                    <a:pt x="17053" y="316"/>
                    <a:pt x="17054" y="380"/>
                  </a:cubicBezTo>
                  <a:close/>
                  <a:moveTo>
                    <a:pt x="16894" y="539"/>
                  </a:moveTo>
                  <a:cubicBezTo>
                    <a:pt x="16978" y="416"/>
                    <a:pt x="16992" y="334"/>
                    <a:pt x="16935" y="296"/>
                  </a:cubicBezTo>
                  <a:cubicBezTo>
                    <a:pt x="16877" y="256"/>
                    <a:pt x="16806" y="297"/>
                    <a:pt x="16724" y="419"/>
                  </a:cubicBezTo>
                  <a:cubicBezTo>
                    <a:pt x="16636" y="550"/>
                    <a:pt x="16621" y="635"/>
                    <a:pt x="16680" y="675"/>
                  </a:cubicBezTo>
                  <a:cubicBezTo>
                    <a:pt x="16736" y="713"/>
                    <a:pt x="16807" y="668"/>
                    <a:pt x="16894" y="539"/>
                  </a:cubicBezTo>
                  <a:close/>
                  <a:moveTo>
                    <a:pt x="16864" y="963"/>
                  </a:moveTo>
                  <a:cubicBezTo>
                    <a:pt x="16807" y="880"/>
                    <a:pt x="16807" y="880"/>
                    <a:pt x="16807" y="880"/>
                  </a:cubicBezTo>
                  <a:cubicBezTo>
                    <a:pt x="17291" y="544"/>
                    <a:pt x="17291" y="544"/>
                    <a:pt x="17291" y="544"/>
                  </a:cubicBezTo>
                  <a:cubicBezTo>
                    <a:pt x="17348" y="627"/>
                    <a:pt x="17348" y="627"/>
                    <a:pt x="17348" y="627"/>
                  </a:cubicBezTo>
                  <a:lnTo>
                    <a:pt x="16864" y="963"/>
                  </a:lnTo>
                  <a:close/>
                  <a:moveTo>
                    <a:pt x="17547" y="1056"/>
                  </a:moveTo>
                  <a:cubicBezTo>
                    <a:pt x="17525" y="1116"/>
                    <a:pt x="17473" y="1175"/>
                    <a:pt x="17391" y="1232"/>
                  </a:cubicBezTo>
                  <a:cubicBezTo>
                    <a:pt x="17227" y="1347"/>
                    <a:pt x="17107" y="1352"/>
                    <a:pt x="17033" y="1246"/>
                  </a:cubicBezTo>
                  <a:cubicBezTo>
                    <a:pt x="16994" y="1190"/>
                    <a:pt x="16986" y="1133"/>
                    <a:pt x="17009" y="1073"/>
                  </a:cubicBezTo>
                  <a:cubicBezTo>
                    <a:pt x="17033" y="1013"/>
                    <a:pt x="17087" y="953"/>
                    <a:pt x="17172" y="893"/>
                  </a:cubicBezTo>
                  <a:cubicBezTo>
                    <a:pt x="17250" y="839"/>
                    <a:pt x="17319" y="812"/>
                    <a:pt x="17380" y="811"/>
                  </a:cubicBezTo>
                  <a:cubicBezTo>
                    <a:pt x="17440" y="811"/>
                    <a:pt x="17488" y="835"/>
                    <a:pt x="17523" y="886"/>
                  </a:cubicBezTo>
                  <a:cubicBezTo>
                    <a:pt x="17561" y="939"/>
                    <a:pt x="17569" y="996"/>
                    <a:pt x="17547" y="1056"/>
                  </a:cubicBezTo>
                  <a:close/>
                  <a:moveTo>
                    <a:pt x="17341" y="1148"/>
                  </a:moveTo>
                  <a:cubicBezTo>
                    <a:pt x="17464" y="1063"/>
                    <a:pt x="17505" y="991"/>
                    <a:pt x="17466" y="935"/>
                  </a:cubicBezTo>
                  <a:cubicBezTo>
                    <a:pt x="17426" y="878"/>
                    <a:pt x="17345" y="891"/>
                    <a:pt x="17225" y="975"/>
                  </a:cubicBezTo>
                  <a:cubicBezTo>
                    <a:pt x="17096" y="1066"/>
                    <a:pt x="17052" y="1140"/>
                    <a:pt x="17093" y="1199"/>
                  </a:cubicBezTo>
                  <a:cubicBezTo>
                    <a:pt x="17131" y="1254"/>
                    <a:pt x="17214" y="1237"/>
                    <a:pt x="17341" y="1148"/>
                  </a:cubicBezTo>
                  <a:close/>
                  <a:moveTo>
                    <a:pt x="17312" y="1587"/>
                  </a:moveTo>
                  <a:cubicBezTo>
                    <a:pt x="17247" y="1510"/>
                    <a:pt x="17247" y="1510"/>
                    <a:pt x="17247" y="1510"/>
                  </a:cubicBezTo>
                  <a:cubicBezTo>
                    <a:pt x="17696" y="1129"/>
                    <a:pt x="17696" y="1129"/>
                    <a:pt x="17696" y="1129"/>
                  </a:cubicBezTo>
                  <a:cubicBezTo>
                    <a:pt x="17761" y="1206"/>
                    <a:pt x="17761" y="1206"/>
                    <a:pt x="17761" y="1206"/>
                  </a:cubicBezTo>
                  <a:lnTo>
                    <a:pt x="17312" y="1587"/>
                  </a:lnTo>
                  <a:close/>
                  <a:moveTo>
                    <a:pt x="17499" y="1788"/>
                  </a:moveTo>
                  <a:cubicBezTo>
                    <a:pt x="17429" y="1716"/>
                    <a:pt x="17429" y="1716"/>
                    <a:pt x="17429" y="1716"/>
                  </a:cubicBezTo>
                  <a:cubicBezTo>
                    <a:pt x="17852" y="1306"/>
                    <a:pt x="17852" y="1306"/>
                    <a:pt x="17852" y="1306"/>
                  </a:cubicBezTo>
                  <a:cubicBezTo>
                    <a:pt x="17922" y="1378"/>
                    <a:pt x="17922" y="1378"/>
                    <a:pt x="17922" y="1378"/>
                  </a:cubicBezTo>
                  <a:lnTo>
                    <a:pt x="17499" y="1788"/>
                  </a:lnTo>
                  <a:close/>
                  <a:moveTo>
                    <a:pt x="17698" y="1976"/>
                  </a:moveTo>
                  <a:cubicBezTo>
                    <a:pt x="17624" y="1908"/>
                    <a:pt x="17624" y="1908"/>
                    <a:pt x="17624" y="1908"/>
                  </a:cubicBezTo>
                  <a:cubicBezTo>
                    <a:pt x="18019" y="1472"/>
                    <a:pt x="18019" y="1472"/>
                    <a:pt x="18019" y="1472"/>
                  </a:cubicBezTo>
                  <a:cubicBezTo>
                    <a:pt x="18093" y="1540"/>
                    <a:pt x="18093" y="1540"/>
                    <a:pt x="18093" y="1540"/>
                  </a:cubicBezTo>
                  <a:lnTo>
                    <a:pt x="17698" y="1976"/>
                  </a:lnTo>
                  <a:close/>
                  <a:moveTo>
                    <a:pt x="18397" y="1867"/>
                  </a:moveTo>
                  <a:cubicBezTo>
                    <a:pt x="18395" y="1930"/>
                    <a:pt x="18364" y="2002"/>
                    <a:pt x="18304" y="2082"/>
                  </a:cubicBezTo>
                  <a:cubicBezTo>
                    <a:pt x="18184" y="2243"/>
                    <a:pt x="18072" y="2285"/>
                    <a:pt x="17968" y="2208"/>
                  </a:cubicBezTo>
                  <a:cubicBezTo>
                    <a:pt x="17914" y="2167"/>
                    <a:pt x="17888" y="2115"/>
                    <a:pt x="17892" y="2050"/>
                  </a:cubicBezTo>
                  <a:cubicBezTo>
                    <a:pt x="17895" y="1986"/>
                    <a:pt x="17928" y="1912"/>
                    <a:pt x="17990" y="1829"/>
                  </a:cubicBezTo>
                  <a:cubicBezTo>
                    <a:pt x="18047" y="1753"/>
                    <a:pt x="18104" y="1706"/>
                    <a:pt x="18161" y="1686"/>
                  </a:cubicBezTo>
                  <a:cubicBezTo>
                    <a:pt x="18219" y="1667"/>
                    <a:pt x="18272" y="1675"/>
                    <a:pt x="18321" y="1712"/>
                  </a:cubicBezTo>
                  <a:cubicBezTo>
                    <a:pt x="18374" y="1751"/>
                    <a:pt x="18399" y="1803"/>
                    <a:pt x="18397" y="1867"/>
                  </a:cubicBezTo>
                  <a:close/>
                  <a:moveTo>
                    <a:pt x="18230" y="2019"/>
                  </a:moveTo>
                  <a:cubicBezTo>
                    <a:pt x="18320" y="1899"/>
                    <a:pt x="18337" y="1818"/>
                    <a:pt x="18282" y="1777"/>
                  </a:cubicBezTo>
                  <a:cubicBezTo>
                    <a:pt x="18226" y="1735"/>
                    <a:pt x="18154" y="1773"/>
                    <a:pt x="18065" y="1891"/>
                  </a:cubicBezTo>
                  <a:cubicBezTo>
                    <a:pt x="17971" y="2017"/>
                    <a:pt x="17953" y="2101"/>
                    <a:pt x="18010" y="2144"/>
                  </a:cubicBezTo>
                  <a:cubicBezTo>
                    <a:pt x="18064" y="2184"/>
                    <a:pt x="18138" y="2143"/>
                    <a:pt x="18230" y="2019"/>
                  </a:cubicBezTo>
                  <a:close/>
                  <a:moveTo>
                    <a:pt x="18341" y="2444"/>
                  </a:moveTo>
                  <a:cubicBezTo>
                    <a:pt x="18255" y="2392"/>
                    <a:pt x="18255" y="2392"/>
                    <a:pt x="18255" y="2392"/>
                  </a:cubicBezTo>
                  <a:cubicBezTo>
                    <a:pt x="18561" y="1889"/>
                    <a:pt x="18561" y="1889"/>
                    <a:pt x="18561" y="1889"/>
                  </a:cubicBezTo>
                  <a:cubicBezTo>
                    <a:pt x="18647" y="1941"/>
                    <a:pt x="18647" y="1941"/>
                    <a:pt x="18647" y="1941"/>
                  </a:cubicBezTo>
                  <a:lnTo>
                    <a:pt x="18341" y="2444"/>
                  </a:lnTo>
                  <a:close/>
                  <a:moveTo>
                    <a:pt x="18581" y="2576"/>
                  </a:moveTo>
                  <a:cubicBezTo>
                    <a:pt x="18491" y="2530"/>
                    <a:pt x="18491" y="2530"/>
                    <a:pt x="18491" y="2530"/>
                  </a:cubicBezTo>
                  <a:cubicBezTo>
                    <a:pt x="18764" y="2008"/>
                    <a:pt x="18764" y="2008"/>
                    <a:pt x="18764" y="2008"/>
                  </a:cubicBezTo>
                  <a:cubicBezTo>
                    <a:pt x="18854" y="2055"/>
                    <a:pt x="18854" y="2055"/>
                    <a:pt x="18854" y="2055"/>
                  </a:cubicBezTo>
                  <a:lnTo>
                    <a:pt x="18581" y="2576"/>
                  </a:lnTo>
                  <a:close/>
                  <a:moveTo>
                    <a:pt x="19230" y="2294"/>
                  </a:moveTo>
                  <a:cubicBezTo>
                    <a:pt x="19244" y="2357"/>
                    <a:pt x="19232" y="2434"/>
                    <a:pt x="19194" y="2526"/>
                  </a:cubicBezTo>
                  <a:cubicBezTo>
                    <a:pt x="19118" y="2713"/>
                    <a:pt x="19020" y="2781"/>
                    <a:pt x="18901" y="2733"/>
                  </a:cubicBezTo>
                  <a:cubicBezTo>
                    <a:pt x="18838" y="2707"/>
                    <a:pt x="18800" y="2663"/>
                    <a:pt x="18787" y="2600"/>
                  </a:cubicBezTo>
                  <a:cubicBezTo>
                    <a:pt x="18774" y="2537"/>
                    <a:pt x="18787" y="2457"/>
                    <a:pt x="18826" y="2361"/>
                  </a:cubicBezTo>
                  <a:cubicBezTo>
                    <a:pt x="18862" y="2273"/>
                    <a:pt x="18905" y="2213"/>
                    <a:pt x="18956" y="2179"/>
                  </a:cubicBezTo>
                  <a:cubicBezTo>
                    <a:pt x="19007" y="2146"/>
                    <a:pt x="19060" y="2141"/>
                    <a:pt x="19117" y="2164"/>
                  </a:cubicBezTo>
                  <a:cubicBezTo>
                    <a:pt x="19178" y="2189"/>
                    <a:pt x="19215" y="2232"/>
                    <a:pt x="19230" y="2294"/>
                  </a:cubicBezTo>
                  <a:close/>
                  <a:moveTo>
                    <a:pt x="19107" y="2484"/>
                  </a:moveTo>
                  <a:cubicBezTo>
                    <a:pt x="19163" y="2345"/>
                    <a:pt x="19159" y="2263"/>
                    <a:pt x="19096" y="2236"/>
                  </a:cubicBezTo>
                  <a:cubicBezTo>
                    <a:pt x="19031" y="2210"/>
                    <a:pt x="18970" y="2265"/>
                    <a:pt x="18915" y="2401"/>
                  </a:cubicBezTo>
                  <a:cubicBezTo>
                    <a:pt x="18855" y="2547"/>
                    <a:pt x="18859" y="2634"/>
                    <a:pt x="18925" y="2660"/>
                  </a:cubicBezTo>
                  <a:cubicBezTo>
                    <a:pt x="18988" y="2686"/>
                    <a:pt x="19048" y="2627"/>
                    <a:pt x="19107" y="2484"/>
                  </a:cubicBezTo>
                  <a:close/>
                  <a:moveTo>
                    <a:pt x="19321" y="2867"/>
                  </a:moveTo>
                  <a:cubicBezTo>
                    <a:pt x="19224" y="2839"/>
                    <a:pt x="19224" y="2839"/>
                    <a:pt x="19224" y="2839"/>
                  </a:cubicBezTo>
                  <a:cubicBezTo>
                    <a:pt x="19394" y="2275"/>
                    <a:pt x="19394" y="2275"/>
                    <a:pt x="19394" y="2275"/>
                  </a:cubicBezTo>
                  <a:cubicBezTo>
                    <a:pt x="19490" y="2303"/>
                    <a:pt x="19490" y="2303"/>
                    <a:pt x="19490" y="2303"/>
                  </a:cubicBezTo>
                  <a:lnTo>
                    <a:pt x="19321" y="2867"/>
                  </a:lnTo>
                  <a:close/>
                  <a:moveTo>
                    <a:pt x="19587" y="2934"/>
                  </a:moveTo>
                  <a:cubicBezTo>
                    <a:pt x="19489" y="2912"/>
                    <a:pt x="19489" y="2912"/>
                    <a:pt x="19489" y="2912"/>
                  </a:cubicBezTo>
                  <a:cubicBezTo>
                    <a:pt x="19621" y="2338"/>
                    <a:pt x="19621" y="2338"/>
                    <a:pt x="19621" y="2338"/>
                  </a:cubicBezTo>
                  <a:cubicBezTo>
                    <a:pt x="19719" y="2361"/>
                    <a:pt x="19719" y="2361"/>
                    <a:pt x="19719" y="2361"/>
                  </a:cubicBezTo>
                  <a:lnTo>
                    <a:pt x="19587" y="2934"/>
                  </a:lnTo>
                  <a:close/>
                  <a:moveTo>
                    <a:pt x="20143" y="2497"/>
                  </a:moveTo>
                  <a:cubicBezTo>
                    <a:pt x="20173" y="2554"/>
                    <a:pt x="20181" y="2632"/>
                    <a:pt x="20168" y="2731"/>
                  </a:cubicBezTo>
                  <a:cubicBezTo>
                    <a:pt x="20142" y="2930"/>
                    <a:pt x="20064" y="3021"/>
                    <a:pt x="19936" y="3004"/>
                  </a:cubicBezTo>
                  <a:cubicBezTo>
                    <a:pt x="19869" y="2996"/>
                    <a:pt x="19821" y="2962"/>
                    <a:pt x="19793" y="2905"/>
                  </a:cubicBezTo>
                  <a:cubicBezTo>
                    <a:pt x="19764" y="2847"/>
                    <a:pt x="19756" y="2767"/>
                    <a:pt x="19770" y="2664"/>
                  </a:cubicBezTo>
                  <a:cubicBezTo>
                    <a:pt x="19782" y="2570"/>
                    <a:pt x="19809" y="2500"/>
                    <a:pt x="19849" y="2455"/>
                  </a:cubicBezTo>
                  <a:cubicBezTo>
                    <a:pt x="19890" y="2410"/>
                    <a:pt x="19941" y="2391"/>
                    <a:pt x="20001" y="2399"/>
                  </a:cubicBezTo>
                  <a:cubicBezTo>
                    <a:pt x="20067" y="2408"/>
                    <a:pt x="20114" y="2441"/>
                    <a:pt x="20143" y="2497"/>
                  </a:cubicBezTo>
                  <a:close/>
                  <a:moveTo>
                    <a:pt x="20072" y="2711"/>
                  </a:moveTo>
                  <a:cubicBezTo>
                    <a:pt x="20092" y="2563"/>
                    <a:pt x="20067" y="2484"/>
                    <a:pt x="19999" y="2475"/>
                  </a:cubicBezTo>
                  <a:cubicBezTo>
                    <a:pt x="19929" y="2466"/>
                    <a:pt x="19885" y="2535"/>
                    <a:pt x="19866" y="2681"/>
                  </a:cubicBezTo>
                  <a:cubicBezTo>
                    <a:pt x="19845" y="2837"/>
                    <a:pt x="19871" y="2919"/>
                    <a:pt x="19941" y="2929"/>
                  </a:cubicBezTo>
                  <a:cubicBezTo>
                    <a:pt x="20008" y="2937"/>
                    <a:pt x="20052" y="2865"/>
                    <a:pt x="20072" y="2711"/>
                  </a:cubicBezTo>
                  <a:close/>
                  <a:moveTo>
                    <a:pt x="20601" y="2511"/>
                  </a:moveTo>
                  <a:cubicBezTo>
                    <a:pt x="20637" y="2564"/>
                    <a:pt x="20655" y="2640"/>
                    <a:pt x="20654" y="2740"/>
                  </a:cubicBezTo>
                  <a:cubicBezTo>
                    <a:pt x="20651" y="2941"/>
                    <a:pt x="20586" y="3041"/>
                    <a:pt x="20456" y="3039"/>
                  </a:cubicBezTo>
                  <a:cubicBezTo>
                    <a:pt x="20388" y="3039"/>
                    <a:pt x="20337" y="3012"/>
                    <a:pt x="20302" y="2958"/>
                  </a:cubicBezTo>
                  <a:cubicBezTo>
                    <a:pt x="20266" y="2904"/>
                    <a:pt x="20249" y="2825"/>
                    <a:pt x="20251" y="2721"/>
                  </a:cubicBezTo>
                  <a:cubicBezTo>
                    <a:pt x="20252" y="2626"/>
                    <a:pt x="20269" y="2554"/>
                    <a:pt x="20304" y="2504"/>
                  </a:cubicBezTo>
                  <a:cubicBezTo>
                    <a:pt x="20339" y="2455"/>
                    <a:pt x="20387" y="2430"/>
                    <a:pt x="20449" y="2431"/>
                  </a:cubicBezTo>
                  <a:cubicBezTo>
                    <a:pt x="20514" y="2432"/>
                    <a:pt x="20565" y="2458"/>
                    <a:pt x="20601" y="2511"/>
                  </a:cubicBezTo>
                  <a:close/>
                  <a:moveTo>
                    <a:pt x="20556" y="2732"/>
                  </a:moveTo>
                  <a:cubicBezTo>
                    <a:pt x="20558" y="2582"/>
                    <a:pt x="20524" y="2507"/>
                    <a:pt x="20455" y="2507"/>
                  </a:cubicBezTo>
                  <a:cubicBezTo>
                    <a:pt x="20385" y="2506"/>
                    <a:pt x="20349" y="2579"/>
                    <a:pt x="20348" y="2726"/>
                  </a:cubicBezTo>
                  <a:cubicBezTo>
                    <a:pt x="20346" y="2884"/>
                    <a:pt x="20381" y="2963"/>
                    <a:pt x="20452" y="2963"/>
                  </a:cubicBezTo>
                  <a:cubicBezTo>
                    <a:pt x="20520" y="2964"/>
                    <a:pt x="20555" y="2887"/>
                    <a:pt x="20556" y="2732"/>
                  </a:cubicBezTo>
                  <a:close/>
                  <a:moveTo>
                    <a:pt x="20897" y="3010"/>
                  </a:moveTo>
                  <a:cubicBezTo>
                    <a:pt x="20797" y="3018"/>
                    <a:pt x="20797" y="3018"/>
                    <a:pt x="20797" y="3018"/>
                  </a:cubicBezTo>
                  <a:cubicBezTo>
                    <a:pt x="20746" y="2432"/>
                    <a:pt x="20746" y="2432"/>
                    <a:pt x="20746" y="2432"/>
                  </a:cubicBezTo>
                  <a:cubicBezTo>
                    <a:pt x="20847" y="2423"/>
                    <a:pt x="20847" y="2423"/>
                    <a:pt x="20847" y="2423"/>
                  </a:cubicBezTo>
                  <a:lnTo>
                    <a:pt x="20897" y="3010"/>
                  </a:lnTo>
                  <a:close/>
                  <a:moveTo>
                    <a:pt x="21169" y="2974"/>
                  </a:moveTo>
                  <a:cubicBezTo>
                    <a:pt x="21070" y="2989"/>
                    <a:pt x="21070" y="2989"/>
                    <a:pt x="21070" y="2989"/>
                  </a:cubicBezTo>
                  <a:cubicBezTo>
                    <a:pt x="20981" y="2407"/>
                    <a:pt x="20981" y="2407"/>
                    <a:pt x="20981" y="2407"/>
                  </a:cubicBezTo>
                  <a:cubicBezTo>
                    <a:pt x="21080" y="2392"/>
                    <a:pt x="21080" y="2392"/>
                    <a:pt x="21080" y="2392"/>
                  </a:cubicBezTo>
                  <a:lnTo>
                    <a:pt x="21169" y="2974"/>
                  </a:lnTo>
                  <a:close/>
                  <a:moveTo>
                    <a:pt x="21525" y="2363"/>
                  </a:moveTo>
                  <a:cubicBezTo>
                    <a:pt x="21573" y="2405"/>
                    <a:pt x="21610" y="2474"/>
                    <a:pt x="21634" y="2571"/>
                  </a:cubicBezTo>
                  <a:cubicBezTo>
                    <a:pt x="21683" y="2766"/>
                    <a:pt x="21645" y="2879"/>
                    <a:pt x="21519" y="2911"/>
                  </a:cubicBezTo>
                  <a:cubicBezTo>
                    <a:pt x="21454" y="2927"/>
                    <a:pt x="21397" y="2914"/>
                    <a:pt x="21349" y="2871"/>
                  </a:cubicBezTo>
                  <a:cubicBezTo>
                    <a:pt x="21301" y="2828"/>
                    <a:pt x="21265" y="2756"/>
                    <a:pt x="21239" y="2655"/>
                  </a:cubicBezTo>
                  <a:cubicBezTo>
                    <a:pt x="21216" y="2563"/>
                    <a:pt x="21215" y="2489"/>
                    <a:pt x="21236" y="2432"/>
                  </a:cubicBezTo>
                  <a:cubicBezTo>
                    <a:pt x="21257" y="2375"/>
                    <a:pt x="21298" y="2339"/>
                    <a:pt x="21357" y="2324"/>
                  </a:cubicBezTo>
                  <a:cubicBezTo>
                    <a:pt x="21421" y="2308"/>
                    <a:pt x="21477" y="2321"/>
                    <a:pt x="21525" y="2363"/>
                  </a:cubicBezTo>
                  <a:close/>
                  <a:moveTo>
                    <a:pt x="21538" y="2588"/>
                  </a:moveTo>
                  <a:cubicBezTo>
                    <a:pt x="21501" y="2443"/>
                    <a:pt x="21450" y="2379"/>
                    <a:pt x="21383" y="2395"/>
                  </a:cubicBezTo>
                  <a:cubicBezTo>
                    <a:pt x="21315" y="2412"/>
                    <a:pt x="21299" y="2492"/>
                    <a:pt x="21335" y="2635"/>
                  </a:cubicBezTo>
                  <a:cubicBezTo>
                    <a:pt x="21373" y="2788"/>
                    <a:pt x="21427" y="2855"/>
                    <a:pt x="21496" y="2838"/>
                  </a:cubicBezTo>
                  <a:cubicBezTo>
                    <a:pt x="21562" y="2822"/>
                    <a:pt x="21576" y="2738"/>
                    <a:pt x="21538" y="2588"/>
                  </a:cubicBezTo>
                  <a:close/>
                  <a:moveTo>
                    <a:pt x="21938" y="2771"/>
                  </a:moveTo>
                  <a:cubicBezTo>
                    <a:pt x="21843" y="2804"/>
                    <a:pt x="21843" y="2804"/>
                    <a:pt x="21843" y="2804"/>
                  </a:cubicBezTo>
                  <a:cubicBezTo>
                    <a:pt x="21646" y="2250"/>
                    <a:pt x="21646" y="2250"/>
                    <a:pt x="21646" y="2250"/>
                  </a:cubicBezTo>
                  <a:cubicBezTo>
                    <a:pt x="21741" y="2216"/>
                    <a:pt x="21741" y="2216"/>
                    <a:pt x="21741" y="2216"/>
                  </a:cubicBezTo>
                  <a:lnTo>
                    <a:pt x="21938" y="2771"/>
                  </a:lnTo>
                  <a:close/>
                  <a:moveTo>
                    <a:pt x="22172" y="2103"/>
                  </a:moveTo>
                  <a:cubicBezTo>
                    <a:pt x="22227" y="2135"/>
                    <a:pt x="22276" y="2196"/>
                    <a:pt x="22318" y="2286"/>
                  </a:cubicBezTo>
                  <a:cubicBezTo>
                    <a:pt x="22403" y="2469"/>
                    <a:pt x="22387" y="2587"/>
                    <a:pt x="22270" y="2642"/>
                  </a:cubicBezTo>
                  <a:cubicBezTo>
                    <a:pt x="22209" y="2671"/>
                    <a:pt x="22151" y="2668"/>
                    <a:pt x="22096" y="2635"/>
                  </a:cubicBezTo>
                  <a:cubicBezTo>
                    <a:pt x="22040" y="2602"/>
                    <a:pt x="21991" y="2538"/>
                    <a:pt x="21947" y="2444"/>
                  </a:cubicBezTo>
                  <a:cubicBezTo>
                    <a:pt x="21907" y="2358"/>
                    <a:pt x="21892" y="2285"/>
                    <a:pt x="21902" y="2225"/>
                  </a:cubicBezTo>
                  <a:cubicBezTo>
                    <a:pt x="21911" y="2165"/>
                    <a:pt x="21944" y="2123"/>
                    <a:pt x="22000" y="2097"/>
                  </a:cubicBezTo>
                  <a:cubicBezTo>
                    <a:pt x="22059" y="2069"/>
                    <a:pt x="22117" y="2071"/>
                    <a:pt x="22172" y="2103"/>
                  </a:cubicBezTo>
                  <a:close/>
                  <a:moveTo>
                    <a:pt x="22227" y="2322"/>
                  </a:moveTo>
                  <a:cubicBezTo>
                    <a:pt x="22164" y="2186"/>
                    <a:pt x="22101" y="2133"/>
                    <a:pt x="22038" y="2162"/>
                  </a:cubicBezTo>
                  <a:cubicBezTo>
                    <a:pt x="21975" y="2192"/>
                    <a:pt x="21974" y="2273"/>
                    <a:pt x="22037" y="2406"/>
                  </a:cubicBezTo>
                  <a:cubicBezTo>
                    <a:pt x="22103" y="2549"/>
                    <a:pt x="22169" y="2605"/>
                    <a:pt x="22234" y="2575"/>
                  </a:cubicBezTo>
                  <a:cubicBezTo>
                    <a:pt x="22295" y="2546"/>
                    <a:pt x="22293" y="2462"/>
                    <a:pt x="22227" y="2322"/>
                  </a:cubicBezTo>
                  <a:close/>
                  <a:moveTo>
                    <a:pt x="22565" y="1868"/>
                  </a:moveTo>
                  <a:cubicBezTo>
                    <a:pt x="22624" y="1892"/>
                    <a:pt x="22680" y="1947"/>
                    <a:pt x="22733" y="2031"/>
                  </a:cubicBezTo>
                  <a:cubicBezTo>
                    <a:pt x="22840" y="2202"/>
                    <a:pt x="22839" y="2321"/>
                    <a:pt x="22729" y="2390"/>
                  </a:cubicBezTo>
                  <a:cubicBezTo>
                    <a:pt x="22672" y="2426"/>
                    <a:pt x="22614" y="2431"/>
                    <a:pt x="22555" y="2405"/>
                  </a:cubicBezTo>
                  <a:cubicBezTo>
                    <a:pt x="22496" y="2379"/>
                    <a:pt x="22439" y="2322"/>
                    <a:pt x="22384" y="2234"/>
                  </a:cubicBezTo>
                  <a:cubicBezTo>
                    <a:pt x="22333" y="2154"/>
                    <a:pt x="22309" y="2083"/>
                    <a:pt x="22312" y="2023"/>
                  </a:cubicBezTo>
                  <a:cubicBezTo>
                    <a:pt x="22314" y="1962"/>
                    <a:pt x="22341" y="1915"/>
                    <a:pt x="22393" y="1883"/>
                  </a:cubicBezTo>
                  <a:cubicBezTo>
                    <a:pt x="22449" y="1848"/>
                    <a:pt x="22506" y="1843"/>
                    <a:pt x="22565" y="1868"/>
                  </a:cubicBezTo>
                  <a:close/>
                  <a:moveTo>
                    <a:pt x="22647" y="2078"/>
                  </a:moveTo>
                  <a:cubicBezTo>
                    <a:pt x="22567" y="1951"/>
                    <a:pt x="22498" y="1906"/>
                    <a:pt x="22440" y="1943"/>
                  </a:cubicBezTo>
                  <a:cubicBezTo>
                    <a:pt x="22380" y="1980"/>
                    <a:pt x="22390" y="2061"/>
                    <a:pt x="22468" y="2186"/>
                  </a:cubicBezTo>
                  <a:cubicBezTo>
                    <a:pt x="22552" y="2319"/>
                    <a:pt x="22624" y="2366"/>
                    <a:pt x="22685" y="2328"/>
                  </a:cubicBezTo>
                  <a:cubicBezTo>
                    <a:pt x="22742" y="2292"/>
                    <a:pt x="22729" y="2209"/>
                    <a:pt x="22647" y="2078"/>
                  </a:cubicBezTo>
                  <a:close/>
                  <a:moveTo>
                    <a:pt x="23083" y="2128"/>
                  </a:moveTo>
                  <a:cubicBezTo>
                    <a:pt x="23003" y="2189"/>
                    <a:pt x="23003" y="2189"/>
                    <a:pt x="23003" y="2189"/>
                  </a:cubicBezTo>
                  <a:cubicBezTo>
                    <a:pt x="22644" y="1723"/>
                    <a:pt x="22644" y="1723"/>
                    <a:pt x="22644" y="1723"/>
                  </a:cubicBezTo>
                  <a:cubicBezTo>
                    <a:pt x="22724" y="1661"/>
                    <a:pt x="22724" y="1661"/>
                    <a:pt x="22724" y="1661"/>
                  </a:cubicBezTo>
                  <a:lnTo>
                    <a:pt x="23083" y="2128"/>
                  </a:lnTo>
                  <a:close/>
                  <a:moveTo>
                    <a:pt x="23100" y="1421"/>
                  </a:moveTo>
                  <a:cubicBezTo>
                    <a:pt x="23162" y="1434"/>
                    <a:pt x="23227" y="1477"/>
                    <a:pt x="23295" y="1550"/>
                  </a:cubicBezTo>
                  <a:cubicBezTo>
                    <a:pt x="23433" y="1697"/>
                    <a:pt x="23454" y="1815"/>
                    <a:pt x="23359" y="1903"/>
                  </a:cubicBezTo>
                  <a:cubicBezTo>
                    <a:pt x="23310" y="1949"/>
                    <a:pt x="23254" y="1965"/>
                    <a:pt x="23191" y="1950"/>
                  </a:cubicBezTo>
                  <a:cubicBezTo>
                    <a:pt x="23129" y="1936"/>
                    <a:pt x="23062" y="1890"/>
                    <a:pt x="22991" y="1814"/>
                  </a:cubicBezTo>
                  <a:cubicBezTo>
                    <a:pt x="22926" y="1745"/>
                    <a:pt x="22889" y="1681"/>
                    <a:pt x="22880" y="1620"/>
                  </a:cubicBezTo>
                  <a:cubicBezTo>
                    <a:pt x="22871" y="1560"/>
                    <a:pt x="22889" y="1509"/>
                    <a:pt x="22934" y="1468"/>
                  </a:cubicBezTo>
                  <a:cubicBezTo>
                    <a:pt x="22982" y="1423"/>
                    <a:pt x="23037" y="1407"/>
                    <a:pt x="23100" y="1421"/>
                  </a:cubicBezTo>
                  <a:close/>
                  <a:moveTo>
                    <a:pt x="23220" y="1611"/>
                  </a:moveTo>
                  <a:cubicBezTo>
                    <a:pt x="23118" y="1502"/>
                    <a:pt x="23041" y="1471"/>
                    <a:pt x="22991" y="1518"/>
                  </a:cubicBezTo>
                  <a:cubicBezTo>
                    <a:pt x="22940" y="1566"/>
                    <a:pt x="22964" y="1643"/>
                    <a:pt x="23065" y="1751"/>
                  </a:cubicBezTo>
                  <a:cubicBezTo>
                    <a:pt x="23172" y="1866"/>
                    <a:pt x="23252" y="1899"/>
                    <a:pt x="23304" y="1851"/>
                  </a:cubicBezTo>
                  <a:cubicBezTo>
                    <a:pt x="23354" y="1804"/>
                    <a:pt x="23325" y="1725"/>
                    <a:pt x="23220" y="1611"/>
                  </a:cubicBezTo>
                  <a:close/>
                  <a:moveTo>
                    <a:pt x="23658" y="1579"/>
                  </a:moveTo>
                  <a:cubicBezTo>
                    <a:pt x="23591" y="1654"/>
                    <a:pt x="23591" y="1654"/>
                    <a:pt x="23591" y="1654"/>
                  </a:cubicBezTo>
                  <a:cubicBezTo>
                    <a:pt x="23151" y="1263"/>
                    <a:pt x="23151" y="1263"/>
                    <a:pt x="23151" y="1263"/>
                  </a:cubicBezTo>
                  <a:cubicBezTo>
                    <a:pt x="23218" y="1188"/>
                    <a:pt x="23218" y="1188"/>
                    <a:pt x="23218" y="1188"/>
                  </a:cubicBezTo>
                  <a:lnTo>
                    <a:pt x="23658" y="1579"/>
                  </a:lnTo>
                  <a:close/>
                  <a:moveTo>
                    <a:pt x="23831" y="1366"/>
                  </a:moveTo>
                  <a:cubicBezTo>
                    <a:pt x="23769" y="1446"/>
                    <a:pt x="23769" y="1446"/>
                    <a:pt x="23769" y="1446"/>
                  </a:cubicBezTo>
                  <a:cubicBezTo>
                    <a:pt x="23304" y="1084"/>
                    <a:pt x="23304" y="1084"/>
                    <a:pt x="23304" y="1084"/>
                  </a:cubicBezTo>
                  <a:cubicBezTo>
                    <a:pt x="23366" y="1005"/>
                    <a:pt x="23366" y="1005"/>
                    <a:pt x="23366" y="1005"/>
                  </a:cubicBezTo>
                  <a:lnTo>
                    <a:pt x="23831" y="1366"/>
                  </a:lnTo>
                  <a:close/>
                  <a:moveTo>
                    <a:pt x="23989" y="1143"/>
                  </a:moveTo>
                  <a:cubicBezTo>
                    <a:pt x="23933" y="1226"/>
                    <a:pt x="23933" y="1226"/>
                    <a:pt x="23933" y="1226"/>
                  </a:cubicBezTo>
                  <a:cubicBezTo>
                    <a:pt x="23445" y="895"/>
                    <a:pt x="23445" y="895"/>
                    <a:pt x="23445" y="895"/>
                  </a:cubicBezTo>
                  <a:cubicBezTo>
                    <a:pt x="23502" y="812"/>
                    <a:pt x="23502" y="812"/>
                    <a:pt x="23502" y="812"/>
                  </a:cubicBezTo>
                  <a:lnTo>
                    <a:pt x="23989" y="1143"/>
                  </a:lnTo>
                  <a:close/>
                  <a:moveTo>
                    <a:pt x="23832" y="452"/>
                  </a:moveTo>
                  <a:cubicBezTo>
                    <a:pt x="23896" y="456"/>
                    <a:pt x="23967" y="488"/>
                    <a:pt x="24046" y="549"/>
                  </a:cubicBezTo>
                  <a:cubicBezTo>
                    <a:pt x="24205" y="672"/>
                    <a:pt x="24245" y="785"/>
                    <a:pt x="24165" y="887"/>
                  </a:cubicBezTo>
                  <a:cubicBezTo>
                    <a:pt x="24124" y="941"/>
                    <a:pt x="24071" y="965"/>
                    <a:pt x="24007" y="961"/>
                  </a:cubicBezTo>
                  <a:cubicBezTo>
                    <a:pt x="23943" y="956"/>
                    <a:pt x="23869" y="922"/>
                    <a:pt x="23787" y="859"/>
                  </a:cubicBezTo>
                  <a:cubicBezTo>
                    <a:pt x="23712" y="800"/>
                    <a:pt x="23666" y="743"/>
                    <a:pt x="23647" y="685"/>
                  </a:cubicBezTo>
                  <a:cubicBezTo>
                    <a:pt x="23629" y="627"/>
                    <a:pt x="23638" y="574"/>
                    <a:pt x="23676" y="525"/>
                  </a:cubicBezTo>
                  <a:cubicBezTo>
                    <a:pt x="23716" y="473"/>
                    <a:pt x="23768" y="449"/>
                    <a:pt x="23832" y="452"/>
                  </a:cubicBezTo>
                  <a:close/>
                  <a:moveTo>
                    <a:pt x="23981" y="622"/>
                  </a:moveTo>
                  <a:cubicBezTo>
                    <a:pt x="23863" y="530"/>
                    <a:pt x="23782" y="511"/>
                    <a:pt x="23740" y="566"/>
                  </a:cubicBezTo>
                  <a:cubicBezTo>
                    <a:pt x="23697" y="621"/>
                    <a:pt x="23734" y="694"/>
                    <a:pt x="23850" y="784"/>
                  </a:cubicBezTo>
                  <a:cubicBezTo>
                    <a:pt x="23974" y="881"/>
                    <a:pt x="24059" y="901"/>
                    <a:pt x="24102" y="844"/>
                  </a:cubicBezTo>
                  <a:cubicBezTo>
                    <a:pt x="24144" y="791"/>
                    <a:pt x="24103" y="717"/>
                    <a:pt x="23981" y="622"/>
                  </a:cubicBezTo>
                  <a:close/>
                  <a:moveTo>
                    <a:pt x="24354" y="131"/>
                  </a:moveTo>
                  <a:cubicBezTo>
                    <a:pt x="24409" y="164"/>
                    <a:pt x="24457" y="226"/>
                    <a:pt x="24498" y="316"/>
                  </a:cubicBezTo>
                  <a:cubicBezTo>
                    <a:pt x="24581" y="500"/>
                    <a:pt x="24563" y="618"/>
                    <a:pt x="24445" y="671"/>
                  </a:cubicBezTo>
                  <a:cubicBezTo>
                    <a:pt x="24384" y="699"/>
                    <a:pt x="24326" y="696"/>
                    <a:pt x="24271" y="662"/>
                  </a:cubicBezTo>
                  <a:cubicBezTo>
                    <a:pt x="24216" y="629"/>
                    <a:pt x="24167" y="564"/>
                    <a:pt x="24125" y="469"/>
                  </a:cubicBezTo>
                  <a:cubicBezTo>
                    <a:pt x="24086" y="383"/>
                    <a:pt x="24072" y="310"/>
                    <a:pt x="24082" y="250"/>
                  </a:cubicBezTo>
                  <a:cubicBezTo>
                    <a:pt x="24093" y="190"/>
                    <a:pt x="24126" y="148"/>
                    <a:pt x="24182" y="123"/>
                  </a:cubicBezTo>
                  <a:cubicBezTo>
                    <a:pt x="24242" y="96"/>
                    <a:pt x="24299" y="98"/>
                    <a:pt x="24354" y="131"/>
                  </a:cubicBezTo>
                  <a:close/>
                  <a:moveTo>
                    <a:pt x="24407" y="351"/>
                  </a:moveTo>
                  <a:cubicBezTo>
                    <a:pt x="24345" y="214"/>
                    <a:pt x="24283" y="160"/>
                    <a:pt x="24220" y="188"/>
                  </a:cubicBezTo>
                  <a:cubicBezTo>
                    <a:pt x="24156" y="217"/>
                    <a:pt x="24154" y="299"/>
                    <a:pt x="24215" y="433"/>
                  </a:cubicBezTo>
                  <a:cubicBezTo>
                    <a:pt x="24280" y="577"/>
                    <a:pt x="24345" y="634"/>
                    <a:pt x="24410" y="604"/>
                  </a:cubicBezTo>
                  <a:cubicBezTo>
                    <a:pt x="24472" y="576"/>
                    <a:pt x="24470" y="492"/>
                    <a:pt x="24407" y="351"/>
                  </a:cubicBezTo>
                  <a:close/>
                  <a:moveTo>
                    <a:pt x="24944" y="78"/>
                  </a:moveTo>
                  <a:cubicBezTo>
                    <a:pt x="24981" y="130"/>
                    <a:pt x="25000" y="206"/>
                    <a:pt x="25001" y="306"/>
                  </a:cubicBezTo>
                  <a:cubicBezTo>
                    <a:pt x="25002" y="507"/>
                    <a:pt x="24938" y="608"/>
                    <a:pt x="24808" y="609"/>
                  </a:cubicBezTo>
                  <a:cubicBezTo>
                    <a:pt x="24741" y="609"/>
                    <a:pt x="24689" y="583"/>
                    <a:pt x="24653" y="530"/>
                  </a:cubicBezTo>
                  <a:cubicBezTo>
                    <a:pt x="24616" y="477"/>
                    <a:pt x="24598" y="398"/>
                    <a:pt x="24597" y="294"/>
                  </a:cubicBezTo>
                  <a:cubicBezTo>
                    <a:pt x="24597" y="199"/>
                    <a:pt x="24613" y="127"/>
                    <a:pt x="24647" y="77"/>
                  </a:cubicBezTo>
                  <a:cubicBezTo>
                    <a:pt x="24681" y="26"/>
                    <a:pt x="24729" y="1"/>
                    <a:pt x="24790" y="1"/>
                  </a:cubicBezTo>
                  <a:cubicBezTo>
                    <a:pt x="24856" y="0"/>
                    <a:pt x="24907" y="26"/>
                    <a:pt x="24944" y="78"/>
                  </a:cubicBezTo>
                  <a:close/>
                  <a:moveTo>
                    <a:pt x="24903" y="300"/>
                  </a:moveTo>
                  <a:cubicBezTo>
                    <a:pt x="24902" y="150"/>
                    <a:pt x="24867" y="76"/>
                    <a:pt x="24798" y="76"/>
                  </a:cubicBezTo>
                  <a:cubicBezTo>
                    <a:pt x="24728" y="76"/>
                    <a:pt x="24694" y="150"/>
                    <a:pt x="24695" y="298"/>
                  </a:cubicBezTo>
                  <a:cubicBezTo>
                    <a:pt x="24696" y="455"/>
                    <a:pt x="24732" y="533"/>
                    <a:pt x="24803" y="533"/>
                  </a:cubicBezTo>
                  <a:cubicBezTo>
                    <a:pt x="24871" y="533"/>
                    <a:pt x="24904" y="455"/>
                    <a:pt x="24903" y="300"/>
                  </a:cubicBezTo>
                  <a:close/>
                  <a:moveTo>
                    <a:pt x="25206" y="599"/>
                  </a:moveTo>
                  <a:cubicBezTo>
                    <a:pt x="25105" y="599"/>
                    <a:pt x="25105" y="599"/>
                    <a:pt x="25105" y="599"/>
                  </a:cubicBezTo>
                  <a:cubicBezTo>
                    <a:pt x="25105" y="10"/>
                    <a:pt x="25105" y="10"/>
                    <a:pt x="25105" y="10"/>
                  </a:cubicBezTo>
                  <a:cubicBezTo>
                    <a:pt x="25206" y="10"/>
                    <a:pt x="25206" y="10"/>
                    <a:pt x="25206" y="10"/>
                  </a:cubicBezTo>
                  <a:lnTo>
                    <a:pt x="25206" y="599"/>
                  </a:lnTo>
                  <a:close/>
                  <a:moveTo>
                    <a:pt x="25659" y="79"/>
                  </a:moveTo>
                  <a:cubicBezTo>
                    <a:pt x="25695" y="132"/>
                    <a:pt x="25714" y="208"/>
                    <a:pt x="25714" y="307"/>
                  </a:cubicBezTo>
                  <a:cubicBezTo>
                    <a:pt x="25714" y="508"/>
                    <a:pt x="25649" y="609"/>
                    <a:pt x="25519" y="609"/>
                  </a:cubicBezTo>
                  <a:cubicBezTo>
                    <a:pt x="25452" y="609"/>
                    <a:pt x="25400" y="582"/>
                    <a:pt x="25364" y="529"/>
                  </a:cubicBezTo>
                  <a:cubicBezTo>
                    <a:pt x="25328" y="476"/>
                    <a:pt x="25310" y="397"/>
                    <a:pt x="25310" y="293"/>
                  </a:cubicBezTo>
                  <a:cubicBezTo>
                    <a:pt x="25310" y="198"/>
                    <a:pt x="25328" y="126"/>
                    <a:pt x="25362" y="76"/>
                  </a:cubicBezTo>
                  <a:cubicBezTo>
                    <a:pt x="25396" y="26"/>
                    <a:pt x="25444" y="0"/>
                    <a:pt x="25506" y="0"/>
                  </a:cubicBezTo>
                  <a:cubicBezTo>
                    <a:pt x="25571" y="0"/>
                    <a:pt x="25622" y="27"/>
                    <a:pt x="25659" y="79"/>
                  </a:cubicBezTo>
                  <a:close/>
                  <a:moveTo>
                    <a:pt x="25616" y="301"/>
                  </a:moveTo>
                  <a:cubicBezTo>
                    <a:pt x="25616" y="151"/>
                    <a:pt x="25582" y="76"/>
                    <a:pt x="25513" y="76"/>
                  </a:cubicBezTo>
                  <a:cubicBezTo>
                    <a:pt x="25443" y="76"/>
                    <a:pt x="25408" y="150"/>
                    <a:pt x="25408" y="297"/>
                  </a:cubicBezTo>
                  <a:cubicBezTo>
                    <a:pt x="25408" y="454"/>
                    <a:pt x="25444" y="533"/>
                    <a:pt x="25515" y="533"/>
                  </a:cubicBezTo>
                  <a:cubicBezTo>
                    <a:pt x="25583" y="533"/>
                    <a:pt x="25616" y="456"/>
                    <a:pt x="25616" y="301"/>
                  </a:cubicBezTo>
                  <a:close/>
                  <a:moveTo>
                    <a:pt x="25918" y="599"/>
                  </a:moveTo>
                  <a:cubicBezTo>
                    <a:pt x="25817" y="599"/>
                    <a:pt x="25817" y="599"/>
                    <a:pt x="25817" y="599"/>
                  </a:cubicBezTo>
                  <a:cubicBezTo>
                    <a:pt x="25817" y="10"/>
                    <a:pt x="25817" y="10"/>
                    <a:pt x="25817" y="10"/>
                  </a:cubicBezTo>
                  <a:cubicBezTo>
                    <a:pt x="25918" y="10"/>
                    <a:pt x="25918" y="10"/>
                    <a:pt x="25918" y="10"/>
                  </a:cubicBezTo>
                  <a:lnTo>
                    <a:pt x="25918" y="599"/>
                  </a:lnTo>
                  <a:close/>
                  <a:moveTo>
                    <a:pt x="26371" y="79"/>
                  </a:moveTo>
                  <a:cubicBezTo>
                    <a:pt x="26407" y="132"/>
                    <a:pt x="26425" y="208"/>
                    <a:pt x="26425" y="307"/>
                  </a:cubicBezTo>
                  <a:cubicBezTo>
                    <a:pt x="26425" y="508"/>
                    <a:pt x="26361" y="609"/>
                    <a:pt x="26231" y="609"/>
                  </a:cubicBezTo>
                  <a:cubicBezTo>
                    <a:pt x="26164" y="609"/>
                    <a:pt x="26112" y="582"/>
                    <a:pt x="26076" y="529"/>
                  </a:cubicBezTo>
                  <a:cubicBezTo>
                    <a:pt x="26040" y="476"/>
                    <a:pt x="26022" y="397"/>
                    <a:pt x="26022" y="293"/>
                  </a:cubicBezTo>
                  <a:cubicBezTo>
                    <a:pt x="26022" y="198"/>
                    <a:pt x="26039" y="126"/>
                    <a:pt x="26074" y="76"/>
                  </a:cubicBezTo>
                  <a:cubicBezTo>
                    <a:pt x="26108" y="26"/>
                    <a:pt x="26156" y="0"/>
                    <a:pt x="26217" y="0"/>
                  </a:cubicBezTo>
                  <a:cubicBezTo>
                    <a:pt x="26283" y="0"/>
                    <a:pt x="26334" y="27"/>
                    <a:pt x="26371" y="79"/>
                  </a:cubicBezTo>
                  <a:close/>
                  <a:moveTo>
                    <a:pt x="26328" y="301"/>
                  </a:moveTo>
                  <a:cubicBezTo>
                    <a:pt x="26328" y="151"/>
                    <a:pt x="26294" y="76"/>
                    <a:pt x="26225" y="76"/>
                  </a:cubicBezTo>
                  <a:cubicBezTo>
                    <a:pt x="26155" y="76"/>
                    <a:pt x="26119" y="150"/>
                    <a:pt x="26119" y="297"/>
                  </a:cubicBezTo>
                  <a:cubicBezTo>
                    <a:pt x="26119" y="454"/>
                    <a:pt x="26155" y="533"/>
                    <a:pt x="26227" y="533"/>
                  </a:cubicBezTo>
                  <a:cubicBezTo>
                    <a:pt x="26294" y="533"/>
                    <a:pt x="26328" y="456"/>
                    <a:pt x="26328" y="301"/>
                  </a:cubicBezTo>
                  <a:close/>
                  <a:moveTo>
                    <a:pt x="26630" y="599"/>
                  </a:moveTo>
                  <a:cubicBezTo>
                    <a:pt x="26530" y="599"/>
                    <a:pt x="26530" y="599"/>
                    <a:pt x="26530" y="599"/>
                  </a:cubicBezTo>
                  <a:cubicBezTo>
                    <a:pt x="26530" y="10"/>
                    <a:pt x="26530" y="10"/>
                    <a:pt x="26530" y="10"/>
                  </a:cubicBezTo>
                  <a:cubicBezTo>
                    <a:pt x="26630" y="10"/>
                    <a:pt x="26630" y="10"/>
                    <a:pt x="26630" y="10"/>
                  </a:cubicBezTo>
                  <a:lnTo>
                    <a:pt x="26630" y="599"/>
                  </a:lnTo>
                  <a:close/>
                  <a:moveTo>
                    <a:pt x="27083" y="79"/>
                  </a:moveTo>
                  <a:cubicBezTo>
                    <a:pt x="27119" y="132"/>
                    <a:pt x="27137" y="208"/>
                    <a:pt x="27137" y="307"/>
                  </a:cubicBezTo>
                  <a:cubicBezTo>
                    <a:pt x="27137" y="508"/>
                    <a:pt x="27073" y="609"/>
                    <a:pt x="26943" y="609"/>
                  </a:cubicBezTo>
                  <a:cubicBezTo>
                    <a:pt x="26876" y="609"/>
                    <a:pt x="26824" y="582"/>
                    <a:pt x="26788" y="529"/>
                  </a:cubicBezTo>
                  <a:cubicBezTo>
                    <a:pt x="26752" y="476"/>
                    <a:pt x="26734" y="397"/>
                    <a:pt x="26734" y="293"/>
                  </a:cubicBezTo>
                  <a:cubicBezTo>
                    <a:pt x="26734" y="198"/>
                    <a:pt x="26751" y="126"/>
                    <a:pt x="26786" y="76"/>
                  </a:cubicBezTo>
                  <a:cubicBezTo>
                    <a:pt x="26820" y="26"/>
                    <a:pt x="26868" y="0"/>
                    <a:pt x="26929" y="0"/>
                  </a:cubicBezTo>
                  <a:cubicBezTo>
                    <a:pt x="26995" y="0"/>
                    <a:pt x="27046" y="27"/>
                    <a:pt x="27083" y="79"/>
                  </a:cubicBezTo>
                  <a:close/>
                  <a:moveTo>
                    <a:pt x="27040" y="301"/>
                  </a:moveTo>
                  <a:cubicBezTo>
                    <a:pt x="27040" y="151"/>
                    <a:pt x="27006" y="76"/>
                    <a:pt x="26937" y="76"/>
                  </a:cubicBezTo>
                  <a:cubicBezTo>
                    <a:pt x="26866" y="76"/>
                    <a:pt x="26831" y="150"/>
                    <a:pt x="26831" y="297"/>
                  </a:cubicBezTo>
                  <a:cubicBezTo>
                    <a:pt x="26831" y="454"/>
                    <a:pt x="26867" y="533"/>
                    <a:pt x="26939" y="533"/>
                  </a:cubicBezTo>
                  <a:cubicBezTo>
                    <a:pt x="27006" y="533"/>
                    <a:pt x="27040" y="456"/>
                    <a:pt x="27040" y="301"/>
                  </a:cubicBezTo>
                  <a:close/>
                  <a:moveTo>
                    <a:pt x="27301" y="620"/>
                  </a:moveTo>
                  <a:cubicBezTo>
                    <a:pt x="27202" y="602"/>
                    <a:pt x="27202" y="602"/>
                    <a:pt x="27202" y="602"/>
                  </a:cubicBezTo>
                  <a:cubicBezTo>
                    <a:pt x="27307" y="23"/>
                    <a:pt x="27307" y="23"/>
                    <a:pt x="27307" y="23"/>
                  </a:cubicBezTo>
                  <a:cubicBezTo>
                    <a:pt x="27406" y="41"/>
                    <a:pt x="27406" y="41"/>
                    <a:pt x="27406" y="41"/>
                  </a:cubicBezTo>
                  <a:lnTo>
                    <a:pt x="27301" y="620"/>
                  </a:lnTo>
                  <a:close/>
                  <a:moveTo>
                    <a:pt x="27905" y="342"/>
                  </a:moveTo>
                  <a:cubicBezTo>
                    <a:pt x="27909" y="405"/>
                    <a:pt x="27885" y="480"/>
                    <a:pt x="27833" y="565"/>
                  </a:cubicBezTo>
                  <a:cubicBezTo>
                    <a:pt x="27728" y="737"/>
                    <a:pt x="27621" y="789"/>
                    <a:pt x="27510" y="721"/>
                  </a:cubicBezTo>
                  <a:cubicBezTo>
                    <a:pt x="27452" y="686"/>
                    <a:pt x="27422" y="636"/>
                    <a:pt x="27419" y="572"/>
                  </a:cubicBezTo>
                  <a:cubicBezTo>
                    <a:pt x="27417" y="508"/>
                    <a:pt x="27442" y="431"/>
                    <a:pt x="27497" y="343"/>
                  </a:cubicBezTo>
                  <a:cubicBezTo>
                    <a:pt x="27546" y="262"/>
                    <a:pt x="27598" y="209"/>
                    <a:pt x="27654" y="184"/>
                  </a:cubicBezTo>
                  <a:cubicBezTo>
                    <a:pt x="27709" y="159"/>
                    <a:pt x="27763" y="163"/>
                    <a:pt x="27815" y="195"/>
                  </a:cubicBezTo>
                  <a:cubicBezTo>
                    <a:pt x="27871" y="229"/>
                    <a:pt x="27901" y="278"/>
                    <a:pt x="27905" y="342"/>
                  </a:cubicBezTo>
                  <a:close/>
                  <a:moveTo>
                    <a:pt x="27754" y="509"/>
                  </a:moveTo>
                  <a:cubicBezTo>
                    <a:pt x="27832" y="381"/>
                    <a:pt x="27841" y="299"/>
                    <a:pt x="27782" y="263"/>
                  </a:cubicBezTo>
                  <a:cubicBezTo>
                    <a:pt x="27722" y="226"/>
                    <a:pt x="27654" y="271"/>
                    <a:pt x="27577" y="397"/>
                  </a:cubicBezTo>
                  <a:cubicBezTo>
                    <a:pt x="27495" y="531"/>
                    <a:pt x="27485" y="617"/>
                    <a:pt x="27546" y="654"/>
                  </a:cubicBezTo>
                  <a:cubicBezTo>
                    <a:pt x="27604" y="689"/>
                    <a:pt x="27673" y="641"/>
                    <a:pt x="27754" y="509"/>
                  </a:cubicBezTo>
                  <a:close/>
                  <a:moveTo>
                    <a:pt x="27743" y="932"/>
                  </a:moveTo>
                  <a:cubicBezTo>
                    <a:pt x="27682" y="852"/>
                    <a:pt x="27682" y="852"/>
                    <a:pt x="27682" y="852"/>
                  </a:cubicBezTo>
                  <a:cubicBezTo>
                    <a:pt x="28150" y="495"/>
                    <a:pt x="28150" y="495"/>
                    <a:pt x="28150" y="495"/>
                  </a:cubicBezTo>
                  <a:cubicBezTo>
                    <a:pt x="28211" y="575"/>
                    <a:pt x="28211" y="575"/>
                    <a:pt x="28211" y="575"/>
                  </a:cubicBezTo>
                  <a:lnTo>
                    <a:pt x="27743" y="932"/>
                  </a:lnTo>
                  <a:close/>
                  <a:moveTo>
                    <a:pt x="28418" y="1021"/>
                  </a:moveTo>
                  <a:cubicBezTo>
                    <a:pt x="28395" y="1080"/>
                    <a:pt x="28343" y="1138"/>
                    <a:pt x="28261" y="1194"/>
                  </a:cubicBezTo>
                  <a:cubicBezTo>
                    <a:pt x="28094" y="1308"/>
                    <a:pt x="27975" y="1311"/>
                    <a:pt x="27902" y="1204"/>
                  </a:cubicBezTo>
                  <a:cubicBezTo>
                    <a:pt x="27864" y="1148"/>
                    <a:pt x="27857" y="1090"/>
                    <a:pt x="27881" y="1031"/>
                  </a:cubicBezTo>
                  <a:cubicBezTo>
                    <a:pt x="27905" y="971"/>
                    <a:pt x="27959" y="912"/>
                    <a:pt x="28045" y="853"/>
                  </a:cubicBezTo>
                  <a:cubicBezTo>
                    <a:pt x="28124" y="800"/>
                    <a:pt x="28193" y="773"/>
                    <a:pt x="28254" y="773"/>
                  </a:cubicBezTo>
                  <a:cubicBezTo>
                    <a:pt x="28315" y="774"/>
                    <a:pt x="28362" y="799"/>
                    <a:pt x="28397" y="850"/>
                  </a:cubicBezTo>
                  <a:cubicBezTo>
                    <a:pt x="28434" y="904"/>
                    <a:pt x="28441" y="961"/>
                    <a:pt x="28418" y="1021"/>
                  </a:cubicBezTo>
                  <a:close/>
                  <a:moveTo>
                    <a:pt x="28211" y="1110"/>
                  </a:moveTo>
                  <a:cubicBezTo>
                    <a:pt x="28335" y="1026"/>
                    <a:pt x="28377" y="955"/>
                    <a:pt x="28339" y="898"/>
                  </a:cubicBezTo>
                  <a:cubicBezTo>
                    <a:pt x="28299" y="840"/>
                    <a:pt x="28219" y="853"/>
                    <a:pt x="28097" y="936"/>
                  </a:cubicBezTo>
                  <a:cubicBezTo>
                    <a:pt x="27967" y="1025"/>
                    <a:pt x="27922" y="1098"/>
                    <a:pt x="27962" y="1157"/>
                  </a:cubicBezTo>
                  <a:cubicBezTo>
                    <a:pt x="28000" y="1213"/>
                    <a:pt x="28083" y="1198"/>
                    <a:pt x="28211" y="1110"/>
                  </a:cubicBezTo>
                  <a:close/>
                  <a:moveTo>
                    <a:pt x="28177" y="1549"/>
                  </a:moveTo>
                  <a:cubicBezTo>
                    <a:pt x="28113" y="1471"/>
                    <a:pt x="28113" y="1471"/>
                    <a:pt x="28113" y="1471"/>
                  </a:cubicBezTo>
                  <a:cubicBezTo>
                    <a:pt x="28566" y="1095"/>
                    <a:pt x="28566" y="1095"/>
                    <a:pt x="28566" y="1095"/>
                  </a:cubicBezTo>
                  <a:cubicBezTo>
                    <a:pt x="28630" y="1173"/>
                    <a:pt x="28630" y="1173"/>
                    <a:pt x="28630" y="1173"/>
                  </a:cubicBezTo>
                  <a:lnTo>
                    <a:pt x="28177" y="1549"/>
                  </a:lnTo>
                  <a:close/>
                  <a:moveTo>
                    <a:pt x="28884" y="1539"/>
                  </a:moveTo>
                  <a:cubicBezTo>
                    <a:pt x="28873" y="1602"/>
                    <a:pt x="28833" y="1669"/>
                    <a:pt x="28762" y="1739"/>
                  </a:cubicBezTo>
                  <a:cubicBezTo>
                    <a:pt x="28620" y="1882"/>
                    <a:pt x="28503" y="1907"/>
                    <a:pt x="28412" y="1816"/>
                  </a:cubicBezTo>
                  <a:cubicBezTo>
                    <a:pt x="28364" y="1768"/>
                    <a:pt x="28346" y="1713"/>
                    <a:pt x="28358" y="1650"/>
                  </a:cubicBezTo>
                  <a:cubicBezTo>
                    <a:pt x="28370" y="1586"/>
                    <a:pt x="28413" y="1518"/>
                    <a:pt x="28487" y="1444"/>
                  </a:cubicBezTo>
                  <a:cubicBezTo>
                    <a:pt x="28554" y="1377"/>
                    <a:pt x="28617" y="1338"/>
                    <a:pt x="28677" y="1327"/>
                  </a:cubicBezTo>
                  <a:cubicBezTo>
                    <a:pt x="28736" y="1316"/>
                    <a:pt x="28788" y="1332"/>
                    <a:pt x="28831" y="1375"/>
                  </a:cubicBezTo>
                  <a:cubicBezTo>
                    <a:pt x="28878" y="1421"/>
                    <a:pt x="28896" y="1476"/>
                    <a:pt x="28884" y="1539"/>
                  </a:cubicBezTo>
                  <a:close/>
                  <a:moveTo>
                    <a:pt x="28698" y="1666"/>
                  </a:moveTo>
                  <a:cubicBezTo>
                    <a:pt x="28804" y="1560"/>
                    <a:pt x="28832" y="1482"/>
                    <a:pt x="28783" y="1434"/>
                  </a:cubicBezTo>
                  <a:cubicBezTo>
                    <a:pt x="28734" y="1384"/>
                    <a:pt x="28657" y="1412"/>
                    <a:pt x="28553" y="1516"/>
                  </a:cubicBezTo>
                  <a:cubicBezTo>
                    <a:pt x="28442" y="1627"/>
                    <a:pt x="28411" y="1708"/>
                    <a:pt x="28462" y="1759"/>
                  </a:cubicBezTo>
                  <a:cubicBezTo>
                    <a:pt x="28510" y="1807"/>
                    <a:pt x="28588" y="1776"/>
                    <a:pt x="28698" y="1666"/>
                  </a:cubicBezTo>
                  <a:close/>
                  <a:moveTo>
                    <a:pt x="28746" y="2103"/>
                  </a:moveTo>
                  <a:cubicBezTo>
                    <a:pt x="28669" y="2039"/>
                    <a:pt x="28669" y="2039"/>
                    <a:pt x="28669" y="2039"/>
                  </a:cubicBezTo>
                  <a:cubicBezTo>
                    <a:pt x="29043" y="1584"/>
                    <a:pt x="29043" y="1584"/>
                    <a:pt x="29043" y="1584"/>
                  </a:cubicBezTo>
                  <a:cubicBezTo>
                    <a:pt x="29121" y="1648"/>
                    <a:pt x="29121" y="1648"/>
                    <a:pt x="29121" y="1648"/>
                  </a:cubicBezTo>
                  <a:lnTo>
                    <a:pt x="28746" y="2103"/>
                  </a:lnTo>
                  <a:close/>
                  <a:moveTo>
                    <a:pt x="29439" y="1961"/>
                  </a:moveTo>
                  <a:cubicBezTo>
                    <a:pt x="29440" y="2025"/>
                    <a:pt x="29413" y="2098"/>
                    <a:pt x="29357" y="2180"/>
                  </a:cubicBezTo>
                  <a:cubicBezTo>
                    <a:pt x="29244" y="2347"/>
                    <a:pt x="29134" y="2394"/>
                    <a:pt x="29027" y="2321"/>
                  </a:cubicBezTo>
                  <a:cubicBezTo>
                    <a:pt x="28971" y="2284"/>
                    <a:pt x="28943" y="2232"/>
                    <a:pt x="28943" y="2168"/>
                  </a:cubicBezTo>
                  <a:cubicBezTo>
                    <a:pt x="28943" y="2104"/>
                    <a:pt x="28973" y="2029"/>
                    <a:pt x="29031" y="1942"/>
                  </a:cubicBezTo>
                  <a:cubicBezTo>
                    <a:pt x="29084" y="1864"/>
                    <a:pt x="29139" y="1814"/>
                    <a:pt x="29196" y="1792"/>
                  </a:cubicBezTo>
                  <a:cubicBezTo>
                    <a:pt x="29252" y="1769"/>
                    <a:pt x="29306" y="1775"/>
                    <a:pt x="29357" y="1810"/>
                  </a:cubicBezTo>
                  <a:cubicBezTo>
                    <a:pt x="29411" y="1847"/>
                    <a:pt x="29439" y="1897"/>
                    <a:pt x="29439" y="1961"/>
                  </a:cubicBezTo>
                  <a:close/>
                  <a:moveTo>
                    <a:pt x="29280" y="2120"/>
                  </a:moveTo>
                  <a:cubicBezTo>
                    <a:pt x="29364" y="1997"/>
                    <a:pt x="29377" y="1915"/>
                    <a:pt x="29320" y="1877"/>
                  </a:cubicBezTo>
                  <a:cubicBezTo>
                    <a:pt x="29262" y="1837"/>
                    <a:pt x="29192" y="1879"/>
                    <a:pt x="29109" y="2000"/>
                  </a:cubicBezTo>
                  <a:cubicBezTo>
                    <a:pt x="29021" y="2131"/>
                    <a:pt x="29007" y="2216"/>
                    <a:pt x="29066" y="2256"/>
                  </a:cubicBezTo>
                  <a:cubicBezTo>
                    <a:pt x="29122" y="2294"/>
                    <a:pt x="29193" y="2249"/>
                    <a:pt x="29280" y="2120"/>
                  </a:cubicBezTo>
                  <a:close/>
                  <a:moveTo>
                    <a:pt x="29410" y="2541"/>
                  </a:moveTo>
                  <a:cubicBezTo>
                    <a:pt x="29322" y="2492"/>
                    <a:pt x="29322" y="2492"/>
                    <a:pt x="29322" y="2492"/>
                  </a:cubicBezTo>
                  <a:cubicBezTo>
                    <a:pt x="29605" y="1976"/>
                    <a:pt x="29605" y="1976"/>
                    <a:pt x="29605" y="1976"/>
                  </a:cubicBezTo>
                  <a:cubicBezTo>
                    <a:pt x="29693" y="2024"/>
                    <a:pt x="29693" y="2024"/>
                    <a:pt x="29693" y="2024"/>
                  </a:cubicBezTo>
                  <a:lnTo>
                    <a:pt x="29410" y="2541"/>
                  </a:lnTo>
                  <a:close/>
                  <a:moveTo>
                    <a:pt x="29656" y="2661"/>
                  </a:moveTo>
                  <a:cubicBezTo>
                    <a:pt x="29565" y="2619"/>
                    <a:pt x="29565" y="2619"/>
                    <a:pt x="29565" y="2619"/>
                  </a:cubicBezTo>
                  <a:cubicBezTo>
                    <a:pt x="29813" y="2085"/>
                    <a:pt x="29813" y="2085"/>
                    <a:pt x="29813" y="2085"/>
                  </a:cubicBezTo>
                  <a:cubicBezTo>
                    <a:pt x="29904" y="2127"/>
                    <a:pt x="29904" y="2127"/>
                    <a:pt x="29904" y="2127"/>
                  </a:cubicBezTo>
                  <a:lnTo>
                    <a:pt x="29656" y="2661"/>
                  </a:lnTo>
                  <a:close/>
                  <a:moveTo>
                    <a:pt x="30291" y="2349"/>
                  </a:moveTo>
                  <a:cubicBezTo>
                    <a:pt x="30308" y="2411"/>
                    <a:pt x="30300" y="2489"/>
                    <a:pt x="30267" y="2582"/>
                  </a:cubicBezTo>
                  <a:cubicBezTo>
                    <a:pt x="30200" y="2772"/>
                    <a:pt x="30105" y="2845"/>
                    <a:pt x="29983" y="2802"/>
                  </a:cubicBezTo>
                  <a:cubicBezTo>
                    <a:pt x="29919" y="2780"/>
                    <a:pt x="29879" y="2737"/>
                    <a:pt x="29863" y="2675"/>
                  </a:cubicBezTo>
                  <a:cubicBezTo>
                    <a:pt x="29847" y="2613"/>
                    <a:pt x="29857" y="2533"/>
                    <a:pt x="29891" y="2435"/>
                  </a:cubicBezTo>
                  <a:cubicBezTo>
                    <a:pt x="29923" y="2345"/>
                    <a:pt x="29963" y="2283"/>
                    <a:pt x="30012" y="2247"/>
                  </a:cubicBezTo>
                  <a:cubicBezTo>
                    <a:pt x="30061" y="2211"/>
                    <a:pt x="30115" y="2203"/>
                    <a:pt x="30173" y="2224"/>
                  </a:cubicBezTo>
                  <a:cubicBezTo>
                    <a:pt x="30235" y="2246"/>
                    <a:pt x="30274" y="2288"/>
                    <a:pt x="30291" y="2349"/>
                  </a:cubicBezTo>
                  <a:close/>
                  <a:moveTo>
                    <a:pt x="30177" y="2544"/>
                  </a:moveTo>
                  <a:cubicBezTo>
                    <a:pt x="30227" y="2403"/>
                    <a:pt x="30220" y="2321"/>
                    <a:pt x="30154" y="2298"/>
                  </a:cubicBezTo>
                  <a:cubicBezTo>
                    <a:pt x="30088" y="2274"/>
                    <a:pt x="30031" y="2332"/>
                    <a:pt x="29982" y="2471"/>
                  </a:cubicBezTo>
                  <a:cubicBezTo>
                    <a:pt x="29929" y="2619"/>
                    <a:pt x="29937" y="2705"/>
                    <a:pt x="30004" y="2729"/>
                  </a:cubicBezTo>
                  <a:cubicBezTo>
                    <a:pt x="30068" y="2752"/>
                    <a:pt x="30126" y="2690"/>
                    <a:pt x="30177" y="2544"/>
                  </a:cubicBezTo>
                  <a:close/>
                  <a:moveTo>
                    <a:pt x="30410" y="2917"/>
                  </a:moveTo>
                  <a:cubicBezTo>
                    <a:pt x="30312" y="2893"/>
                    <a:pt x="30312" y="2893"/>
                    <a:pt x="30312" y="2893"/>
                  </a:cubicBezTo>
                  <a:cubicBezTo>
                    <a:pt x="30454" y="2322"/>
                    <a:pt x="30454" y="2322"/>
                    <a:pt x="30454" y="2322"/>
                  </a:cubicBezTo>
                  <a:cubicBezTo>
                    <a:pt x="30552" y="2346"/>
                    <a:pt x="30552" y="2346"/>
                    <a:pt x="30552" y="2346"/>
                  </a:cubicBezTo>
                  <a:lnTo>
                    <a:pt x="30410" y="2917"/>
                  </a:lnTo>
                  <a:close/>
                  <a:moveTo>
                    <a:pt x="30678" y="2972"/>
                  </a:moveTo>
                  <a:cubicBezTo>
                    <a:pt x="30579" y="2954"/>
                    <a:pt x="30579" y="2954"/>
                    <a:pt x="30579" y="2954"/>
                  </a:cubicBezTo>
                  <a:cubicBezTo>
                    <a:pt x="30684" y="2374"/>
                    <a:pt x="30684" y="2374"/>
                    <a:pt x="30684" y="2374"/>
                  </a:cubicBezTo>
                  <a:cubicBezTo>
                    <a:pt x="30783" y="2392"/>
                    <a:pt x="30783" y="2392"/>
                    <a:pt x="30783" y="2392"/>
                  </a:cubicBezTo>
                  <a:lnTo>
                    <a:pt x="30678" y="2972"/>
                  </a:lnTo>
                  <a:close/>
                  <a:moveTo>
                    <a:pt x="30950" y="3008"/>
                  </a:moveTo>
                  <a:cubicBezTo>
                    <a:pt x="30850" y="2997"/>
                    <a:pt x="30850" y="2997"/>
                    <a:pt x="30850" y="2997"/>
                  </a:cubicBezTo>
                  <a:cubicBezTo>
                    <a:pt x="30917" y="2412"/>
                    <a:pt x="30917" y="2412"/>
                    <a:pt x="30917" y="2412"/>
                  </a:cubicBezTo>
                  <a:cubicBezTo>
                    <a:pt x="31016" y="2423"/>
                    <a:pt x="31016" y="2423"/>
                    <a:pt x="31016" y="2423"/>
                  </a:cubicBezTo>
                  <a:lnTo>
                    <a:pt x="30950" y="3008"/>
                  </a:lnTo>
                  <a:close/>
                  <a:moveTo>
                    <a:pt x="31454" y="2512"/>
                  </a:moveTo>
                  <a:cubicBezTo>
                    <a:pt x="31490" y="2565"/>
                    <a:pt x="31506" y="2641"/>
                    <a:pt x="31505" y="2741"/>
                  </a:cubicBezTo>
                  <a:cubicBezTo>
                    <a:pt x="31501" y="2942"/>
                    <a:pt x="31434" y="3041"/>
                    <a:pt x="31305" y="3039"/>
                  </a:cubicBezTo>
                  <a:cubicBezTo>
                    <a:pt x="31237" y="3038"/>
                    <a:pt x="31186" y="3010"/>
                    <a:pt x="31151" y="2956"/>
                  </a:cubicBezTo>
                  <a:cubicBezTo>
                    <a:pt x="31116" y="2902"/>
                    <a:pt x="31100" y="2823"/>
                    <a:pt x="31102" y="2719"/>
                  </a:cubicBezTo>
                  <a:cubicBezTo>
                    <a:pt x="31104" y="2624"/>
                    <a:pt x="31122" y="2552"/>
                    <a:pt x="31157" y="2503"/>
                  </a:cubicBezTo>
                  <a:cubicBezTo>
                    <a:pt x="31193" y="2453"/>
                    <a:pt x="31241" y="2429"/>
                    <a:pt x="31302" y="2430"/>
                  </a:cubicBezTo>
                  <a:cubicBezTo>
                    <a:pt x="31368" y="2432"/>
                    <a:pt x="31419" y="2459"/>
                    <a:pt x="31454" y="2512"/>
                  </a:cubicBezTo>
                  <a:close/>
                  <a:moveTo>
                    <a:pt x="31407" y="2732"/>
                  </a:moveTo>
                  <a:cubicBezTo>
                    <a:pt x="31410" y="2583"/>
                    <a:pt x="31377" y="2507"/>
                    <a:pt x="31308" y="2506"/>
                  </a:cubicBezTo>
                  <a:cubicBezTo>
                    <a:pt x="31238" y="2505"/>
                    <a:pt x="31202" y="2577"/>
                    <a:pt x="31199" y="2725"/>
                  </a:cubicBezTo>
                  <a:cubicBezTo>
                    <a:pt x="31196" y="2882"/>
                    <a:pt x="31230" y="2961"/>
                    <a:pt x="31302" y="2963"/>
                  </a:cubicBezTo>
                  <a:cubicBezTo>
                    <a:pt x="31369" y="2964"/>
                    <a:pt x="31404" y="2887"/>
                    <a:pt x="31407" y="2732"/>
                  </a:cubicBezTo>
                  <a:close/>
                  <a:moveTo>
                    <a:pt x="31745" y="3014"/>
                  </a:moveTo>
                  <a:cubicBezTo>
                    <a:pt x="31644" y="3022"/>
                    <a:pt x="31644" y="3022"/>
                    <a:pt x="31644" y="3022"/>
                  </a:cubicBezTo>
                  <a:cubicBezTo>
                    <a:pt x="31601" y="2435"/>
                    <a:pt x="31601" y="2435"/>
                    <a:pt x="31601" y="2435"/>
                  </a:cubicBezTo>
                  <a:cubicBezTo>
                    <a:pt x="31701" y="2427"/>
                    <a:pt x="31701" y="2427"/>
                    <a:pt x="31701" y="2427"/>
                  </a:cubicBezTo>
                  <a:lnTo>
                    <a:pt x="31745" y="3014"/>
                  </a:lnTo>
                  <a:close/>
                  <a:moveTo>
                    <a:pt x="32147" y="2433"/>
                  </a:moveTo>
                  <a:cubicBezTo>
                    <a:pt x="32192" y="2478"/>
                    <a:pt x="32222" y="2550"/>
                    <a:pt x="32239" y="2648"/>
                  </a:cubicBezTo>
                  <a:cubicBezTo>
                    <a:pt x="32273" y="2847"/>
                    <a:pt x="32226" y="2957"/>
                    <a:pt x="32098" y="2978"/>
                  </a:cubicBezTo>
                  <a:cubicBezTo>
                    <a:pt x="32032" y="2990"/>
                    <a:pt x="31976" y="2972"/>
                    <a:pt x="31932" y="2925"/>
                  </a:cubicBezTo>
                  <a:cubicBezTo>
                    <a:pt x="31888" y="2879"/>
                    <a:pt x="31857" y="2804"/>
                    <a:pt x="31839" y="2702"/>
                  </a:cubicBezTo>
                  <a:cubicBezTo>
                    <a:pt x="31823" y="2608"/>
                    <a:pt x="31828" y="2534"/>
                    <a:pt x="31854" y="2479"/>
                  </a:cubicBezTo>
                  <a:cubicBezTo>
                    <a:pt x="31879" y="2424"/>
                    <a:pt x="31922" y="2391"/>
                    <a:pt x="31982" y="2381"/>
                  </a:cubicBezTo>
                  <a:cubicBezTo>
                    <a:pt x="32047" y="2370"/>
                    <a:pt x="32102" y="2387"/>
                    <a:pt x="32147" y="2433"/>
                  </a:cubicBezTo>
                  <a:close/>
                  <a:moveTo>
                    <a:pt x="32142" y="2658"/>
                  </a:moveTo>
                  <a:cubicBezTo>
                    <a:pt x="32117" y="2511"/>
                    <a:pt x="32070" y="2443"/>
                    <a:pt x="32002" y="2454"/>
                  </a:cubicBezTo>
                  <a:cubicBezTo>
                    <a:pt x="31933" y="2466"/>
                    <a:pt x="31911" y="2544"/>
                    <a:pt x="31936" y="2689"/>
                  </a:cubicBezTo>
                  <a:cubicBezTo>
                    <a:pt x="31962" y="2845"/>
                    <a:pt x="32011" y="2916"/>
                    <a:pt x="32081" y="2904"/>
                  </a:cubicBezTo>
                  <a:cubicBezTo>
                    <a:pt x="32148" y="2893"/>
                    <a:pt x="32168" y="2811"/>
                    <a:pt x="32142" y="2658"/>
                  </a:cubicBezTo>
                  <a:close/>
                  <a:moveTo>
                    <a:pt x="32526" y="2871"/>
                  </a:moveTo>
                  <a:cubicBezTo>
                    <a:pt x="32429" y="2898"/>
                    <a:pt x="32429" y="2898"/>
                    <a:pt x="32429" y="2898"/>
                  </a:cubicBezTo>
                  <a:cubicBezTo>
                    <a:pt x="32276" y="2329"/>
                    <a:pt x="32276" y="2329"/>
                    <a:pt x="32276" y="2329"/>
                  </a:cubicBezTo>
                  <a:cubicBezTo>
                    <a:pt x="32373" y="2303"/>
                    <a:pt x="32373" y="2303"/>
                    <a:pt x="32373" y="2303"/>
                  </a:cubicBezTo>
                  <a:lnTo>
                    <a:pt x="32526" y="2871"/>
                  </a:lnTo>
                  <a:close/>
                  <a:moveTo>
                    <a:pt x="32812" y="2224"/>
                  </a:moveTo>
                  <a:cubicBezTo>
                    <a:pt x="32865" y="2260"/>
                    <a:pt x="32909" y="2325"/>
                    <a:pt x="32944" y="2418"/>
                  </a:cubicBezTo>
                  <a:cubicBezTo>
                    <a:pt x="33014" y="2606"/>
                    <a:pt x="32989" y="2723"/>
                    <a:pt x="32868" y="2769"/>
                  </a:cubicBezTo>
                  <a:cubicBezTo>
                    <a:pt x="32805" y="2793"/>
                    <a:pt x="32747" y="2786"/>
                    <a:pt x="32695" y="2748"/>
                  </a:cubicBezTo>
                  <a:cubicBezTo>
                    <a:pt x="32642" y="2711"/>
                    <a:pt x="32598" y="2644"/>
                    <a:pt x="32561" y="2546"/>
                  </a:cubicBezTo>
                  <a:cubicBezTo>
                    <a:pt x="32528" y="2458"/>
                    <a:pt x="32518" y="2384"/>
                    <a:pt x="32533" y="2325"/>
                  </a:cubicBezTo>
                  <a:cubicBezTo>
                    <a:pt x="32548" y="2266"/>
                    <a:pt x="32583" y="2226"/>
                    <a:pt x="32641" y="2204"/>
                  </a:cubicBezTo>
                  <a:cubicBezTo>
                    <a:pt x="32702" y="2181"/>
                    <a:pt x="32759" y="2188"/>
                    <a:pt x="32812" y="2224"/>
                  </a:cubicBezTo>
                  <a:close/>
                  <a:moveTo>
                    <a:pt x="32850" y="2446"/>
                  </a:moveTo>
                  <a:cubicBezTo>
                    <a:pt x="32798" y="2306"/>
                    <a:pt x="32739" y="2248"/>
                    <a:pt x="32674" y="2272"/>
                  </a:cubicBezTo>
                  <a:cubicBezTo>
                    <a:pt x="32609" y="2297"/>
                    <a:pt x="32602" y="2378"/>
                    <a:pt x="32654" y="2516"/>
                  </a:cubicBezTo>
                  <a:cubicBezTo>
                    <a:pt x="32709" y="2663"/>
                    <a:pt x="32770" y="2724"/>
                    <a:pt x="32837" y="2699"/>
                  </a:cubicBezTo>
                  <a:cubicBezTo>
                    <a:pt x="32900" y="2676"/>
                    <a:pt x="32905" y="2591"/>
                    <a:pt x="32850" y="2446"/>
                  </a:cubicBezTo>
                  <a:close/>
                  <a:moveTo>
                    <a:pt x="33268" y="2583"/>
                  </a:moveTo>
                  <a:cubicBezTo>
                    <a:pt x="33178" y="2627"/>
                    <a:pt x="33178" y="2627"/>
                    <a:pt x="33178" y="2627"/>
                  </a:cubicBezTo>
                  <a:cubicBezTo>
                    <a:pt x="32919" y="2098"/>
                    <a:pt x="32919" y="2098"/>
                    <a:pt x="32919" y="2098"/>
                  </a:cubicBezTo>
                  <a:cubicBezTo>
                    <a:pt x="33010" y="2054"/>
                    <a:pt x="33010" y="2054"/>
                    <a:pt x="33010" y="2054"/>
                  </a:cubicBezTo>
                  <a:lnTo>
                    <a:pt x="33268" y="2583"/>
                  </a:lnTo>
                  <a:close/>
                  <a:moveTo>
                    <a:pt x="33425" y="1893"/>
                  </a:moveTo>
                  <a:cubicBezTo>
                    <a:pt x="33484" y="1919"/>
                    <a:pt x="33539" y="1974"/>
                    <a:pt x="33591" y="2059"/>
                  </a:cubicBezTo>
                  <a:cubicBezTo>
                    <a:pt x="33696" y="2230"/>
                    <a:pt x="33694" y="2350"/>
                    <a:pt x="33583" y="2418"/>
                  </a:cubicBezTo>
                  <a:cubicBezTo>
                    <a:pt x="33526" y="2453"/>
                    <a:pt x="33468" y="2457"/>
                    <a:pt x="33409" y="2430"/>
                  </a:cubicBezTo>
                  <a:cubicBezTo>
                    <a:pt x="33351" y="2404"/>
                    <a:pt x="33294" y="2346"/>
                    <a:pt x="33240" y="2257"/>
                  </a:cubicBezTo>
                  <a:cubicBezTo>
                    <a:pt x="33191" y="2176"/>
                    <a:pt x="33167" y="2106"/>
                    <a:pt x="33171" y="2045"/>
                  </a:cubicBezTo>
                  <a:cubicBezTo>
                    <a:pt x="33174" y="1984"/>
                    <a:pt x="33201" y="1938"/>
                    <a:pt x="33254" y="1906"/>
                  </a:cubicBezTo>
                  <a:cubicBezTo>
                    <a:pt x="33310" y="1872"/>
                    <a:pt x="33367" y="1867"/>
                    <a:pt x="33425" y="1893"/>
                  </a:cubicBezTo>
                  <a:close/>
                  <a:moveTo>
                    <a:pt x="33505" y="2104"/>
                  </a:moveTo>
                  <a:cubicBezTo>
                    <a:pt x="33427" y="1976"/>
                    <a:pt x="33358" y="1931"/>
                    <a:pt x="33299" y="1967"/>
                  </a:cubicBezTo>
                  <a:cubicBezTo>
                    <a:pt x="33240" y="2003"/>
                    <a:pt x="33248" y="2084"/>
                    <a:pt x="33325" y="2210"/>
                  </a:cubicBezTo>
                  <a:cubicBezTo>
                    <a:pt x="33407" y="2344"/>
                    <a:pt x="33479" y="2392"/>
                    <a:pt x="33540" y="2355"/>
                  </a:cubicBezTo>
                  <a:cubicBezTo>
                    <a:pt x="33597" y="2320"/>
                    <a:pt x="33586" y="2236"/>
                    <a:pt x="33505" y="2104"/>
                  </a:cubicBezTo>
                  <a:close/>
                  <a:moveTo>
                    <a:pt x="33941" y="2159"/>
                  </a:moveTo>
                  <a:cubicBezTo>
                    <a:pt x="33861" y="2220"/>
                    <a:pt x="33861" y="2220"/>
                    <a:pt x="33861" y="2220"/>
                  </a:cubicBezTo>
                  <a:cubicBezTo>
                    <a:pt x="33507" y="1749"/>
                    <a:pt x="33507" y="1749"/>
                    <a:pt x="33507" y="1749"/>
                  </a:cubicBezTo>
                  <a:cubicBezTo>
                    <a:pt x="33588" y="1688"/>
                    <a:pt x="33588" y="1688"/>
                    <a:pt x="33588" y="1688"/>
                  </a:cubicBezTo>
                  <a:lnTo>
                    <a:pt x="33941" y="2159"/>
                  </a:lnTo>
                  <a:close/>
                  <a:moveTo>
                    <a:pt x="33966" y="1452"/>
                  </a:moveTo>
                  <a:cubicBezTo>
                    <a:pt x="34028" y="1466"/>
                    <a:pt x="34093" y="1510"/>
                    <a:pt x="34160" y="1584"/>
                  </a:cubicBezTo>
                  <a:cubicBezTo>
                    <a:pt x="34296" y="1733"/>
                    <a:pt x="34315" y="1851"/>
                    <a:pt x="34220" y="1938"/>
                  </a:cubicBezTo>
                  <a:cubicBezTo>
                    <a:pt x="34170" y="1983"/>
                    <a:pt x="34113" y="1999"/>
                    <a:pt x="34051" y="1983"/>
                  </a:cubicBezTo>
                  <a:cubicBezTo>
                    <a:pt x="33989" y="1968"/>
                    <a:pt x="33922" y="1922"/>
                    <a:pt x="33852" y="1845"/>
                  </a:cubicBezTo>
                  <a:cubicBezTo>
                    <a:pt x="33789" y="1775"/>
                    <a:pt x="33753" y="1710"/>
                    <a:pt x="33744" y="1650"/>
                  </a:cubicBezTo>
                  <a:cubicBezTo>
                    <a:pt x="33736" y="1589"/>
                    <a:pt x="33754" y="1539"/>
                    <a:pt x="33800" y="1497"/>
                  </a:cubicBezTo>
                  <a:cubicBezTo>
                    <a:pt x="33848" y="1453"/>
                    <a:pt x="33904" y="1438"/>
                    <a:pt x="33966" y="1452"/>
                  </a:cubicBezTo>
                  <a:close/>
                  <a:moveTo>
                    <a:pt x="34084" y="1645"/>
                  </a:moveTo>
                  <a:cubicBezTo>
                    <a:pt x="33983" y="1534"/>
                    <a:pt x="33907" y="1502"/>
                    <a:pt x="33856" y="1548"/>
                  </a:cubicBezTo>
                  <a:cubicBezTo>
                    <a:pt x="33804" y="1595"/>
                    <a:pt x="33828" y="1673"/>
                    <a:pt x="33927" y="1782"/>
                  </a:cubicBezTo>
                  <a:cubicBezTo>
                    <a:pt x="34033" y="1899"/>
                    <a:pt x="34112" y="1933"/>
                    <a:pt x="34165" y="1885"/>
                  </a:cubicBezTo>
                  <a:cubicBezTo>
                    <a:pt x="34215" y="1839"/>
                    <a:pt x="34188" y="1759"/>
                    <a:pt x="34084" y="1645"/>
                  </a:cubicBezTo>
                  <a:close/>
                  <a:moveTo>
                    <a:pt x="34271" y="1112"/>
                  </a:moveTo>
                  <a:cubicBezTo>
                    <a:pt x="34335" y="1118"/>
                    <a:pt x="34405" y="1154"/>
                    <a:pt x="34480" y="1219"/>
                  </a:cubicBezTo>
                  <a:cubicBezTo>
                    <a:pt x="34633" y="1350"/>
                    <a:pt x="34667" y="1464"/>
                    <a:pt x="34583" y="1562"/>
                  </a:cubicBezTo>
                  <a:cubicBezTo>
                    <a:pt x="34539" y="1614"/>
                    <a:pt x="34485" y="1636"/>
                    <a:pt x="34421" y="1628"/>
                  </a:cubicBezTo>
                  <a:cubicBezTo>
                    <a:pt x="34357" y="1621"/>
                    <a:pt x="34286" y="1583"/>
                    <a:pt x="34207" y="1515"/>
                  </a:cubicBezTo>
                  <a:cubicBezTo>
                    <a:pt x="34135" y="1454"/>
                    <a:pt x="34091" y="1393"/>
                    <a:pt x="34075" y="1335"/>
                  </a:cubicBezTo>
                  <a:cubicBezTo>
                    <a:pt x="34060" y="1276"/>
                    <a:pt x="34072" y="1224"/>
                    <a:pt x="34112" y="1177"/>
                  </a:cubicBezTo>
                  <a:cubicBezTo>
                    <a:pt x="34155" y="1127"/>
                    <a:pt x="34208" y="1105"/>
                    <a:pt x="34271" y="1112"/>
                  </a:cubicBezTo>
                  <a:close/>
                  <a:moveTo>
                    <a:pt x="34412" y="1288"/>
                  </a:moveTo>
                  <a:cubicBezTo>
                    <a:pt x="34298" y="1191"/>
                    <a:pt x="34219" y="1168"/>
                    <a:pt x="34174" y="1221"/>
                  </a:cubicBezTo>
                  <a:cubicBezTo>
                    <a:pt x="34128" y="1274"/>
                    <a:pt x="34161" y="1348"/>
                    <a:pt x="34273" y="1444"/>
                  </a:cubicBezTo>
                  <a:cubicBezTo>
                    <a:pt x="34393" y="1547"/>
                    <a:pt x="34476" y="1571"/>
                    <a:pt x="34522" y="1516"/>
                  </a:cubicBezTo>
                  <a:cubicBezTo>
                    <a:pt x="34566" y="1465"/>
                    <a:pt x="34529" y="1389"/>
                    <a:pt x="34412" y="1288"/>
                  </a:cubicBezTo>
                  <a:close/>
                  <a:moveTo>
                    <a:pt x="34844" y="1207"/>
                  </a:moveTo>
                  <a:cubicBezTo>
                    <a:pt x="34786" y="1289"/>
                    <a:pt x="34786" y="1289"/>
                    <a:pt x="34786" y="1289"/>
                  </a:cubicBezTo>
                  <a:cubicBezTo>
                    <a:pt x="34305" y="949"/>
                    <a:pt x="34305" y="949"/>
                    <a:pt x="34305" y="949"/>
                  </a:cubicBezTo>
                  <a:cubicBezTo>
                    <a:pt x="34363" y="867"/>
                    <a:pt x="34363" y="867"/>
                    <a:pt x="34363" y="867"/>
                  </a:cubicBezTo>
                  <a:lnTo>
                    <a:pt x="34844" y="1207"/>
                  </a:lnTo>
                  <a:close/>
                  <a:moveTo>
                    <a:pt x="34669" y="519"/>
                  </a:moveTo>
                  <a:cubicBezTo>
                    <a:pt x="34733" y="518"/>
                    <a:pt x="34806" y="545"/>
                    <a:pt x="34889" y="601"/>
                  </a:cubicBezTo>
                  <a:cubicBezTo>
                    <a:pt x="35056" y="713"/>
                    <a:pt x="35104" y="822"/>
                    <a:pt x="35032" y="930"/>
                  </a:cubicBezTo>
                  <a:cubicBezTo>
                    <a:pt x="34994" y="986"/>
                    <a:pt x="34943" y="1014"/>
                    <a:pt x="34879" y="1014"/>
                  </a:cubicBezTo>
                  <a:cubicBezTo>
                    <a:pt x="34815" y="1015"/>
                    <a:pt x="34739" y="986"/>
                    <a:pt x="34653" y="928"/>
                  </a:cubicBezTo>
                  <a:cubicBezTo>
                    <a:pt x="34574" y="875"/>
                    <a:pt x="34524" y="821"/>
                    <a:pt x="34501" y="764"/>
                  </a:cubicBezTo>
                  <a:cubicBezTo>
                    <a:pt x="34478" y="708"/>
                    <a:pt x="34484" y="654"/>
                    <a:pt x="34518" y="603"/>
                  </a:cubicBezTo>
                  <a:cubicBezTo>
                    <a:pt x="34555" y="549"/>
                    <a:pt x="34605" y="521"/>
                    <a:pt x="34669" y="519"/>
                  </a:cubicBezTo>
                  <a:close/>
                  <a:moveTo>
                    <a:pt x="34829" y="678"/>
                  </a:moveTo>
                  <a:cubicBezTo>
                    <a:pt x="34705" y="595"/>
                    <a:pt x="34624" y="582"/>
                    <a:pt x="34585" y="639"/>
                  </a:cubicBezTo>
                  <a:cubicBezTo>
                    <a:pt x="34546" y="697"/>
                    <a:pt x="34588" y="767"/>
                    <a:pt x="34710" y="849"/>
                  </a:cubicBezTo>
                  <a:cubicBezTo>
                    <a:pt x="34841" y="937"/>
                    <a:pt x="34926" y="951"/>
                    <a:pt x="34966" y="892"/>
                  </a:cubicBezTo>
                  <a:cubicBezTo>
                    <a:pt x="35004" y="835"/>
                    <a:pt x="34958" y="764"/>
                    <a:pt x="34829" y="678"/>
                  </a:cubicBezTo>
                  <a:close/>
                  <a:moveTo>
                    <a:pt x="35166" y="162"/>
                  </a:moveTo>
                  <a:cubicBezTo>
                    <a:pt x="35223" y="191"/>
                    <a:pt x="35275" y="249"/>
                    <a:pt x="35322" y="337"/>
                  </a:cubicBezTo>
                  <a:cubicBezTo>
                    <a:pt x="35418" y="514"/>
                    <a:pt x="35409" y="633"/>
                    <a:pt x="35295" y="695"/>
                  </a:cubicBezTo>
                  <a:cubicBezTo>
                    <a:pt x="35236" y="727"/>
                    <a:pt x="35178" y="728"/>
                    <a:pt x="35121" y="698"/>
                  </a:cubicBezTo>
                  <a:cubicBezTo>
                    <a:pt x="35064" y="668"/>
                    <a:pt x="35011" y="608"/>
                    <a:pt x="34961" y="516"/>
                  </a:cubicBezTo>
                  <a:cubicBezTo>
                    <a:pt x="34916" y="433"/>
                    <a:pt x="34897" y="361"/>
                    <a:pt x="34903" y="301"/>
                  </a:cubicBezTo>
                  <a:cubicBezTo>
                    <a:pt x="34909" y="240"/>
                    <a:pt x="34939" y="195"/>
                    <a:pt x="34993" y="166"/>
                  </a:cubicBezTo>
                  <a:cubicBezTo>
                    <a:pt x="35051" y="135"/>
                    <a:pt x="35109" y="134"/>
                    <a:pt x="35166" y="162"/>
                  </a:cubicBezTo>
                  <a:close/>
                  <a:moveTo>
                    <a:pt x="35234" y="377"/>
                  </a:moveTo>
                  <a:cubicBezTo>
                    <a:pt x="35162" y="246"/>
                    <a:pt x="35097" y="196"/>
                    <a:pt x="35036" y="229"/>
                  </a:cubicBezTo>
                  <a:cubicBezTo>
                    <a:pt x="34974" y="262"/>
                    <a:pt x="34978" y="344"/>
                    <a:pt x="35049" y="473"/>
                  </a:cubicBezTo>
                  <a:cubicBezTo>
                    <a:pt x="35124" y="612"/>
                    <a:pt x="35192" y="664"/>
                    <a:pt x="35255" y="630"/>
                  </a:cubicBezTo>
                  <a:cubicBezTo>
                    <a:pt x="35315" y="598"/>
                    <a:pt x="35308" y="514"/>
                    <a:pt x="35234" y="377"/>
                  </a:cubicBezTo>
                  <a:close/>
                  <a:moveTo>
                    <a:pt x="35596" y="599"/>
                  </a:moveTo>
                  <a:cubicBezTo>
                    <a:pt x="35496" y="612"/>
                    <a:pt x="35496" y="612"/>
                    <a:pt x="35496" y="612"/>
                  </a:cubicBezTo>
                  <a:cubicBezTo>
                    <a:pt x="35421" y="28"/>
                    <a:pt x="35421" y="28"/>
                    <a:pt x="35421" y="28"/>
                  </a:cubicBezTo>
                  <a:cubicBezTo>
                    <a:pt x="35521" y="15"/>
                    <a:pt x="35521" y="15"/>
                    <a:pt x="35521" y="15"/>
                  </a:cubicBezTo>
                  <a:lnTo>
                    <a:pt x="35596" y="599"/>
                  </a:lnTo>
                  <a:close/>
                  <a:moveTo>
                    <a:pt x="36019" y="79"/>
                  </a:moveTo>
                  <a:cubicBezTo>
                    <a:pt x="36055" y="132"/>
                    <a:pt x="36074" y="208"/>
                    <a:pt x="36074" y="307"/>
                  </a:cubicBezTo>
                  <a:cubicBezTo>
                    <a:pt x="36074" y="508"/>
                    <a:pt x="36009" y="609"/>
                    <a:pt x="35879" y="609"/>
                  </a:cubicBezTo>
                  <a:cubicBezTo>
                    <a:pt x="35812" y="609"/>
                    <a:pt x="35760" y="582"/>
                    <a:pt x="35724" y="529"/>
                  </a:cubicBezTo>
                  <a:cubicBezTo>
                    <a:pt x="35688" y="476"/>
                    <a:pt x="35670" y="397"/>
                    <a:pt x="35670" y="293"/>
                  </a:cubicBezTo>
                  <a:cubicBezTo>
                    <a:pt x="35670" y="198"/>
                    <a:pt x="35688" y="126"/>
                    <a:pt x="35722" y="76"/>
                  </a:cubicBezTo>
                  <a:cubicBezTo>
                    <a:pt x="35756" y="26"/>
                    <a:pt x="35804" y="0"/>
                    <a:pt x="35866" y="0"/>
                  </a:cubicBezTo>
                  <a:cubicBezTo>
                    <a:pt x="35931" y="0"/>
                    <a:pt x="35982" y="27"/>
                    <a:pt x="36019" y="79"/>
                  </a:cubicBezTo>
                  <a:close/>
                  <a:moveTo>
                    <a:pt x="35976" y="301"/>
                  </a:moveTo>
                  <a:cubicBezTo>
                    <a:pt x="35976" y="151"/>
                    <a:pt x="35942" y="76"/>
                    <a:pt x="35873" y="76"/>
                  </a:cubicBezTo>
                  <a:cubicBezTo>
                    <a:pt x="35803" y="76"/>
                    <a:pt x="35768" y="150"/>
                    <a:pt x="35768" y="297"/>
                  </a:cubicBezTo>
                  <a:cubicBezTo>
                    <a:pt x="35768" y="454"/>
                    <a:pt x="35804" y="533"/>
                    <a:pt x="35875" y="533"/>
                  </a:cubicBezTo>
                  <a:cubicBezTo>
                    <a:pt x="35943" y="533"/>
                    <a:pt x="35976" y="456"/>
                    <a:pt x="35976" y="301"/>
                  </a:cubicBezTo>
                  <a:close/>
                  <a:moveTo>
                    <a:pt x="36486" y="79"/>
                  </a:moveTo>
                  <a:cubicBezTo>
                    <a:pt x="36522" y="132"/>
                    <a:pt x="36540" y="208"/>
                    <a:pt x="36540" y="307"/>
                  </a:cubicBezTo>
                  <a:cubicBezTo>
                    <a:pt x="36540" y="508"/>
                    <a:pt x="36476" y="609"/>
                    <a:pt x="36346" y="609"/>
                  </a:cubicBezTo>
                  <a:cubicBezTo>
                    <a:pt x="36279" y="609"/>
                    <a:pt x="36227" y="582"/>
                    <a:pt x="36191" y="529"/>
                  </a:cubicBezTo>
                  <a:cubicBezTo>
                    <a:pt x="36155" y="476"/>
                    <a:pt x="36137" y="397"/>
                    <a:pt x="36137" y="293"/>
                  </a:cubicBezTo>
                  <a:cubicBezTo>
                    <a:pt x="36137" y="198"/>
                    <a:pt x="36154" y="126"/>
                    <a:pt x="36189" y="76"/>
                  </a:cubicBezTo>
                  <a:cubicBezTo>
                    <a:pt x="36223" y="26"/>
                    <a:pt x="36271" y="0"/>
                    <a:pt x="36332" y="0"/>
                  </a:cubicBezTo>
                  <a:cubicBezTo>
                    <a:pt x="36398" y="0"/>
                    <a:pt x="36449" y="27"/>
                    <a:pt x="36486" y="79"/>
                  </a:cubicBezTo>
                  <a:close/>
                  <a:moveTo>
                    <a:pt x="36443" y="301"/>
                  </a:moveTo>
                  <a:cubicBezTo>
                    <a:pt x="36443" y="151"/>
                    <a:pt x="36409" y="76"/>
                    <a:pt x="36340" y="76"/>
                  </a:cubicBezTo>
                  <a:cubicBezTo>
                    <a:pt x="36270" y="76"/>
                    <a:pt x="36235" y="150"/>
                    <a:pt x="36235" y="297"/>
                  </a:cubicBezTo>
                  <a:cubicBezTo>
                    <a:pt x="36235" y="454"/>
                    <a:pt x="36270" y="533"/>
                    <a:pt x="36342" y="533"/>
                  </a:cubicBezTo>
                  <a:cubicBezTo>
                    <a:pt x="36409" y="533"/>
                    <a:pt x="36443" y="456"/>
                    <a:pt x="36443" y="301"/>
                  </a:cubicBezTo>
                  <a:close/>
                  <a:moveTo>
                    <a:pt x="36745" y="599"/>
                  </a:moveTo>
                  <a:cubicBezTo>
                    <a:pt x="36644" y="599"/>
                    <a:pt x="36644" y="599"/>
                    <a:pt x="36644" y="599"/>
                  </a:cubicBezTo>
                  <a:cubicBezTo>
                    <a:pt x="36644" y="10"/>
                    <a:pt x="36644" y="10"/>
                    <a:pt x="36644" y="10"/>
                  </a:cubicBezTo>
                  <a:cubicBezTo>
                    <a:pt x="36745" y="10"/>
                    <a:pt x="36745" y="10"/>
                    <a:pt x="36745" y="10"/>
                  </a:cubicBezTo>
                  <a:lnTo>
                    <a:pt x="36745" y="599"/>
                  </a:lnTo>
                  <a:close/>
                  <a:moveTo>
                    <a:pt x="36990" y="599"/>
                  </a:moveTo>
                  <a:cubicBezTo>
                    <a:pt x="36890" y="599"/>
                    <a:pt x="36890" y="599"/>
                    <a:pt x="36890" y="599"/>
                  </a:cubicBezTo>
                  <a:cubicBezTo>
                    <a:pt x="36890" y="10"/>
                    <a:pt x="36890" y="10"/>
                    <a:pt x="36890" y="10"/>
                  </a:cubicBezTo>
                  <a:cubicBezTo>
                    <a:pt x="36990" y="10"/>
                    <a:pt x="36990" y="10"/>
                    <a:pt x="36990" y="10"/>
                  </a:cubicBezTo>
                  <a:lnTo>
                    <a:pt x="36990" y="599"/>
                  </a:lnTo>
                  <a:close/>
                  <a:moveTo>
                    <a:pt x="37235" y="599"/>
                  </a:moveTo>
                  <a:cubicBezTo>
                    <a:pt x="37135" y="599"/>
                    <a:pt x="37135" y="599"/>
                    <a:pt x="37135" y="599"/>
                  </a:cubicBezTo>
                  <a:cubicBezTo>
                    <a:pt x="37135" y="10"/>
                    <a:pt x="37135" y="10"/>
                    <a:pt x="37135" y="10"/>
                  </a:cubicBezTo>
                  <a:cubicBezTo>
                    <a:pt x="37235" y="10"/>
                    <a:pt x="37235" y="10"/>
                    <a:pt x="37235" y="10"/>
                  </a:cubicBezTo>
                  <a:lnTo>
                    <a:pt x="37235" y="599"/>
                  </a:lnTo>
                  <a:close/>
                  <a:moveTo>
                    <a:pt x="37480" y="599"/>
                  </a:moveTo>
                  <a:cubicBezTo>
                    <a:pt x="37380" y="599"/>
                    <a:pt x="37380" y="599"/>
                    <a:pt x="37380" y="599"/>
                  </a:cubicBezTo>
                  <a:cubicBezTo>
                    <a:pt x="37380" y="10"/>
                    <a:pt x="37380" y="10"/>
                    <a:pt x="37380" y="10"/>
                  </a:cubicBezTo>
                  <a:cubicBezTo>
                    <a:pt x="37480" y="10"/>
                    <a:pt x="37480" y="10"/>
                    <a:pt x="37480" y="10"/>
                  </a:cubicBezTo>
                  <a:lnTo>
                    <a:pt x="37480" y="599"/>
                  </a:lnTo>
                  <a:close/>
                  <a:moveTo>
                    <a:pt x="37933" y="79"/>
                  </a:moveTo>
                  <a:cubicBezTo>
                    <a:pt x="37970" y="132"/>
                    <a:pt x="37988" y="208"/>
                    <a:pt x="37988" y="307"/>
                  </a:cubicBezTo>
                  <a:cubicBezTo>
                    <a:pt x="37988" y="508"/>
                    <a:pt x="37923" y="609"/>
                    <a:pt x="37794" y="609"/>
                  </a:cubicBezTo>
                  <a:cubicBezTo>
                    <a:pt x="37726" y="609"/>
                    <a:pt x="37674" y="582"/>
                    <a:pt x="37639" y="529"/>
                  </a:cubicBezTo>
                  <a:cubicBezTo>
                    <a:pt x="37603" y="476"/>
                    <a:pt x="37585" y="397"/>
                    <a:pt x="37585" y="293"/>
                  </a:cubicBezTo>
                  <a:cubicBezTo>
                    <a:pt x="37585" y="198"/>
                    <a:pt x="37602" y="126"/>
                    <a:pt x="37636" y="76"/>
                  </a:cubicBezTo>
                  <a:cubicBezTo>
                    <a:pt x="37671" y="26"/>
                    <a:pt x="37718" y="0"/>
                    <a:pt x="37780" y="0"/>
                  </a:cubicBezTo>
                  <a:cubicBezTo>
                    <a:pt x="37845" y="0"/>
                    <a:pt x="37897" y="27"/>
                    <a:pt x="37933" y="79"/>
                  </a:cubicBezTo>
                  <a:close/>
                  <a:moveTo>
                    <a:pt x="37891" y="301"/>
                  </a:moveTo>
                  <a:cubicBezTo>
                    <a:pt x="37891" y="151"/>
                    <a:pt x="37856" y="76"/>
                    <a:pt x="37787" y="76"/>
                  </a:cubicBezTo>
                  <a:cubicBezTo>
                    <a:pt x="37717" y="76"/>
                    <a:pt x="37682" y="150"/>
                    <a:pt x="37682" y="297"/>
                  </a:cubicBezTo>
                  <a:cubicBezTo>
                    <a:pt x="37682" y="454"/>
                    <a:pt x="37718" y="533"/>
                    <a:pt x="37789" y="533"/>
                  </a:cubicBezTo>
                  <a:cubicBezTo>
                    <a:pt x="37857" y="533"/>
                    <a:pt x="37891" y="456"/>
                    <a:pt x="37891" y="301"/>
                  </a:cubicBezTo>
                  <a:close/>
                  <a:moveTo>
                    <a:pt x="38163" y="612"/>
                  </a:moveTo>
                  <a:cubicBezTo>
                    <a:pt x="38063" y="599"/>
                    <a:pt x="38063" y="599"/>
                    <a:pt x="38063" y="599"/>
                  </a:cubicBezTo>
                  <a:cubicBezTo>
                    <a:pt x="38140" y="15"/>
                    <a:pt x="38140" y="15"/>
                    <a:pt x="38140" y="15"/>
                  </a:cubicBezTo>
                  <a:cubicBezTo>
                    <a:pt x="38240" y="28"/>
                    <a:pt x="38240" y="28"/>
                    <a:pt x="38240" y="28"/>
                  </a:cubicBezTo>
                  <a:lnTo>
                    <a:pt x="38163" y="612"/>
                  </a:lnTo>
                  <a:close/>
                  <a:moveTo>
                    <a:pt x="38753" y="304"/>
                  </a:moveTo>
                  <a:cubicBezTo>
                    <a:pt x="38760" y="368"/>
                    <a:pt x="38740" y="443"/>
                    <a:pt x="38692" y="531"/>
                  </a:cubicBezTo>
                  <a:cubicBezTo>
                    <a:pt x="38596" y="707"/>
                    <a:pt x="38491" y="765"/>
                    <a:pt x="38377" y="703"/>
                  </a:cubicBezTo>
                  <a:cubicBezTo>
                    <a:pt x="38318" y="670"/>
                    <a:pt x="38285" y="622"/>
                    <a:pt x="38279" y="558"/>
                  </a:cubicBezTo>
                  <a:cubicBezTo>
                    <a:pt x="38273" y="494"/>
                    <a:pt x="38295" y="417"/>
                    <a:pt x="38345" y="325"/>
                  </a:cubicBezTo>
                  <a:cubicBezTo>
                    <a:pt x="38390" y="242"/>
                    <a:pt x="38440" y="187"/>
                    <a:pt x="38494" y="159"/>
                  </a:cubicBezTo>
                  <a:cubicBezTo>
                    <a:pt x="38548" y="132"/>
                    <a:pt x="38602" y="132"/>
                    <a:pt x="38656" y="162"/>
                  </a:cubicBezTo>
                  <a:cubicBezTo>
                    <a:pt x="38714" y="193"/>
                    <a:pt x="38746" y="241"/>
                    <a:pt x="38753" y="304"/>
                  </a:cubicBezTo>
                  <a:close/>
                  <a:moveTo>
                    <a:pt x="38610" y="478"/>
                  </a:moveTo>
                  <a:cubicBezTo>
                    <a:pt x="38681" y="347"/>
                    <a:pt x="38687" y="265"/>
                    <a:pt x="38626" y="232"/>
                  </a:cubicBezTo>
                  <a:cubicBezTo>
                    <a:pt x="38565" y="198"/>
                    <a:pt x="38499" y="246"/>
                    <a:pt x="38428" y="375"/>
                  </a:cubicBezTo>
                  <a:cubicBezTo>
                    <a:pt x="38353" y="514"/>
                    <a:pt x="38347" y="600"/>
                    <a:pt x="38409" y="634"/>
                  </a:cubicBezTo>
                  <a:cubicBezTo>
                    <a:pt x="38469" y="666"/>
                    <a:pt x="38536" y="614"/>
                    <a:pt x="38610" y="478"/>
                  </a:cubicBezTo>
                  <a:close/>
                  <a:moveTo>
                    <a:pt x="38620" y="902"/>
                  </a:moveTo>
                  <a:cubicBezTo>
                    <a:pt x="38555" y="825"/>
                    <a:pt x="38555" y="825"/>
                    <a:pt x="38555" y="825"/>
                  </a:cubicBezTo>
                  <a:cubicBezTo>
                    <a:pt x="39005" y="446"/>
                    <a:pt x="39005" y="446"/>
                    <a:pt x="39005" y="446"/>
                  </a:cubicBezTo>
                  <a:cubicBezTo>
                    <a:pt x="39070" y="522"/>
                    <a:pt x="39070" y="522"/>
                    <a:pt x="39070" y="522"/>
                  </a:cubicBezTo>
                  <a:lnTo>
                    <a:pt x="38620" y="902"/>
                  </a:lnTo>
                  <a:close/>
                  <a:moveTo>
                    <a:pt x="39287" y="981"/>
                  </a:moveTo>
                  <a:cubicBezTo>
                    <a:pt x="39264" y="1040"/>
                    <a:pt x="39210" y="1098"/>
                    <a:pt x="39127" y="1153"/>
                  </a:cubicBezTo>
                  <a:cubicBezTo>
                    <a:pt x="38960" y="1264"/>
                    <a:pt x="38840" y="1265"/>
                    <a:pt x="38769" y="1157"/>
                  </a:cubicBezTo>
                  <a:cubicBezTo>
                    <a:pt x="38731" y="1101"/>
                    <a:pt x="38725" y="1043"/>
                    <a:pt x="38750" y="984"/>
                  </a:cubicBezTo>
                  <a:cubicBezTo>
                    <a:pt x="38774" y="924"/>
                    <a:pt x="38830" y="866"/>
                    <a:pt x="38917" y="808"/>
                  </a:cubicBezTo>
                  <a:cubicBezTo>
                    <a:pt x="38996" y="756"/>
                    <a:pt x="39065" y="730"/>
                    <a:pt x="39126" y="731"/>
                  </a:cubicBezTo>
                  <a:cubicBezTo>
                    <a:pt x="39187" y="732"/>
                    <a:pt x="39234" y="758"/>
                    <a:pt x="39268" y="810"/>
                  </a:cubicBezTo>
                  <a:cubicBezTo>
                    <a:pt x="39304" y="864"/>
                    <a:pt x="39311" y="921"/>
                    <a:pt x="39287" y="981"/>
                  </a:cubicBezTo>
                  <a:close/>
                  <a:moveTo>
                    <a:pt x="39079" y="1068"/>
                  </a:moveTo>
                  <a:cubicBezTo>
                    <a:pt x="39204" y="985"/>
                    <a:pt x="39247" y="915"/>
                    <a:pt x="39209" y="857"/>
                  </a:cubicBezTo>
                  <a:cubicBezTo>
                    <a:pt x="39171" y="799"/>
                    <a:pt x="39090" y="811"/>
                    <a:pt x="38967" y="892"/>
                  </a:cubicBezTo>
                  <a:cubicBezTo>
                    <a:pt x="38836" y="979"/>
                    <a:pt x="38790" y="1052"/>
                    <a:pt x="38829" y="1112"/>
                  </a:cubicBezTo>
                  <a:cubicBezTo>
                    <a:pt x="38867" y="1168"/>
                    <a:pt x="38950" y="1153"/>
                    <a:pt x="39079" y="1068"/>
                  </a:cubicBezTo>
                  <a:close/>
                  <a:moveTo>
                    <a:pt x="39039" y="1506"/>
                  </a:moveTo>
                  <a:cubicBezTo>
                    <a:pt x="38976" y="1427"/>
                    <a:pt x="38976" y="1427"/>
                    <a:pt x="38976" y="1427"/>
                  </a:cubicBezTo>
                  <a:cubicBezTo>
                    <a:pt x="39434" y="1057"/>
                    <a:pt x="39434" y="1057"/>
                    <a:pt x="39434" y="1057"/>
                  </a:cubicBezTo>
                  <a:cubicBezTo>
                    <a:pt x="39497" y="1136"/>
                    <a:pt x="39497" y="1136"/>
                    <a:pt x="39497" y="1136"/>
                  </a:cubicBezTo>
                  <a:lnTo>
                    <a:pt x="39039" y="1506"/>
                  </a:lnTo>
                  <a:close/>
                  <a:moveTo>
                    <a:pt x="39747" y="1506"/>
                  </a:moveTo>
                  <a:cubicBezTo>
                    <a:pt x="39735" y="1568"/>
                    <a:pt x="39693" y="1635"/>
                    <a:pt x="39622" y="1704"/>
                  </a:cubicBezTo>
                  <a:cubicBezTo>
                    <a:pt x="39478" y="1845"/>
                    <a:pt x="39361" y="1869"/>
                    <a:pt x="39270" y="1776"/>
                  </a:cubicBezTo>
                  <a:cubicBezTo>
                    <a:pt x="39223" y="1728"/>
                    <a:pt x="39206" y="1672"/>
                    <a:pt x="39219" y="1609"/>
                  </a:cubicBezTo>
                  <a:cubicBezTo>
                    <a:pt x="39232" y="1546"/>
                    <a:pt x="39276" y="1478"/>
                    <a:pt x="39350" y="1406"/>
                  </a:cubicBezTo>
                  <a:cubicBezTo>
                    <a:pt x="39418" y="1339"/>
                    <a:pt x="39482" y="1301"/>
                    <a:pt x="39542" y="1291"/>
                  </a:cubicBezTo>
                  <a:cubicBezTo>
                    <a:pt x="39602" y="1280"/>
                    <a:pt x="39653" y="1297"/>
                    <a:pt x="39696" y="1341"/>
                  </a:cubicBezTo>
                  <a:cubicBezTo>
                    <a:pt x="39742" y="1388"/>
                    <a:pt x="39759" y="1443"/>
                    <a:pt x="39747" y="1506"/>
                  </a:cubicBezTo>
                  <a:close/>
                  <a:moveTo>
                    <a:pt x="39558" y="1630"/>
                  </a:moveTo>
                  <a:cubicBezTo>
                    <a:pt x="39666" y="1525"/>
                    <a:pt x="39695" y="1448"/>
                    <a:pt x="39647" y="1399"/>
                  </a:cubicBezTo>
                  <a:cubicBezTo>
                    <a:pt x="39598" y="1349"/>
                    <a:pt x="39521" y="1375"/>
                    <a:pt x="39415" y="1478"/>
                  </a:cubicBezTo>
                  <a:cubicBezTo>
                    <a:pt x="39303" y="1588"/>
                    <a:pt x="39271" y="1669"/>
                    <a:pt x="39321" y="1720"/>
                  </a:cubicBezTo>
                  <a:cubicBezTo>
                    <a:pt x="39369" y="1768"/>
                    <a:pt x="39448" y="1738"/>
                    <a:pt x="39558" y="1630"/>
                  </a:cubicBezTo>
                  <a:close/>
                  <a:moveTo>
                    <a:pt x="39601" y="2067"/>
                  </a:moveTo>
                  <a:cubicBezTo>
                    <a:pt x="39524" y="2002"/>
                    <a:pt x="39524" y="2002"/>
                    <a:pt x="39524" y="2002"/>
                  </a:cubicBezTo>
                  <a:cubicBezTo>
                    <a:pt x="39905" y="1553"/>
                    <a:pt x="39905" y="1553"/>
                    <a:pt x="39905" y="1553"/>
                  </a:cubicBezTo>
                  <a:cubicBezTo>
                    <a:pt x="39982" y="1618"/>
                    <a:pt x="39982" y="1618"/>
                    <a:pt x="39982" y="1618"/>
                  </a:cubicBezTo>
                  <a:lnTo>
                    <a:pt x="39601" y="2067"/>
                  </a:lnTo>
                  <a:close/>
                  <a:moveTo>
                    <a:pt x="39818" y="2235"/>
                  </a:moveTo>
                  <a:cubicBezTo>
                    <a:pt x="39737" y="2175"/>
                    <a:pt x="39737" y="2175"/>
                    <a:pt x="39737" y="2175"/>
                  </a:cubicBezTo>
                  <a:cubicBezTo>
                    <a:pt x="40088" y="1702"/>
                    <a:pt x="40088" y="1702"/>
                    <a:pt x="40088" y="1702"/>
                  </a:cubicBezTo>
                  <a:cubicBezTo>
                    <a:pt x="40169" y="1762"/>
                    <a:pt x="40169" y="1762"/>
                    <a:pt x="40169" y="1762"/>
                  </a:cubicBezTo>
                  <a:lnTo>
                    <a:pt x="39818" y="2235"/>
                  </a:lnTo>
                  <a:close/>
                  <a:moveTo>
                    <a:pt x="40503" y="2058"/>
                  </a:moveTo>
                  <a:cubicBezTo>
                    <a:pt x="40507" y="2121"/>
                    <a:pt x="40483" y="2196"/>
                    <a:pt x="40432" y="2281"/>
                  </a:cubicBezTo>
                  <a:cubicBezTo>
                    <a:pt x="40328" y="2453"/>
                    <a:pt x="40220" y="2506"/>
                    <a:pt x="40110" y="2439"/>
                  </a:cubicBezTo>
                  <a:cubicBezTo>
                    <a:pt x="40052" y="2404"/>
                    <a:pt x="40021" y="2355"/>
                    <a:pt x="40018" y="2290"/>
                  </a:cubicBezTo>
                  <a:cubicBezTo>
                    <a:pt x="40015" y="2226"/>
                    <a:pt x="40040" y="2150"/>
                    <a:pt x="40094" y="2060"/>
                  </a:cubicBezTo>
                  <a:cubicBezTo>
                    <a:pt x="40143" y="1979"/>
                    <a:pt x="40195" y="1926"/>
                    <a:pt x="40251" y="1901"/>
                  </a:cubicBezTo>
                  <a:cubicBezTo>
                    <a:pt x="40306" y="1876"/>
                    <a:pt x="40360" y="1879"/>
                    <a:pt x="40412" y="1911"/>
                  </a:cubicBezTo>
                  <a:cubicBezTo>
                    <a:pt x="40468" y="1945"/>
                    <a:pt x="40499" y="1994"/>
                    <a:pt x="40503" y="2058"/>
                  </a:cubicBezTo>
                  <a:close/>
                  <a:moveTo>
                    <a:pt x="40352" y="2225"/>
                  </a:moveTo>
                  <a:cubicBezTo>
                    <a:pt x="40429" y="2097"/>
                    <a:pt x="40439" y="2015"/>
                    <a:pt x="40379" y="1980"/>
                  </a:cubicBezTo>
                  <a:cubicBezTo>
                    <a:pt x="40320" y="1943"/>
                    <a:pt x="40251" y="1988"/>
                    <a:pt x="40175" y="2114"/>
                  </a:cubicBezTo>
                  <a:cubicBezTo>
                    <a:pt x="40094" y="2249"/>
                    <a:pt x="40084" y="2335"/>
                    <a:pt x="40145" y="2372"/>
                  </a:cubicBezTo>
                  <a:cubicBezTo>
                    <a:pt x="40203" y="2407"/>
                    <a:pt x="40272" y="2358"/>
                    <a:pt x="40352" y="2225"/>
                  </a:cubicBezTo>
                  <a:close/>
                  <a:moveTo>
                    <a:pt x="40917" y="2253"/>
                  </a:moveTo>
                  <a:cubicBezTo>
                    <a:pt x="40929" y="2316"/>
                    <a:pt x="40914" y="2393"/>
                    <a:pt x="40874" y="2484"/>
                  </a:cubicBezTo>
                  <a:cubicBezTo>
                    <a:pt x="40792" y="2667"/>
                    <a:pt x="40692" y="2733"/>
                    <a:pt x="40574" y="2680"/>
                  </a:cubicBezTo>
                  <a:cubicBezTo>
                    <a:pt x="40512" y="2653"/>
                    <a:pt x="40476" y="2607"/>
                    <a:pt x="40464" y="2544"/>
                  </a:cubicBezTo>
                  <a:cubicBezTo>
                    <a:pt x="40453" y="2481"/>
                    <a:pt x="40469" y="2402"/>
                    <a:pt x="40511" y="2307"/>
                  </a:cubicBezTo>
                  <a:cubicBezTo>
                    <a:pt x="40550" y="2220"/>
                    <a:pt x="40595" y="2161"/>
                    <a:pt x="40647" y="2129"/>
                  </a:cubicBezTo>
                  <a:cubicBezTo>
                    <a:pt x="40698" y="2097"/>
                    <a:pt x="40752" y="2094"/>
                    <a:pt x="40808" y="2119"/>
                  </a:cubicBezTo>
                  <a:cubicBezTo>
                    <a:pt x="40868" y="2146"/>
                    <a:pt x="40904" y="2190"/>
                    <a:pt x="40917" y="2253"/>
                  </a:cubicBezTo>
                  <a:close/>
                  <a:moveTo>
                    <a:pt x="40788" y="2438"/>
                  </a:moveTo>
                  <a:cubicBezTo>
                    <a:pt x="40848" y="2301"/>
                    <a:pt x="40847" y="2219"/>
                    <a:pt x="40784" y="2191"/>
                  </a:cubicBezTo>
                  <a:cubicBezTo>
                    <a:pt x="40720" y="2162"/>
                    <a:pt x="40658" y="2215"/>
                    <a:pt x="40599" y="2350"/>
                  </a:cubicBezTo>
                  <a:cubicBezTo>
                    <a:pt x="40535" y="2494"/>
                    <a:pt x="40535" y="2580"/>
                    <a:pt x="40600" y="2609"/>
                  </a:cubicBezTo>
                  <a:cubicBezTo>
                    <a:pt x="40662" y="2637"/>
                    <a:pt x="40725" y="2580"/>
                    <a:pt x="40788" y="2438"/>
                  </a:cubicBezTo>
                  <a:close/>
                  <a:moveTo>
                    <a:pt x="40990" y="2829"/>
                  </a:moveTo>
                  <a:cubicBezTo>
                    <a:pt x="40894" y="2797"/>
                    <a:pt x="40894" y="2797"/>
                    <a:pt x="40894" y="2797"/>
                  </a:cubicBezTo>
                  <a:cubicBezTo>
                    <a:pt x="41081" y="2238"/>
                    <a:pt x="41081" y="2238"/>
                    <a:pt x="41081" y="2238"/>
                  </a:cubicBezTo>
                  <a:cubicBezTo>
                    <a:pt x="41177" y="2270"/>
                    <a:pt x="41177" y="2270"/>
                    <a:pt x="41177" y="2270"/>
                  </a:cubicBezTo>
                  <a:lnTo>
                    <a:pt x="40990" y="2829"/>
                  </a:lnTo>
                  <a:close/>
                  <a:moveTo>
                    <a:pt x="41586" y="2448"/>
                  </a:moveTo>
                  <a:cubicBezTo>
                    <a:pt x="41610" y="2507"/>
                    <a:pt x="41610" y="2585"/>
                    <a:pt x="41588" y="2682"/>
                  </a:cubicBezTo>
                  <a:cubicBezTo>
                    <a:pt x="41542" y="2878"/>
                    <a:pt x="41456" y="2962"/>
                    <a:pt x="41330" y="2932"/>
                  </a:cubicBezTo>
                  <a:cubicBezTo>
                    <a:pt x="41265" y="2917"/>
                    <a:pt x="41220" y="2879"/>
                    <a:pt x="41197" y="2819"/>
                  </a:cubicBezTo>
                  <a:cubicBezTo>
                    <a:pt x="41174" y="2759"/>
                    <a:pt x="41175" y="2679"/>
                    <a:pt x="41198" y="2577"/>
                  </a:cubicBezTo>
                  <a:cubicBezTo>
                    <a:pt x="41220" y="2485"/>
                    <a:pt x="41253" y="2418"/>
                    <a:pt x="41297" y="2377"/>
                  </a:cubicBezTo>
                  <a:cubicBezTo>
                    <a:pt x="41342" y="2336"/>
                    <a:pt x="41395" y="2323"/>
                    <a:pt x="41454" y="2337"/>
                  </a:cubicBezTo>
                  <a:cubicBezTo>
                    <a:pt x="41518" y="2351"/>
                    <a:pt x="41562" y="2388"/>
                    <a:pt x="41586" y="2448"/>
                  </a:cubicBezTo>
                  <a:close/>
                  <a:moveTo>
                    <a:pt x="41494" y="2654"/>
                  </a:moveTo>
                  <a:cubicBezTo>
                    <a:pt x="41528" y="2508"/>
                    <a:pt x="41512" y="2427"/>
                    <a:pt x="41444" y="2412"/>
                  </a:cubicBezTo>
                  <a:cubicBezTo>
                    <a:pt x="41376" y="2396"/>
                    <a:pt x="41325" y="2460"/>
                    <a:pt x="41292" y="2603"/>
                  </a:cubicBezTo>
                  <a:cubicBezTo>
                    <a:pt x="41257" y="2757"/>
                    <a:pt x="41274" y="2841"/>
                    <a:pt x="41343" y="2857"/>
                  </a:cubicBezTo>
                  <a:cubicBezTo>
                    <a:pt x="41409" y="2873"/>
                    <a:pt x="41459" y="2805"/>
                    <a:pt x="41494" y="2654"/>
                  </a:cubicBezTo>
                  <a:close/>
                  <a:moveTo>
                    <a:pt x="41766" y="2999"/>
                  </a:moveTo>
                  <a:cubicBezTo>
                    <a:pt x="41667" y="2986"/>
                    <a:pt x="41667" y="2986"/>
                    <a:pt x="41667" y="2986"/>
                  </a:cubicBezTo>
                  <a:cubicBezTo>
                    <a:pt x="41745" y="2402"/>
                    <a:pt x="41745" y="2402"/>
                    <a:pt x="41745" y="2402"/>
                  </a:cubicBezTo>
                  <a:cubicBezTo>
                    <a:pt x="41844" y="2416"/>
                    <a:pt x="41844" y="2416"/>
                    <a:pt x="41844" y="2416"/>
                  </a:cubicBezTo>
                  <a:lnTo>
                    <a:pt x="41766" y="2999"/>
                  </a:lnTo>
                  <a:close/>
                  <a:moveTo>
                    <a:pt x="42040" y="3023"/>
                  </a:moveTo>
                  <a:cubicBezTo>
                    <a:pt x="41939" y="3017"/>
                    <a:pt x="41939" y="3017"/>
                    <a:pt x="41939" y="3017"/>
                  </a:cubicBezTo>
                  <a:cubicBezTo>
                    <a:pt x="41979" y="2429"/>
                    <a:pt x="41979" y="2429"/>
                    <a:pt x="41979" y="2429"/>
                  </a:cubicBezTo>
                  <a:cubicBezTo>
                    <a:pt x="42080" y="2436"/>
                    <a:pt x="42080" y="2436"/>
                    <a:pt x="42080" y="2436"/>
                  </a:cubicBezTo>
                  <a:lnTo>
                    <a:pt x="42040" y="3023"/>
                  </a:lnTo>
                  <a:close/>
                  <a:moveTo>
                    <a:pt x="42309" y="3030"/>
                  </a:moveTo>
                  <a:cubicBezTo>
                    <a:pt x="42209" y="3029"/>
                    <a:pt x="42209" y="3029"/>
                    <a:pt x="42209" y="3029"/>
                  </a:cubicBezTo>
                  <a:cubicBezTo>
                    <a:pt x="42215" y="2440"/>
                    <a:pt x="42215" y="2440"/>
                    <a:pt x="42215" y="2440"/>
                  </a:cubicBezTo>
                  <a:cubicBezTo>
                    <a:pt x="42315" y="2441"/>
                    <a:pt x="42315" y="2441"/>
                    <a:pt x="42315" y="2441"/>
                  </a:cubicBezTo>
                  <a:lnTo>
                    <a:pt x="42309" y="3030"/>
                  </a:lnTo>
                  <a:close/>
                  <a:moveTo>
                    <a:pt x="42759" y="2481"/>
                  </a:moveTo>
                  <a:cubicBezTo>
                    <a:pt x="42801" y="2530"/>
                    <a:pt x="42826" y="2604"/>
                    <a:pt x="42835" y="2704"/>
                  </a:cubicBezTo>
                  <a:cubicBezTo>
                    <a:pt x="42853" y="2904"/>
                    <a:pt x="42797" y="3010"/>
                    <a:pt x="42668" y="3022"/>
                  </a:cubicBezTo>
                  <a:cubicBezTo>
                    <a:pt x="42601" y="3028"/>
                    <a:pt x="42547" y="3006"/>
                    <a:pt x="42507" y="2956"/>
                  </a:cubicBezTo>
                  <a:cubicBezTo>
                    <a:pt x="42466" y="2906"/>
                    <a:pt x="42441" y="2829"/>
                    <a:pt x="42432" y="2726"/>
                  </a:cubicBezTo>
                  <a:cubicBezTo>
                    <a:pt x="42423" y="2631"/>
                    <a:pt x="42434" y="2558"/>
                    <a:pt x="42464" y="2505"/>
                  </a:cubicBezTo>
                  <a:cubicBezTo>
                    <a:pt x="42493" y="2452"/>
                    <a:pt x="42539" y="2422"/>
                    <a:pt x="42600" y="2417"/>
                  </a:cubicBezTo>
                  <a:cubicBezTo>
                    <a:pt x="42665" y="2411"/>
                    <a:pt x="42718" y="2432"/>
                    <a:pt x="42759" y="2481"/>
                  </a:cubicBezTo>
                  <a:close/>
                  <a:moveTo>
                    <a:pt x="42737" y="2706"/>
                  </a:moveTo>
                  <a:cubicBezTo>
                    <a:pt x="42724" y="2557"/>
                    <a:pt x="42683" y="2485"/>
                    <a:pt x="42614" y="2491"/>
                  </a:cubicBezTo>
                  <a:cubicBezTo>
                    <a:pt x="42544" y="2498"/>
                    <a:pt x="42516" y="2574"/>
                    <a:pt x="42529" y="2721"/>
                  </a:cubicBezTo>
                  <a:cubicBezTo>
                    <a:pt x="42543" y="2878"/>
                    <a:pt x="42586" y="2953"/>
                    <a:pt x="42657" y="2946"/>
                  </a:cubicBezTo>
                  <a:cubicBezTo>
                    <a:pt x="42724" y="2940"/>
                    <a:pt x="42751" y="2860"/>
                    <a:pt x="42737" y="2706"/>
                  </a:cubicBezTo>
                  <a:close/>
                  <a:moveTo>
                    <a:pt x="43104" y="2949"/>
                  </a:moveTo>
                  <a:cubicBezTo>
                    <a:pt x="43005" y="2967"/>
                    <a:pt x="43005" y="2967"/>
                    <a:pt x="43005" y="2967"/>
                  </a:cubicBezTo>
                  <a:cubicBezTo>
                    <a:pt x="42897" y="2388"/>
                    <a:pt x="42897" y="2388"/>
                    <a:pt x="42897" y="2388"/>
                  </a:cubicBezTo>
                  <a:cubicBezTo>
                    <a:pt x="42996" y="2370"/>
                    <a:pt x="42996" y="2370"/>
                    <a:pt x="42996" y="2370"/>
                  </a:cubicBezTo>
                  <a:lnTo>
                    <a:pt x="43104" y="2949"/>
                  </a:lnTo>
                  <a:close/>
                  <a:moveTo>
                    <a:pt x="43371" y="2886"/>
                  </a:moveTo>
                  <a:cubicBezTo>
                    <a:pt x="43274" y="2911"/>
                    <a:pt x="43274" y="2911"/>
                    <a:pt x="43274" y="2911"/>
                  </a:cubicBezTo>
                  <a:cubicBezTo>
                    <a:pt x="43128" y="2341"/>
                    <a:pt x="43128" y="2341"/>
                    <a:pt x="43128" y="2341"/>
                  </a:cubicBezTo>
                  <a:cubicBezTo>
                    <a:pt x="43225" y="2316"/>
                    <a:pt x="43225" y="2316"/>
                    <a:pt x="43225" y="2316"/>
                  </a:cubicBezTo>
                  <a:lnTo>
                    <a:pt x="43371" y="2886"/>
                  </a:lnTo>
                  <a:close/>
                  <a:moveTo>
                    <a:pt x="43665" y="2243"/>
                  </a:moveTo>
                  <a:cubicBezTo>
                    <a:pt x="43717" y="2280"/>
                    <a:pt x="43760" y="2345"/>
                    <a:pt x="43794" y="2439"/>
                  </a:cubicBezTo>
                  <a:cubicBezTo>
                    <a:pt x="43862" y="2628"/>
                    <a:pt x="43835" y="2744"/>
                    <a:pt x="43713" y="2788"/>
                  </a:cubicBezTo>
                  <a:cubicBezTo>
                    <a:pt x="43650" y="2811"/>
                    <a:pt x="43592" y="2804"/>
                    <a:pt x="43540" y="2766"/>
                  </a:cubicBezTo>
                  <a:cubicBezTo>
                    <a:pt x="43488" y="2728"/>
                    <a:pt x="43445" y="2660"/>
                    <a:pt x="43410" y="2562"/>
                  </a:cubicBezTo>
                  <a:cubicBezTo>
                    <a:pt x="43377" y="2473"/>
                    <a:pt x="43369" y="2399"/>
                    <a:pt x="43384" y="2340"/>
                  </a:cubicBezTo>
                  <a:cubicBezTo>
                    <a:pt x="43400" y="2281"/>
                    <a:pt x="43436" y="2241"/>
                    <a:pt x="43494" y="2221"/>
                  </a:cubicBezTo>
                  <a:cubicBezTo>
                    <a:pt x="43556" y="2198"/>
                    <a:pt x="43613" y="2206"/>
                    <a:pt x="43665" y="2243"/>
                  </a:cubicBezTo>
                  <a:close/>
                  <a:moveTo>
                    <a:pt x="43700" y="2465"/>
                  </a:moveTo>
                  <a:cubicBezTo>
                    <a:pt x="43649" y="2325"/>
                    <a:pt x="43591" y="2266"/>
                    <a:pt x="43526" y="2289"/>
                  </a:cubicBezTo>
                  <a:cubicBezTo>
                    <a:pt x="43461" y="2313"/>
                    <a:pt x="43453" y="2394"/>
                    <a:pt x="43502" y="2533"/>
                  </a:cubicBezTo>
                  <a:cubicBezTo>
                    <a:pt x="43556" y="2681"/>
                    <a:pt x="43616" y="2743"/>
                    <a:pt x="43683" y="2718"/>
                  </a:cubicBezTo>
                  <a:cubicBezTo>
                    <a:pt x="43747" y="2695"/>
                    <a:pt x="43752" y="2611"/>
                    <a:pt x="43700" y="2465"/>
                  </a:cubicBezTo>
                  <a:close/>
                  <a:moveTo>
                    <a:pt x="44116" y="2607"/>
                  </a:moveTo>
                  <a:cubicBezTo>
                    <a:pt x="44025" y="2650"/>
                    <a:pt x="44025" y="2650"/>
                    <a:pt x="44025" y="2650"/>
                  </a:cubicBezTo>
                  <a:cubicBezTo>
                    <a:pt x="43774" y="2118"/>
                    <a:pt x="43774" y="2118"/>
                    <a:pt x="43774" y="2118"/>
                  </a:cubicBezTo>
                  <a:cubicBezTo>
                    <a:pt x="43865" y="2075"/>
                    <a:pt x="43865" y="2075"/>
                    <a:pt x="43865" y="2075"/>
                  </a:cubicBezTo>
                  <a:lnTo>
                    <a:pt x="44116" y="2607"/>
                  </a:lnTo>
                  <a:close/>
                  <a:moveTo>
                    <a:pt x="44358" y="2479"/>
                  </a:moveTo>
                  <a:cubicBezTo>
                    <a:pt x="44270" y="2528"/>
                    <a:pt x="44270" y="2528"/>
                    <a:pt x="44270" y="2528"/>
                  </a:cubicBezTo>
                  <a:cubicBezTo>
                    <a:pt x="43985" y="2013"/>
                    <a:pt x="43985" y="2013"/>
                    <a:pt x="43985" y="2013"/>
                  </a:cubicBezTo>
                  <a:cubicBezTo>
                    <a:pt x="44073" y="1965"/>
                    <a:pt x="44073" y="1965"/>
                    <a:pt x="44073" y="1965"/>
                  </a:cubicBezTo>
                  <a:lnTo>
                    <a:pt x="44358" y="2479"/>
                  </a:lnTo>
                  <a:close/>
                  <a:moveTo>
                    <a:pt x="44480" y="1782"/>
                  </a:moveTo>
                  <a:cubicBezTo>
                    <a:pt x="44540" y="1805"/>
                    <a:pt x="44598" y="1857"/>
                    <a:pt x="44654" y="1939"/>
                  </a:cubicBezTo>
                  <a:cubicBezTo>
                    <a:pt x="44768" y="2105"/>
                    <a:pt x="44772" y="2225"/>
                    <a:pt x="44665" y="2298"/>
                  </a:cubicBezTo>
                  <a:cubicBezTo>
                    <a:pt x="44609" y="2336"/>
                    <a:pt x="44551" y="2344"/>
                    <a:pt x="44492" y="2320"/>
                  </a:cubicBezTo>
                  <a:cubicBezTo>
                    <a:pt x="44432" y="2296"/>
                    <a:pt x="44373" y="2241"/>
                    <a:pt x="44314" y="2156"/>
                  </a:cubicBezTo>
                  <a:cubicBezTo>
                    <a:pt x="44260" y="2078"/>
                    <a:pt x="44233" y="2008"/>
                    <a:pt x="44233" y="1947"/>
                  </a:cubicBezTo>
                  <a:cubicBezTo>
                    <a:pt x="44233" y="1887"/>
                    <a:pt x="44258" y="1839"/>
                    <a:pt x="44309" y="1804"/>
                  </a:cubicBezTo>
                  <a:cubicBezTo>
                    <a:pt x="44363" y="1767"/>
                    <a:pt x="44420" y="1760"/>
                    <a:pt x="44480" y="1782"/>
                  </a:cubicBezTo>
                  <a:close/>
                  <a:moveTo>
                    <a:pt x="44570" y="1989"/>
                  </a:moveTo>
                  <a:cubicBezTo>
                    <a:pt x="44486" y="1866"/>
                    <a:pt x="44415" y="1823"/>
                    <a:pt x="44358" y="1862"/>
                  </a:cubicBezTo>
                  <a:cubicBezTo>
                    <a:pt x="44300" y="1902"/>
                    <a:pt x="44313" y="1983"/>
                    <a:pt x="44396" y="2104"/>
                  </a:cubicBezTo>
                  <a:cubicBezTo>
                    <a:pt x="44485" y="2234"/>
                    <a:pt x="44559" y="2278"/>
                    <a:pt x="44618" y="2238"/>
                  </a:cubicBezTo>
                  <a:cubicBezTo>
                    <a:pt x="44674" y="2200"/>
                    <a:pt x="44658" y="2117"/>
                    <a:pt x="44570" y="1989"/>
                  </a:cubicBezTo>
                  <a:close/>
                  <a:moveTo>
                    <a:pt x="44829" y="1486"/>
                  </a:moveTo>
                  <a:cubicBezTo>
                    <a:pt x="44891" y="1501"/>
                    <a:pt x="44955" y="1546"/>
                    <a:pt x="45021" y="1621"/>
                  </a:cubicBezTo>
                  <a:cubicBezTo>
                    <a:pt x="45155" y="1771"/>
                    <a:pt x="45173" y="1890"/>
                    <a:pt x="45076" y="1975"/>
                  </a:cubicBezTo>
                  <a:cubicBezTo>
                    <a:pt x="45026" y="2020"/>
                    <a:pt x="44969" y="2035"/>
                    <a:pt x="44907" y="2018"/>
                  </a:cubicBezTo>
                  <a:cubicBezTo>
                    <a:pt x="44845" y="2002"/>
                    <a:pt x="44779" y="1955"/>
                    <a:pt x="44710" y="1878"/>
                  </a:cubicBezTo>
                  <a:cubicBezTo>
                    <a:pt x="44647" y="1807"/>
                    <a:pt x="44612" y="1741"/>
                    <a:pt x="44605" y="1681"/>
                  </a:cubicBezTo>
                  <a:cubicBezTo>
                    <a:pt x="44597" y="1621"/>
                    <a:pt x="44616" y="1570"/>
                    <a:pt x="44662" y="1529"/>
                  </a:cubicBezTo>
                  <a:cubicBezTo>
                    <a:pt x="44711" y="1486"/>
                    <a:pt x="44767" y="1471"/>
                    <a:pt x="44829" y="1486"/>
                  </a:cubicBezTo>
                  <a:close/>
                  <a:moveTo>
                    <a:pt x="44944" y="1680"/>
                  </a:moveTo>
                  <a:cubicBezTo>
                    <a:pt x="44845" y="1568"/>
                    <a:pt x="44769" y="1535"/>
                    <a:pt x="44718" y="1581"/>
                  </a:cubicBezTo>
                  <a:cubicBezTo>
                    <a:pt x="44665" y="1627"/>
                    <a:pt x="44688" y="1706"/>
                    <a:pt x="44786" y="1816"/>
                  </a:cubicBezTo>
                  <a:cubicBezTo>
                    <a:pt x="44890" y="1934"/>
                    <a:pt x="44969" y="1969"/>
                    <a:pt x="45022" y="1922"/>
                  </a:cubicBezTo>
                  <a:cubicBezTo>
                    <a:pt x="45073" y="1877"/>
                    <a:pt x="45047" y="1796"/>
                    <a:pt x="44944" y="1680"/>
                  </a:cubicBezTo>
                  <a:close/>
                  <a:moveTo>
                    <a:pt x="45383" y="1659"/>
                  </a:moveTo>
                  <a:cubicBezTo>
                    <a:pt x="45314" y="1733"/>
                    <a:pt x="45314" y="1733"/>
                    <a:pt x="45314" y="1733"/>
                  </a:cubicBezTo>
                  <a:cubicBezTo>
                    <a:pt x="44884" y="1331"/>
                    <a:pt x="44884" y="1331"/>
                    <a:pt x="44884" y="1331"/>
                  </a:cubicBezTo>
                  <a:cubicBezTo>
                    <a:pt x="44953" y="1257"/>
                    <a:pt x="44953" y="1257"/>
                    <a:pt x="44953" y="1257"/>
                  </a:cubicBezTo>
                  <a:lnTo>
                    <a:pt x="45383" y="165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grpSp>
      <p:sp>
        <p:nvSpPr>
          <p:cNvPr id="45" name="TextBox 44"/>
          <p:cNvSpPr txBox="1"/>
          <p:nvPr/>
        </p:nvSpPr>
        <p:spPr>
          <a:xfrm>
            <a:off x="2129606" y="3314582"/>
            <a:ext cx="1258637" cy="298631"/>
          </a:xfrm>
          <a:prstGeom prst="rect">
            <a:avLst/>
          </a:prstGeom>
          <a:noFill/>
        </p:spPr>
        <p:txBody>
          <a:bodyPr wrap="square" lIns="0" tIns="0" rIns="0" bIns="0" rtlCol="0">
            <a:spAutoFit/>
          </a:bodyPr>
          <a:lstStyle/>
          <a:p>
            <a:pPr algn="ctr" defTabSz="914180">
              <a:lnSpc>
                <a:spcPct val="90000"/>
              </a:lnSpc>
              <a:spcAft>
                <a:spcPts val="588"/>
              </a:spcAft>
              <a:defRPr/>
            </a:pPr>
            <a: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Information </a:t>
            </a:r>
            <a:b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br>
            <a: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anagement</a:t>
            </a:r>
          </a:p>
        </p:txBody>
      </p:sp>
      <p:sp>
        <p:nvSpPr>
          <p:cNvPr id="34" name="Freeform 16"/>
          <p:cNvSpPr>
            <a:spLocks noEditPoints="1"/>
          </p:cNvSpPr>
          <p:nvPr/>
        </p:nvSpPr>
        <p:spPr bwMode="auto">
          <a:xfrm>
            <a:off x="2230669" y="2944080"/>
            <a:ext cx="1056512" cy="1056620"/>
          </a:xfrm>
          <a:custGeom>
            <a:avLst/>
            <a:gdLst>
              <a:gd name="T0" fmla="*/ 2059 w 4119"/>
              <a:gd name="T1" fmla="*/ 4119 h 4119"/>
              <a:gd name="T2" fmla="*/ 0 w 4119"/>
              <a:gd name="T3" fmla="*/ 2060 h 4119"/>
              <a:gd name="T4" fmla="*/ 2059 w 4119"/>
              <a:gd name="T5" fmla="*/ 0 h 4119"/>
              <a:gd name="T6" fmla="*/ 4119 w 4119"/>
              <a:gd name="T7" fmla="*/ 2060 h 4119"/>
              <a:gd name="T8" fmla="*/ 2059 w 4119"/>
              <a:gd name="T9" fmla="*/ 4119 h 4119"/>
              <a:gd name="T10" fmla="*/ 2059 w 4119"/>
              <a:gd name="T11" fmla="*/ 77 h 4119"/>
              <a:gd name="T12" fmla="*/ 76 w 4119"/>
              <a:gd name="T13" fmla="*/ 2060 h 4119"/>
              <a:gd name="T14" fmla="*/ 2059 w 4119"/>
              <a:gd name="T15" fmla="*/ 4043 h 4119"/>
              <a:gd name="T16" fmla="*/ 4043 w 4119"/>
              <a:gd name="T17" fmla="*/ 2060 h 4119"/>
              <a:gd name="T18" fmla="*/ 2059 w 4119"/>
              <a:gd name="T19" fmla="*/ 77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19" h="4119">
                <a:moveTo>
                  <a:pt x="2059" y="4119"/>
                </a:moveTo>
                <a:cubicBezTo>
                  <a:pt x="924" y="4119"/>
                  <a:pt x="0" y="3196"/>
                  <a:pt x="0" y="2060"/>
                </a:cubicBezTo>
                <a:cubicBezTo>
                  <a:pt x="0" y="924"/>
                  <a:pt x="924" y="0"/>
                  <a:pt x="2059" y="0"/>
                </a:cubicBezTo>
                <a:cubicBezTo>
                  <a:pt x="3195" y="0"/>
                  <a:pt x="4119" y="924"/>
                  <a:pt x="4119" y="2060"/>
                </a:cubicBezTo>
                <a:cubicBezTo>
                  <a:pt x="4119" y="3196"/>
                  <a:pt x="3195" y="4119"/>
                  <a:pt x="2059" y="4119"/>
                </a:cubicBezTo>
                <a:close/>
                <a:moveTo>
                  <a:pt x="2059" y="77"/>
                </a:moveTo>
                <a:cubicBezTo>
                  <a:pt x="966" y="77"/>
                  <a:pt x="76" y="966"/>
                  <a:pt x="76" y="2060"/>
                </a:cubicBezTo>
                <a:cubicBezTo>
                  <a:pt x="76" y="3154"/>
                  <a:pt x="966" y="4043"/>
                  <a:pt x="2059" y="4043"/>
                </a:cubicBezTo>
                <a:cubicBezTo>
                  <a:pt x="3153" y="4043"/>
                  <a:pt x="4043" y="3154"/>
                  <a:pt x="4043" y="2060"/>
                </a:cubicBezTo>
                <a:cubicBezTo>
                  <a:pt x="4043" y="966"/>
                  <a:pt x="3153" y="77"/>
                  <a:pt x="2059" y="77"/>
                </a:cubicBezTo>
                <a:close/>
              </a:path>
            </a:pathLst>
          </a:custGeom>
          <a:solidFill>
            <a:srgbClr val="00BCF2"/>
          </a:solidFill>
          <a:ln w="38100">
            <a:solidFill>
              <a:schemeClr val="accent1"/>
            </a:solidFill>
            <a:round/>
            <a:headEnd/>
            <a:tailEnd/>
          </a:ln>
          <a:extLst/>
        </p:spPr>
        <p:txBody>
          <a:bodyPr vert="horz" wrap="square" lIns="89619" tIns="44810" rIns="89619" bIns="44810" numCol="1" anchor="t" anchorCtr="0" compatLnSpc="1">
            <a:prstTxWarp prst="textNoShape">
              <a:avLst/>
            </a:prstTxWarp>
          </a:bodyPr>
          <a:lstStyle/>
          <a:p>
            <a:pPr defTabSz="914180">
              <a:defRPr/>
            </a:pPr>
            <a:endParaRPr lang="en-US" sz="1372">
              <a:solidFill>
                <a:srgbClr val="FFFFFF"/>
              </a:solidFill>
              <a:latin typeface="Segoe UI Semibold" panose="020B0702040204020203" pitchFamily="34" charset="0"/>
              <a:cs typeface="Segoe UI Semibold" panose="020B0702040204020203" pitchFamily="34" charset="0"/>
            </a:endParaRPr>
          </a:p>
        </p:txBody>
      </p:sp>
      <p:sp>
        <p:nvSpPr>
          <p:cNvPr id="63" name="Rectangle 15"/>
          <p:cNvSpPr>
            <a:spLocks noChangeArrowheads="1"/>
          </p:cNvSpPr>
          <p:nvPr/>
        </p:nvSpPr>
        <p:spPr bwMode="auto">
          <a:xfrm>
            <a:off x="3287181" y="3454485"/>
            <a:ext cx="830973" cy="61978"/>
          </a:xfrm>
          <a:prstGeom prst="rect">
            <a:avLst/>
          </a:prstGeom>
          <a:solidFill>
            <a:srgbClr val="0072CC"/>
          </a:solidFill>
          <a:ln>
            <a:noFill/>
          </a:ln>
          <a:extLst/>
        </p:spPr>
        <p:txBody>
          <a:bodyPr vert="horz" wrap="square" lIns="89619" tIns="44810" rIns="89619" bIns="44810" numCol="1" anchor="t" anchorCtr="0" compatLnSpc="1">
            <a:prstTxWarp prst="textNoShape">
              <a:avLst/>
            </a:prstTxWarp>
          </a:bodyPr>
          <a:lstStyle/>
          <a:p>
            <a:pPr defTabSz="914180">
              <a:defRPr/>
            </a:pPr>
            <a:endParaRPr lang="en-US" sz="1372">
              <a:solidFill>
                <a:srgbClr val="FFFFFF"/>
              </a:solidFill>
              <a:latin typeface="Segoe UI Semibold" panose="020B0702040204020203" pitchFamily="34" charset="0"/>
              <a:cs typeface="Segoe UI Semibold" panose="020B0702040204020203" pitchFamily="34" charset="0"/>
            </a:endParaRPr>
          </a:p>
        </p:txBody>
      </p:sp>
      <p:sp>
        <p:nvSpPr>
          <p:cNvPr id="64" name="Freeform 16"/>
          <p:cNvSpPr>
            <a:spLocks noEditPoints="1"/>
          </p:cNvSpPr>
          <p:nvPr/>
        </p:nvSpPr>
        <p:spPr bwMode="auto">
          <a:xfrm>
            <a:off x="4119073" y="2944080"/>
            <a:ext cx="1056512" cy="1056620"/>
          </a:xfrm>
          <a:custGeom>
            <a:avLst/>
            <a:gdLst>
              <a:gd name="T0" fmla="*/ 2059 w 4119"/>
              <a:gd name="T1" fmla="*/ 4119 h 4119"/>
              <a:gd name="T2" fmla="*/ 0 w 4119"/>
              <a:gd name="T3" fmla="*/ 2060 h 4119"/>
              <a:gd name="T4" fmla="*/ 2059 w 4119"/>
              <a:gd name="T5" fmla="*/ 0 h 4119"/>
              <a:gd name="T6" fmla="*/ 4119 w 4119"/>
              <a:gd name="T7" fmla="*/ 2060 h 4119"/>
              <a:gd name="T8" fmla="*/ 2059 w 4119"/>
              <a:gd name="T9" fmla="*/ 4119 h 4119"/>
              <a:gd name="T10" fmla="*/ 2059 w 4119"/>
              <a:gd name="T11" fmla="*/ 77 h 4119"/>
              <a:gd name="T12" fmla="*/ 76 w 4119"/>
              <a:gd name="T13" fmla="*/ 2060 h 4119"/>
              <a:gd name="T14" fmla="*/ 2059 w 4119"/>
              <a:gd name="T15" fmla="*/ 4043 h 4119"/>
              <a:gd name="T16" fmla="*/ 4043 w 4119"/>
              <a:gd name="T17" fmla="*/ 2060 h 4119"/>
              <a:gd name="T18" fmla="*/ 2059 w 4119"/>
              <a:gd name="T19" fmla="*/ 77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19" h="4119">
                <a:moveTo>
                  <a:pt x="2059" y="4119"/>
                </a:moveTo>
                <a:cubicBezTo>
                  <a:pt x="924" y="4119"/>
                  <a:pt x="0" y="3196"/>
                  <a:pt x="0" y="2060"/>
                </a:cubicBezTo>
                <a:cubicBezTo>
                  <a:pt x="0" y="924"/>
                  <a:pt x="924" y="0"/>
                  <a:pt x="2059" y="0"/>
                </a:cubicBezTo>
                <a:cubicBezTo>
                  <a:pt x="3195" y="0"/>
                  <a:pt x="4119" y="924"/>
                  <a:pt x="4119" y="2060"/>
                </a:cubicBezTo>
                <a:cubicBezTo>
                  <a:pt x="4119" y="3196"/>
                  <a:pt x="3195" y="4119"/>
                  <a:pt x="2059" y="4119"/>
                </a:cubicBezTo>
                <a:close/>
                <a:moveTo>
                  <a:pt x="2059" y="77"/>
                </a:moveTo>
                <a:cubicBezTo>
                  <a:pt x="966" y="77"/>
                  <a:pt x="76" y="966"/>
                  <a:pt x="76" y="2060"/>
                </a:cubicBezTo>
                <a:cubicBezTo>
                  <a:pt x="76" y="3154"/>
                  <a:pt x="966" y="4043"/>
                  <a:pt x="2059" y="4043"/>
                </a:cubicBezTo>
                <a:cubicBezTo>
                  <a:pt x="3153" y="4043"/>
                  <a:pt x="4043" y="3154"/>
                  <a:pt x="4043" y="2060"/>
                </a:cubicBezTo>
                <a:cubicBezTo>
                  <a:pt x="4043" y="966"/>
                  <a:pt x="3153" y="77"/>
                  <a:pt x="2059" y="77"/>
                </a:cubicBezTo>
                <a:close/>
              </a:path>
            </a:pathLst>
          </a:custGeom>
          <a:solidFill>
            <a:srgbClr val="00BCF2"/>
          </a:solidFill>
          <a:ln w="38100">
            <a:solidFill>
              <a:schemeClr val="accent1"/>
            </a:solidFill>
            <a:round/>
            <a:headEnd/>
            <a:tailEnd/>
          </a:ln>
          <a:extLst/>
        </p:spPr>
        <p:txBody>
          <a:bodyPr vert="horz" wrap="square" lIns="89619" tIns="44810" rIns="89619" bIns="44810" numCol="1" anchor="t" anchorCtr="0" compatLnSpc="1">
            <a:prstTxWarp prst="textNoShape">
              <a:avLst/>
            </a:prstTxWarp>
          </a:bodyPr>
          <a:lstStyle/>
          <a:p>
            <a:pPr defTabSz="914180">
              <a:defRPr/>
            </a:pPr>
            <a:endParaRPr lang="en-US" sz="1372">
              <a:solidFill>
                <a:srgbClr val="FFFFFF"/>
              </a:solidFill>
              <a:latin typeface="Segoe UI Semibold" panose="020B0702040204020203" pitchFamily="34" charset="0"/>
              <a:cs typeface="Segoe UI Semibold" panose="020B0702040204020203" pitchFamily="34" charset="0"/>
            </a:endParaRPr>
          </a:p>
        </p:txBody>
      </p:sp>
      <p:sp>
        <p:nvSpPr>
          <p:cNvPr id="65" name="TextBox 64"/>
          <p:cNvSpPr txBox="1"/>
          <p:nvPr/>
        </p:nvSpPr>
        <p:spPr>
          <a:xfrm>
            <a:off x="4018010" y="3314582"/>
            <a:ext cx="1258637" cy="298631"/>
          </a:xfrm>
          <a:prstGeom prst="rect">
            <a:avLst/>
          </a:prstGeom>
          <a:noFill/>
        </p:spPr>
        <p:txBody>
          <a:bodyPr wrap="square" lIns="0" tIns="0" rIns="0" bIns="0" rtlCol="0">
            <a:spAutoFit/>
          </a:bodyPr>
          <a:lstStyle/>
          <a:p>
            <a:pPr algn="ctr" defTabSz="914180">
              <a:lnSpc>
                <a:spcPct val="90000"/>
              </a:lnSpc>
              <a:spcAft>
                <a:spcPts val="588"/>
              </a:spcAft>
              <a:defRPr/>
            </a:pPr>
            <a: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Big Data</a:t>
            </a:r>
            <a:b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br>
            <a: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stores</a:t>
            </a:r>
          </a:p>
        </p:txBody>
      </p:sp>
      <p:sp>
        <p:nvSpPr>
          <p:cNvPr id="67" name="Rectangle 15"/>
          <p:cNvSpPr>
            <a:spLocks noChangeArrowheads="1"/>
          </p:cNvSpPr>
          <p:nvPr/>
        </p:nvSpPr>
        <p:spPr bwMode="auto">
          <a:xfrm>
            <a:off x="5159581" y="3454485"/>
            <a:ext cx="813050" cy="61978"/>
          </a:xfrm>
          <a:prstGeom prst="rect">
            <a:avLst/>
          </a:prstGeom>
          <a:solidFill>
            <a:srgbClr val="0072CC"/>
          </a:solidFill>
          <a:ln>
            <a:noFill/>
          </a:ln>
          <a:extLst/>
        </p:spPr>
        <p:txBody>
          <a:bodyPr vert="horz" wrap="square" lIns="89619" tIns="44810" rIns="89619" bIns="44810" numCol="1" anchor="t" anchorCtr="0" compatLnSpc="1">
            <a:prstTxWarp prst="textNoShape">
              <a:avLst/>
            </a:prstTxWarp>
          </a:bodyPr>
          <a:lstStyle/>
          <a:p>
            <a:pPr defTabSz="914180">
              <a:defRPr/>
            </a:pPr>
            <a:endParaRPr lang="en-US" sz="1372">
              <a:solidFill>
                <a:srgbClr val="FFFFFF"/>
              </a:solidFill>
              <a:latin typeface="Segoe UI Semibold" panose="020B0702040204020203" pitchFamily="34" charset="0"/>
              <a:cs typeface="Segoe UI Semibold" panose="020B0702040204020203" pitchFamily="34" charset="0"/>
            </a:endParaRPr>
          </a:p>
        </p:txBody>
      </p:sp>
      <p:sp>
        <p:nvSpPr>
          <p:cNvPr id="68" name="Freeform 16"/>
          <p:cNvSpPr>
            <a:spLocks noEditPoints="1"/>
          </p:cNvSpPr>
          <p:nvPr/>
        </p:nvSpPr>
        <p:spPr bwMode="auto">
          <a:xfrm>
            <a:off x="5991473" y="2944080"/>
            <a:ext cx="1056512" cy="1056620"/>
          </a:xfrm>
          <a:custGeom>
            <a:avLst/>
            <a:gdLst>
              <a:gd name="T0" fmla="*/ 2059 w 4119"/>
              <a:gd name="T1" fmla="*/ 4119 h 4119"/>
              <a:gd name="T2" fmla="*/ 0 w 4119"/>
              <a:gd name="T3" fmla="*/ 2060 h 4119"/>
              <a:gd name="T4" fmla="*/ 2059 w 4119"/>
              <a:gd name="T5" fmla="*/ 0 h 4119"/>
              <a:gd name="T6" fmla="*/ 4119 w 4119"/>
              <a:gd name="T7" fmla="*/ 2060 h 4119"/>
              <a:gd name="T8" fmla="*/ 2059 w 4119"/>
              <a:gd name="T9" fmla="*/ 4119 h 4119"/>
              <a:gd name="T10" fmla="*/ 2059 w 4119"/>
              <a:gd name="T11" fmla="*/ 77 h 4119"/>
              <a:gd name="T12" fmla="*/ 76 w 4119"/>
              <a:gd name="T13" fmla="*/ 2060 h 4119"/>
              <a:gd name="T14" fmla="*/ 2059 w 4119"/>
              <a:gd name="T15" fmla="*/ 4043 h 4119"/>
              <a:gd name="T16" fmla="*/ 4043 w 4119"/>
              <a:gd name="T17" fmla="*/ 2060 h 4119"/>
              <a:gd name="T18" fmla="*/ 2059 w 4119"/>
              <a:gd name="T19" fmla="*/ 77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19" h="4119">
                <a:moveTo>
                  <a:pt x="2059" y="4119"/>
                </a:moveTo>
                <a:cubicBezTo>
                  <a:pt x="924" y="4119"/>
                  <a:pt x="0" y="3196"/>
                  <a:pt x="0" y="2060"/>
                </a:cubicBezTo>
                <a:cubicBezTo>
                  <a:pt x="0" y="924"/>
                  <a:pt x="924" y="0"/>
                  <a:pt x="2059" y="0"/>
                </a:cubicBezTo>
                <a:cubicBezTo>
                  <a:pt x="3195" y="0"/>
                  <a:pt x="4119" y="924"/>
                  <a:pt x="4119" y="2060"/>
                </a:cubicBezTo>
                <a:cubicBezTo>
                  <a:pt x="4119" y="3196"/>
                  <a:pt x="3195" y="4119"/>
                  <a:pt x="2059" y="4119"/>
                </a:cubicBezTo>
                <a:close/>
                <a:moveTo>
                  <a:pt x="2059" y="77"/>
                </a:moveTo>
                <a:cubicBezTo>
                  <a:pt x="966" y="77"/>
                  <a:pt x="76" y="966"/>
                  <a:pt x="76" y="2060"/>
                </a:cubicBezTo>
                <a:cubicBezTo>
                  <a:pt x="76" y="3154"/>
                  <a:pt x="966" y="4043"/>
                  <a:pt x="2059" y="4043"/>
                </a:cubicBezTo>
                <a:cubicBezTo>
                  <a:pt x="3153" y="4043"/>
                  <a:pt x="4043" y="3154"/>
                  <a:pt x="4043" y="2060"/>
                </a:cubicBezTo>
                <a:cubicBezTo>
                  <a:pt x="4043" y="966"/>
                  <a:pt x="3153" y="77"/>
                  <a:pt x="2059" y="77"/>
                </a:cubicBezTo>
                <a:close/>
              </a:path>
            </a:pathLst>
          </a:custGeom>
          <a:solidFill>
            <a:srgbClr val="00BCF2"/>
          </a:solidFill>
          <a:ln w="38100">
            <a:solidFill>
              <a:schemeClr val="accent1"/>
            </a:solidFill>
            <a:round/>
            <a:headEnd/>
            <a:tailEnd/>
          </a:ln>
          <a:extLst/>
        </p:spPr>
        <p:txBody>
          <a:bodyPr vert="horz" wrap="square" lIns="89619" tIns="44810" rIns="89619" bIns="44810" numCol="1" anchor="t" anchorCtr="0" compatLnSpc="1">
            <a:prstTxWarp prst="textNoShape">
              <a:avLst/>
            </a:prstTxWarp>
          </a:bodyPr>
          <a:lstStyle/>
          <a:p>
            <a:pPr defTabSz="914180">
              <a:defRPr/>
            </a:pPr>
            <a:endParaRPr lang="en-US" sz="1372">
              <a:solidFill>
                <a:srgbClr val="FFFFFF"/>
              </a:solidFill>
              <a:latin typeface="Segoe UI Semibold" panose="020B0702040204020203" pitchFamily="34" charset="0"/>
              <a:cs typeface="Segoe UI Semibold" panose="020B0702040204020203" pitchFamily="34" charset="0"/>
            </a:endParaRPr>
          </a:p>
        </p:txBody>
      </p:sp>
      <p:sp>
        <p:nvSpPr>
          <p:cNvPr id="69" name="TextBox 68"/>
          <p:cNvSpPr txBox="1"/>
          <p:nvPr/>
        </p:nvSpPr>
        <p:spPr>
          <a:xfrm>
            <a:off x="5890410" y="3314582"/>
            <a:ext cx="1258637" cy="298631"/>
          </a:xfrm>
          <a:prstGeom prst="rect">
            <a:avLst/>
          </a:prstGeom>
          <a:noFill/>
        </p:spPr>
        <p:txBody>
          <a:bodyPr wrap="square" lIns="0" tIns="0" rIns="0" bIns="0" rtlCol="0">
            <a:spAutoFit/>
          </a:bodyPr>
          <a:lstStyle/>
          <a:p>
            <a:pPr algn="ctr" defTabSz="914180">
              <a:lnSpc>
                <a:spcPct val="90000"/>
              </a:lnSpc>
              <a:spcAft>
                <a:spcPts val="588"/>
              </a:spcAft>
              <a:defRPr/>
            </a:pPr>
            <a: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achine</a:t>
            </a:r>
            <a:b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br>
            <a: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Learning</a:t>
            </a:r>
          </a:p>
        </p:txBody>
      </p:sp>
      <p:sp>
        <p:nvSpPr>
          <p:cNvPr id="70" name="Rectangle 15"/>
          <p:cNvSpPr>
            <a:spLocks noChangeArrowheads="1"/>
          </p:cNvSpPr>
          <p:nvPr/>
        </p:nvSpPr>
        <p:spPr bwMode="auto">
          <a:xfrm>
            <a:off x="7047984" y="3454485"/>
            <a:ext cx="813050" cy="61978"/>
          </a:xfrm>
          <a:prstGeom prst="rect">
            <a:avLst/>
          </a:prstGeom>
          <a:solidFill>
            <a:srgbClr val="0072CC"/>
          </a:solidFill>
          <a:ln>
            <a:noFill/>
          </a:ln>
          <a:extLst/>
        </p:spPr>
        <p:txBody>
          <a:bodyPr vert="horz" wrap="square" lIns="89619" tIns="44810" rIns="89619" bIns="44810" numCol="1" anchor="t" anchorCtr="0" compatLnSpc="1">
            <a:prstTxWarp prst="textNoShape">
              <a:avLst/>
            </a:prstTxWarp>
          </a:bodyPr>
          <a:lstStyle/>
          <a:p>
            <a:pPr defTabSz="914180">
              <a:defRPr/>
            </a:pPr>
            <a:endParaRPr lang="en-US" sz="1372">
              <a:solidFill>
                <a:srgbClr val="FFFFFF"/>
              </a:solidFill>
              <a:latin typeface="Segoe UI Semibold" panose="020B0702040204020203" pitchFamily="34" charset="0"/>
              <a:cs typeface="Segoe UI Semibold" panose="020B0702040204020203" pitchFamily="34" charset="0"/>
            </a:endParaRPr>
          </a:p>
        </p:txBody>
      </p:sp>
      <p:sp>
        <p:nvSpPr>
          <p:cNvPr id="71" name="Freeform 16"/>
          <p:cNvSpPr>
            <a:spLocks noEditPoints="1"/>
          </p:cNvSpPr>
          <p:nvPr/>
        </p:nvSpPr>
        <p:spPr bwMode="auto">
          <a:xfrm>
            <a:off x="7861952" y="2944080"/>
            <a:ext cx="1056512" cy="1056620"/>
          </a:xfrm>
          <a:custGeom>
            <a:avLst/>
            <a:gdLst>
              <a:gd name="T0" fmla="*/ 2059 w 4119"/>
              <a:gd name="T1" fmla="*/ 4119 h 4119"/>
              <a:gd name="T2" fmla="*/ 0 w 4119"/>
              <a:gd name="T3" fmla="*/ 2060 h 4119"/>
              <a:gd name="T4" fmla="*/ 2059 w 4119"/>
              <a:gd name="T5" fmla="*/ 0 h 4119"/>
              <a:gd name="T6" fmla="*/ 4119 w 4119"/>
              <a:gd name="T7" fmla="*/ 2060 h 4119"/>
              <a:gd name="T8" fmla="*/ 2059 w 4119"/>
              <a:gd name="T9" fmla="*/ 4119 h 4119"/>
              <a:gd name="T10" fmla="*/ 2059 w 4119"/>
              <a:gd name="T11" fmla="*/ 77 h 4119"/>
              <a:gd name="T12" fmla="*/ 76 w 4119"/>
              <a:gd name="T13" fmla="*/ 2060 h 4119"/>
              <a:gd name="T14" fmla="*/ 2059 w 4119"/>
              <a:gd name="T15" fmla="*/ 4043 h 4119"/>
              <a:gd name="T16" fmla="*/ 4043 w 4119"/>
              <a:gd name="T17" fmla="*/ 2060 h 4119"/>
              <a:gd name="T18" fmla="*/ 2059 w 4119"/>
              <a:gd name="T19" fmla="*/ 77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19" h="4119">
                <a:moveTo>
                  <a:pt x="2059" y="4119"/>
                </a:moveTo>
                <a:cubicBezTo>
                  <a:pt x="924" y="4119"/>
                  <a:pt x="0" y="3196"/>
                  <a:pt x="0" y="2060"/>
                </a:cubicBezTo>
                <a:cubicBezTo>
                  <a:pt x="0" y="924"/>
                  <a:pt x="924" y="0"/>
                  <a:pt x="2059" y="0"/>
                </a:cubicBezTo>
                <a:cubicBezTo>
                  <a:pt x="3195" y="0"/>
                  <a:pt x="4119" y="924"/>
                  <a:pt x="4119" y="2060"/>
                </a:cubicBezTo>
                <a:cubicBezTo>
                  <a:pt x="4119" y="3196"/>
                  <a:pt x="3195" y="4119"/>
                  <a:pt x="2059" y="4119"/>
                </a:cubicBezTo>
                <a:close/>
                <a:moveTo>
                  <a:pt x="2059" y="77"/>
                </a:moveTo>
                <a:cubicBezTo>
                  <a:pt x="966" y="77"/>
                  <a:pt x="76" y="966"/>
                  <a:pt x="76" y="2060"/>
                </a:cubicBezTo>
                <a:cubicBezTo>
                  <a:pt x="76" y="3154"/>
                  <a:pt x="966" y="4043"/>
                  <a:pt x="2059" y="4043"/>
                </a:cubicBezTo>
                <a:cubicBezTo>
                  <a:pt x="3153" y="4043"/>
                  <a:pt x="4043" y="3154"/>
                  <a:pt x="4043" y="2060"/>
                </a:cubicBezTo>
                <a:cubicBezTo>
                  <a:pt x="4043" y="966"/>
                  <a:pt x="3153" y="77"/>
                  <a:pt x="2059" y="77"/>
                </a:cubicBezTo>
                <a:close/>
              </a:path>
            </a:pathLst>
          </a:custGeom>
          <a:solidFill>
            <a:srgbClr val="00BCF2"/>
          </a:solidFill>
          <a:ln w="38100">
            <a:solidFill>
              <a:schemeClr val="accent1"/>
            </a:solidFill>
            <a:round/>
            <a:headEnd/>
            <a:tailEnd/>
          </a:ln>
          <a:extLst/>
        </p:spPr>
        <p:txBody>
          <a:bodyPr vert="horz" wrap="square" lIns="89619" tIns="44810" rIns="89619" bIns="44810" numCol="1" anchor="t" anchorCtr="0" compatLnSpc="1">
            <a:prstTxWarp prst="textNoShape">
              <a:avLst/>
            </a:prstTxWarp>
          </a:bodyPr>
          <a:lstStyle/>
          <a:p>
            <a:pPr defTabSz="914180">
              <a:defRPr/>
            </a:pPr>
            <a:endParaRPr lang="en-US" sz="1372">
              <a:solidFill>
                <a:srgbClr val="FFFFFF"/>
              </a:solidFill>
              <a:latin typeface="Segoe UI Semibold" panose="020B0702040204020203" pitchFamily="34" charset="0"/>
              <a:cs typeface="Segoe UI Semibold" panose="020B0702040204020203" pitchFamily="34" charset="0"/>
            </a:endParaRPr>
          </a:p>
        </p:txBody>
      </p:sp>
      <p:sp>
        <p:nvSpPr>
          <p:cNvPr id="72" name="TextBox 71"/>
          <p:cNvSpPr txBox="1"/>
          <p:nvPr/>
        </p:nvSpPr>
        <p:spPr>
          <a:xfrm>
            <a:off x="7742965" y="3403216"/>
            <a:ext cx="1258637" cy="149315"/>
          </a:xfrm>
          <a:prstGeom prst="rect">
            <a:avLst/>
          </a:prstGeom>
          <a:noFill/>
        </p:spPr>
        <p:txBody>
          <a:bodyPr wrap="square" lIns="0" tIns="0" rIns="0" bIns="0" rtlCol="0">
            <a:spAutoFit/>
          </a:bodyPr>
          <a:lstStyle/>
          <a:p>
            <a:pPr algn="ctr" defTabSz="914180">
              <a:lnSpc>
                <a:spcPct val="90000"/>
              </a:lnSpc>
              <a:spcAft>
                <a:spcPts val="588"/>
              </a:spcAft>
              <a:defRPr/>
            </a:pPr>
            <a: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Analytics</a:t>
            </a:r>
          </a:p>
        </p:txBody>
      </p:sp>
      <p:pic>
        <p:nvPicPr>
          <p:cNvPr id="26" name="Picture 25"/>
          <p:cNvPicPr>
            <a:picLocks noChangeAspect="1"/>
          </p:cNvPicPr>
          <p:nvPr/>
        </p:nvPicPr>
        <p:blipFill>
          <a:blip r:embed="rId6"/>
          <a:stretch>
            <a:fillRect/>
          </a:stretch>
        </p:blipFill>
        <p:spPr>
          <a:xfrm>
            <a:off x="310618" y="3209631"/>
            <a:ext cx="536909" cy="521933"/>
          </a:xfrm>
          <a:prstGeom prst="rect">
            <a:avLst/>
          </a:prstGeom>
        </p:spPr>
      </p:pic>
    </p:spTree>
    <p:extLst>
      <p:ext uri="{BB962C8B-B14F-4D97-AF65-F5344CB8AC3E}">
        <p14:creationId xmlns:p14="http://schemas.microsoft.com/office/powerpoint/2010/main" val="2574061262"/>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5" name="Title 1"/>
          <p:cNvSpPr txBox="1">
            <a:spLocks/>
          </p:cNvSpPr>
          <p:nvPr/>
        </p:nvSpPr>
        <p:spPr>
          <a:xfrm>
            <a:off x="295840" y="2170402"/>
            <a:ext cx="7343597" cy="2445869"/>
          </a:xfrm>
          <a:prstGeom prst="rect">
            <a:avLst/>
          </a:prstGeom>
        </p:spPr>
        <p:txBody>
          <a:bodyPr vert="horz" wrap="square" lIns="179238" tIns="143391" rIns="179238" bIns="143391"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80">
              <a:spcBef>
                <a:spcPts val="1176"/>
              </a:spcBef>
            </a:pPr>
            <a:br>
              <a:rPr lang="en-US" sz="4312" spc="-100" dirty="0"/>
            </a:br>
            <a:r>
              <a:rPr lang="en-US" sz="5293" spc="-100" dirty="0"/>
              <a:t>Cortana Intelligence Suite</a:t>
            </a:r>
          </a:p>
        </p:txBody>
      </p:sp>
      <p:grpSp>
        <p:nvGrpSpPr>
          <p:cNvPr id="96" name="Group 95"/>
          <p:cNvGrpSpPr/>
          <p:nvPr/>
        </p:nvGrpSpPr>
        <p:grpSpPr>
          <a:xfrm>
            <a:off x="12532773" y="925706"/>
            <a:ext cx="1184031" cy="5218448"/>
            <a:chOff x="9363076" y="1000126"/>
            <a:chExt cx="1208088" cy="5324475"/>
          </a:xfrm>
        </p:grpSpPr>
        <p:sp>
          <p:nvSpPr>
            <p:cNvPr id="7" name="Freeform 5"/>
            <p:cNvSpPr>
              <a:spLocks/>
            </p:cNvSpPr>
            <p:nvPr/>
          </p:nvSpPr>
          <p:spPr bwMode="auto">
            <a:xfrm>
              <a:off x="9431338" y="4329113"/>
              <a:ext cx="825500" cy="1798638"/>
            </a:xfrm>
            <a:custGeom>
              <a:avLst/>
              <a:gdLst>
                <a:gd name="T0" fmla="*/ 79 w 134"/>
                <a:gd name="T1" fmla="*/ 7 h 292"/>
                <a:gd name="T2" fmla="*/ 6 w 134"/>
                <a:gd name="T3" fmla="*/ 56 h 292"/>
                <a:gd name="T4" fmla="*/ 33 w 134"/>
                <a:gd name="T5" fmla="*/ 120 h 292"/>
                <a:gd name="T6" fmla="*/ 3 w 134"/>
                <a:gd name="T7" fmla="*/ 270 h 292"/>
                <a:gd name="T8" fmla="*/ 9 w 134"/>
                <a:gd name="T9" fmla="*/ 277 h 292"/>
                <a:gd name="T10" fmla="*/ 16 w 134"/>
                <a:gd name="T11" fmla="*/ 285 h 292"/>
                <a:gd name="T12" fmla="*/ 22 w 134"/>
                <a:gd name="T13" fmla="*/ 292 h 292"/>
                <a:gd name="T14" fmla="*/ 22 w 134"/>
                <a:gd name="T15" fmla="*/ 292 h 292"/>
                <a:gd name="T16" fmla="*/ 39 w 134"/>
                <a:gd name="T17" fmla="*/ 281 h 292"/>
                <a:gd name="T18" fmla="*/ 42 w 134"/>
                <a:gd name="T19" fmla="*/ 266 h 292"/>
                <a:gd name="T20" fmla="*/ 50 w 134"/>
                <a:gd name="T21" fmla="*/ 261 h 292"/>
                <a:gd name="T22" fmla="*/ 52 w 134"/>
                <a:gd name="T23" fmla="*/ 250 h 292"/>
                <a:gd name="T24" fmla="*/ 42 w 134"/>
                <a:gd name="T25" fmla="*/ 234 h 292"/>
                <a:gd name="T26" fmla="*/ 44 w 134"/>
                <a:gd name="T27" fmla="*/ 224 h 292"/>
                <a:gd name="T28" fmla="*/ 51 w 134"/>
                <a:gd name="T29" fmla="*/ 219 h 292"/>
                <a:gd name="T30" fmla="*/ 53 w 134"/>
                <a:gd name="T31" fmla="*/ 210 h 292"/>
                <a:gd name="T32" fmla="*/ 62 w 134"/>
                <a:gd name="T33" fmla="*/ 204 h 292"/>
                <a:gd name="T34" fmla="*/ 64 w 134"/>
                <a:gd name="T35" fmla="*/ 192 h 292"/>
                <a:gd name="T36" fmla="*/ 54 w 134"/>
                <a:gd name="T37" fmla="*/ 178 h 292"/>
                <a:gd name="T38" fmla="*/ 57 w 134"/>
                <a:gd name="T39" fmla="*/ 164 h 292"/>
                <a:gd name="T40" fmla="*/ 72 w 134"/>
                <a:gd name="T41" fmla="*/ 154 h 292"/>
                <a:gd name="T42" fmla="*/ 77 w 134"/>
                <a:gd name="T43" fmla="*/ 130 h 292"/>
                <a:gd name="T44" fmla="*/ 77 w 134"/>
                <a:gd name="T45" fmla="*/ 129 h 292"/>
                <a:gd name="T46" fmla="*/ 127 w 134"/>
                <a:gd name="T47" fmla="*/ 80 h 292"/>
                <a:gd name="T48" fmla="*/ 79 w 134"/>
                <a:gd name="T49" fmla="*/ 7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4" h="292">
                  <a:moveTo>
                    <a:pt x="79" y="7"/>
                  </a:moveTo>
                  <a:cubicBezTo>
                    <a:pt x="45" y="0"/>
                    <a:pt x="13" y="22"/>
                    <a:pt x="6" y="56"/>
                  </a:cubicBezTo>
                  <a:cubicBezTo>
                    <a:pt x="0" y="81"/>
                    <a:pt x="12" y="107"/>
                    <a:pt x="33" y="120"/>
                  </a:cubicBezTo>
                  <a:cubicBezTo>
                    <a:pt x="3" y="270"/>
                    <a:pt x="3" y="270"/>
                    <a:pt x="3" y="270"/>
                  </a:cubicBezTo>
                  <a:cubicBezTo>
                    <a:pt x="9" y="277"/>
                    <a:pt x="9" y="277"/>
                    <a:pt x="9" y="277"/>
                  </a:cubicBezTo>
                  <a:cubicBezTo>
                    <a:pt x="16" y="285"/>
                    <a:pt x="16" y="285"/>
                    <a:pt x="16" y="285"/>
                  </a:cubicBezTo>
                  <a:cubicBezTo>
                    <a:pt x="22" y="292"/>
                    <a:pt x="22" y="292"/>
                    <a:pt x="22" y="292"/>
                  </a:cubicBezTo>
                  <a:cubicBezTo>
                    <a:pt x="22" y="292"/>
                    <a:pt x="22" y="292"/>
                    <a:pt x="22" y="292"/>
                  </a:cubicBezTo>
                  <a:cubicBezTo>
                    <a:pt x="39" y="281"/>
                    <a:pt x="39" y="281"/>
                    <a:pt x="39" y="281"/>
                  </a:cubicBezTo>
                  <a:cubicBezTo>
                    <a:pt x="42" y="266"/>
                    <a:pt x="42" y="266"/>
                    <a:pt x="42" y="266"/>
                  </a:cubicBezTo>
                  <a:cubicBezTo>
                    <a:pt x="50" y="261"/>
                    <a:pt x="50" y="261"/>
                    <a:pt x="50" y="261"/>
                  </a:cubicBezTo>
                  <a:cubicBezTo>
                    <a:pt x="52" y="250"/>
                    <a:pt x="52" y="250"/>
                    <a:pt x="52" y="250"/>
                  </a:cubicBezTo>
                  <a:cubicBezTo>
                    <a:pt x="42" y="234"/>
                    <a:pt x="42" y="234"/>
                    <a:pt x="42" y="234"/>
                  </a:cubicBezTo>
                  <a:cubicBezTo>
                    <a:pt x="44" y="224"/>
                    <a:pt x="44" y="224"/>
                    <a:pt x="44" y="224"/>
                  </a:cubicBezTo>
                  <a:cubicBezTo>
                    <a:pt x="51" y="219"/>
                    <a:pt x="51" y="219"/>
                    <a:pt x="51" y="219"/>
                  </a:cubicBezTo>
                  <a:cubicBezTo>
                    <a:pt x="53" y="210"/>
                    <a:pt x="53" y="210"/>
                    <a:pt x="53" y="210"/>
                  </a:cubicBezTo>
                  <a:cubicBezTo>
                    <a:pt x="62" y="204"/>
                    <a:pt x="62" y="204"/>
                    <a:pt x="62" y="204"/>
                  </a:cubicBezTo>
                  <a:cubicBezTo>
                    <a:pt x="64" y="192"/>
                    <a:pt x="64" y="192"/>
                    <a:pt x="64" y="192"/>
                  </a:cubicBezTo>
                  <a:cubicBezTo>
                    <a:pt x="54" y="178"/>
                    <a:pt x="54" y="178"/>
                    <a:pt x="54" y="178"/>
                  </a:cubicBezTo>
                  <a:cubicBezTo>
                    <a:pt x="57" y="164"/>
                    <a:pt x="57" y="164"/>
                    <a:pt x="57" y="164"/>
                  </a:cubicBezTo>
                  <a:cubicBezTo>
                    <a:pt x="72" y="154"/>
                    <a:pt x="72" y="154"/>
                    <a:pt x="72" y="154"/>
                  </a:cubicBezTo>
                  <a:cubicBezTo>
                    <a:pt x="77" y="130"/>
                    <a:pt x="77" y="130"/>
                    <a:pt x="77" y="130"/>
                  </a:cubicBezTo>
                  <a:cubicBezTo>
                    <a:pt x="77" y="129"/>
                    <a:pt x="77" y="129"/>
                    <a:pt x="77" y="129"/>
                  </a:cubicBezTo>
                  <a:cubicBezTo>
                    <a:pt x="102" y="125"/>
                    <a:pt x="122" y="106"/>
                    <a:pt x="127" y="80"/>
                  </a:cubicBezTo>
                  <a:cubicBezTo>
                    <a:pt x="134" y="47"/>
                    <a:pt x="113" y="14"/>
                    <a:pt x="79" y="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8" name="Freeform 6"/>
            <p:cNvSpPr>
              <a:spLocks/>
            </p:cNvSpPr>
            <p:nvPr/>
          </p:nvSpPr>
          <p:spPr bwMode="auto">
            <a:xfrm>
              <a:off x="9591676" y="4532313"/>
              <a:ext cx="763588" cy="1792288"/>
            </a:xfrm>
            <a:custGeom>
              <a:avLst/>
              <a:gdLst>
                <a:gd name="T0" fmla="*/ 124 w 124"/>
                <a:gd name="T1" fmla="*/ 62 h 291"/>
                <a:gd name="T2" fmla="*/ 62 w 124"/>
                <a:gd name="T3" fmla="*/ 0 h 291"/>
                <a:gd name="T4" fmla="*/ 0 w 124"/>
                <a:gd name="T5" fmla="*/ 62 h 291"/>
                <a:gd name="T6" fmla="*/ 40 w 124"/>
                <a:gd name="T7" fmla="*/ 120 h 291"/>
                <a:gd name="T8" fmla="*/ 40 w 124"/>
                <a:gd name="T9" fmla="*/ 273 h 291"/>
                <a:gd name="T10" fmla="*/ 47 w 124"/>
                <a:gd name="T11" fmla="*/ 279 h 291"/>
                <a:gd name="T12" fmla="*/ 56 w 124"/>
                <a:gd name="T13" fmla="*/ 285 h 291"/>
                <a:gd name="T14" fmla="*/ 63 w 124"/>
                <a:gd name="T15" fmla="*/ 291 h 291"/>
                <a:gd name="T16" fmla="*/ 63 w 124"/>
                <a:gd name="T17" fmla="*/ 291 h 291"/>
                <a:gd name="T18" fmla="*/ 78 w 124"/>
                <a:gd name="T19" fmla="*/ 277 h 291"/>
                <a:gd name="T20" fmla="*/ 78 w 124"/>
                <a:gd name="T21" fmla="*/ 261 h 291"/>
                <a:gd name="T22" fmla="*/ 84 w 124"/>
                <a:gd name="T23" fmla="*/ 255 h 291"/>
                <a:gd name="T24" fmla="*/ 84 w 124"/>
                <a:gd name="T25" fmla="*/ 243 h 291"/>
                <a:gd name="T26" fmla="*/ 71 w 124"/>
                <a:gd name="T27" fmla="*/ 230 h 291"/>
                <a:gd name="T28" fmla="*/ 71 w 124"/>
                <a:gd name="T29" fmla="*/ 220 h 291"/>
                <a:gd name="T30" fmla="*/ 77 w 124"/>
                <a:gd name="T31" fmla="*/ 214 h 291"/>
                <a:gd name="T32" fmla="*/ 77 w 124"/>
                <a:gd name="T33" fmla="*/ 204 h 291"/>
                <a:gd name="T34" fmla="*/ 85 w 124"/>
                <a:gd name="T35" fmla="*/ 197 h 291"/>
                <a:gd name="T36" fmla="*/ 85 w 124"/>
                <a:gd name="T37" fmla="*/ 185 h 291"/>
                <a:gd name="T38" fmla="*/ 72 w 124"/>
                <a:gd name="T39" fmla="*/ 173 h 291"/>
                <a:gd name="T40" fmla="*/ 72 w 124"/>
                <a:gd name="T41" fmla="*/ 158 h 291"/>
                <a:gd name="T42" fmla="*/ 85 w 124"/>
                <a:gd name="T43" fmla="*/ 146 h 291"/>
                <a:gd name="T44" fmla="*/ 85 w 124"/>
                <a:gd name="T45" fmla="*/ 121 h 291"/>
                <a:gd name="T46" fmla="*/ 85 w 124"/>
                <a:gd name="T47" fmla="*/ 120 h 291"/>
                <a:gd name="T48" fmla="*/ 124 w 124"/>
                <a:gd name="T49" fmla="*/ 62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4" h="291">
                  <a:moveTo>
                    <a:pt x="124" y="62"/>
                  </a:moveTo>
                  <a:cubicBezTo>
                    <a:pt x="124" y="28"/>
                    <a:pt x="96" y="0"/>
                    <a:pt x="62" y="0"/>
                  </a:cubicBezTo>
                  <a:cubicBezTo>
                    <a:pt x="28" y="0"/>
                    <a:pt x="0" y="28"/>
                    <a:pt x="0" y="62"/>
                  </a:cubicBezTo>
                  <a:cubicBezTo>
                    <a:pt x="0" y="89"/>
                    <a:pt x="16" y="111"/>
                    <a:pt x="40" y="120"/>
                  </a:cubicBezTo>
                  <a:cubicBezTo>
                    <a:pt x="40" y="273"/>
                    <a:pt x="40" y="273"/>
                    <a:pt x="40" y="273"/>
                  </a:cubicBezTo>
                  <a:cubicBezTo>
                    <a:pt x="47" y="279"/>
                    <a:pt x="47" y="279"/>
                    <a:pt x="47" y="279"/>
                  </a:cubicBezTo>
                  <a:cubicBezTo>
                    <a:pt x="56" y="285"/>
                    <a:pt x="56" y="285"/>
                    <a:pt x="56" y="285"/>
                  </a:cubicBezTo>
                  <a:cubicBezTo>
                    <a:pt x="63" y="291"/>
                    <a:pt x="63" y="291"/>
                    <a:pt x="63" y="291"/>
                  </a:cubicBezTo>
                  <a:cubicBezTo>
                    <a:pt x="63" y="291"/>
                    <a:pt x="63" y="291"/>
                    <a:pt x="63" y="291"/>
                  </a:cubicBezTo>
                  <a:cubicBezTo>
                    <a:pt x="78" y="277"/>
                    <a:pt x="78" y="277"/>
                    <a:pt x="78" y="277"/>
                  </a:cubicBezTo>
                  <a:cubicBezTo>
                    <a:pt x="78" y="261"/>
                    <a:pt x="78" y="261"/>
                    <a:pt x="78" y="261"/>
                  </a:cubicBezTo>
                  <a:cubicBezTo>
                    <a:pt x="84" y="255"/>
                    <a:pt x="84" y="255"/>
                    <a:pt x="84" y="255"/>
                  </a:cubicBezTo>
                  <a:cubicBezTo>
                    <a:pt x="84" y="243"/>
                    <a:pt x="84" y="243"/>
                    <a:pt x="84" y="243"/>
                  </a:cubicBezTo>
                  <a:cubicBezTo>
                    <a:pt x="71" y="230"/>
                    <a:pt x="71" y="230"/>
                    <a:pt x="71" y="230"/>
                  </a:cubicBezTo>
                  <a:cubicBezTo>
                    <a:pt x="71" y="220"/>
                    <a:pt x="71" y="220"/>
                    <a:pt x="71" y="220"/>
                  </a:cubicBezTo>
                  <a:cubicBezTo>
                    <a:pt x="77" y="214"/>
                    <a:pt x="77" y="214"/>
                    <a:pt x="77" y="214"/>
                  </a:cubicBezTo>
                  <a:cubicBezTo>
                    <a:pt x="77" y="204"/>
                    <a:pt x="77" y="204"/>
                    <a:pt x="77" y="204"/>
                  </a:cubicBezTo>
                  <a:cubicBezTo>
                    <a:pt x="85" y="197"/>
                    <a:pt x="85" y="197"/>
                    <a:pt x="85" y="197"/>
                  </a:cubicBezTo>
                  <a:cubicBezTo>
                    <a:pt x="85" y="185"/>
                    <a:pt x="85" y="185"/>
                    <a:pt x="85" y="185"/>
                  </a:cubicBezTo>
                  <a:cubicBezTo>
                    <a:pt x="72" y="173"/>
                    <a:pt x="72" y="173"/>
                    <a:pt x="72" y="173"/>
                  </a:cubicBezTo>
                  <a:cubicBezTo>
                    <a:pt x="72" y="158"/>
                    <a:pt x="72" y="158"/>
                    <a:pt x="72" y="158"/>
                  </a:cubicBezTo>
                  <a:cubicBezTo>
                    <a:pt x="85" y="146"/>
                    <a:pt x="85" y="146"/>
                    <a:pt x="85" y="146"/>
                  </a:cubicBezTo>
                  <a:cubicBezTo>
                    <a:pt x="85" y="121"/>
                    <a:pt x="85" y="121"/>
                    <a:pt x="85" y="121"/>
                  </a:cubicBezTo>
                  <a:cubicBezTo>
                    <a:pt x="85" y="120"/>
                    <a:pt x="85" y="120"/>
                    <a:pt x="85" y="120"/>
                  </a:cubicBezTo>
                  <a:cubicBezTo>
                    <a:pt x="108" y="111"/>
                    <a:pt x="124" y="89"/>
                    <a:pt x="124" y="62"/>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9" name="Freeform 7"/>
            <p:cNvSpPr>
              <a:spLocks/>
            </p:cNvSpPr>
            <p:nvPr/>
          </p:nvSpPr>
          <p:spPr bwMode="auto">
            <a:xfrm>
              <a:off x="9690101" y="4532313"/>
              <a:ext cx="665163" cy="947738"/>
            </a:xfrm>
            <a:custGeom>
              <a:avLst/>
              <a:gdLst>
                <a:gd name="T0" fmla="*/ 46 w 108"/>
                <a:gd name="T1" fmla="*/ 0 h 154"/>
                <a:gd name="T2" fmla="*/ 3 w 108"/>
                <a:gd name="T3" fmla="*/ 18 h 154"/>
                <a:gd name="T4" fmla="*/ 1 w 108"/>
                <a:gd name="T5" fmla="*/ 45 h 154"/>
                <a:gd name="T6" fmla="*/ 50 w 108"/>
                <a:gd name="T7" fmla="*/ 96 h 154"/>
                <a:gd name="T8" fmla="*/ 60 w 108"/>
                <a:gd name="T9" fmla="*/ 154 h 154"/>
                <a:gd name="T10" fmla="*/ 69 w 108"/>
                <a:gd name="T11" fmla="*/ 146 h 154"/>
                <a:gd name="T12" fmla="*/ 69 w 108"/>
                <a:gd name="T13" fmla="*/ 121 h 154"/>
                <a:gd name="T14" fmla="*/ 69 w 108"/>
                <a:gd name="T15" fmla="*/ 120 h 154"/>
                <a:gd name="T16" fmla="*/ 96 w 108"/>
                <a:gd name="T17" fmla="*/ 99 h 154"/>
                <a:gd name="T18" fmla="*/ 95 w 108"/>
                <a:gd name="T19" fmla="*/ 90 h 154"/>
                <a:gd name="T20" fmla="*/ 95 w 108"/>
                <a:gd name="T21" fmla="*/ 88 h 154"/>
                <a:gd name="T22" fmla="*/ 106 w 108"/>
                <a:gd name="T23" fmla="*/ 80 h 154"/>
                <a:gd name="T24" fmla="*/ 108 w 108"/>
                <a:gd name="T25" fmla="*/ 62 h 154"/>
                <a:gd name="T26" fmla="*/ 46 w 108"/>
                <a:gd name="T27"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8" h="154">
                  <a:moveTo>
                    <a:pt x="46" y="0"/>
                  </a:moveTo>
                  <a:cubicBezTo>
                    <a:pt x="29" y="0"/>
                    <a:pt x="14" y="7"/>
                    <a:pt x="3" y="18"/>
                  </a:cubicBezTo>
                  <a:cubicBezTo>
                    <a:pt x="1" y="26"/>
                    <a:pt x="0" y="36"/>
                    <a:pt x="1" y="45"/>
                  </a:cubicBezTo>
                  <a:cubicBezTo>
                    <a:pt x="6" y="71"/>
                    <a:pt x="26" y="91"/>
                    <a:pt x="50" y="96"/>
                  </a:cubicBezTo>
                  <a:cubicBezTo>
                    <a:pt x="60" y="154"/>
                    <a:pt x="60" y="154"/>
                    <a:pt x="60" y="154"/>
                  </a:cubicBezTo>
                  <a:cubicBezTo>
                    <a:pt x="69" y="146"/>
                    <a:pt x="69" y="146"/>
                    <a:pt x="69" y="146"/>
                  </a:cubicBezTo>
                  <a:cubicBezTo>
                    <a:pt x="69" y="121"/>
                    <a:pt x="69" y="121"/>
                    <a:pt x="69" y="121"/>
                  </a:cubicBezTo>
                  <a:cubicBezTo>
                    <a:pt x="69" y="120"/>
                    <a:pt x="69" y="120"/>
                    <a:pt x="69" y="120"/>
                  </a:cubicBezTo>
                  <a:cubicBezTo>
                    <a:pt x="80" y="116"/>
                    <a:pt x="89" y="108"/>
                    <a:pt x="96" y="99"/>
                  </a:cubicBezTo>
                  <a:cubicBezTo>
                    <a:pt x="95" y="90"/>
                    <a:pt x="95" y="90"/>
                    <a:pt x="95" y="90"/>
                  </a:cubicBezTo>
                  <a:cubicBezTo>
                    <a:pt x="95" y="88"/>
                    <a:pt x="95" y="88"/>
                    <a:pt x="95" y="88"/>
                  </a:cubicBezTo>
                  <a:cubicBezTo>
                    <a:pt x="99" y="86"/>
                    <a:pt x="102" y="83"/>
                    <a:pt x="106" y="80"/>
                  </a:cubicBezTo>
                  <a:cubicBezTo>
                    <a:pt x="107" y="74"/>
                    <a:pt x="108" y="68"/>
                    <a:pt x="108" y="62"/>
                  </a:cubicBezTo>
                  <a:cubicBezTo>
                    <a:pt x="108" y="28"/>
                    <a:pt x="80" y="0"/>
                    <a:pt x="46"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65" name="Freeform 8"/>
            <p:cNvSpPr>
              <a:spLocks/>
            </p:cNvSpPr>
            <p:nvPr/>
          </p:nvSpPr>
          <p:spPr bwMode="auto">
            <a:xfrm>
              <a:off x="10090151" y="5646738"/>
              <a:ext cx="25400" cy="104775"/>
            </a:xfrm>
            <a:custGeom>
              <a:avLst/>
              <a:gdLst>
                <a:gd name="T0" fmla="*/ 16 w 16"/>
                <a:gd name="T1" fmla="*/ 16 h 66"/>
                <a:gd name="T2" fmla="*/ 0 w 16"/>
                <a:gd name="T3" fmla="*/ 0 h 66"/>
                <a:gd name="T4" fmla="*/ 8 w 16"/>
                <a:gd name="T5" fmla="*/ 66 h 66"/>
                <a:gd name="T6" fmla="*/ 16 w 16"/>
                <a:gd name="T7" fmla="*/ 62 h 66"/>
                <a:gd name="T8" fmla="*/ 16 w 16"/>
                <a:gd name="T9" fmla="*/ 16 h 66"/>
              </a:gdLst>
              <a:ahLst/>
              <a:cxnLst>
                <a:cxn ang="0">
                  <a:pos x="T0" y="T1"/>
                </a:cxn>
                <a:cxn ang="0">
                  <a:pos x="T2" y="T3"/>
                </a:cxn>
                <a:cxn ang="0">
                  <a:pos x="T4" y="T5"/>
                </a:cxn>
                <a:cxn ang="0">
                  <a:pos x="T6" y="T7"/>
                </a:cxn>
                <a:cxn ang="0">
                  <a:pos x="T8" y="T9"/>
                </a:cxn>
              </a:cxnLst>
              <a:rect l="0" t="0" r="r" b="b"/>
              <a:pathLst>
                <a:path w="16" h="66">
                  <a:moveTo>
                    <a:pt x="16" y="16"/>
                  </a:moveTo>
                  <a:lnTo>
                    <a:pt x="0" y="0"/>
                  </a:lnTo>
                  <a:lnTo>
                    <a:pt x="8" y="66"/>
                  </a:lnTo>
                  <a:lnTo>
                    <a:pt x="16" y="62"/>
                  </a:lnTo>
                  <a:lnTo>
                    <a:pt x="16" y="1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83" name="Freeform 9"/>
            <p:cNvSpPr>
              <a:spLocks/>
            </p:cNvSpPr>
            <p:nvPr/>
          </p:nvSpPr>
          <p:spPr bwMode="auto">
            <a:xfrm>
              <a:off x="9696451" y="4291013"/>
              <a:ext cx="825500" cy="1793875"/>
            </a:xfrm>
            <a:custGeom>
              <a:avLst/>
              <a:gdLst>
                <a:gd name="T0" fmla="*/ 125 w 134"/>
                <a:gd name="T1" fmla="*/ 259 h 291"/>
                <a:gd name="T2" fmla="*/ 130 w 134"/>
                <a:gd name="T3" fmla="*/ 251 h 291"/>
                <a:gd name="T4" fmla="*/ 127 w 134"/>
                <a:gd name="T5" fmla="*/ 240 h 291"/>
                <a:gd name="T6" fmla="*/ 112 w 134"/>
                <a:gd name="T7" fmla="*/ 230 h 291"/>
                <a:gd name="T8" fmla="*/ 110 w 134"/>
                <a:gd name="T9" fmla="*/ 220 h 291"/>
                <a:gd name="T10" fmla="*/ 114 w 134"/>
                <a:gd name="T11" fmla="*/ 212 h 291"/>
                <a:gd name="T12" fmla="*/ 112 w 134"/>
                <a:gd name="T13" fmla="*/ 203 h 291"/>
                <a:gd name="T14" fmla="*/ 118 w 134"/>
                <a:gd name="T15" fmla="*/ 194 h 291"/>
                <a:gd name="T16" fmla="*/ 115 w 134"/>
                <a:gd name="T17" fmla="*/ 182 h 291"/>
                <a:gd name="T18" fmla="*/ 100 w 134"/>
                <a:gd name="T19" fmla="*/ 173 h 291"/>
                <a:gd name="T20" fmla="*/ 97 w 134"/>
                <a:gd name="T21" fmla="*/ 159 h 291"/>
                <a:gd name="T22" fmla="*/ 107 w 134"/>
                <a:gd name="T23" fmla="*/ 144 h 291"/>
                <a:gd name="T24" fmla="*/ 102 w 134"/>
                <a:gd name="T25" fmla="*/ 121 h 291"/>
                <a:gd name="T26" fmla="*/ 102 w 134"/>
                <a:gd name="T27" fmla="*/ 119 h 291"/>
                <a:gd name="T28" fmla="*/ 128 w 134"/>
                <a:gd name="T29" fmla="*/ 54 h 291"/>
                <a:gd name="T30" fmla="*/ 55 w 134"/>
                <a:gd name="T31" fmla="*/ 7 h 291"/>
                <a:gd name="T32" fmla="*/ 7 w 134"/>
                <a:gd name="T33" fmla="*/ 81 h 291"/>
                <a:gd name="T34" fmla="*/ 58 w 134"/>
                <a:gd name="T35" fmla="*/ 129 h 291"/>
                <a:gd name="T36" fmla="*/ 90 w 134"/>
                <a:gd name="T37" fmla="*/ 278 h 291"/>
                <a:gd name="T38" fmla="*/ 99 w 134"/>
                <a:gd name="T39" fmla="*/ 282 h 291"/>
                <a:gd name="T40" fmla="*/ 109 w 134"/>
                <a:gd name="T41" fmla="*/ 287 h 291"/>
                <a:gd name="T42" fmla="*/ 117 w 134"/>
                <a:gd name="T43" fmla="*/ 291 h 291"/>
                <a:gd name="T44" fmla="*/ 117 w 134"/>
                <a:gd name="T45" fmla="*/ 291 h 291"/>
                <a:gd name="T46" fmla="*/ 128 w 134"/>
                <a:gd name="T47" fmla="*/ 274 h 291"/>
                <a:gd name="T48" fmla="*/ 125 w 134"/>
                <a:gd name="T49" fmla="*/ 259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4" h="291">
                  <a:moveTo>
                    <a:pt x="125" y="259"/>
                  </a:moveTo>
                  <a:cubicBezTo>
                    <a:pt x="130" y="251"/>
                    <a:pt x="130" y="251"/>
                    <a:pt x="130" y="251"/>
                  </a:cubicBezTo>
                  <a:cubicBezTo>
                    <a:pt x="127" y="240"/>
                    <a:pt x="127" y="240"/>
                    <a:pt x="127" y="240"/>
                  </a:cubicBezTo>
                  <a:cubicBezTo>
                    <a:pt x="112" y="230"/>
                    <a:pt x="112" y="230"/>
                    <a:pt x="112" y="230"/>
                  </a:cubicBezTo>
                  <a:cubicBezTo>
                    <a:pt x="110" y="220"/>
                    <a:pt x="110" y="220"/>
                    <a:pt x="110" y="220"/>
                  </a:cubicBezTo>
                  <a:cubicBezTo>
                    <a:pt x="114" y="212"/>
                    <a:pt x="114" y="212"/>
                    <a:pt x="114" y="212"/>
                  </a:cubicBezTo>
                  <a:cubicBezTo>
                    <a:pt x="112" y="203"/>
                    <a:pt x="112" y="203"/>
                    <a:pt x="112" y="203"/>
                  </a:cubicBezTo>
                  <a:cubicBezTo>
                    <a:pt x="118" y="194"/>
                    <a:pt x="118" y="194"/>
                    <a:pt x="118" y="194"/>
                  </a:cubicBezTo>
                  <a:cubicBezTo>
                    <a:pt x="115" y="182"/>
                    <a:pt x="115" y="182"/>
                    <a:pt x="115" y="182"/>
                  </a:cubicBezTo>
                  <a:cubicBezTo>
                    <a:pt x="100" y="173"/>
                    <a:pt x="100" y="173"/>
                    <a:pt x="100" y="173"/>
                  </a:cubicBezTo>
                  <a:cubicBezTo>
                    <a:pt x="97" y="159"/>
                    <a:pt x="97" y="159"/>
                    <a:pt x="97" y="159"/>
                  </a:cubicBezTo>
                  <a:cubicBezTo>
                    <a:pt x="107" y="144"/>
                    <a:pt x="107" y="144"/>
                    <a:pt x="107" y="144"/>
                  </a:cubicBezTo>
                  <a:cubicBezTo>
                    <a:pt x="102" y="121"/>
                    <a:pt x="102" y="121"/>
                    <a:pt x="102" y="121"/>
                  </a:cubicBezTo>
                  <a:cubicBezTo>
                    <a:pt x="102" y="119"/>
                    <a:pt x="102" y="119"/>
                    <a:pt x="102" y="119"/>
                  </a:cubicBezTo>
                  <a:cubicBezTo>
                    <a:pt x="123" y="106"/>
                    <a:pt x="134" y="80"/>
                    <a:pt x="128" y="54"/>
                  </a:cubicBezTo>
                  <a:cubicBezTo>
                    <a:pt x="121" y="21"/>
                    <a:pt x="88" y="0"/>
                    <a:pt x="55" y="7"/>
                  </a:cubicBezTo>
                  <a:cubicBezTo>
                    <a:pt x="21" y="14"/>
                    <a:pt x="0" y="47"/>
                    <a:pt x="7" y="81"/>
                  </a:cubicBezTo>
                  <a:cubicBezTo>
                    <a:pt x="12" y="106"/>
                    <a:pt x="33" y="125"/>
                    <a:pt x="58" y="129"/>
                  </a:cubicBezTo>
                  <a:cubicBezTo>
                    <a:pt x="90" y="278"/>
                    <a:pt x="90" y="278"/>
                    <a:pt x="90" y="278"/>
                  </a:cubicBezTo>
                  <a:cubicBezTo>
                    <a:pt x="99" y="282"/>
                    <a:pt x="99" y="282"/>
                    <a:pt x="99" y="282"/>
                  </a:cubicBezTo>
                  <a:cubicBezTo>
                    <a:pt x="109" y="287"/>
                    <a:pt x="109" y="287"/>
                    <a:pt x="109" y="287"/>
                  </a:cubicBezTo>
                  <a:cubicBezTo>
                    <a:pt x="117" y="291"/>
                    <a:pt x="117" y="291"/>
                    <a:pt x="117" y="291"/>
                  </a:cubicBezTo>
                  <a:cubicBezTo>
                    <a:pt x="117" y="291"/>
                    <a:pt x="117" y="291"/>
                    <a:pt x="117" y="291"/>
                  </a:cubicBezTo>
                  <a:cubicBezTo>
                    <a:pt x="128" y="274"/>
                    <a:pt x="128" y="274"/>
                    <a:pt x="128" y="274"/>
                  </a:cubicBezTo>
                  <a:lnTo>
                    <a:pt x="125" y="259"/>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88" name="Freeform 10"/>
            <p:cNvSpPr>
              <a:spLocks/>
            </p:cNvSpPr>
            <p:nvPr/>
          </p:nvSpPr>
          <p:spPr bwMode="auto">
            <a:xfrm>
              <a:off x="9782176" y="1000126"/>
              <a:ext cx="369888" cy="1449388"/>
            </a:xfrm>
            <a:custGeom>
              <a:avLst/>
              <a:gdLst>
                <a:gd name="T0" fmla="*/ 191 w 233"/>
                <a:gd name="T1" fmla="*/ 66 h 913"/>
                <a:gd name="T2" fmla="*/ 191 w 233"/>
                <a:gd name="T3" fmla="*/ 901 h 913"/>
                <a:gd name="T4" fmla="*/ 148 w 233"/>
                <a:gd name="T5" fmla="*/ 901 h 913"/>
                <a:gd name="T6" fmla="*/ 148 w 233"/>
                <a:gd name="T7" fmla="*/ 31 h 913"/>
                <a:gd name="T8" fmla="*/ 109 w 233"/>
                <a:gd name="T9" fmla="*/ 0 h 913"/>
                <a:gd name="T10" fmla="*/ 109 w 233"/>
                <a:gd name="T11" fmla="*/ 0 h 913"/>
                <a:gd name="T12" fmla="*/ 35 w 233"/>
                <a:gd name="T13" fmla="*/ 74 h 913"/>
                <a:gd name="T14" fmla="*/ 35 w 233"/>
                <a:gd name="T15" fmla="*/ 152 h 913"/>
                <a:gd name="T16" fmla="*/ 0 w 233"/>
                <a:gd name="T17" fmla="*/ 187 h 913"/>
                <a:gd name="T18" fmla="*/ 0 w 233"/>
                <a:gd name="T19" fmla="*/ 249 h 913"/>
                <a:gd name="T20" fmla="*/ 70 w 233"/>
                <a:gd name="T21" fmla="*/ 315 h 913"/>
                <a:gd name="T22" fmla="*/ 70 w 233"/>
                <a:gd name="T23" fmla="*/ 369 h 913"/>
                <a:gd name="T24" fmla="*/ 39 w 233"/>
                <a:gd name="T25" fmla="*/ 400 h 913"/>
                <a:gd name="T26" fmla="*/ 39 w 233"/>
                <a:gd name="T27" fmla="*/ 451 h 913"/>
                <a:gd name="T28" fmla="*/ 0 w 233"/>
                <a:gd name="T29" fmla="*/ 489 h 913"/>
                <a:gd name="T30" fmla="*/ 0 w 233"/>
                <a:gd name="T31" fmla="*/ 548 h 913"/>
                <a:gd name="T32" fmla="*/ 66 w 233"/>
                <a:gd name="T33" fmla="*/ 610 h 913"/>
                <a:gd name="T34" fmla="*/ 66 w 233"/>
                <a:gd name="T35" fmla="*/ 684 h 913"/>
                <a:gd name="T36" fmla="*/ 0 w 233"/>
                <a:gd name="T37" fmla="*/ 750 h 913"/>
                <a:gd name="T38" fmla="*/ 0 w 233"/>
                <a:gd name="T39" fmla="*/ 874 h 913"/>
                <a:gd name="T40" fmla="*/ 0 w 233"/>
                <a:gd name="T41" fmla="*/ 913 h 913"/>
                <a:gd name="T42" fmla="*/ 233 w 233"/>
                <a:gd name="T43" fmla="*/ 913 h 913"/>
                <a:gd name="T44" fmla="*/ 233 w 233"/>
                <a:gd name="T45" fmla="*/ 97 h 913"/>
                <a:gd name="T46" fmla="*/ 191 w 233"/>
                <a:gd name="T47" fmla="*/ 66 h 9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33" h="913">
                  <a:moveTo>
                    <a:pt x="191" y="66"/>
                  </a:moveTo>
                  <a:lnTo>
                    <a:pt x="191" y="901"/>
                  </a:lnTo>
                  <a:lnTo>
                    <a:pt x="148" y="901"/>
                  </a:lnTo>
                  <a:lnTo>
                    <a:pt x="148" y="31"/>
                  </a:lnTo>
                  <a:lnTo>
                    <a:pt x="109" y="0"/>
                  </a:lnTo>
                  <a:lnTo>
                    <a:pt x="109" y="0"/>
                  </a:lnTo>
                  <a:lnTo>
                    <a:pt x="35" y="74"/>
                  </a:lnTo>
                  <a:lnTo>
                    <a:pt x="35" y="152"/>
                  </a:lnTo>
                  <a:lnTo>
                    <a:pt x="0" y="187"/>
                  </a:lnTo>
                  <a:lnTo>
                    <a:pt x="0" y="249"/>
                  </a:lnTo>
                  <a:lnTo>
                    <a:pt x="70" y="315"/>
                  </a:lnTo>
                  <a:lnTo>
                    <a:pt x="70" y="369"/>
                  </a:lnTo>
                  <a:lnTo>
                    <a:pt x="39" y="400"/>
                  </a:lnTo>
                  <a:lnTo>
                    <a:pt x="39" y="451"/>
                  </a:lnTo>
                  <a:lnTo>
                    <a:pt x="0" y="489"/>
                  </a:lnTo>
                  <a:lnTo>
                    <a:pt x="0" y="548"/>
                  </a:lnTo>
                  <a:lnTo>
                    <a:pt x="66" y="610"/>
                  </a:lnTo>
                  <a:lnTo>
                    <a:pt x="66" y="684"/>
                  </a:lnTo>
                  <a:lnTo>
                    <a:pt x="0" y="750"/>
                  </a:lnTo>
                  <a:lnTo>
                    <a:pt x="0" y="874"/>
                  </a:lnTo>
                  <a:lnTo>
                    <a:pt x="0" y="913"/>
                  </a:lnTo>
                  <a:lnTo>
                    <a:pt x="233" y="913"/>
                  </a:lnTo>
                  <a:lnTo>
                    <a:pt x="233" y="97"/>
                  </a:lnTo>
                  <a:lnTo>
                    <a:pt x="191" y="66"/>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89" name="Freeform 11"/>
            <p:cNvSpPr>
              <a:spLocks/>
            </p:cNvSpPr>
            <p:nvPr/>
          </p:nvSpPr>
          <p:spPr bwMode="auto">
            <a:xfrm>
              <a:off x="10017126" y="1049338"/>
              <a:ext cx="68263" cy="1381125"/>
            </a:xfrm>
            <a:custGeom>
              <a:avLst/>
              <a:gdLst>
                <a:gd name="T0" fmla="*/ 43 w 43"/>
                <a:gd name="T1" fmla="*/ 870 h 870"/>
                <a:gd name="T2" fmla="*/ 43 w 43"/>
                <a:gd name="T3" fmla="*/ 35 h 870"/>
                <a:gd name="T4" fmla="*/ 0 w 43"/>
                <a:gd name="T5" fmla="*/ 0 h 870"/>
                <a:gd name="T6" fmla="*/ 0 w 43"/>
                <a:gd name="T7" fmla="*/ 870 h 870"/>
                <a:gd name="T8" fmla="*/ 43 w 43"/>
                <a:gd name="T9" fmla="*/ 870 h 870"/>
              </a:gdLst>
              <a:ahLst/>
              <a:cxnLst>
                <a:cxn ang="0">
                  <a:pos x="T0" y="T1"/>
                </a:cxn>
                <a:cxn ang="0">
                  <a:pos x="T2" y="T3"/>
                </a:cxn>
                <a:cxn ang="0">
                  <a:pos x="T4" y="T5"/>
                </a:cxn>
                <a:cxn ang="0">
                  <a:pos x="T6" y="T7"/>
                </a:cxn>
                <a:cxn ang="0">
                  <a:pos x="T8" y="T9"/>
                </a:cxn>
              </a:cxnLst>
              <a:rect l="0" t="0" r="r" b="b"/>
              <a:pathLst>
                <a:path w="43" h="870">
                  <a:moveTo>
                    <a:pt x="43" y="870"/>
                  </a:moveTo>
                  <a:lnTo>
                    <a:pt x="43" y="35"/>
                  </a:lnTo>
                  <a:lnTo>
                    <a:pt x="0" y="0"/>
                  </a:lnTo>
                  <a:lnTo>
                    <a:pt x="0" y="870"/>
                  </a:lnTo>
                  <a:lnTo>
                    <a:pt x="43" y="87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90" name="Freeform 12"/>
            <p:cNvSpPr>
              <a:spLocks noEditPoints="1"/>
            </p:cNvSpPr>
            <p:nvPr/>
          </p:nvSpPr>
          <p:spPr bwMode="auto">
            <a:xfrm>
              <a:off x="9363076" y="2393951"/>
              <a:ext cx="1208088" cy="1212850"/>
            </a:xfrm>
            <a:custGeom>
              <a:avLst/>
              <a:gdLst>
                <a:gd name="T0" fmla="*/ 160 w 196"/>
                <a:gd name="T1" fmla="*/ 30 h 197"/>
                <a:gd name="T2" fmla="*/ 98 w 196"/>
                <a:gd name="T3" fmla="*/ 0 h 197"/>
                <a:gd name="T4" fmla="*/ 35 w 196"/>
                <a:gd name="T5" fmla="*/ 30 h 197"/>
                <a:gd name="T6" fmla="*/ 29 w 196"/>
                <a:gd name="T7" fmla="*/ 36 h 197"/>
                <a:gd name="T8" fmla="*/ 0 w 196"/>
                <a:gd name="T9" fmla="*/ 107 h 197"/>
                <a:gd name="T10" fmla="*/ 0 w 196"/>
                <a:gd name="T11" fmla="*/ 155 h 197"/>
                <a:gd name="T12" fmla="*/ 41 w 196"/>
                <a:gd name="T13" fmla="*/ 197 h 197"/>
                <a:gd name="T14" fmla="*/ 154 w 196"/>
                <a:gd name="T15" fmla="*/ 197 h 197"/>
                <a:gd name="T16" fmla="*/ 196 w 196"/>
                <a:gd name="T17" fmla="*/ 155 h 197"/>
                <a:gd name="T18" fmla="*/ 196 w 196"/>
                <a:gd name="T19" fmla="*/ 107 h 197"/>
                <a:gd name="T20" fmla="*/ 167 w 196"/>
                <a:gd name="T21" fmla="*/ 36 h 197"/>
                <a:gd name="T22" fmla="*/ 160 w 196"/>
                <a:gd name="T23" fmla="*/ 30 h 197"/>
                <a:gd name="T24" fmla="*/ 124 w 196"/>
                <a:gd name="T25" fmla="*/ 167 h 197"/>
                <a:gd name="T26" fmla="*/ 98 w 196"/>
                <a:gd name="T27" fmla="*/ 178 h 197"/>
                <a:gd name="T28" fmla="*/ 72 w 196"/>
                <a:gd name="T29" fmla="*/ 167 h 197"/>
                <a:gd name="T30" fmla="*/ 98 w 196"/>
                <a:gd name="T31" fmla="*/ 156 h 197"/>
                <a:gd name="T32" fmla="*/ 124 w 196"/>
                <a:gd name="T33" fmla="*/ 16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6" h="197">
                  <a:moveTo>
                    <a:pt x="160" y="30"/>
                  </a:moveTo>
                  <a:cubicBezTo>
                    <a:pt x="144" y="13"/>
                    <a:pt x="116" y="0"/>
                    <a:pt x="98" y="0"/>
                  </a:cubicBezTo>
                  <a:cubicBezTo>
                    <a:pt x="80" y="0"/>
                    <a:pt x="52" y="13"/>
                    <a:pt x="35" y="30"/>
                  </a:cubicBezTo>
                  <a:cubicBezTo>
                    <a:pt x="29" y="36"/>
                    <a:pt x="29" y="36"/>
                    <a:pt x="29" y="36"/>
                  </a:cubicBezTo>
                  <a:cubicBezTo>
                    <a:pt x="13" y="52"/>
                    <a:pt x="0" y="84"/>
                    <a:pt x="0" y="107"/>
                  </a:cubicBezTo>
                  <a:cubicBezTo>
                    <a:pt x="0" y="155"/>
                    <a:pt x="0" y="155"/>
                    <a:pt x="0" y="155"/>
                  </a:cubicBezTo>
                  <a:cubicBezTo>
                    <a:pt x="0" y="178"/>
                    <a:pt x="18" y="197"/>
                    <a:pt x="41" y="197"/>
                  </a:cubicBezTo>
                  <a:cubicBezTo>
                    <a:pt x="154" y="197"/>
                    <a:pt x="154" y="197"/>
                    <a:pt x="154" y="197"/>
                  </a:cubicBezTo>
                  <a:cubicBezTo>
                    <a:pt x="177" y="197"/>
                    <a:pt x="196" y="178"/>
                    <a:pt x="196" y="155"/>
                  </a:cubicBezTo>
                  <a:cubicBezTo>
                    <a:pt x="196" y="107"/>
                    <a:pt x="196" y="107"/>
                    <a:pt x="196" y="107"/>
                  </a:cubicBezTo>
                  <a:cubicBezTo>
                    <a:pt x="196" y="84"/>
                    <a:pt x="183" y="52"/>
                    <a:pt x="167" y="36"/>
                  </a:cubicBezTo>
                  <a:lnTo>
                    <a:pt x="160" y="30"/>
                  </a:lnTo>
                  <a:close/>
                  <a:moveTo>
                    <a:pt x="124" y="167"/>
                  </a:moveTo>
                  <a:cubicBezTo>
                    <a:pt x="124" y="173"/>
                    <a:pt x="112" y="178"/>
                    <a:pt x="98" y="178"/>
                  </a:cubicBezTo>
                  <a:cubicBezTo>
                    <a:pt x="83" y="178"/>
                    <a:pt x="72" y="173"/>
                    <a:pt x="72" y="167"/>
                  </a:cubicBezTo>
                  <a:cubicBezTo>
                    <a:pt x="72" y="161"/>
                    <a:pt x="83" y="156"/>
                    <a:pt x="98" y="156"/>
                  </a:cubicBezTo>
                  <a:cubicBezTo>
                    <a:pt x="112" y="156"/>
                    <a:pt x="124" y="161"/>
                    <a:pt x="124" y="16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92" name="Freeform 14"/>
            <p:cNvSpPr>
              <a:spLocks/>
            </p:cNvSpPr>
            <p:nvPr/>
          </p:nvSpPr>
          <p:spPr bwMode="auto">
            <a:xfrm>
              <a:off x="9899651" y="3416301"/>
              <a:ext cx="153988" cy="455613"/>
            </a:xfrm>
            <a:custGeom>
              <a:avLst/>
              <a:gdLst>
                <a:gd name="T0" fmla="*/ 25 w 25"/>
                <a:gd name="T1" fmla="*/ 12 h 74"/>
                <a:gd name="T2" fmla="*/ 12 w 25"/>
                <a:gd name="T3" fmla="*/ 0 h 74"/>
                <a:gd name="T4" fmla="*/ 0 w 25"/>
                <a:gd name="T5" fmla="*/ 12 h 74"/>
                <a:gd name="T6" fmla="*/ 0 w 25"/>
                <a:gd name="T7" fmla="*/ 74 h 74"/>
                <a:gd name="T8" fmla="*/ 25 w 25"/>
                <a:gd name="T9" fmla="*/ 74 h 74"/>
                <a:gd name="T10" fmla="*/ 25 w 25"/>
                <a:gd name="T11" fmla="*/ 12 h 74"/>
              </a:gdLst>
              <a:ahLst/>
              <a:cxnLst>
                <a:cxn ang="0">
                  <a:pos x="T0" y="T1"/>
                </a:cxn>
                <a:cxn ang="0">
                  <a:pos x="T2" y="T3"/>
                </a:cxn>
                <a:cxn ang="0">
                  <a:pos x="T4" y="T5"/>
                </a:cxn>
                <a:cxn ang="0">
                  <a:pos x="T6" y="T7"/>
                </a:cxn>
                <a:cxn ang="0">
                  <a:pos x="T8" y="T9"/>
                </a:cxn>
                <a:cxn ang="0">
                  <a:pos x="T10" y="T11"/>
                </a:cxn>
              </a:cxnLst>
              <a:rect l="0" t="0" r="r" b="b"/>
              <a:pathLst>
                <a:path w="25" h="74">
                  <a:moveTo>
                    <a:pt x="25" y="12"/>
                  </a:moveTo>
                  <a:cubicBezTo>
                    <a:pt x="25" y="5"/>
                    <a:pt x="19" y="0"/>
                    <a:pt x="12" y="0"/>
                  </a:cubicBezTo>
                  <a:cubicBezTo>
                    <a:pt x="5" y="0"/>
                    <a:pt x="0" y="5"/>
                    <a:pt x="0" y="12"/>
                  </a:cubicBezTo>
                  <a:cubicBezTo>
                    <a:pt x="0" y="74"/>
                    <a:pt x="0" y="74"/>
                    <a:pt x="0" y="74"/>
                  </a:cubicBezTo>
                  <a:cubicBezTo>
                    <a:pt x="25" y="74"/>
                    <a:pt x="25" y="74"/>
                    <a:pt x="25" y="74"/>
                  </a:cubicBezTo>
                  <a:lnTo>
                    <a:pt x="25" y="1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93" name="Oval 15"/>
            <p:cNvSpPr>
              <a:spLocks noChangeArrowheads="1"/>
            </p:cNvSpPr>
            <p:nvPr/>
          </p:nvSpPr>
          <p:spPr bwMode="auto">
            <a:xfrm>
              <a:off x="9850438" y="4519613"/>
              <a:ext cx="246063" cy="2460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94" name="Freeform 16"/>
            <p:cNvSpPr>
              <a:spLocks/>
            </p:cNvSpPr>
            <p:nvPr/>
          </p:nvSpPr>
          <p:spPr bwMode="auto">
            <a:xfrm>
              <a:off x="9899651" y="3871913"/>
              <a:ext cx="153988" cy="844550"/>
            </a:xfrm>
            <a:custGeom>
              <a:avLst/>
              <a:gdLst>
                <a:gd name="T0" fmla="*/ 0 w 25"/>
                <a:gd name="T1" fmla="*/ 0 h 137"/>
                <a:gd name="T2" fmla="*/ 0 w 25"/>
                <a:gd name="T3" fmla="*/ 125 h 137"/>
                <a:gd name="T4" fmla="*/ 12 w 25"/>
                <a:gd name="T5" fmla="*/ 137 h 137"/>
                <a:gd name="T6" fmla="*/ 25 w 25"/>
                <a:gd name="T7" fmla="*/ 125 h 137"/>
                <a:gd name="T8" fmla="*/ 25 w 25"/>
                <a:gd name="T9" fmla="*/ 0 h 137"/>
                <a:gd name="T10" fmla="*/ 0 w 25"/>
                <a:gd name="T11" fmla="*/ 0 h 137"/>
              </a:gdLst>
              <a:ahLst/>
              <a:cxnLst>
                <a:cxn ang="0">
                  <a:pos x="T0" y="T1"/>
                </a:cxn>
                <a:cxn ang="0">
                  <a:pos x="T2" y="T3"/>
                </a:cxn>
                <a:cxn ang="0">
                  <a:pos x="T4" y="T5"/>
                </a:cxn>
                <a:cxn ang="0">
                  <a:pos x="T6" y="T7"/>
                </a:cxn>
                <a:cxn ang="0">
                  <a:pos x="T8" y="T9"/>
                </a:cxn>
                <a:cxn ang="0">
                  <a:pos x="T10" y="T11"/>
                </a:cxn>
              </a:cxnLst>
              <a:rect l="0" t="0" r="r" b="b"/>
              <a:pathLst>
                <a:path w="25" h="137">
                  <a:moveTo>
                    <a:pt x="0" y="0"/>
                  </a:moveTo>
                  <a:cubicBezTo>
                    <a:pt x="0" y="125"/>
                    <a:pt x="0" y="125"/>
                    <a:pt x="0" y="125"/>
                  </a:cubicBezTo>
                  <a:cubicBezTo>
                    <a:pt x="0" y="132"/>
                    <a:pt x="5" y="137"/>
                    <a:pt x="12" y="137"/>
                  </a:cubicBezTo>
                  <a:cubicBezTo>
                    <a:pt x="19" y="137"/>
                    <a:pt x="25" y="132"/>
                    <a:pt x="25" y="125"/>
                  </a:cubicBezTo>
                  <a:cubicBezTo>
                    <a:pt x="25" y="0"/>
                    <a:pt x="25" y="0"/>
                    <a:pt x="25" y="0"/>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pic>
          <p:nvPicPr>
            <p:cNvPr id="95" name="Picture 94"/>
            <p:cNvPicPr>
              <a:picLocks noChangeAspect="1"/>
            </p:cNvPicPr>
            <p:nvPr/>
          </p:nvPicPr>
          <p:blipFill>
            <a:blip r:embed="rId2"/>
            <a:stretch>
              <a:fillRect/>
            </a:stretch>
          </p:blipFill>
          <p:spPr>
            <a:xfrm>
              <a:off x="9580162" y="2894862"/>
              <a:ext cx="802944" cy="240224"/>
            </a:xfrm>
            <a:prstGeom prst="rect">
              <a:avLst/>
            </a:prstGeom>
          </p:spPr>
        </p:pic>
      </p:grpSp>
      <p:pic>
        <p:nvPicPr>
          <p:cNvPr id="17" name="Picture 1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35903" y="1702668"/>
            <a:ext cx="3596201" cy="3596201"/>
          </a:xfrm>
          <a:prstGeom prst="rect">
            <a:avLst/>
          </a:prstGeom>
        </p:spPr>
      </p:pic>
    </p:spTree>
    <p:extLst>
      <p:ext uri="{BB962C8B-B14F-4D97-AF65-F5344CB8AC3E}">
        <p14:creationId xmlns:p14="http://schemas.microsoft.com/office/powerpoint/2010/main" val="3152944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2.58361E-6 1.54335E-7 L -0.05285 1.54335E-7 " pathEditMode="relative" rAng="0" ptsTypes="AA">
                                      <p:cBhvr>
                                        <p:cTn id="9" dur="750" spd="-100000" fill="hold"/>
                                        <p:tgtEl>
                                          <p:spTgt spid="5"/>
                                        </p:tgtEl>
                                        <p:attrNameLst>
                                          <p:attrName>ppt_x</p:attrName>
                                          <p:attrName>ppt_y</p:attrName>
                                        </p:attrNameLst>
                                      </p:cBhvr>
                                      <p:rCtr x="-2642" y="0"/>
                                    </p:animMotion>
                                  </p:childTnLst>
                                </p:cTn>
                              </p:par>
                              <p:par>
                                <p:cTn id="10" presetID="2" presetClass="entr" presetSubtype="2" decel="100000" fill="hold" nodeType="withEffect">
                                  <p:stCondLst>
                                    <p:cond delay="250"/>
                                  </p:stCondLst>
                                  <p:childTnLst>
                                    <p:set>
                                      <p:cBhvr>
                                        <p:cTn id="11" dur="1" fill="hold">
                                          <p:stCondLst>
                                            <p:cond delay="0"/>
                                          </p:stCondLst>
                                        </p:cTn>
                                        <p:tgtEl>
                                          <p:spTgt spid="96"/>
                                        </p:tgtEl>
                                        <p:attrNameLst>
                                          <p:attrName>style.visibility</p:attrName>
                                        </p:attrNameLst>
                                      </p:cBhvr>
                                      <p:to>
                                        <p:strVal val="visible"/>
                                      </p:to>
                                    </p:set>
                                    <p:anim calcmode="lin" valueType="num">
                                      <p:cBhvr additive="base">
                                        <p:cTn id="12" dur="850" fill="hold"/>
                                        <p:tgtEl>
                                          <p:spTgt spid="96"/>
                                        </p:tgtEl>
                                        <p:attrNameLst>
                                          <p:attrName>ppt_x</p:attrName>
                                        </p:attrNameLst>
                                      </p:cBhvr>
                                      <p:tavLst>
                                        <p:tav tm="0">
                                          <p:val>
                                            <p:strVal val="1+#ppt_w/2"/>
                                          </p:val>
                                        </p:tav>
                                        <p:tav tm="100000">
                                          <p:val>
                                            <p:strVal val="#ppt_x"/>
                                          </p:val>
                                        </p:tav>
                                      </p:tavLst>
                                    </p:anim>
                                    <p:anim calcmode="lin" valueType="num">
                                      <p:cBhvr additive="base">
                                        <p:cTn id="13" dur="850" fill="hold"/>
                                        <p:tgtEl>
                                          <p:spTgt spid="9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10400515" y="2321460"/>
            <a:ext cx="463543" cy="2132871"/>
            <a:chOff x="10611830" y="3082745"/>
            <a:chExt cx="472961" cy="2176206"/>
          </a:xfrm>
        </p:grpSpPr>
        <p:cxnSp>
          <p:nvCxnSpPr>
            <p:cNvPr id="104" name="Straight Connector 103"/>
            <p:cNvCxnSpPr/>
            <p:nvPr/>
          </p:nvCxnSpPr>
          <p:spPr>
            <a:xfrm>
              <a:off x="10826434" y="3082745"/>
              <a:ext cx="6378" cy="2169658"/>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10611830" y="3082745"/>
              <a:ext cx="214604"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flipV="1">
              <a:off x="10611830" y="5258632"/>
              <a:ext cx="214604" cy="319"/>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a:stCxn id="165" idx="3"/>
            </p:cNvCxnSpPr>
            <p:nvPr/>
          </p:nvCxnSpPr>
          <p:spPr>
            <a:xfrm flipV="1">
              <a:off x="10675766" y="4104261"/>
              <a:ext cx="409025" cy="2906"/>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113" name="Straight Connector 112"/>
          <p:cNvCxnSpPr/>
          <p:nvPr/>
        </p:nvCxnSpPr>
        <p:spPr>
          <a:xfrm flipV="1">
            <a:off x="10408121" y="5151137"/>
            <a:ext cx="520063" cy="6389"/>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nvGrpSpPr>
          <p:cNvPr id="16" name="Group 15"/>
          <p:cNvGrpSpPr/>
          <p:nvPr/>
        </p:nvGrpSpPr>
        <p:grpSpPr>
          <a:xfrm>
            <a:off x="8367998" y="5005219"/>
            <a:ext cx="2095179" cy="985811"/>
            <a:chOff x="8538017" y="4739224"/>
            <a:chExt cx="2137748" cy="1005840"/>
          </a:xfrm>
        </p:grpSpPr>
        <p:sp>
          <p:nvSpPr>
            <p:cNvPr id="45" name="Rectangle 44"/>
            <p:cNvSpPr/>
            <p:nvPr/>
          </p:nvSpPr>
          <p:spPr bwMode="auto">
            <a:xfrm>
              <a:off x="8538017" y="4739224"/>
              <a:ext cx="2137748"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7" tIns="44803" rIns="17917" bIns="89581" numCol="1" spcCol="1270" anchor="t" anchorCtr="0">
              <a:noAutofit/>
            </a:bodyPr>
            <a:lstStyle/>
            <a:p>
              <a:pPr algn="ctr" defTabSz="710584">
                <a:spcAft>
                  <a:spcPct val="35000"/>
                </a:spcAft>
              </a:pPr>
              <a:r>
                <a:rPr lang="en-US" sz="1568"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Business Scenarios</a:t>
              </a:r>
            </a:p>
          </p:txBody>
        </p:sp>
        <p:sp>
          <p:nvSpPr>
            <p:cNvPr id="129" name="Rectangle 128"/>
            <p:cNvSpPr/>
            <p:nvPr/>
          </p:nvSpPr>
          <p:spPr>
            <a:xfrm>
              <a:off x="9204619" y="5056791"/>
              <a:ext cx="1383584" cy="646331"/>
            </a:xfrm>
            <a:prstGeom prst="rect">
              <a:avLst/>
            </a:prstGeom>
          </p:spPr>
          <p:txBody>
            <a:bodyPr wrap="none">
              <a:spAutoFit/>
            </a:bodyPr>
            <a:lstStyle/>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Recommendations,</a:t>
              </a:r>
            </a:p>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customer churn,</a:t>
              </a:r>
            </a:p>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forecasting, etc.</a:t>
              </a:r>
            </a:p>
          </p:txBody>
        </p:sp>
        <p:grpSp>
          <p:nvGrpSpPr>
            <p:cNvPr id="128" name="Group 127"/>
            <p:cNvGrpSpPr/>
            <p:nvPr/>
          </p:nvGrpSpPr>
          <p:grpSpPr>
            <a:xfrm>
              <a:off x="8754885" y="5208429"/>
              <a:ext cx="433307" cy="352792"/>
              <a:chOff x="-2530475" y="305948"/>
              <a:chExt cx="1119187" cy="911226"/>
            </a:xfrm>
            <a:solidFill>
              <a:schemeClr val="bg1"/>
            </a:solidFill>
          </p:grpSpPr>
          <p:sp>
            <p:nvSpPr>
              <p:cNvPr id="154" name="Freeform 31"/>
              <p:cNvSpPr>
                <a:spLocks noEditPoints="1"/>
              </p:cNvSpPr>
              <p:nvPr/>
            </p:nvSpPr>
            <p:spPr bwMode="auto">
              <a:xfrm>
                <a:off x="-2530475" y="305948"/>
                <a:ext cx="1119187" cy="622300"/>
              </a:xfrm>
              <a:custGeom>
                <a:avLst/>
                <a:gdLst>
                  <a:gd name="T0" fmla="*/ 296 w 296"/>
                  <a:gd name="T1" fmla="*/ 24 h 164"/>
                  <a:gd name="T2" fmla="*/ 290 w 296"/>
                  <a:gd name="T3" fmla="*/ 24 h 164"/>
                  <a:gd name="T4" fmla="*/ 288 w 296"/>
                  <a:gd name="T5" fmla="*/ 149 h 164"/>
                  <a:gd name="T6" fmla="*/ 291 w 296"/>
                  <a:gd name="T7" fmla="*/ 154 h 164"/>
                  <a:gd name="T8" fmla="*/ 287 w 296"/>
                  <a:gd name="T9" fmla="*/ 164 h 164"/>
                  <a:gd name="T10" fmla="*/ 9 w 296"/>
                  <a:gd name="T11" fmla="*/ 164 h 164"/>
                  <a:gd name="T12" fmla="*/ 9 w 296"/>
                  <a:gd name="T13" fmla="*/ 24 h 164"/>
                  <a:gd name="T14" fmla="*/ 0 w 296"/>
                  <a:gd name="T15" fmla="*/ 24 h 164"/>
                  <a:gd name="T16" fmla="*/ 0 w 296"/>
                  <a:gd name="T17" fmla="*/ 0 h 164"/>
                  <a:gd name="T18" fmla="*/ 296 w 296"/>
                  <a:gd name="T19" fmla="*/ 0 h 164"/>
                  <a:gd name="T20" fmla="*/ 296 w 296"/>
                  <a:gd name="T21" fmla="*/ 24 h 164"/>
                  <a:gd name="T22" fmla="*/ 32 w 296"/>
                  <a:gd name="T23" fmla="*/ 139 h 164"/>
                  <a:gd name="T24" fmla="*/ 264 w 296"/>
                  <a:gd name="T25" fmla="*/ 139 h 164"/>
                  <a:gd name="T26" fmla="*/ 264 w 296"/>
                  <a:gd name="T27" fmla="*/ 27 h 164"/>
                  <a:gd name="T28" fmla="*/ 263 w 296"/>
                  <a:gd name="T29" fmla="*/ 25 h 164"/>
                  <a:gd name="T30" fmla="*/ 263 w 296"/>
                  <a:gd name="T31" fmla="*/ 25 h 164"/>
                  <a:gd name="T32" fmla="*/ 32 w 296"/>
                  <a:gd name="T33" fmla="*/ 25 h 164"/>
                  <a:gd name="T34" fmla="*/ 32 w 296"/>
                  <a:gd name="T35" fmla="*/ 13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6" h="164">
                    <a:moveTo>
                      <a:pt x="296" y="24"/>
                    </a:moveTo>
                    <a:cubicBezTo>
                      <a:pt x="294" y="24"/>
                      <a:pt x="292" y="24"/>
                      <a:pt x="290" y="24"/>
                    </a:cubicBezTo>
                    <a:cubicBezTo>
                      <a:pt x="288" y="34"/>
                      <a:pt x="287" y="134"/>
                      <a:pt x="288" y="149"/>
                    </a:cubicBezTo>
                    <a:cubicBezTo>
                      <a:pt x="288" y="151"/>
                      <a:pt x="290" y="152"/>
                      <a:pt x="291" y="154"/>
                    </a:cubicBezTo>
                    <a:cubicBezTo>
                      <a:pt x="290" y="157"/>
                      <a:pt x="288" y="160"/>
                      <a:pt x="287" y="164"/>
                    </a:cubicBezTo>
                    <a:cubicBezTo>
                      <a:pt x="195" y="164"/>
                      <a:pt x="102" y="164"/>
                      <a:pt x="9" y="164"/>
                    </a:cubicBezTo>
                    <a:cubicBezTo>
                      <a:pt x="9" y="118"/>
                      <a:pt x="9" y="72"/>
                      <a:pt x="9" y="24"/>
                    </a:cubicBezTo>
                    <a:cubicBezTo>
                      <a:pt x="5" y="24"/>
                      <a:pt x="2" y="24"/>
                      <a:pt x="0" y="24"/>
                    </a:cubicBezTo>
                    <a:cubicBezTo>
                      <a:pt x="0" y="16"/>
                      <a:pt x="0" y="8"/>
                      <a:pt x="0" y="0"/>
                    </a:cubicBezTo>
                    <a:cubicBezTo>
                      <a:pt x="99" y="0"/>
                      <a:pt x="197" y="0"/>
                      <a:pt x="296" y="0"/>
                    </a:cubicBezTo>
                    <a:cubicBezTo>
                      <a:pt x="296" y="8"/>
                      <a:pt x="296" y="16"/>
                      <a:pt x="296" y="24"/>
                    </a:cubicBezTo>
                    <a:close/>
                    <a:moveTo>
                      <a:pt x="32" y="139"/>
                    </a:moveTo>
                    <a:cubicBezTo>
                      <a:pt x="110" y="139"/>
                      <a:pt x="187" y="139"/>
                      <a:pt x="264" y="139"/>
                    </a:cubicBezTo>
                    <a:cubicBezTo>
                      <a:pt x="264" y="102"/>
                      <a:pt x="264" y="64"/>
                      <a:pt x="264" y="27"/>
                    </a:cubicBezTo>
                    <a:cubicBezTo>
                      <a:pt x="264" y="27"/>
                      <a:pt x="264" y="26"/>
                      <a:pt x="263" y="25"/>
                    </a:cubicBezTo>
                    <a:cubicBezTo>
                      <a:pt x="263" y="25"/>
                      <a:pt x="262" y="24"/>
                      <a:pt x="263" y="25"/>
                    </a:cubicBezTo>
                    <a:cubicBezTo>
                      <a:pt x="186" y="25"/>
                      <a:pt x="109" y="25"/>
                      <a:pt x="32" y="25"/>
                    </a:cubicBezTo>
                    <a:cubicBezTo>
                      <a:pt x="32" y="63"/>
                      <a:pt x="32" y="101"/>
                      <a:pt x="32" y="139"/>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kern="0">
                  <a:solidFill>
                    <a:srgbClr val="FFFFFF"/>
                  </a:solidFill>
                  <a:latin typeface="Segoe UI"/>
                </a:endParaRPr>
              </a:p>
            </p:txBody>
          </p:sp>
          <p:sp>
            <p:nvSpPr>
              <p:cNvPr id="155" name="Freeform 32"/>
              <p:cNvSpPr>
                <a:spLocks/>
              </p:cNvSpPr>
              <p:nvPr/>
            </p:nvSpPr>
            <p:spPr bwMode="auto">
              <a:xfrm>
                <a:off x="-2212975" y="961586"/>
                <a:ext cx="514350" cy="255588"/>
              </a:xfrm>
              <a:custGeom>
                <a:avLst/>
                <a:gdLst>
                  <a:gd name="T0" fmla="*/ 0 w 136"/>
                  <a:gd name="T1" fmla="*/ 67 h 67"/>
                  <a:gd name="T2" fmla="*/ 0 w 136"/>
                  <a:gd name="T3" fmla="*/ 52 h 67"/>
                  <a:gd name="T4" fmla="*/ 27 w 136"/>
                  <a:gd name="T5" fmla="*/ 51 h 67"/>
                  <a:gd name="T6" fmla="*/ 55 w 136"/>
                  <a:gd name="T7" fmla="*/ 51 h 67"/>
                  <a:gd name="T8" fmla="*/ 55 w 136"/>
                  <a:gd name="T9" fmla="*/ 0 h 67"/>
                  <a:gd name="T10" fmla="*/ 79 w 136"/>
                  <a:gd name="T11" fmla="*/ 0 h 67"/>
                  <a:gd name="T12" fmla="*/ 79 w 136"/>
                  <a:gd name="T13" fmla="*/ 50 h 67"/>
                  <a:gd name="T14" fmla="*/ 107 w 136"/>
                  <a:gd name="T15" fmla="*/ 51 h 67"/>
                  <a:gd name="T16" fmla="*/ 136 w 136"/>
                  <a:gd name="T17" fmla="*/ 51 h 67"/>
                  <a:gd name="T18" fmla="*/ 136 w 136"/>
                  <a:gd name="T19" fmla="*/ 67 h 67"/>
                  <a:gd name="T20" fmla="*/ 0 w 136"/>
                  <a:gd name="T21"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67">
                    <a:moveTo>
                      <a:pt x="0" y="67"/>
                    </a:moveTo>
                    <a:cubicBezTo>
                      <a:pt x="0" y="62"/>
                      <a:pt x="0" y="58"/>
                      <a:pt x="0" y="52"/>
                    </a:cubicBezTo>
                    <a:cubicBezTo>
                      <a:pt x="9" y="50"/>
                      <a:pt x="18" y="51"/>
                      <a:pt x="27" y="51"/>
                    </a:cubicBezTo>
                    <a:cubicBezTo>
                      <a:pt x="36" y="51"/>
                      <a:pt x="45" y="51"/>
                      <a:pt x="55" y="51"/>
                    </a:cubicBezTo>
                    <a:cubicBezTo>
                      <a:pt x="55" y="34"/>
                      <a:pt x="55" y="18"/>
                      <a:pt x="55" y="0"/>
                    </a:cubicBezTo>
                    <a:cubicBezTo>
                      <a:pt x="63" y="0"/>
                      <a:pt x="71" y="0"/>
                      <a:pt x="79" y="0"/>
                    </a:cubicBezTo>
                    <a:cubicBezTo>
                      <a:pt x="79" y="16"/>
                      <a:pt x="79" y="33"/>
                      <a:pt x="79" y="50"/>
                    </a:cubicBezTo>
                    <a:cubicBezTo>
                      <a:pt x="89" y="52"/>
                      <a:pt x="98" y="51"/>
                      <a:pt x="107" y="51"/>
                    </a:cubicBezTo>
                    <a:cubicBezTo>
                      <a:pt x="116" y="51"/>
                      <a:pt x="125" y="51"/>
                      <a:pt x="136" y="51"/>
                    </a:cubicBezTo>
                    <a:cubicBezTo>
                      <a:pt x="136" y="57"/>
                      <a:pt x="136" y="62"/>
                      <a:pt x="136" y="67"/>
                    </a:cubicBezTo>
                    <a:cubicBezTo>
                      <a:pt x="91" y="67"/>
                      <a:pt x="45" y="67"/>
                      <a:pt x="0" y="6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kern="0">
                  <a:solidFill>
                    <a:srgbClr val="FFFFFF"/>
                  </a:solidFill>
                  <a:latin typeface="Segoe UI"/>
                </a:endParaRPr>
              </a:p>
            </p:txBody>
          </p:sp>
          <p:sp>
            <p:nvSpPr>
              <p:cNvPr id="156" name="Freeform 34"/>
              <p:cNvSpPr>
                <a:spLocks/>
              </p:cNvSpPr>
              <p:nvPr/>
            </p:nvSpPr>
            <p:spPr bwMode="auto">
              <a:xfrm>
                <a:off x="-1876426" y="472635"/>
                <a:ext cx="268288" cy="269874"/>
              </a:xfrm>
              <a:custGeom>
                <a:avLst/>
                <a:gdLst>
                  <a:gd name="T0" fmla="*/ 16 w 71"/>
                  <a:gd name="T1" fmla="*/ 71 h 71"/>
                  <a:gd name="T2" fmla="*/ 0 w 71"/>
                  <a:gd name="T3" fmla="*/ 54 h 71"/>
                  <a:gd name="T4" fmla="*/ 0 w 71"/>
                  <a:gd name="T5" fmla="*/ 17 h 71"/>
                  <a:gd name="T6" fmla="*/ 17 w 71"/>
                  <a:gd name="T7" fmla="*/ 0 h 71"/>
                  <a:gd name="T8" fmla="*/ 31 w 71"/>
                  <a:gd name="T9" fmla="*/ 0 h 71"/>
                  <a:gd name="T10" fmla="*/ 31 w 71"/>
                  <a:gd name="T11" fmla="*/ 36 h 71"/>
                  <a:gd name="T12" fmla="*/ 38 w 71"/>
                  <a:gd name="T13" fmla="*/ 36 h 71"/>
                  <a:gd name="T14" fmla="*/ 38 w 71"/>
                  <a:gd name="T15" fmla="*/ 0 h 71"/>
                  <a:gd name="T16" fmla="*/ 52 w 71"/>
                  <a:gd name="T17" fmla="*/ 0 h 71"/>
                  <a:gd name="T18" fmla="*/ 71 w 71"/>
                  <a:gd name="T19" fmla="*/ 20 h 71"/>
                  <a:gd name="T20" fmla="*/ 71 w 71"/>
                  <a:gd name="T21" fmla="*/ 54 h 71"/>
                  <a:gd name="T22" fmla="*/ 52 w 71"/>
                  <a:gd name="T23" fmla="*/ 71 h 71"/>
                  <a:gd name="T24" fmla="*/ 16 w 71"/>
                  <a:gd name="T25"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 h="71">
                    <a:moveTo>
                      <a:pt x="16" y="71"/>
                    </a:moveTo>
                    <a:cubicBezTo>
                      <a:pt x="11" y="66"/>
                      <a:pt x="6" y="61"/>
                      <a:pt x="0" y="54"/>
                    </a:cubicBezTo>
                    <a:cubicBezTo>
                      <a:pt x="0" y="43"/>
                      <a:pt x="0" y="30"/>
                      <a:pt x="0" y="17"/>
                    </a:cubicBezTo>
                    <a:cubicBezTo>
                      <a:pt x="5" y="12"/>
                      <a:pt x="11" y="6"/>
                      <a:pt x="17" y="0"/>
                    </a:cubicBezTo>
                    <a:cubicBezTo>
                      <a:pt x="21" y="0"/>
                      <a:pt x="25" y="0"/>
                      <a:pt x="31" y="0"/>
                    </a:cubicBezTo>
                    <a:cubicBezTo>
                      <a:pt x="31" y="12"/>
                      <a:pt x="31" y="24"/>
                      <a:pt x="31" y="36"/>
                    </a:cubicBezTo>
                    <a:cubicBezTo>
                      <a:pt x="34" y="36"/>
                      <a:pt x="36" y="36"/>
                      <a:pt x="38" y="36"/>
                    </a:cubicBezTo>
                    <a:cubicBezTo>
                      <a:pt x="38" y="24"/>
                      <a:pt x="38" y="13"/>
                      <a:pt x="38" y="0"/>
                    </a:cubicBezTo>
                    <a:cubicBezTo>
                      <a:pt x="43" y="0"/>
                      <a:pt x="48" y="0"/>
                      <a:pt x="52" y="0"/>
                    </a:cubicBezTo>
                    <a:cubicBezTo>
                      <a:pt x="58" y="6"/>
                      <a:pt x="64" y="12"/>
                      <a:pt x="71" y="20"/>
                    </a:cubicBezTo>
                    <a:cubicBezTo>
                      <a:pt x="71" y="30"/>
                      <a:pt x="71" y="42"/>
                      <a:pt x="71" y="54"/>
                    </a:cubicBezTo>
                    <a:cubicBezTo>
                      <a:pt x="65" y="59"/>
                      <a:pt x="60" y="65"/>
                      <a:pt x="52" y="71"/>
                    </a:cubicBezTo>
                    <a:cubicBezTo>
                      <a:pt x="42" y="71"/>
                      <a:pt x="30" y="71"/>
                      <a:pt x="16" y="7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kern="0">
                  <a:solidFill>
                    <a:srgbClr val="FFFFFF"/>
                  </a:solidFill>
                  <a:latin typeface="Segoe UI"/>
                </a:endParaRPr>
              </a:p>
            </p:txBody>
          </p:sp>
          <p:sp>
            <p:nvSpPr>
              <p:cNvPr id="157" name="Freeform 35"/>
              <p:cNvSpPr>
                <a:spLocks/>
              </p:cNvSpPr>
              <p:nvPr/>
            </p:nvSpPr>
            <p:spPr bwMode="auto">
              <a:xfrm>
                <a:off x="-2349499" y="472635"/>
                <a:ext cx="393701" cy="314326"/>
              </a:xfrm>
              <a:custGeom>
                <a:avLst/>
                <a:gdLst>
                  <a:gd name="T0" fmla="*/ 104 w 104"/>
                  <a:gd name="T1" fmla="*/ 76 h 83"/>
                  <a:gd name="T2" fmla="*/ 104 w 104"/>
                  <a:gd name="T3" fmla="*/ 83 h 83"/>
                  <a:gd name="T4" fmla="*/ 0 w 104"/>
                  <a:gd name="T5" fmla="*/ 83 h 83"/>
                  <a:gd name="T6" fmla="*/ 0 w 104"/>
                  <a:gd name="T7" fmla="*/ 1 h 83"/>
                  <a:gd name="T8" fmla="*/ 7 w 104"/>
                  <a:gd name="T9" fmla="*/ 0 h 83"/>
                  <a:gd name="T10" fmla="*/ 7 w 104"/>
                  <a:gd name="T11" fmla="*/ 76 h 83"/>
                  <a:gd name="T12" fmla="*/ 104 w 104"/>
                  <a:gd name="T13" fmla="*/ 76 h 83"/>
                </a:gdLst>
                <a:ahLst/>
                <a:cxnLst>
                  <a:cxn ang="0">
                    <a:pos x="T0" y="T1"/>
                  </a:cxn>
                  <a:cxn ang="0">
                    <a:pos x="T2" y="T3"/>
                  </a:cxn>
                  <a:cxn ang="0">
                    <a:pos x="T4" y="T5"/>
                  </a:cxn>
                  <a:cxn ang="0">
                    <a:pos x="T6" y="T7"/>
                  </a:cxn>
                  <a:cxn ang="0">
                    <a:pos x="T8" y="T9"/>
                  </a:cxn>
                  <a:cxn ang="0">
                    <a:pos x="T10" y="T11"/>
                  </a:cxn>
                  <a:cxn ang="0">
                    <a:pos x="T12" y="T13"/>
                  </a:cxn>
                </a:cxnLst>
                <a:rect l="0" t="0" r="r" b="b"/>
                <a:pathLst>
                  <a:path w="104" h="83">
                    <a:moveTo>
                      <a:pt x="104" y="76"/>
                    </a:moveTo>
                    <a:cubicBezTo>
                      <a:pt x="104" y="79"/>
                      <a:pt x="104" y="81"/>
                      <a:pt x="104" y="83"/>
                    </a:cubicBezTo>
                    <a:cubicBezTo>
                      <a:pt x="69" y="83"/>
                      <a:pt x="36" y="83"/>
                      <a:pt x="0" y="83"/>
                    </a:cubicBezTo>
                    <a:cubicBezTo>
                      <a:pt x="0" y="56"/>
                      <a:pt x="0" y="29"/>
                      <a:pt x="0" y="1"/>
                    </a:cubicBezTo>
                    <a:cubicBezTo>
                      <a:pt x="2" y="0"/>
                      <a:pt x="4" y="0"/>
                      <a:pt x="7" y="0"/>
                    </a:cubicBezTo>
                    <a:cubicBezTo>
                      <a:pt x="7" y="25"/>
                      <a:pt x="7" y="50"/>
                      <a:pt x="7" y="76"/>
                    </a:cubicBezTo>
                    <a:cubicBezTo>
                      <a:pt x="40" y="76"/>
                      <a:pt x="72" y="76"/>
                      <a:pt x="104" y="7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kern="0">
                  <a:solidFill>
                    <a:srgbClr val="FFFFFF"/>
                  </a:solidFill>
                  <a:latin typeface="Segoe UI"/>
                </a:endParaRPr>
              </a:p>
            </p:txBody>
          </p:sp>
          <p:sp>
            <p:nvSpPr>
              <p:cNvPr id="161" name="Freeform 36"/>
              <p:cNvSpPr>
                <a:spLocks/>
              </p:cNvSpPr>
              <p:nvPr/>
            </p:nvSpPr>
            <p:spPr bwMode="auto">
              <a:xfrm>
                <a:off x="-2027239" y="456761"/>
                <a:ext cx="22226" cy="273051"/>
              </a:xfrm>
              <a:custGeom>
                <a:avLst/>
                <a:gdLst>
                  <a:gd name="T0" fmla="*/ 0 w 6"/>
                  <a:gd name="T1" fmla="*/ 0 h 72"/>
                  <a:gd name="T2" fmla="*/ 6 w 6"/>
                  <a:gd name="T3" fmla="*/ 0 h 72"/>
                  <a:gd name="T4" fmla="*/ 6 w 6"/>
                  <a:gd name="T5" fmla="*/ 72 h 72"/>
                  <a:gd name="T6" fmla="*/ 0 w 6"/>
                  <a:gd name="T7" fmla="*/ 72 h 72"/>
                  <a:gd name="T8" fmla="*/ 0 w 6"/>
                  <a:gd name="T9" fmla="*/ 0 h 72"/>
                </a:gdLst>
                <a:ahLst/>
                <a:cxnLst>
                  <a:cxn ang="0">
                    <a:pos x="T0" y="T1"/>
                  </a:cxn>
                  <a:cxn ang="0">
                    <a:pos x="T2" y="T3"/>
                  </a:cxn>
                  <a:cxn ang="0">
                    <a:pos x="T4" y="T5"/>
                  </a:cxn>
                  <a:cxn ang="0">
                    <a:pos x="T6" y="T7"/>
                  </a:cxn>
                  <a:cxn ang="0">
                    <a:pos x="T8" y="T9"/>
                  </a:cxn>
                </a:cxnLst>
                <a:rect l="0" t="0" r="r" b="b"/>
                <a:pathLst>
                  <a:path w="6" h="72">
                    <a:moveTo>
                      <a:pt x="0" y="0"/>
                    </a:moveTo>
                    <a:cubicBezTo>
                      <a:pt x="2" y="0"/>
                      <a:pt x="4" y="0"/>
                      <a:pt x="6" y="0"/>
                    </a:cubicBezTo>
                    <a:cubicBezTo>
                      <a:pt x="6" y="24"/>
                      <a:pt x="6" y="48"/>
                      <a:pt x="6" y="72"/>
                    </a:cubicBezTo>
                    <a:cubicBezTo>
                      <a:pt x="4" y="72"/>
                      <a:pt x="2" y="72"/>
                      <a:pt x="0" y="72"/>
                    </a:cubicBezTo>
                    <a:cubicBezTo>
                      <a:pt x="0" y="48"/>
                      <a:pt x="0" y="24"/>
                      <a:pt x="0"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kern="0">
                  <a:solidFill>
                    <a:srgbClr val="FFFFFF"/>
                  </a:solidFill>
                  <a:latin typeface="Segoe UI"/>
                </a:endParaRPr>
              </a:p>
            </p:txBody>
          </p:sp>
          <p:sp>
            <p:nvSpPr>
              <p:cNvPr id="162" name="Freeform 37"/>
              <p:cNvSpPr>
                <a:spLocks/>
              </p:cNvSpPr>
              <p:nvPr/>
            </p:nvSpPr>
            <p:spPr bwMode="auto">
              <a:xfrm>
                <a:off x="-2087563" y="518673"/>
                <a:ext cx="22226" cy="211139"/>
              </a:xfrm>
              <a:custGeom>
                <a:avLst/>
                <a:gdLst>
                  <a:gd name="T0" fmla="*/ 0 w 6"/>
                  <a:gd name="T1" fmla="*/ 0 h 56"/>
                  <a:gd name="T2" fmla="*/ 6 w 6"/>
                  <a:gd name="T3" fmla="*/ 0 h 56"/>
                  <a:gd name="T4" fmla="*/ 6 w 6"/>
                  <a:gd name="T5" fmla="*/ 56 h 56"/>
                  <a:gd name="T6" fmla="*/ 0 w 6"/>
                  <a:gd name="T7" fmla="*/ 56 h 56"/>
                  <a:gd name="T8" fmla="*/ 0 w 6"/>
                  <a:gd name="T9" fmla="*/ 0 h 56"/>
                </a:gdLst>
                <a:ahLst/>
                <a:cxnLst>
                  <a:cxn ang="0">
                    <a:pos x="T0" y="T1"/>
                  </a:cxn>
                  <a:cxn ang="0">
                    <a:pos x="T2" y="T3"/>
                  </a:cxn>
                  <a:cxn ang="0">
                    <a:pos x="T4" y="T5"/>
                  </a:cxn>
                  <a:cxn ang="0">
                    <a:pos x="T6" y="T7"/>
                  </a:cxn>
                  <a:cxn ang="0">
                    <a:pos x="T8" y="T9"/>
                  </a:cxn>
                </a:cxnLst>
                <a:rect l="0" t="0" r="r" b="b"/>
                <a:pathLst>
                  <a:path w="6" h="56">
                    <a:moveTo>
                      <a:pt x="0" y="0"/>
                    </a:moveTo>
                    <a:cubicBezTo>
                      <a:pt x="2" y="0"/>
                      <a:pt x="4" y="0"/>
                      <a:pt x="6" y="0"/>
                    </a:cubicBezTo>
                    <a:cubicBezTo>
                      <a:pt x="6" y="19"/>
                      <a:pt x="6" y="37"/>
                      <a:pt x="6" y="56"/>
                    </a:cubicBezTo>
                    <a:cubicBezTo>
                      <a:pt x="4" y="56"/>
                      <a:pt x="2" y="56"/>
                      <a:pt x="0" y="56"/>
                    </a:cubicBezTo>
                    <a:cubicBezTo>
                      <a:pt x="0" y="37"/>
                      <a:pt x="0" y="19"/>
                      <a:pt x="0"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kern="0">
                  <a:solidFill>
                    <a:srgbClr val="FFFFFF"/>
                  </a:solidFill>
                  <a:latin typeface="Segoe UI"/>
                </a:endParaRPr>
              </a:p>
            </p:txBody>
          </p:sp>
        </p:grpSp>
      </p:grpSp>
      <p:grpSp>
        <p:nvGrpSpPr>
          <p:cNvPr id="15" name="Group 14"/>
          <p:cNvGrpSpPr/>
          <p:nvPr/>
        </p:nvGrpSpPr>
        <p:grpSpPr>
          <a:xfrm>
            <a:off x="8367997" y="3913775"/>
            <a:ext cx="2095180" cy="985811"/>
            <a:chOff x="8538016" y="3277427"/>
            <a:chExt cx="2137749" cy="1005840"/>
          </a:xfrm>
        </p:grpSpPr>
        <p:sp>
          <p:nvSpPr>
            <p:cNvPr id="96" name="Rectangle 95"/>
            <p:cNvSpPr/>
            <p:nvPr/>
          </p:nvSpPr>
          <p:spPr bwMode="auto">
            <a:xfrm>
              <a:off x="8538016" y="3277427"/>
              <a:ext cx="2137749"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7" tIns="44803" rIns="17917" bIns="89581" numCol="1" spcCol="1270" anchor="t" anchorCtr="0">
              <a:noAutofit/>
            </a:bodyPr>
            <a:lstStyle/>
            <a:p>
              <a:pPr algn="ctr" defTabSz="710584">
                <a:spcAft>
                  <a:spcPct val="35000"/>
                </a:spcAft>
              </a:pPr>
              <a:r>
                <a:rPr lang="en-US" sz="1568"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Perceptual Intelligence</a:t>
              </a:r>
            </a:p>
          </p:txBody>
        </p:sp>
        <p:sp>
          <p:nvSpPr>
            <p:cNvPr id="125" name="Rectangle 124"/>
            <p:cNvSpPr/>
            <p:nvPr/>
          </p:nvSpPr>
          <p:spPr>
            <a:xfrm>
              <a:off x="9204619" y="3670433"/>
              <a:ext cx="895247" cy="278832"/>
            </a:xfrm>
            <a:prstGeom prst="rect">
              <a:avLst/>
            </a:prstGeom>
          </p:spPr>
          <p:txBody>
            <a:bodyPr wrap="none">
              <a:spAutoFit/>
            </a:bodyPr>
            <a:lstStyle/>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Face, vision</a:t>
              </a:r>
            </a:p>
          </p:txBody>
        </p:sp>
        <p:sp>
          <p:nvSpPr>
            <p:cNvPr id="126" name="Rectangle 125"/>
            <p:cNvSpPr/>
            <p:nvPr/>
          </p:nvSpPr>
          <p:spPr>
            <a:xfrm>
              <a:off x="9204619" y="3990981"/>
              <a:ext cx="935577" cy="276999"/>
            </a:xfrm>
            <a:prstGeom prst="rect">
              <a:avLst/>
            </a:prstGeom>
          </p:spPr>
          <p:txBody>
            <a:bodyPr wrap="none">
              <a:spAutoFit/>
            </a:bodyPr>
            <a:lstStyle/>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peech, text</a:t>
              </a:r>
            </a:p>
          </p:txBody>
        </p:sp>
        <p:grpSp>
          <p:nvGrpSpPr>
            <p:cNvPr id="95" name="Group 94"/>
            <p:cNvGrpSpPr/>
            <p:nvPr/>
          </p:nvGrpSpPr>
          <p:grpSpPr>
            <a:xfrm>
              <a:off x="8892356" y="3676097"/>
              <a:ext cx="269629" cy="255077"/>
              <a:chOff x="3248025" y="1189989"/>
              <a:chExt cx="5153661" cy="4875531"/>
            </a:xfrm>
            <a:solidFill>
              <a:schemeClr val="bg1"/>
            </a:solidFill>
          </p:grpSpPr>
          <p:sp>
            <p:nvSpPr>
              <p:cNvPr id="99" name="Freeform 98"/>
              <p:cNvSpPr/>
              <p:nvPr/>
            </p:nvSpPr>
            <p:spPr bwMode="auto">
              <a:xfrm>
                <a:off x="4140351" y="2041127"/>
                <a:ext cx="3427810" cy="3427810"/>
              </a:xfrm>
              <a:custGeom>
                <a:avLst/>
                <a:gdLst>
                  <a:gd name="connsiteX0" fmla="*/ 1713905 w 3427810"/>
                  <a:gd name="connsiteY0" fmla="*/ 0 h 3427810"/>
                  <a:gd name="connsiteX1" fmla="*/ 3427810 w 3427810"/>
                  <a:gd name="connsiteY1" fmla="*/ 1713905 h 3427810"/>
                  <a:gd name="connsiteX2" fmla="*/ 1713905 w 3427810"/>
                  <a:gd name="connsiteY2" fmla="*/ 3427810 h 3427810"/>
                  <a:gd name="connsiteX3" fmla="*/ 0 w 3427810"/>
                  <a:gd name="connsiteY3" fmla="*/ 1713905 h 3427810"/>
                  <a:gd name="connsiteX4" fmla="*/ 1713905 w 3427810"/>
                  <a:gd name="connsiteY4" fmla="*/ 0 h 3427810"/>
                  <a:gd name="connsiteX5" fmla="*/ 1208864 w 3427810"/>
                  <a:gd name="connsiteY5" fmla="*/ 1047322 h 3427810"/>
                  <a:gd name="connsiteX6" fmla="*/ 996139 w 3427810"/>
                  <a:gd name="connsiteY6" fmla="*/ 1260047 h 3427810"/>
                  <a:gd name="connsiteX7" fmla="*/ 1208864 w 3427810"/>
                  <a:gd name="connsiteY7" fmla="*/ 1472772 h 3427810"/>
                  <a:gd name="connsiteX8" fmla="*/ 1421589 w 3427810"/>
                  <a:gd name="connsiteY8" fmla="*/ 1260047 h 3427810"/>
                  <a:gd name="connsiteX9" fmla="*/ 1208864 w 3427810"/>
                  <a:gd name="connsiteY9" fmla="*/ 1047322 h 3427810"/>
                  <a:gd name="connsiteX10" fmla="*/ 2115987 w 3427810"/>
                  <a:gd name="connsiteY10" fmla="*/ 1047322 h 3427810"/>
                  <a:gd name="connsiteX11" fmla="*/ 1903262 w 3427810"/>
                  <a:gd name="connsiteY11" fmla="*/ 1260047 h 3427810"/>
                  <a:gd name="connsiteX12" fmla="*/ 2115987 w 3427810"/>
                  <a:gd name="connsiteY12" fmla="*/ 1472772 h 3427810"/>
                  <a:gd name="connsiteX13" fmla="*/ 2328712 w 3427810"/>
                  <a:gd name="connsiteY13" fmla="*/ 1260047 h 3427810"/>
                  <a:gd name="connsiteX14" fmla="*/ 2115987 w 3427810"/>
                  <a:gd name="connsiteY14" fmla="*/ 1047322 h 3427810"/>
                  <a:gd name="connsiteX15" fmla="*/ 516914 w 3427810"/>
                  <a:gd name="connsiteY15" fmla="*/ 1913335 h 3427810"/>
                  <a:gd name="connsiteX16" fmla="*/ 536018 w 3427810"/>
                  <a:gd name="connsiteY16" fmla="*/ 1987632 h 3427810"/>
                  <a:gd name="connsiteX17" fmla="*/ 1680074 w 3427810"/>
                  <a:gd name="connsiteY17" fmla="*/ 2829321 h 3427810"/>
                  <a:gd name="connsiteX18" fmla="*/ 2824130 w 3427810"/>
                  <a:gd name="connsiteY18" fmla="*/ 1987632 h 3427810"/>
                  <a:gd name="connsiteX19" fmla="*/ 2843234 w 3427810"/>
                  <a:gd name="connsiteY19" fmla="*/ 1913335 h 3427810"/>
                  <a:gd name="connsiteX20" fmla="*/ 2613164 w 3427810"/>
                  <a:gd name="connsiteY20" fmla="*/ 1913335 h 3427810"/>
                  <a:gd name="connsiteX21" fmla="*/ 2611114 w 3427810"/>
                  <a:gd name="connsiteY21" fmla="*/ 1921305 h 3427810"/>
                  <a:gd name="connsiteX22" fmla="*/ 1680074 w 3427810"/>
                  <a:gd name="connsiteY22" fmla="*/ 2606277 h 3427810"/>
                  <a:gd name="connsiteX23" fmla="*/ 749034 w 3427810"/>
                  <a:gd name="connsiteY23" fmla="*/ 1921305 h 3427810"/>
                  <a:gd name="connsiteX24" fmla="*/ 746985 w 3427810"/>
                  <a:gd name="connsiteY24" fmla="*/ 1913335 h 3427810"/>
                  <a:gd name="connsiteX25" fmla="*/ 516914 w 3427810"/>
                  <a:gd name="connsiteY25" fmla="*/ 1913335 h 3427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427810" h="3427810">
                    <a:moveTo>
                      <a:pt x="1713905" y="0"/>
                    </a:moveTo>
                    <a:cubicBezTo>
                      <a:pt x="2660469" y="0"/>
                      <a:pt x="3427810" y="767341"/>
                      <a:pt x="3427810" y="1713905"/>
                    </a:cubicBezTo>
                    <a:cubicBezTo>
                      <a:pt x="3427810" y="2660469"/>
                      <a:pt x="2660469" y="3427810"/>
                      <a:pt x="1713905" y="3427810"/>
                    </a:cubicBezTo>
                    <a:cubicBezTo>
                      <a:pt x="767341" y="3427810"/>
                      <a:pt x="0" y="2660469"/>
                      <a:pt x="0" y="1713905"/>
                    </a:cubicBezTo>
                    <a:cubicBezTo>
                      <a:pt x="0" y="767341"/>
                      <a:pt x="767341" y="0"/>
                      <a:pt x="1713905" y="0"/>
                    </a:cubicBezTo>
                    <a:close/>
                    <a:moveTo>
                      <a:pt x="1208864" y="1047322"/>
                    </a:moveTo>
                    <a:cubicBezTo>
                      <a:pt x="1091379" y="1047322"/>
                      <a:pt x="996139" y="1142562"/>
                      <a:pt x="996139" y="1260047"/>
                    </a:cubicBezTo>
                    <a:cubicBezTo>
                      <a:pt x="996139" y="1377532"/>
                      <a:pt x="1091379" y="1472772"/>
                      <a:pt x="1208864" y="1472772"/>
                    </a:cubicBezTo>
                    <a:cubicBezTo>
                      <a:pt x="1326349" y="1472772"/>
                      <a:pt x="1421589" y="1377532"/>
                      <a:pt x="1421589" y="1260047"/>
                    </a:cubicBezTo>
                    <a:cubicBezTo>
                      <a:pt x="1421589" y="1142562"/>
                      <a:pt x="1326349" y="1047322"/>
                      <a:pt x="1208864" y="1047322"/>
                    </a:cubicBezTo>
                    <a:close/>
                    <a:moveTo>
                      <a:pt x="2115987" y="1047322"/>
                    </a:moveTo>
                    <a:cubicBezTo>
                      <a:pt x="1998502" y="1047322"/>
                      <a:pt x="1903262" y="1142562"/>
                      <a:pt x="1903262" y="1260047"/>
                    </a:cubicBezTo>
                    <a:cubicBezTo>
                      <a:pt x="1903262" y="1377532"/>
                      <a:pt x="1998502" y="1472772"/>
                      <a:pt x="2115987" y="1472772"/>
                    </a:cubicBezTo>
                    <a:cubicBezTo>
                      <a:pt x="2233472" y="1472772"/>
                      <a:pt x="2328712" y="1377532"/>
                      <a:pt x="2328712" y="1260047"/>
                    </a:cubicBezTo>
                    <a:cubicBezTo>
                      <a:pt x="2328712" y="1142562"/>
                      <a:pt x="2233472" y="1047322"/>
                      <a:pt x="2115987" y="1047322"/>
                    </a:cubicBezTo>
                    <a:close/>
                    <a:moveTo>
                      <a:pt x="516914" y="1913335"/>
                    </a:moveTo>
                    <a:lnTo>
                      <a:pt x="536018" y="1987632"/>
                    </a:lnTo>
                    <a:cubicBezTo>
                      <a:pt x="687687" y="2475264"/>
                      <a:pt x="1142533" y="2829321"/>
                      <a:pt x="1680074" y="2829321"/>
                    </a:cubicBezTo>
                    <a:cubicBezTo>
                      <a:pt x="2217615" y="2829321"/>
                      <a:pt x="2672461" y="2475264"/>
                      <a:pt x="2824130" y="1987632"/>
                    </a:cubicBezTo>
                    <a:lnTo>
                      <a:pt x="2843234" y="1913335"/>
                    </a:lnTo>
                    <a:lnTo>
                      <a:pt x="2613164" y="1913335"/>
                    </a:lnTo>
                    <a:lnTo>
                      <a:pt x="2611114" y="1921305"/>
                    </a:lnTo>
                    <a:cubicBezTo>
                      <a:pt x="2487685" y="2318143"/>
                      <a:pt x="2117528" y="2606277"/>
                      <a:pt x="1680074" y="2606277"/>
                    </a:cubicBezTo>
                    <a:cubicBezTo>
                      <a:pt x="1242620" y="2606277"/>
                      <a:pt x="872464" y="2318143"/>
                      <a:pt x="749034" y="1921305"/>
                    </a:cubicBezTo>
                    <a:lnTo>
                      <a:pt x="746985" y="1913335"/>
                    </a:lnTo>
                    <a:lnTo>
                      <a:pt x="516914" y="1913335"/>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00" name="Freeform 99"/>
              <p:cNvSpPr/>
              <p:nvPr/>
            </p:nvSpPr>
            <p:spPr bwMode="auto">
              <a:xfrm rot="5400000">
                <a:off x="3270885" y="1189989"/>
                <a:ext cx="1016001" cy="106172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01" name="Freeform 100"/>
              <p:cNvSpPr/>
              <p:nvPr/>
            </p:nvSpPr>
            <p:spPr bwMode="auto">
              <a:xfrm rot="10800000">
                <a:off x="7385685" y="1189989"/>
                <a:ext cx="1016001" cy="106172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101"/>
              <p:cNvSpPr/>
              <p:nvPr/>
            </p:nvSpPr>
            <p:spPr bwMode="auto">
              <a:xfrm>
                <a:off x="3248025" y="5033549"/>
                <a:ext cx="1016001" cy="103197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03" name="Freeform 102"/>
              <p:cNvSpPr/>
              <p:nvPr/>
            </p:nvSpPr>
            <p:spPr bwMode="auto">
              <a:xfrm rot="16200000">
                <a:off x="7377700" y="5041534"/>
                <a:ext cx="1016001" cy="103197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15" name="Group 114"/>
            <p:cNvGrpSpPr/>
            <p:nvPr/>
          </p:nvGrpSpPr>
          <p:grpSpPr>
            <a:xfrm>
              <a:off x="8883959" y="4029213"/>
              <a:ext cx="286422" cy="241797"/>
              <a:chOff x="4746173" y="1443591"/>
              <a:chExt cx="4626426" cy="3905623"/>
            </a:xfrm>
            <a:solidFill>
              <a:schemeClr val="bg1"/>
            </a:solidFill>
          </p:grpSpPr>
          <p:grpSp>
            <p:nvGrpSpPr>
              <p:cNvPr id="116" name="Group 386"/>
              <p:cNvGrpSpPr>
                <a:grpSpLocks noChangeAspect="1"/>
              </p:cNvGrpSpPr>
              <p:nvPr/>
            </p:nvGrpSpPr>
            <p:grpSpPr bwMode="auto">
              <a:xfrm>
                <a:off x="4746173" y="2973313"/>
                <a:ext cx="1414640" cy="2318440"/>
                <a:chOff x="-1261" y="1888"/>
                <a:chExt cx="576" cy="944"/>
              </a:xfrm>
              <a:grpFill/>
            </p:grpSpPr>
            <p:sp>
              <p:nvSpPr>
                <p:cNvPr id="140" name="Freeform 387"/>
                <p:cNvSpPr>
                  <a:spLocks/>
                </p:cNvSpPr>
                <p:nvPr/>
              </p:nvSpPr>
              <p:spPr bwMode="auto">
                <a:xfrm>
                  <a:off x="-1115" y="1888"/>
                  <a:ext cx="284" cy="607"/>
                </a:xfrm>
                <a:custGeom>
                  <a:avLst/>
                  <a:gdLst>
                    <a:gd name="T0" fmla="*/ 60 w 120"/>
                    <a:gd name="T1" fmla="*/ 257 h 257"/>
                    <a:gd name="T2" fmla="*/ 120 w 120"/>
                    <a:gd name="T3" fmla="*/ 196 h 257"/>
                    <a:gd name="T4" fmla="*/ 120 w 120"/>
                    <a:gd name="T5" fmla="*/ 61 h 257"/>
                    <a:gd name="T6" fmla="*/ 60 w 120"/>
                    <a:gd name="T7" fmla="*/ 0 h 257"/>
                    <a:gd name="T8" fmla="*/ 0 w 120"/>
                    <a:gd name="T9" fmla="*/ 61 h 257"/>
                    <a:gd name="T10" fmla="*/ 0 w 120"/>
                    <a:gd name="T11" fmla="*/ 196 h 257"/>
                    <a:gd name="T12" fmla="*/ 60 w 120"/>
                    <a:gd name="T13" fmla="*/ 257 h 257"/>
                  </a:gdLst>
                  <a:ahLst/>
                  <a:cxnLst>
                    <a:cxn ang="0">
                      <a:pos x="T0" y="T1"/>
                    </a:cxn>
                    <a:cxn ang="0">
                      <a:pos x="T2" y="T3"/>
                    </a:cxn>
                    <a:cxn ang="0">
                      <a:pos x="T4" y="T5"/>
                    </a:cxn>
                    <a:cxn ang="0">
                      <a:pos x="T6" y="T7"/>
                    </a:cxn>
                    <a:cxn ang="0">
                      <a:pos x="T8" y="T9"/>
                    </a:cxn>
                    <a:cxn ang="0">
                      <a:pos x="T10" y="T11"/>
                    </a:cxn>
                    <a:cxn ang="0">
                      <a:pos x="T12" y="T13"/>
                    </a:cxn>
                  </a:cxnLst>
                  <a:rect l="0" t="0" r="r" b="b"/>
                  <a:pathLst>
                    <a:path w="120" h="257">
                      <a:moveTo>
                        <a:pt x="60" y="257"/>
                      </a:moveTo>
                      <a:cubicBezTo>
                        <a:pt x="93" y="257"/>
                        <a:pt x="120" y="230"/>
                        <a:pt x="120" y="196"/>
                      </a:cubicBezTo>
                      <a:cubicBezTo>
                        <a:pt x="120" y="175"/>
                        <a:pt x="120" y="86"/>
                        <a:pt x="120" y="61"/>
                      </a:cubicBezTo>
                      <a:cubicBezTo>
                        <a:pt x="120" y="27"/>
                        <a:pt x="93" y="0"/>
                        <a:pt x="60" y="0"/>
                      </a:cubicBezTo>
                      <a:cubicBezTo>
                        <a:pt x="27" y="0"/>
                        <a:pt x="0" y="27"/>
                        <a:pt x="0" y="61"/>
                      </a:cubicBezTo>
                      <a:cubicBezTo>
                        <a:pt x="0" y="80"/>
                        <a:pt x="0" y="177"/>
                        <a:pt x="0" y="196"/>
                      </a:cubicBezTo>
                      <a:cubicBezTo>
                        <a:pt x="0" y="230"/>
                        <a:pt x="27" y="257"/>
                        <a:pt x="60" y="25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167"/>
                  <a:endParaRPr lang="en-US" sz="1666" kern="0">
                    <a:solidFill>
                      <a:srgbClr val="FFFFFF"/>
                    </a:solidFill>
                    <a:latin typeface="Segoe UI"/>
                  </a:endParaRPr>
                </a:p>
              </p:txBody>
            </p:sp>
            <p:sp>
              <p:nvSpPr>
                <p:cNvPr id="141" name="Freeform 388"/>
                <p:cNvSpPr>
                  <a:spLocks/>
                </p:cNvSpPr>
                <p:nvPr/>
              </p:nvSpPr>
              <p:spPr bwMode="auto">
                <a:xfrm>
                  <a:off x="-1261" y="2261"/>
                  <a:ext cx="576" cy="571"/>
                </a:xfrm>
                <a:custGeom>
                  <a:avLst/>
                  <a:gdLst>
                    <a:gd name="T0" fmla="*/ 204 w 244"/>
                    <a:gd name="T1" fmla="*/ 0 h 242"/>
                    <a:gd name="T2" fmla="*/ 204 w 244"/>
                    <a:gd name="T3" fmla="*/ 51 h 242"/>
                    <a:gd name="T4" fmla="*/ 136 w 244"/>
                    <a:gd name="T5" fmla="*/ 120 h 242"/>
                    <a:gd name="T6" fmla="*/ 108 w 244"/>
                    <a:gd name="T7" fmla="*/ 120 h 242"/>
                    <a:gd name="T8" fmla="*/ 40 w 244"/>
                    <a:gd name="T9" fmla="*/ 51 h 242"/>
                    <a:gd name="T10" fmla="*/ 40 w 244"/>
                    <a:gd name="T11" fmla="*/ 0 h 242"/>
                    <a:gd name="T12" fmla="*/ 0 w 244"/>
                    <a:gd name="T13" fmla="*/ 0 h 242"/>
                    <a:gd name="T14" fmla="*/ 0 w 244"/>
                    <a:gd name="T15" fmla="*/ 51 h 242"/>
                    <a:gd name="T16" fmla="*/ 102 w 244"/>
                    <a:gd name="T17" fmla="*/ 160 h 242"/>
                    <a:gd name="T18" fmla="*/ 102 w 244"/>
                    <a:gd name="T19" fmla="*/ 202 h 242"/>
                    <a:gd name="T20" fmla="*/ 41 w 244"/>
                    <a:gd name="T21" fmla="*/ 202 h 242"/>
                    <a:gd name="T22" fmla="*/ 41 w 244"/>
                    <a:gd name="T23" fmla="*/ 242 h 242"/>
                    <a:gd name="T24" fmla="*/ 203 w 244"/>
                    <a:gd name="T25" fmla="*/ 242 h 242"/>
                    <a:gd name="T26" fmla="*/ 203 w 244"/>
                    <a:gd name="T27" fmla="*/ 202 h 242"/>
                    <a:gd name="T28" fmla="*/ 142 w 244"/>
                    <a:gd name="T29" fmla="*/ 202 h 242"/>
                    <a:gd name="T30" fmla="*/ 142 w 244"/>
                    <a:gd name="T31" fmla="*/ 160 h 242"/>
                    <a:gd name="T32" fmla="*/ 244 w 244"/>
                    <a:gd name="T33" fmla="*/ 51 h 242"/>
                    <a:gd name="T34" fmla="*/ 244 w 244"/>
                    <a:gd name="T35" fmla="*/ 0 h 242"/>
                    <a:gd name="T36" fmla="*/ 204 w 244"/>
                    <a:gd name="T37"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4" h="242">
                      <a:moveTo>
                        <a:pt x="204" y="0"/>
                      </a:moveTo>
                      <a:cubicBezTo>
                        <a:pt x="204" y="51"/>
                        <a:pt x="204" y="51"/>
                        <a:pt x="204" y="51"/>
                      </a:cubicBezTo>
                      <a:cubicBezTo>
                        <a:pt x="204" y="89"/>
                        <a:pt x="173" y="120"/>
                        <a:pt x="136" y="120"/>
                      </a:cubicBezTo>
                      <a:cubicBezTo>
                        <a:pt x="108" y="120"/>
                        <a:pt x="108" y="120"/>
                        <a:pt x="108" y="120"/>
                      </a:cubicBezTo>
                      <a:cubicBezTo>
                        <a:pt x="71" y="120"/>
                        <a:pt x="40" y="89"/>
                        <a:pt x="40" y="51"/>
                      </a:cubicBezTo>
                      <a:cubicBezTo>
                        <a:pt x="40" y="0"/>
                        <a:pt x="40" y="0"/>
                        <a:pt x="40" y="0"/>
                      </a:cubicBezTo>
                      <a:cubicBezTo>
                        <a:pt x="0" y="0"/>
                        <a:pt x="0" y="0"/>
                        <a:pt x="0" y="0"/>
                      </a:cubicBezTo>
                      <a:cubicBezTo>
                        <a:pt x="0" y="51"/>
                        <a:pt x="0" y="51"/>
                        <a:pt x="0" y="51"/>
                      </a:cubicBezTo>
                      <a:cubicBezTo>
                        <a:pt x="0" y="109"/>
                        <a:pt x="45" y="156"/>
                        <a:pt x="102" y="160"/>
                      </a:cubicBezTo>
                      <a:cubicBezTo>
                        <a:pt x="102" y="202"/>
                        <a:pt x="102" y="202"/>
                        <a:pt x="102" y="202"/>
                      </a:cubicBezTo>
                      <a:cubicBezTo>
                        <a:pt x="41" y="202"/>
                        <a:pt x="41" y="202"/>
                        <a:pt x="41" y="202"/>
                      </a:cubicBezTo>
                      <a:cubicBezTo>
                        <a:pt x="41" y="242"/>
                        <a:pt x="41" y="242"/>
                        <a:pt x="41" y="242"/>
                      </a:cubicBezTo>
                      <a:cubicBezTo>
                        <a:pt x="203" y="242"/>
                        <a:pt x="203" y="242"/>
                        <a:pt x="203" y="242"/>
                      </a:cubicBezTo>
                      <a:cubicBezTo>
                        <a:pt x="203" y="202"/>
                        <a:pt x="203" y="202"/>
                        <a:pt x="203" y="202"/>
                      </a:cubicBezTo>
                      <a:cubicBezTo>
                        <a:pt x="142" y="202"/>
                        <a:pt x="142" y="202"/>
                        <a:pt x="142" y="202"/>
                      </a:cubicBezTo>
                      <a:cubicBezTo>
                        <a:pt x="142" y="160"/>
                        <a:pt x="142" y="160"/>
                        <a:pt x="142" y="160"/>
                      </a:cubicBezTo>
                      <a:cubicBezTo>
                        <a:pt x="199" y="156"/>
                        <a:pt x="244" y="109"/>
                        <a:pt x="244" y="51"/>
                      </a:cubicBezTo>
                      <a:cubicBezTo>
                        <a:pt x="244" y="0"/>
                        <a:pt x="244" y="0"/>
                        <a:pt x="244" y="0"/>
                      </a:cubicBezTo>
                      <a:lnTo>
                        <a:pt x="204"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167"/>
                  <a:endParaRPr lang="en-US" sz="1666" kern="0">
                    <a:solidFill>
                      <a:srgbClr val="FFFFFF"/>
                    </a:solidFill>
                    <a:latin typeface="Segoe UI"/>
                  </a:endParaRPr>
                </a:p>
              </p:txBody>
            </p:sp>
            <p:sp>
              <p:nvSpPr>
                <p:cNvPr id="142" name="Freeform 389"/>
                <p:cNvSpPr>
                  <a:spLocks noEditPoints="1"/>
                </p:cNvSpPr>
                <p:nvPr/>
              </p:nvSpPr>
              <p:spPr bwMode="auto">
                <a:xfrm>
                  <a:off x="-926" y="2738"/>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167"/>
                  <a:endParaRPr lang="en-US" sz="1666" kern="0">
                    <a:solidFill>
                      <a:srgbClr val="FFFFFF"/>
                    </a:solidFill>
                    <a:latin typeface="Segoe UI"/>
                  </a:endParaRPr>
                </a:p>
              </p:txBody>
            </p:sp>
          </p:grpSp>
          <p:grpSp>
            <p:nvGrpSpPr>
              <p:cNvPr id="130" name="Group 129"/>
              <p:cNvGrpSpPr/>
              <p:nvPr/>
            </p:nvGrpSpPr>
            <p:grpSpPr>
              <a:xfrm>
                <a:off x="5345480" y="1443592"/>
                <a:ext cx="1381394" cy="1269128"/>
                <a:chOff x="5345480" y="1443592"/>
                <a:chExt cx="1381394" cy="1269128"/>
              </a:xfrm>
              <a:grpFill/>
            </p:grpSpPr>
            <p:sp>
              <p:nvSpPr>
                <p:cNvPr id="138" name="Bent Arrow 137"/>
                <p:cNvSpPr/>
                <p:nvPr/>
              </p:nvSpPr>
              <p:spPr bwMode="auto">
                <a:xfrm>
                  <a:off x="5345480" y="1554480"/>
                  <a:ext cx="1222960" cy="1158240"/>
                </a:xfrm>
                <a:prstGeom prst="bentArrow">
                  <a:avLst>
                    <a:gd name="adj1" fmla="val 19737"/>
                    <a:gd name="adj2" fmla="val 25000"/>
                    <a:gd name="adj3" fmla="val 26316"/>
                    <a:gd name="adj4" fmla="val 55925"/>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9" name="Isosceles Triangle 138"/>
                <p:cNvSpPr/>
                <p:nvPr/>
              </p:nvSpPr>
              <p:spPr bwMode="auto">
                <a:xfrm rot="5400000">
                  <a:off x="6110896" y="1589033"/>
                  <a:ext cx="761420" cy="47053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31" name="Group 130"/>
              <p:cNvGrpSpPr/>
              <p:nvPr/>
            </p:nvGrpSpPr>
            <p:grpSpPr>
              <a:xfrm rot="10800000">
                <a:off x="7049745" y="4080086"/>
                <a:ext cx="1381394" cy="1269128"/>
                <a:chOff x="5345480" y="1443592"/>
                <a:chExt cx="1381394" cy="1269128"/>
              </a:xfrm>
              <a:grpFill/>
            </p:grpSpPr>
            <p:sp>
              <p:nvSpPr>
                <p:cNvPr id="136" name="Bent Arrow 135"/>
                <p:cNvSpPr/>
                <p:nvPr/>
              </p:nvSpPr>
              <p:spPr bwMode="auto">
                <a:xfrm>
                  <a:off x="5345480" y="1554480"/>
                  <a:ext cx="1222960" cy="1158240"/>
                </a:xfrm>
                <a:prstGeom prst="bentArrow">
                  <a:avLst>
                    <a:gd name="adj1" fmla="val 19737"/>
                    <a:gd name="adj2" fmla="val 25000"/>
                    <a:gd name="adj3" fmla="val 26316"/>
                    <a:gd name="adj4" fmla="val 55925"/>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7" name="Isosceles Triangle 136"/>
                <p:cNvSpPr/>
                <p:nvPr/>
              </p:nvSpPr>
              <p:spPr bwMode="auto">
                <a:xfrm rot="5400000">
                  <a:off x="6110896" y="1589033"/>
                  <a:ext cx="761420" cy="47053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32" name="Freeform 131"/>
              <p:cNvSpPr/>
              <p:nvPr/>
            </p:nvSpPr>
            <p:spPr bwMode="auto">
              <a:xfrm>
                <a:off x="7275189" y="1443591"/>
                <a:ext cx="2097410" cy="2549289"/>
              </a:xfrm>
              <a:custGeom>
                <a:avLst/>
                <a:gdLst>
                  <a:gd name="connsiteX0" fmla="*/ 0 w 2097410"/>
                  <a:gd name="connsiteY0" fmla="*/ 0 h 2549289"/>
                  <a:gd name="connsiteX1" fmla="*/ 2097410 w 2097410"/>
                  <a:gd name="connsiteY1" fmla="*/ 0 h 2549289"/>
                  <a:gd name="connsiteX2" fmla="*/ 2097410 w 2097410"/>
                  <a:gd name="connsiteY2" fmla="*/ 2549289 h 2549289"/>
                  <a:gd name="connsiteX3" fmla="*/ 0 w 2097410"/>
                  <a:gd name="connsiteY3" fmla="*/ 2549289 h 2549289"/>
                  <a:gd name="connsiteX4" fmla="*/ 0 w 2097410"/>
                  <a:gd name="connsiteY4" fmla="*/ 0 h 2549289"/>
                  <a:gd name="connsiteX5" fmla="*/ 157095 w 2097410"/>
                  <a:gd name="connsiteY5" fmla="*/ 154388 h 2549289"/>
                  <a:gd name="connsiteX6" fmla="*/ 157095 w 2097410"/>
                  <a:gd name="connsiteY6" fmla="*/ 2394900 h 2549289"/>
                  <a:gd name="connsiteX7" fmla="*/ 1940316 w 2097410"/>
                  <a:gd name="connsiteY7" fmla="*/ 2394900 h 2549289"/>
                  <a:gd name="connsiteX8" fmla="*/ 1940316 w 2097410"/>
                  <a:gd name="connsiteY8" fmla="*/ 154388 h 2549289"/>
                  <a:gd name="connsiteX9" fmla="*/ 157095 w 2097410"/>
                  <a:gd name="connsiteY9" fmla="*/ 154388 h 2549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97410" h="2549289">
                    <a:moveTo>
                      <a:pt x="0" y="0"/>
                    </a:moveTo>
                    <a:lnTo>
                      <a:pt x="2097410" y="0"/>
                    </a:lnTo>
                    <a:lnTo>
                      <a:pt x="2097410" y="2549289"/>
                    </a:lnTo>
                    <a:lnTo>
                      <a:pt x="0" y="2549289"/>
                    </a:lnTo>
                    <a:lnTo>
                      <a:pt x="0" y="0"/>
                    </a:lnTo>
                    <a:close/>
                    <a:moveTo>
                      <a:pt x="157095" y="154388"/>
                    </a:moveTo>
                    <a:lnTo>
                      <a:pt x="157095" y="2394900"/>
                    </a:lnTo>
                    <a:lnTo>
                      <a:pt x="1940316" y="2394900"/>
                    </a:lnTo>
                    <a:lnTo>
                      <a:pt x="1940316" y="154388"/>
                    </a:lnTo>
                    <a:lnTo>
                      <a:pt x="157095" y="15438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3" name="Rectangle 132"/>
              <p:cNvSpPr/>
              <p:nvPr/>
            </p:nvSpPr>
            <p:spPr bwMode="auto">
              <a:xfrm>
                <a:off x="7711440" y="1981200"/>
                <a:ext cx="1127760" cy="1524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4" name="Rectangle 133"/>
              <p:cNvSpPr/>
              <p:nvPr/>
            </p:nvSpPr>
            <p:spPr bwMode="auto">
              <a:xfrm>
                <a:off x="7711440" y="2518221"/>
                <a:ext cx="1127760" cy="1524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5" name="Rectangle 134"/>
              <p:cNvSpPr/>
              <p:nvPr/>
            </p:nvSpPr>
            <p:spPr bwMode="auto">
              <a:xfrm>
                <a:off x="7711440" y="3055242"/>
                <a:ext cx="1127760" cy="1524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25" name="Group 24"/>
          <p:cNvGrpSpPr/>
          <p:nvPr/>
        </p:nvGrpSpPr>
        <p:grpSpPr>
          <a:xfrm>
            <a:off x="8358096" y="2832577"/>
            <a:ext cx="2105082" cy="985811"/>
            <a:chOff x="8527913" y="2888721"/>
            <a:chExt cx="2147853" cy="1005840"/>
          </a:xfrm>
        </p:grpSpPr>
        <p:sp>
          <p:nvSpPr>
            <p:cNvPr id="165" name="Rectangle 164"/>
            <p:cNvSpPr/>
            <p:nvPr/>
          </p:nvSpPr>
          <p:spPr bwMode="auto">
            <a:xfrm>
              <a:off x="8527913" y="2888721"/>
              <a:ext cx="2147853"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7" tIns="44803" rIns="17917" bIns="89581" numCol="1" spcCol="1270" anchor="t" anchorCtr="0">
              <a:noAutofit/>
            </a:bodyPr>
            <a:lstStyle/>
            <a:p>
              <a:pPr algn="ctr" defTabSz="710584">
                <a:spcAft>
                  <a:spcPct val="35000"/>
                </a:spcAft>
              </a:pPr>
              <a:r>
                <a:rPr lang="en-US" sz="1568"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Personal Digital Assistant</a:t>
              </a:r>
            </a:p>
          </p:txBody>
        </p:sp>
        <p:sp>
          <p:nvSpPr>
            <p:cNvPr id="166" name="Rectangle 165"/>
            <p:cNvSpPr/>
            <p:nvPr/>
          </p:nvSpPr>
          <p:spPr>
            <a:xfrm>
              <a:off x="9194516" y="3376977"/>
              <a:ext cx="687945" cy="276999"/>
            </a:xfrm>
            <a:prstGeom prst="rect">
              <a:avLst/>
            </a:prstGeom>
          </p:spPr>
          <p:txBody>
            <a:bodyPr wrap="none">
              <a:spAutoFit/>
            </a:bodyPr>
            <a:lstStyle/>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Cortana</a:t>
              </a:r>
            </a:p>
          </p:txBody>
        </p:sp>
        <p:pic>
          <p:nvPicPr>
            <p:cNvPr id="192" name="Picture 191" descr="http://winaero.com/blog/wp-content/uploads/2015/01/cortana-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76963" y="3392261"/>
              <a:ext cx="259973" cy="25997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 name="Group 13"/>
          <p:cNvGrpSpPr/>
          <p:nvPr/>
        </p:nvGrpSpPr>
        <p:grpSpPr>
          <a:xfrm>
            <a:off x="8367998" y="1753459"/>
            <a:ext cx="2095181" cy="985811"/>
            <a:chOff x="8538017" y="1787678"/>
            <a:chExt cx="2137750" cy="1005840"/>
          </a:xfrm>
        </p:grpSpPr>
        <p:sp>
          <p:nvSpPr>
            <p:cNvPr id="44" name="Rectangle 43"/>
            <p:cNvSpPr/>
            <p:nvPr/>
          </p:nvSpPr>
          <p:spPr bwMode="auto">
            <a:xfrm>
              <a:off x="8538017" y="1787678"/>
              <a:ext cx="2137750"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7" tIns="44803" rIns="17917" bIns="89581" numCol="1" spcCol="1270" anchor="t" anchorCtr="0">
              <a:noAutofit/>
            </a:bodyPr>
            <a:lstStyle/>
            <a:p>
              <a:pPr algn="ctr" defTabSz="710584">
                <a:spcAft>
                  <a:spcPct val="35000"/>
                </a:spcAft>
              </a:pPr>
              <a:r>
                <a:rPr lang="en-US" sz="1568"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shboards and Visualizations</a:t>
              </a:r>
            </a:p>
          </p:txBody>
        </p:sp>
        <p:grpSp>
          <p:nvGrpSpPr>
            <p:cNvPr id="68" name="Group 67"/>
            <p:cNvGrpSpPr/>
            <p:nvPr/>
          </p:nvGrpSpPr>
          <p:grpSpPr>
            <a:xfrm>
              <a:off x="8847475" y="2434373"/>
              <a:ext cx="399110" cy="255091"/>
              <a:chOff x="4481847" y="2708926"/>
              <a:chExt cx="673103" cy="430214"/>
            </a:xfrm>
            <a:solidFill>
              <a:schemeClr val="bg1"/>
            </a:solidFill>
          </p:grpSpPr>
          <p:sp>
            <p:nvSpPr>
              <p:cNvPr id="69" name="Freeform 5"/>
              <p:cNvSpPr>
                <a:spLocks noEditPoints="1"/>
              </p:cNvSpPr>
              <p:nvPr/>
            </p:nvSpPr>
            <p:spPr bwMode="auto">
              <a:xfrm>
                <a:off x="4481847" y="2708926"/>
                <a:ext cx="673103" cy="430214"/>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chemeClr val="tx1"/>
              </a:solidFill>
              <a:ln>
                <a:noFill/>
              </a:ln>
            </p:spPr>
            <p:txBody>
              <a:bodyPr vert="horz" wrap="square" lIns="89619" tIns="44810" rIns="89619" bIns="44810" numCol="1" anchor="t" anchorCtr="0" compatLnSpc="1">
                <a:prstTxWarp prst="textNoShape">
                  <a:avLst/>
                </a:prstTxWarp>
              </a:bodyPr>
              <a:lstStyle/>
              <a:p>
                <a:pPr defTabSz="914180"/>
                <a:endParaRPr lang="en-US" sz="1764" kern="0">
                  <a:solidFill>
                    <a:srgbClr val="FFFFFF"/>
                  </a:solidFill>
                  <a:latin typeface="Segoe UI"/>
                </a:endParaRPr>
              </a:p>
            </p:txBody>
          </p:sp>
          <p:sp>
            <p:nvSpPr>
              <p:cNvPr id="70" name="Freeform 6"/>
              <p:cNvSpPr>
                <a:spLocks/>
              </p:cNvSpPr>
              <p:nvPr/>
            </p:nvSpPr>
            <p:spPr bwMode="auto">
              <a:xfrm>
                <a:off x="4727910" y="2799414"/>
                <a:ext cx="73024" cy="257176"/>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chemeClr val="tx1"/>
              </a:solidFill>
              <a:ln>
                <a:noFill/>
              </a:ln>
            </p:spPr>
            <p:txBody>
              <a:bodyPr vert="horz" wrap="square" lIns="89619" tIns="44810" rIns="89619" bIns="44810" numCol="1" anchor="t" anchorCtr="0" compatLnSpc="1">
                <a:prstTxWarp prst="textNoShape">
                  <a:avLst/>
                </a:prstTxWarp>
              </a:bodyPr>
              <a:lstStyle/>
              <a:p>
                <a:pPr defTabSz="914180"/>
                <a:endParaRPr lang="en-US" sz="1764" kern="0">
                  <a:solidFill>
                    <a:srgbClr val="FFFFFF"/>
                  </a:solidFill>
                  <a:latin typeface="Segoe UI"/>
                </a:endParaRPr>
              </a:p>
            </p:txBody>
          </p:sp>
          <p:sp>
            <p:nvSpPr>
              <p:cNvPr id="71" name="Freeform 7"/>
              <p:cNvSpPr>
                <a:spLocks/>
              </p:cNvSpPr>
              <p:nvPr/>
            </p:nvSpPr>
            <p:spPr bwMode="auto">
              <a:xfrm>
                <a:off x="4837449" y="2872438"/>
                <a:ext cx="74613" cy="184150"/>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chemeClr val="tx1"/>
              </a:solidFill>
              <a:ln>
                <a:noFill/>
              </a:ln>
            </p:spPr>
            <p:txBody>
              <a:bodyPr vert="horz" wrap="square" lIns="89619" tIns="44810" rIns="89619" bIns="44810" numCol="1" anchor="t" anchorCtr="0" compatLnSpc="1">
                <a:prstTxWarp prst="textNoShape">
                  <a:avLst/>
                </a:prstTxWarp>
              </a:bodyPr>
              <a:lstStyle/>
              <a:p>
                <a:pPr defTabSz="914180"/>
                <a:endParaRPr lang="en-US" sz="1764" kern="0">
                  <a:solidFill>
                    <a:srgbClr val="FFFFFF"/>
                  </a:solidFill>
                  <a:latin typeface="Segoe UI"/>
                </a:endParaRPr>
              </a:p>
            </p:txBody>
          </p:sp>
          <p:sp>
            <p:nvSpPr>
              <p:cNvPr id="72" name="Freeform 8"/>
              <p:cNvSpPr>
                <a:spLocks/>
              </p:cNvSpPr>
              <p:nvPr/>
            </p:nvSpPr>
            <p:spPr bwMode="auto">
              <a:xfrm>
                <a:off x="4604085" y="2937526"/>
                <a:ext cx="103187" cy="119063"/>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chemeClr val="tx1"/>
              </a:solidFill>
              <a:ln>
                <a:noFill/>
              </a:ln>
            </p:spPr>
            <p:txBody>
              <a:bodyPr vert="horz" wrap="square" lIns="89619" tIns="44810" rIns="89619" bIns="44810" numCol="1" anchor="t" anchorCtr="0" compatLnSpc="1">
                <a:prstTxWarp prst="textNoShape">
                  <a:avLst/>
                </a:prstTxWarp>
              </a:bodyPr>
              <a:lstStyle/>
              <a:p>
                <a:pPr defTabSz="914180"/>
                <a:endParaRPr lang="en-US" sz="1764" kern="0">
                  <a:solidFill>
                    <a:srgbClr val="FFFFFF"/>
                  </a:solidFill>
                  <a:latin typeface="Segoe UI"/>
                </a:endParaRPr>
              </a:p>
            </p:txBody>
          </p:sp>
          <p:sp>
            <p:nvSpPr>
              <p:cNvPr id="73" name="Freeform 9"/>
              <p:cNvSpPr>
                <a:spLocks/>
              </p:cNvSpPr>
              <p:nvPr/>
            </p:nvSpPr>
            <p:spPr bwMode="auto">
              <a:xfrm>
                <a:off x="4939050" y="2954988"/>
                <a:ext cx="87312" cy="101601"/>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chemeClr val="tx1"/>
              </a:solidFill>
              <a:ln>
                <a:noFill/>
              </a:ln>
            </p:spPr>
            <p:txBody>
              <a:bodyPr vert="horz" wrap="square" lIns="89619" tIns="44810" rIns="89619" bIns="44810" numCol="1" anchor="t" anchorCtr="0" compatLnSpc="1">
                <a:prstTxWarp prst="textNoShape">
                  <a:avLst/>
                </a:prstTxWarp>
              </a:bodyPr>
              <a:lstStyle/>
              <a:p>
                <a:pPr defTabSz="914180"/>
                <a:endParaRPr lang="en-US" sz="1764" kern="0">
                  <a:solidFill>
                    <a:srgbClr val="FFFFFF"/>
                  </a:solidFill>
                  <a:latin typeface="Segoe UI"/>
                </a:endParaRPr>
              </a:p>
            </p:txBody>
          </p:sp>
        </p:grpSp>
        <p:sp>
          <p:nvSpPr>
            <p:cNvPr id="86" name="Rectangle 85"/>
            <p:cNvSpPr/>
            <p:nvPr/>
          </p:nvSpPr>
          <p:spPr>
            <a:xfrm>
              <a:off x="9204619" y="2421304"/>
              <a:ext cx="737054" cy="278832"/>
            </a:xfrm>
            <a:prstGeom prst="rect">
              <a:avLst/>
            </a:prstGeom>
          </p:spPr>
          <p:txBody>
            <a:bodyPr wrap="none">
              <a:spAutoFit/>
            </a:bodyPr>
            <a:lstStyle/>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Power BI</a:t>
              </a:r>
            </a:p>
          </p:txBody>
        </p:sp>
      </p:grpSp>
      <p:grpSp>
        <p:nvGrpSpPr>
          <p:cNvPr id="24" name="Group 23"/>
          <p:cNvGrpSpPr/>
          <p:nvPr/>
        </p:nvGrpSpPr>
        <p:grpSpPr>
          <a:xfrm>
            <a:off x="6152903" y="1756123"/>
            <a:ext cx="2322949" cy="4234072"/>
            <a:chOff x="6277916" y="1790395"/>
            <a:chExt cx="2370146" cy="4320099"/>
          </a:xfrm>
        </p:grpSpPr>
        <p:sp>
          <p:nvSpPr>
            <p:cNvPr id="43" name="Rectangle 42"/>
            <p:cNvSpPr/>
            <p:nvPr/>
          </p:nvSpPr>
          <p:spPr bwMode="auto">
            <a:xfrm>
              <a:off x="6277916" y="1790395"/>
              <a:ext cx="2079506" cy="4320099"/>
            </a:xfrm>
            <a:prstGeom prst="rect">
              <a:avLst/>
            </a:prstGeom>
            <a:solidFill>
              <a:srgbClr val="005AA1"/>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7" tIns="44803" rIns="17917" bIns="89581" numCol="1" spcCol="1270" anchor="t" anchorCtr="0">
              <a:noAutofit/>
            </a:bodyPr>
            <a:lstStyle/>
            <a:p>
              <a:pPr algn="ctr" defTabSz="710584">
                <a:spcAft>
                  <a:spcPct val="35000"/>
                </a:spcAft>
              </a:pPr>
              <a:r>
                <a:rPr lang="en-US" sz="1568"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Machine Learning </a:t>
              </a:r>
              <a:br>
                <a:rPr lang="en-US" sz="1568"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1568"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nd Analytics</a:t>
              </a:r>
            </a:p>
          </p:txBody>
        </p:sp>
        <p:pic>
          <p:nvPicPr>
            <p:cNvPr id="74" name="Picture 7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98398" y="2896065"/>
              <a:ext cx="353933" cy="375063"/>
            </a:xfrm>
            <a:prstGeom prst="rect">
              <a:avLst/>
            </a:prstGeom>
          </p:spPr>
        </p:pic>
        <p:pic>
          <p:nvPicPr>
            <p:cNvPr id="75" name="Picture 7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80490" y="3992088"/>
              <a:ext cx="428269" cy="310126"/>
            </a:xfrm>
            <a:prstGeom prst="rect">
              <a:avLst/>
            </a:prstGeom>
          </p:spPr>
        </p:pic>
        <p:pic>
          <p:nvPicPr>
            <p:cNvPr id="76" name="Picture 7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351467" y="4994031"/>
              <a:ext cx="474530" cy="367761"/>
            </a:xfrm>
            <a:prstGeom prst="rect">
              <a:avLst/>
            </a:prstGeom>
          </p:spPr>
        </p:pic>
        <p:sp>
          <p:nvSpPr>
            <p:cNvPr id="83" name="Rectangle 82"/>
            <p:cNvSpPr/>
            <p:nvPr/>
          </p:nvSpPr>
          <p:spPr>
            <a:xfrm>
              <a:off x="6767968" y="2860458"/>
              <a:ext cx="1297791" cy="461665"/>
            </a:xfrm>
            <a:prstGeom prst="rect">
              <a:avLst/>
            </a:prstGeom>
          </p:spPr>
          <p:txBody>
            <a:bodyPr wrap="none">
              <a:spAutoFit/>
            </a:bodyPr>
            <a:lstStyle/>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Machine Learning</a:t>
              </a:r>
            </a:p>
          </p:txBody>
        </p:sp>
        <p:sp>
          <p:nvSpPr>
            <p:cNvPr id="84" name="Rectangle 83"/>
            <p:cNvSpPr/>
            <p:nvPr/>
          </p:nvSpPr>
          <p:spPr>
            <a:xfrm>
              <a:off x="6808759" y="3900664"/>
              <a:ext cx="1439497" cy="461665"/>
            </a:xfrm>
            <a:prstGeom prst="rect">
              <a:avLst/>
            </a:prstGeom>
          </p:spPr>
          <p:txBody>
            <a:bodyPr wrap="none">
              <a:spAutoFit/>
            </a:bodyPr>
            <a:lstStyle/>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HDInsight (Hadoop)</a:t>
              </a:r>
            </a:p>
          </p:txBody>
        </p:sp>
        <p:sp>
          <p:nvSpPr>
            <p:cNvPr id="85" name="Rectangle 84"/>
            <p:cNvSpPr/>
            <p:nvPr/>
          </p:nvSpPr>
          <p:spPr>
            <a:xfrm>
              <a:off x="6808759" y="4922306"/>
              <a:ext cx="1216996" cy="463456"/>
            </a:xfrm>
            <a:prstGeom prst="rect">
              <a:avLst/>
            </a:prstGeom>
          </p:spPr>
          <p:txBody>
            <a:bodyPr wrap="none">
              <a:spAutoFit/>
            </a:bodyPr>
            <a:lstStyle/>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tream Analytics</a:t>
              </a:r>
            </a:p>
          </p:txBody>
        </p:sp>
        <p:grpSp>
          <p:nvGrpSpPr>
            <p:cNvPr id="148" name="Group 147"/>
            <p:cNvGrpSpPr/>
            <p:nvPr/>
          </p:nvGrpSpPr>
          <p:grpSpPr>
            <a:xfrm>
              <a:off x="8352819" y="2143445"/>
              <a:ext cx="295243" cy="1834529"/>
              <a:chOff x="3832324" y="5254390"/>
              <a:chExt cx="295243" cy="1834529"/>
            </a:xfrm>
          </p:grpSpPr>
          <p:sp>
            <p:nvSpPr>
              <p:cNvPr id="149" name="Isosceles Triangle 148"/>
              <p:cNvSpPr/>
              <p:nvPr/>
            </p:nvSpPr>
            <p:spPr bwMode="auto">
              <a:xfrm rot="5400000">
                <a:off x="3576707" y="55572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50" name="Isosceles Triangle 149"/>
              <p:cNvSpPr/>
              <p:nvPr/>
            </p:nvSpPr>
            <p:spPr bwMode="auto">
              <a:xfrm rot="5400000">
                <a:off x="3529509" y="5557205"/>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91" name="Isosceles Triangle 190"/>
              <p:cNvSpPr/>
              <p:nvPr/>
            </p:nvSpPr>
            <p:spPr bwMode="auto">
              <a:xfrm rot="5400000">
                <a:off x="3576707" y="6538059"/>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51" name="Group 150"/>
            <p:cNvGrpSpPr/>
            <p:nvPr/>
          </p:nvGrpSpPr>
          <p:grpSpPr>
            <a:xfrm>
              <a:off x="8352819" y="4071625"/>
              <a:ext cx="295243" cy="853675"/>
              <a:chOff x="3832324" y="5673490"/>
              <a:chExt cx="295243" cy="853675"/>
            </a:xfrm>
          </p:grpSpPr>
          <p:sp>
            <p:nvSpPr>
              <p:cNvPr id="152" name="Isosceles Triangle 151"/>
              <p:cNvSpPr/>
              <p:nvPr/>
            </p:nvSpPr>
            <p:spPr bwMode="auto">
              <a:xfrm rot="5400000">
                <a:off x="3576707" y="59763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53" name="Isosceles Triangle 152"/>
              <p:cNvSpPr/>
              <p:nvPr/>
            </p:nvSpPr>
            <p:spPr bwMode="auto">
              <a:xfrm rot="5400000">
                <a:off x="3529509" y="5976305"/>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58" name="Group 157"/>
            <p:cNvGrpSpPr/>
            <p:nvPr/>
          </p:nvGrpSpPr>
          <p:grpSpPr>
            <a:xfrm>
              <a:off x="8352819" y="5171433"/>
              <a:ext cx="295243" cy="853675"/>
              <a:chOff x="3832324" y="5397265"/>
              <a:chExt cx="295243" cy="853675"/>
            </a:xfrm>
          </p:grpSpPr>
          <p:sp>
            <p:nvSpPr>
              <p:cNvPr id="159" name="Isosceles Triangle 158"/>
              <p:cNvSpPr/>
              <p:nvPr/>
            </p:nvSpPr>
            <p:spPr bwMode="auto">
              <a:xfrm rot="5400000">
                <a:off x="3576707" y="5700080"/>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0" name="Isosceles Triangle 159"/>
              <p:cNvSpPr/>
              <p:nvPr/>
            </p:nvSpPr>
            <p:spPr bwMode="auto">
              <a:xfrm rot="5400000">
                <a:off x="3529509" y="5700080"/>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90" name="Isosceles Triangle 189"/>
            <p:cNvSpPr/>
            <p:nvPr/>
          </p:nvSpPr>
          <p:spPr bwMode="auto">
            <a:xfrm rot="5400000">
              <a:off x="8050088" y="3428236"/>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83" name="Freeform 389"/>
          <p:cNvSpPr>
            <a:spLocks noEditPoints="1"/>
          </p:cNvSpPr>
          <p:nvPr/>
        </p:nvSpPr>
        <p:spPr bwMode="auto">
          <a:xfrm>
            <a:off x="8884160" y="3383544"/>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167"/>
            <a:endParaRPr lang="en-US" sz="1666" kern="0">
              <a:solidFill>
                <a:srgbClr val="FFFFFF"/>
              </a:solidFill>
              <a:latin typeface="Segoe UI"/>
            </a:endParaRPr>
          </a:p>
        </p:txBody>
      </p:sp>
      <p:sp>
        <p:nvSpPr>
          <p:cNvPr id="5" name="Title 1"/>
          <p:cNvSpPr>
            <a:spLocks noGrp="1"/>
          </p:cNvSpPr>
          <p:nvPr>
            <p:ph type="title"/>
          </p:nvPr>
        </p:nvSpPr>
        <p:spPr>
          <a:prstGeom prst="rect">
            <a:avLst/>
          </a:prstGeom>
        </p:spPr>
        <p:txBody>
          <a:bodyPr/>
          <a:lstStyle/>
          <a:p>
            <a:r>
              <a:rPr lang="en-US" dirty="0"/>
              <a:t>Cortana Intelligence Suite</a:t>
            </a:r>
            <a:br>
              <a:rPr lang="en-US" dirty="0"/>
            </a:br>
            <a:r>
              <a:rPr lang="en-US" sz="3527" dirty="0"/>
              <a:t>Transform data into intelligent action</a:t>
            </a:r>
          </a:p>
        </p:txBody>
      </p:sp>
      <p:sp>
        <p:nvSpPr>
          <p:cNvPr id="20" name="Rectangle 19"/>
          <p:cNvSpPr/>
          <p:nvPr/>
        </p:nvSpPr>
        <p:spPr>
          <a:xfrm>
            <a:off x="380419" y="6078015"/>
            <a:ext cx="668324" cy="333489"/>
          </a:xfrm>
          <a:prstGeom prst="rect">
            <a:avLst/>
          </a:prstGeom>
        </p:spPr>
        <p:txBody>
          <a:bodyPr wrap="none">
            <a:spAutoFit/>
          </a:bodyPr>
          <a:lstStyle/>
          <a:p>
            <a:pPr algn="ctr" defTabSz="710584">
              <a:spcAft>
                <a:spcPct val="35000"/>
              </a:spcAft>
            </a:pPr>
            <a:r>
              <a:rPr lang="en-US" sz="1567"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TA</a:t>
            </a:r>
          </a:p>
        </p:txBody>
      </p:sp>
      <p:grpSp>
        <p:nvGrpSpPr>
          <p:cNvPr id="6" name="Group 5"/>
          <p:cNvGrpSpPr/>
          <p:nvPr/>
        </p:nvGrpSpPr>
        <p:grpSpPr>
          <a:xfrm>
            <a:off x="270730" y="2091612"/>
            <a:ext cx="1520258" cy="3738195"/>
            <a:chOff x="276231" y="2132701"/>
            <a:chExt cx="1551146" cy="3814147"/>
          </a:xfrm>
        </p:grpSpPr>
        <p:cxnSp>
          <p:nvCxnSpPr>
            <p:cNvPr id="87" name="Straight Connector 86"/>
            <p:cNvCxnSpPr/>
            <p:nvPr/>
          </p:nvCxnSpPr>
          <p:spPr>
            <a:xfrm>
              <a:off x="1399592" y="2407298"/>
              <a:ext cx="7864" cy="2729556"/>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184988" y="2407298"/>
              <a:ext cx="214604"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flipV="1">
              <a:off x="1184988" y="3768264"/>
              <a:ext cx="570278"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184988" y="5136854"/>
              <a:ext cx="214604"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97" name="Freeform 34"/>
            <p:cNvSpPr>
              <a:spLocks noEditPoints="1"/>
            </p:cNvSpPr>
            <p:nvPr/>
          </p:nvSpPr>
          <p:spPr bwMode="auto">
            <a:xfrm>
              <a:off x="485527" y="2132701"/>
              <a:ext cx="613677" cy="485488"/>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chemeClr val="tx1"/>
            </a:solidFill>
            <a:ln>
              <a:noFill/>
            </a:ln>
          </p:spPr>
          <p:txBody>
            <a:bodyPr vert="horz" wrap="square" lIns="89606" tIns="44803" rIns="89606" bIns="44803" numCol="1" anchor="t" anchorCtr="0" compatLnSpc="1">
              <a:prstTxWarp prst="textNoShape">
                <a:avLst/>
              </a:prstTxWarp>
            </a:bodyPr>
            <a:lstStyle/>
            <a:p>
              <a:pPr defTabSz="914005"/>
              <a:endParaRPr lang="en-US" sz="1764" kern="0">
                <a:solidFill>
                  <a:srgbClr val="333333"/>
                </a:solidFill>
                <a:latin typeface="Segoe UI"/>
              </a:endParaRPr>
            </a:p>
          </p:txBody>
        </p:sp>
        <p:sp>
          <p:nvSpPr>
            <p:cNvPr id="3" name="TextBox 2"/>
            <p:cNvSpPr txBox="1"/>
            <p:nvPr/>
          </p:nvSpPr>
          <p:spPr>
            <a:xfrm>
              <a:off x="290952" y="2519818"/>
              <a:ext cx="1239881" cy="613972"/>
            </a:xfrm>
            <a:prstGeom prst="rect">
              <a:avLst/>
            </a:prstGeom>
            <a:noFill/>
          </p:spPr>
          <p:txBody>
            <a:bodyPr wrap="square" lIns="179213" tIns="143370" rIns="179213" bIns="143370" rtlCol="0">
              <a:spAutoFit/>
            </a:bodyPr>
            <a:lstStyle/>
            <a:p>
              <a:pPr defTabSz="914005">
                <a:lnSpc>
                  <a:spcPct val="90000"/>
                </a:lnSpc>
                <a:spcAft>
                  <a:spcPts val="588"/>
                </a:spcAft>
              </a:pPr>
              <a:r>
                <a:rPr lang="en-US" sz="1127"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Business </a:t>
              </a:r>
              <a:br>
                <a:rPr lang="en-US" sz="1127"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1127"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pps</a:t>
              </a:r>
            </a:p>
          </p:txBody>
        </p:sp>
        <p:sp>
          <p:nvSpPr>
            <p:cNvPr id="106" name="TextBox 105"/>
            <p:cNvSpPr txBox="1"/>
            <p:nvPr/>
          </p:nvSpPr>
          <p:spPr>
            <a:xfrm>
              <a:off x="286638" y="4033285"/>
              <a:ext cx="1239881" cy="613972"/>
            </a:xfrm>
            <a:prstGeom prst="rect">
              <a:avLst/>
            </a:prstGeom>
            <a:noFill/>
          </p:spPr>
          <p:txBody>
            <a:bodyPr wrap="square" lIns="179213" tIns="143370" rIns="179213" bIns="143370" rtlCol="0">
              <a:spAutoFit/>
            </a:bodyPr>
            <a:lstStyle/>
            <a:p>
              <a:pPr defTabSz="914005">
                <a:lnSpc>
                  <a:spcPct val="90000"/>
                </a:lnSpc>
                <a:spcAft>
                  <a:spcPts val="588"/>
                </a:spcAft>
              </a:pPr>
              <a:r>
                <a:rPr lang="en-US" sz="1127"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Custom </a:t>
              </a:r>
              <a:br>
                <a:rPr lang="en-US" sz="1127"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1127"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pps</a:t>
              </a:r>
            </a:p>
          </p:txBody>
        </p:sp>
        <p:sp>
          <p:nvSpPr>
            <p:cNvPr id="107" name="Freeform 53"/>
            <p:cNvSpPr>
              <a:spLocks noEditPoints="1"/>
            </p:cNvSpPr>
            <p:nvPr/>
          </p:nvSpPr>
          <p:spPr bwMode="auto">
            <a:xfrm>
              <a:off x="566387" y="3483627"/>
              <a:ext cx="451956" cy="645040"/>
            </a:xfrm>
            <a:custGeom>
              <a:avLst/>
              <a:gdLst>
                <a:gd name="T0" fmla="*/ 1011 w 1280"/>
                <a:gd name="T1" fmla="*/ 1048 h 1827"/>
                <a:gd name="T2" fmla="*/ 958 w 1280"/>
                <a:gd name="T3" fmla="*/ 1013 h 1827"/>
                <a:gd name="T4" fmla="*/ 847 w 1280"/>
                <a:gd name="T5" fmla="*/ 961 h 1827"/>
                <a:gd name="T6" fmla="*/ 814 w 1280"/>
                <a:gd name="T7" fmla="*/ 965 h 1827"/>
                <a:gd name="T8" fmla="*/ 710 w 1280"/>
                <a:gd name="T9" fmla="*/ 572 h 1827"/>
                <a:gd name="T10" fmla="*/ 601 w 1280"/>
                <a:gd name="T11" fmla="*/ 594 h 1827"/>
                <a:gd name="T12" fmla="*/ 705 w 1280"/>
                <a:gd name="T13" fmla="*/ 1159 h 1827"/>
                <a:gd name="T14" fmla="*/ 663 w 1280"/>
                <a:gd name="T15" fmla="*/ 1238 h 1827"/>
                <a:gd name="T16" fmla="*/ 504 w 1280"/>
                <a:gd name="T17" fmla="*/ 1112 h 1827"/>
                <a:gd name="T18" fmla="*/ 348 w 1280"/>
                <a:gd name="T19" fmla="*/ 1032 h 1827"/>
                <a:gd name="T20" fmla="*/ 378 w 1280"/>
                <a:gd name="T21" fmla="*/ 1138 h 1827"/>
                <a:gd name="T22" fmla="*/ 416 w 1280"/>
                <a:gd name="T23" fmla="*/ 1245 h 1827"/>
                <a:gd name="T24" fmla="*/ 492 w 1280"/>
                <a:gd name="T25" fmla="*/ 1368 h 1827"/>
                <a:gd name="T26" fmla="*/ 729 w 1280"/>
                <a:gd name="T27" fmla="*/ 1659 h 1827"/>
                <a:gd name="T28" fmla="*/ 805 w 1280"/>
                <a:gd name="T29" fmla="*/ 1827 h 1827"/>
                <a:gd name="T30" fmla="*/ 1238 w 1280"/>
                <a:gd name="T31" fmla="*/ 1652 h 1827"/>
                <a:gd name="T32" fmla="*/ 1257 w 1280"/>
                <a:gd name="T33" fmla="*/ 1576 h 1827"/>
                <a:gd name="T34" fmla="*/ 1273 w 1280"/>
                <a:gd name="T35" fmla="*/ 1354 h 1827"/>
                <a:gd name="T36" fmla="*/ 1198 w 1280"/>
                <a:gd name="T37" fmla="*/ 1207 h 1827"/>
                <a:gd name="T38" fmla="*/ 1131 w 1280"/>
                <a:gd name="T39" fmla="*/ 1112 h 1827"/>
                <a:gd name="T40" fmla="*/ 826 w 1280"/>
                <a:gd name="T41" fmla="*/ 381 h 1827"/>
                <a:gd name="T42" fmla="*/ 442 w 1280"/>
                <a:gd name="T43" fmla="*/ 0 h 1827"/>
                <a:gd name="T44" fmla="*/ 826 w 1280"/>
                <a:gd name="T45" fmla="*/ 381 h 1827"/>
                <a:gd name="T46" fmla="*/ 386 w 1280"/>
                <a:gd name="T47" fmla="*/ 381 h 1827"/>
                <a:gd name="T48" fmla="*/ 0 w 1280"/>
                <a:gd name="T49" fmla="*/ 0 h 1827"/>
                <a:gd name="T50" fmla="*/ 386 w 1280"/>
                <a:gd name="T51" fmla="*/ 381 h 1827"/>
                <a:gd name="T52" fmla="*/ 594 w 1280"/>
                <a:gd name="T53" fmla="*/ 821 h 1827"/>
                <a:gd name="T54" fmla="*/ 442 w 1280"/>
                <a:gd name="T55" fmla="*/ 437 h 1827"/>
                <a:gd name="T56" fmla="*/ 826 w 1280"/>
                <a:gd name="T57" fmla="*/ 821 h 1827"/>
                <a:gd name="T58" fmla="*/ 755 w 1280"/>
                <a:gd name="T59" fmla="*/ 561 h 1827"/>
                <a:gd name="T60" fmla="*/ 755 w 1280"/>
                <a:gd name="T61" fmla="*/ 561 h 1827"/>
                <a:gd name="T62" fmla="*/ 636 w 1280"/>
                <a:gd name="T63" fmla="*/ 480 h 1827"/>
                <a:gd name="T64" fmla="*/ 554 w 1280"/>
                <a:gd name="T65" fmla="*/ 601 h 1827"/>
                <a:gd name="T66" fmla="*/ 594 w 1280"/>
                <a:gd name="T67" fmla="*/ 821 h 1827"/>
                <a:gd name="T68" fmla="*/ 0 w 1280"/>
                <a:gd name="T69" fmla="*/ 1261 h 1827"/>
                <a:gd name="T70" fmla="*/ 606 w 1280"/>
                <a:gd name="T71" fmla="*/ 880 h 1827"/>
                <a:gd name="T72" fmla="*/ 658 w 1280"/>
                <a:gd name="T73" fmla="*/ 1157 h 1827"/>
                <a:gd name="T74" fmla="*/ 658 w 1280"/>
                <a:gd name="T75" fmla="*/ 1159 h 1827"/>
                <a:gd name="T76" fmla="*/ 644 w 1280"/>
                <a:gd name="T77" fmla="*/ 1193 h 1827"/>
                <a:gd name="T78" fmla="*/ 608 w 1280"/>
                <a:gd name="T79" fmla="*/ 1178 h 1827"/>
                <a:gd name="T80" fmla="*/ 563 w 1280"/>
                <a:gd name="T81" fmla="*/ 1117 h 1827"/>
                <a:gd name="T82" fmla="*/ 532 w 1280"/>
                <a:gd name="T83" fmla="*/ 1067 h 1827"/>
                <a:gd name="T84" fmla="*/ 388 w 1280"/>
                <a:gd name="T85" fmla="*/ 972 h 1827"/>
                <a:gd name="T86" fmla="*/ 298 w 1280"/>
                <a:gd name="T87" fmla="*/ 1105 h 1827"/>
                <a:gd name="T88" fmla="*/ 336 w 1280"/>
                <a:gd name="T89" fmla="*/ 1157 h 1827"/>
                <a:gd name="T90" fmla="*/ 357 w 1280"/>
                <a:gd name="T91" fmla="*/ 1219 h 1827"/>
                <a:gd name="T92" fmla="*/ 386 w 1280"/>
                <a:gd name="T93" fmla="*/ 821 h 1827"/>
                <a:gd name="T94" fmla="*/ 0 w 1280"/>
                <a:gd name="T95" fmla="*/ 437 h 1827"/>
                <a:gd name="T96" fmla="*/ 386 w 1280"/>
                <a:gd name="T97" fmla="*/ 821 h 1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80" h="1827">
                  <a:moveTo>
                    <a:pt x="1013" y="1048"/>
                  </a:moveTo>
                  <a:cubicBezTo>
                    <a:pt x="1011" y="1048"/>
                    <a:pt x="1011" y="1048"/>
                    <a:pt x="1011" y="1048"/>
                  </a:cubicBezTo>
                  <a:cubicBezTo>
                    <a:pt x="977" y="1046"/>
                    <a:pt x="977" y="1046"/>
                    <a:pt x="977" y="1046"/>
                  </a:cubicBezTo>
                  <a:cubicBezTo>
                    <a:pt x="958" y="1013"/>
                    <a:pt x="958" y="1013"/>
                    <a:pt x="958" y="1013"/>
                  </a:cubicBezTo>
                  <a:cubicBezTo>
                    <a:pt x="954" y="1008"/>
                    <a:pt x="951" y="1003"/>
                    <a:pt x="947" y="998"/>
                  </a:cubicBezTo>
                  <a:cubicBezTo>
                    <a:pt x="918" y="975"/>
                    <a:pt x="885" y="961"/>
                    <a:pt x="847" y="961"/>
                  </a:cubicBezTo>
                  <a:cubicBezTo>
                    <a:pt x="814" y="968"/>
                    <a:pt x="814" y="968"/>
                    <a:pt x="814" y="968"/>
                  </a:cubicBezTo>
                  <a:cubicBezTo>
                    <a:pt x="814" y="965"/>
                    <a:pt x="814" y="965"/>
                    <a:pt x="814" y="965"/>
                  </a:cubicBezTo>
                  <a:cubicBezTo>
                    <a:pt x="814" y="963"/>
                    <a:pt x="814" y="963"/>
                    <a:pt x="814" y="963"/>
                  </a:cubicBezTo>
                  <a:cubicBezTo>
                    <a:pt x="710" y="572"/>
                    <a:pt x="710" y="572"/>
                    <a:pt x="710" y="572"/>
                  </a:cubicBezTo>
                  <a:cubicBezTo>
                    <a:pt x="696" y="523"/>
                    <a:pt x="672" y="523"/>
                    <a:pt x="644" y="527"/>
                  </a:cubicBezTo>
                  <a:cubicBezTo>
                    <a:pt x="644" y="527"/>
                    <a:pt x="589" y="535"/>
                    <a:pt x="601" y="594"/>
                  </a:cubicBezTo>
                  <a:cubicBezTo>
                    <a:pt x="703" y="1140"/>
                    <a:pt x="703" y="1140"/>
                    <a:pt x="703" y="1140"/>
                  </a:cubicBezTo>
                  <a:cubicBezTo>
                    <a:pt x="703" y="1148"/>
                    <a:pt x="705" y="1152"/>
                    <a:pt x="705" y="1159"/>
                  </a:cubicBezTo>
                  <a:cubicBezTo>
                    <a:pt x="705" y="1183"/>
                    <a:pt x="696" y="1207"/>
                    <a:pt x="679" y="1226"/>
                  </a:cubicBezTo>
                  <a:cubicBezTo>
                    <a:pt x="674" y="1233"/>
                    <a:pt x="667" y="1238"/>
                    <a:pt x="663" y="1238"/>
                  </a:cubicBezTo>
                  <a:cubicBezTo>
                    <a:pt x="632" y="1242"/>
                    <a:pt x="603" y="1235"/>
                    <a:pt x="577" y="1216"/>
                  </a:cubicBezTo>
                  <a:cubicBezTo>
                    <a:pt x="547" y="1193"/>
                    <a:pt x="525" y="1143"/>
                    <a:pt x="504" y="1112"/>
                  </a:cubicBezTo>
                  <a:cubicBezTo>
                    <a:pt x="492" y="1093"/>
                    <a:pt x="483" y="1072"/>
                    <a:pt x="468" y="1055"/>
                  </a:cubicBezTo>
                  <a:cubicBezTo>
                    <a:pt x="440" y="1027"/>
                    <a:pt x="383" y="1003"/>
                    <a:pt x="348" y="1032"/>
                  </a:cubicBezTo>
                  <a:cubicBezTo>
                    <a:pt x="338" y="1041"/>
                    <a:pt x="326" y="1065"/>
                    <a:pt x="336" y="1077"/>
                  </a:cubicBezTo>
                  <a:cubicBezTo>
                    <a:pt x="350" y="1096"/>
                    <a:pt x="369" y="1117"/>
                    <a:pt x="378" y="1138"/>
                  </a:cubicBezTo>
                  <a:cubicBezTo>
                    <a:pt x="388" y="1155"/>
                    <a:pt x="393" y="1174"/>
                    <a:pt x="400" y="1193"/>
                  </a:cubicBezTo>
                  <a:cubicBezTo>
                    <a:pt x="404" y="1204"/>
                    <a:pt x="407" y="1235"/>
                    <a:pt x="416" y="1245"/>
                  </a:cubicBezTo>
                  <a:cubicBezTo>
                    <a:pt x="426" y="1254"/>
                    <a:pt x="435" y="1273"/>
                    <a:pt x="442" y="1285"/>
                  </a:cubicBezTo>
                  <a:cubicBezTo>
                    <a:pt x="459" y="1311"/>
                    <a:pt x="483" y="1339"/>
                    <a:pt x="492" y="1368"/>
                  </a:cubicBezTo>
                  <a:cubicBezTo>
                    <a:pt x="525" y="1415"/>
                    <a:pt x="539" y="1477"/>
                    <a:pt x="575" y="1522"/>
                  </a:cubicBezTo>
                  <a:cubicBezTo>
                    <a:pt x="620" y="1576"/>
                    <a:pt x="663" y="1628"/>
                    <a:pt x="729" y="1659"/>
                  </a:cubicBezTo>
                  <a:cubicBezTo>
                    <a:pt x="752" y="1673"/>
                    <a:pt x="769" y="1692"/>
                    <a:pt x="783" y="1713"/>
                  </a:cubicBezTo>
                  <a:cubicBezTo>
                    <a:pt x="805" y="1827"/>
                    <a:pt x="805" y="1827"/>
                    <a:pt x="805" y="1827"/>
                  </a:cubicBezTo>
                  <a:cubicBezTo>
                    <a:pt x="887" y="1813"/>
                    <a:pt x="1224" y="1756"/>
                    <a:pt x="1259" y="1749"/>
                  </a:cubicBezTo>
                  <a:cubicBezTo>
                    <a:pt x="1238" y="1652"/>
                    <a:pt x="1238" y="1652"/>
                    <a:pt x="1238" y="1652"/>
                  </a:cubicBezTo>
                  <a:cubicBezTo>
                    <a:pt x="1235" y="1649"/>
                    <a:pt x="1235" y="1649"/>
                    <a:pt x="1235" y="1649"/>
                  </a:cubicBezTo>
                  <a:cubicBezTo>
                    <a:pt x="1245" y="1626"/>
                    <a:pt x="1250" y="1600"/>
                    <a:pt x="1257" y="1576"/>
                  </a:cubicBezTo>
                  <a:cubicBezTo>
                    <a:pt x="1262" y="1555"/>
                    <a:pt x="1266" y="1536"/>
                    <a:pt x="1266" y="1514"/>
                  </a:cubicBezTo>
                  <a:cubicBezTo>
                    <a:pt x="1269" y="1462"/>
                    <a:pt x="1271" y="1408"/>
                    <a:pt x="1273" y="1354"/>
                  </a:cubicBezTo>
                  <a:cubicBezTo>
                    <a:pt x="1273" y="1344"/>
                    <a:pt x="1273" y="1335"/>
                    <a:pt x="1276" y="1325"/>
                  </a:cubicBezTo>
                  <a:cubicBezTo>
                    <a:pt x="1280" y="1294"/>
                    <a:pt x="1262" y="1211"/>
                    <a:pt x="1198" y="1207"/>
                  </a:cubicBezTo>
                  <a:cubicBezTo>
                    <a:pt x="1195" y="1207"/>
                    <a:pt x="1195" y="1207"/>
                    <a:pt x="1195" y="1204"/>
                  </a:cubicBezTo>
                  <a:cubicBezTo>
                    <a:pt x="1179" y="1171"/>
                    <a:pt x="1157" y="1140"/>
                    <a:pt x="1131" y="1112"/>
                  </a:cubicBezTo>
                  <a:cubicBezTo>
                    <a:pt x="1101" y="1079"/>
                    <a:pt x="1058" y="1055"/>
                    <a:pt x="1013" y="1048"/>
                  </a:cubicBezTo>
                  <a:close/>
                  <a:moveTo>
                    <a:pt x="826" y="381"/>
                  </a:moveTo>
                  <a:cubicBezTo>
                    <a:pt x="442" y="381"/>
                    <a:pt x="442" y="381"/>
                    <a:pt x="442" y="381"/>
                  </a:cubicBezTo>
                  <a:cubicBezTo>
                    <a:pt x="442" y="0"/>
                    <a:pt x="442" y="0"/>
                    <a:pt x="442" y="0"/>
                  </a:cubicBezTo>
                  <a:cubicBezTo>
                    <a:pt x="826" y="0"/>
                    <a:pt x="826" y="0"/>
                    <a:pt x="826" y="0"/>
                  </a:cubicBezTo>
                  <a:cubicBezTo>
                    <a:pt x="826" y="381"/>
                    <a:pt x="826" y="381"/>
                    <a:pt x="826" y="381"/>
                  </a:cubicBezTo>
                  <a:cubicBezTo>
                    <a:pt x="826" y="381"/>
                    <a:pt x="826" y="381"/>
                    <a:pt x="826" y="381"/>
                  </a:cubicBezTo>
                  <a:close/>
                  <a:moveTo>
                    <a:pt x="386" y="381"/>
                  </a:moveTo>
                  <a:cubicBezTo>
                    <a:pt x="0" y="381"/>
                    <a:pt x="0" y="381"/>
                    <a:pt x="0" y="381"/>
                  </a:cubicBezTo>
                  <a:cubicBezTo>
                    <a:pt x="0" y="0"/>
                    <a:pt x="0" y="0"/>
                    <a:pt x="0" y="0"/>
                  </a:cubicBezTo>
                  <a:cubicBezTo>
                    <a:pt x="386" y="0"/>
                    <a:pt x="386" y="0"/>
                    <a:pt x="386" y="0"/>
                  </a:cubicBezTo>
                  <a:cubicBezTo>
                    <a:pt x="386" y="381"/>
                    <a:pt x="386" y="381"/>
                    <a:pt x="386" y="381"/>
                  </a:cubicBezTo>
                  <a:cubicBezTo>
                    <a:pt x="386" y="381"/>
                    <a:pt x="386" y="381"/>
                    <a:pt x="386" y="381"/>
                  </a:cubicBezTo>
                  <a:close/>
                  <a:moveTo>
                    <a:pt x="594" y="821"/>
                  </a:moveTo>
                  <a:cubicBezTo>
                    <a:pt x="442" y="821"/>
                    <a:pt x="442" y="821"/>
                    <a:pt x="442" y="821"/>
                  </a:cubicBezTo>
                  <a:cubicBezTo>
                    <a:pt x="442" y="437"/>
                    <a:pt x="442" y="437"/>
                    <a:pt x="442" y="437"/>
                  </a:cubicBezTo>
                  <a:cubicBezTo>
                    <a:pt x="826" y="437"/>
                    <a:pt x="826" y="437"/>
                    <a:pt x="826" y="437"/>
                  </a:cubicBezTo>
                  <a:cubicBezTo>
                    <a:pt x="826" y="821"/>
                    <a:pt x="826" y="821"/>
                    <a:pt x="826" y="821"/>
                  </a:cubicBezTo>
                  <a:cubicBezTo>
                    <a:pt x="826" y="821"/>
                    <a:pt x="826" y="821"/>
                    <a:pt x="826" y="821"/>
                  </a:cubicBezTo>
                  <a:cubicBezTo>
                    <a:pt x="755" y="561"/>
                    <a:pt x="755" y="561"/>
                    <a:pt x="755" y="561"/>
                  </a:cubicBezTo>
                  <a:cubicBezTo>
                    <a:pt x="755" y="561"/>
                    <a:pt x="755" y="561"/>
                    <a:pt x="755" y="561"/>
                  </a:cubicBezTo>
                  <a:cubicBezTo>
                    <a:pt x="755" y="561"/>
                    <a:pt x="755" y="561"/>
                    <a:pt x="755" y="561"/>
                  </a:cubicBezTo>
                  <a:cubicBezTo>
                    <a:pt x="736" y="492"/>
                    <a:pt x="693" y="478"/>
                    <a:pt x="663" y="478"/>
                  </a:cubicBezTo>
                  <a:cubicBezTo>
                    <a:pt x="653" y="478"/>
                    <a:pt x="644" y="478"/>
                    <a:pt x="636" y="480"/>
                  </a:cubicBezTo>
                  <a:cubicBezTo>
                    <a:pt x="627" y="482"/>
                    <a:pt x="591" y="490"/>
                    <a:pt x="570" y="520"/>
                  </a:cubicBezTo>
                  <a:cubicBezTo>
                    <a:pt x="558" y="537"/>
                    <a:pt x="547" y="563"/>
                    <a:pt x="554" y="601"/>
                  </a:cubicBezTo>
                  <a:cubicBezTo>
                    <a:pt x="594" y="821"/>
                    <a:pt x="594" y="821"/>
                    <a:pt x="594" y="821"/>
                  </a:cubicBezTo>
                  <a:cubicBezTo>
                    <a:pt x="594" y="821"/>
                    <a:pt x="594" y="821"/>
                    <a:pt x="594" y="821"/>
                  </a:cubicBezTo>
                  <a:close/>
                  <a:moveTo>
                    <a:pt x="371" y="1261"/>
                  </a:moveTo>
                  <a:cubicBezTo>
                    <a:pt x="0" y="1261"/>
                    <a:pt x="0" y="1261"/>
                    <a:pt x="0" y="1261"/>
                  </a:cubicBezTo>
                  <a:cubicBezTo>
                    <a:pt x="0" y="880"/>
                    <a:pt x="0" y="880"/>
                    <a:pt x="0" y="880"/>
                  </a:cubicBezTo>
                  <a:cubicBezTo>
                    <a:pt x="606" y="880"/>
                    <a:pt x="606" y="880"/>
                    <a:pt x="606" y="880"/>
                  </a:cubicBezTo>
                  <a:cubicBezTo>
                    <a:pt x="655" y="1150"/>
                    <a:pt x="655" y="1150"/>
                    <a:pt x="655" y="1150"/>
                  </a:cubicBezTo>
                  <a:cubicBezTo>
                    <a:pt x="655" y="1152"/>
                    <a:pt x="658" y="1155"/>
                    <a:pt x="658" y="1157"/>
                  </a:cubicBezTo>
                  <a:cubicBezTo>
                    <a:pt x="658" y="1157"/>
                    <a:pt x="658" y="1157"/>
                    <a:pt x="658" y="1157"/>
                  </a:cubicBezTo>
                  <a:cubicBezTo>
                    <a:pt x="658" y="1159"/>
                    <a:pt x="658" y="1159"/>
                    <a:pt x="658" y="1159"/>
                  </a:cubicBezTo>
                  <a:cubicBezTo>
                    <a:pt x="658" y="1171"/>
                    <a:pt x="653" y="1181"/>
                    <a:pt x="646" y="1193"/>
                  </a:cubicBezTo>
                  <a:cubicBezTo>
                    <a:pt x="644" y="1193"/>
                    <a:pt x="644" y="1193"/>
                    <a:pt x="644" y="1193"/>
                  </a:cubicBezTo>
                  <a:cubicBezTo>
                    <a:pt x="632" y="1193"/>
                    <a:pt x="620" y="1188"/>
                    <a:pt x="608" y="1178"/>
                  </a:cubicBezTo>
                  <a:cubicBezTo>
                    <a:pt x="608" y="1178"/>
                    <a:pt x="608" y="1178"/>
                    <a:pt x="608" y="1178"/>
                  </a:cubicBezTo>
                  <a:cubicBezTo>
                    <a:pt x="608" y="1178"/>
                    <a:pt x="608" y="1178"/>
                    <a:pt x="608" y="1178"/>
                  </a:cubicBezTo>
                  <a:cubicBezTo>
                    <a:pt x="591" y="1167"/>
                    <a:pt x="577" y="1140"/>
                    <a:pt x="563" y="1117"/>
                  </a:cubicBezTo>
                  <a:cubicBezTo>
                    <a:pt x="556" y="1107"/>
                    <a:pt x="551" y="1096"/>
                    <a:pt x="544" y="1086"/>
                  </a:cubicBezTo>
                  <a:cubicBezTo>
                    <a:pt x="539" y="1079"/>
                    <a:pt x="537" y="1074"/>
                    <a:pt x="532" y="1067"/>
                  </a:cubicBezTo>
                  <a:cubicBezTo>
                    <a:pt x="525" y="1053"/>
                    <a:pt x="516" y="1036"/>
                    <a:pt x="502" y="1022"/>
                  </a:cubicBezTo>
                  <a:cubicBezTo>
                    <a:pt x="473" y="991"/>
                    <a:pt x="428" y="972"/>
                    <a:pt x="388" y="972"/>
                  </a:cubicBezTo>
                  <a:cubicBezTo>
                    <a:pt x="362" y="972"/>
                    <a:pt x="338" y="980"/>
                    <a:pt x="319" y="994"/>
                  </a:cubicBezTo>
                  <a:cubicBezTo>
                    <a:pt x="293" y="1017"/>
                    <a:pt x="270" y="1069"/>
                    <a:pt x="298" y="1105"/>
                  </a:cubicBezTo>
                  <a:cubicBezTo>
                    <a:pt x="303" y="1110"/>
                    <a:pt x="305" y="1114"/>
                    <a:pt x="310" y="1119"/>
                  </a:cubicBezTo>
                  <a:cubicBezTo>
                    <a:pt x="319" y="1133"/>
                    <a:pt x="331" y="1148"/>
                    <a:pt x="336" y="1157"/>
                  </a:cubicBezTo>
                  <a:cubicBezTo>
                    <a:pt x="343" y="1174"/>
                    <a:pt x="350" y="1193"/>
                    <a:pt x="355" y="1207"/>
                  </a:cubicBezTo>
                  <a:cubicBezTo>
                    <a:pt x="355" y="1209"/>
                    <a:pt x="357" y="1214"/>
                    <a:pt x="357" y="1219"/>
                  </a:cubicBezTo>
                  <a:cubicBezTo>
                    <a:pt x="359" y="1233"/>
                    <a:pt x="364" y="1247"/>
                    <a:pt x="371" y="1261"/>
                  </a:cubicBezTo>
                  <a:close/>
                  <a:moveTo>
                    <a:pt x="386" y="821"/>
                  </a:moveTo>
                  <a:cubicBezTo>
                    <a:pt x="0" y="821"/>
                    <a:pt x="0" y="821"/>
                    <a:pt x="0" y="821"/>
                  </a:cubicBezTo>
                  <a:cubicBezTo>
                    <a:pt x="0" y="437"/>
                    <a:pt x="0" y="437"/>
                    <a:pt x="0" y="437"/>
                  </a:cubicBezTo>
                  <a:cubicBezTo>
                    <a:pt x="386" y="437"/>
                    <a:pt x="386" y="437"/>
                    <a:pt x="386" y="437"/>
                  </a:cubicBezTo>
                  <a:cubicBezTo>
                    <a:pt x="386" y="821"/>
                    <a:pt x="386" y="821"/>
                    <a:pt x="386" y="821"/>
                  </a:cubicBezTo>
                  <a:cubicBezTo>
                    <a:pt x="386" y="821"/>
                    <a:pt x="386" y="821"/>
                    <a:pt x="386" y="821"/>
                  </a:cubicBezTo>
                  <a:close/>
                </a:path>
              </a:pathLst>
            </a:custGeom>
            <a:solidFill>
              <a:schemeClr val="tx1"/>
            </a:solidFill>
            <a:ln>
              <a:noFill/>
            </a:ln>
          </p:spPr>
          <p:txBody>
            <a:bodyPr vert="horz" wrap="square" lIns="89606" tIns="44803" rIns="89606" bIns="44803" numCol="1" anchor="t" anchorCtr="0" compatLnSpc="1">
              <a:prstTxWarp prst="textNoShape">
                <a:avLst/>
              </a:prstTxWarp>
            </a:bodyPr>
            <a:lstStyle/>
            <a:p>
              <a:pPr defTabSz="914005"/>
              <a:endParaRPr lang="en-US" sz="1764" kern="0">
                <a:solidFill>
                  <a:srgbClr val="333333"/>
                </a:solidFill>
                <a:latin typeface="Segoe UI"/>
              </a:endParaRPr>
            </a:p>
          </p:txBody>
        </p:sp>
        <p:sp>
          <p:nvSpPr>
            <p:cNvPr id="110" name="TextBox 109"/>
            <p:cNvSpPr txBox="1"/>
            <p:nvPr/>
          </p:nvSpPr>
          <p:spPr>
            <a:xfrm>
              <a:off x="276231" y="5332876"/>
              <a:ext cx="1551146" cy="613972"/>
            </a:xfrm>
            <a:prstGeom prst="rect">
              <a:avLst/>
            </a:prstGeom>
            <a:noFill/>
          </p:spPr>
          <p:txBody>
            <a:bodyPr wrap="square" lIns="179213" tIns="143370" rIns="179213" bIns="143370" rtlCol="0">
              <a:spAutoFit/>
            </a:bodyPr>
            <a:lstStyle/>
            <a:p>
              <a:pPr defTabSz="914005">
                <a:lnSpc>
                  <a:spcPct val="90000"/>
                </a:lnSpc>
                <a:spcAft>
                  <a:spcPts val="588"/>
                </a:spcAft>
              </a:pPr>
              <a:r>
                <a:rPr lang="en-US" sz="1127"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ensors </a:t>
              </a:r>
              <a:br>
                <a:rPr lang="en-US" sz="1127"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1127"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nd devices</a:t>
              </a:r>
            </a:p>
          </p:txBody>
        </p:sp>
        <p:sp>
          <p:nvSpPr>
            <p:cNvPr id="111" name="Freeform 16"/>
            <p:cNvSpPr>
              <a:spLocks noChangeAspect="1" noEditPoints="1"/>
            </p:cNvSpPr>
            <p:nvPr/>
          </p:nvSpPr>
          <p:spPr bwMode="auto">
            <a:xfrm>
              <a:off x="474853" y="4945056"/>
              <a:ext cx="576951" cy="530500"/>
            </a:xfrm>
            <a:custGeom>
              <a:avLst/>
              <a:gdLst>
                <a:gd name="T0" fmla="*/ 363 w 400"/>
                <a:gd name="T1" fmla="*/ 0 h 367"/>
                <a:gd name="T2" fmla="*/ 38 w 400"/>
                <a:gd name="T3" fmla="*/ 0 h 367"/>
                <a:gd name="T4" fmla="*/ 0 w 400"/>
                <a:gd name="T5" fmla="*/ 37 h 367"/>
                <a:gd name="T6" fmla="*/ 0 w 400"/>
                <a:gd name="T7" fmla="*/ 255 h 367"/>
                <a:gd name="T8" fmla="*/ 38 w 400"/>
                <a:gd name="T9" fmla="*/ 292 h 367"/>
                <a:gd name="T10" fmla="*/ 184 w 400"/>
                <a:gd name="T11" fmla="*/ 292 h 367"/>
                <a:gd name="T12" fmla="*/ 230 w 400"/>
                <a:gd name="T13" fmla="*/ 335 h 367"/>
                <a:gd name="T14" fmla="*/ 230 w 400"/>
                <a:gd name="T15" fmla="*/ 367 h 367"/>
                <a:gd name="T16" fmla="*/ 328 w 400"/>
                <a:gd name="T17" fmla="*/ 367 h 367"/>
                <a:gd name="T18" fmla="*/ 328 w 400"/>
                <a:gd name="T19" fmla="*/ 292 h 367"/>
                <a:gd name="T20" fmla="*/ 363 w 400"/>
                <a:gd name="T21" fmla="*/ 292 h 367"/>
                <a:gd name="T22" fmla="*/ 400 w 400"/>
                <a:gd name="T23" fmla="*/ 255 h 367"/>
                <a:gd name="T24" fmla="*/ 400 w 400"/>
                <a:gd name="T25" fmla="*/ 37 h 367"/>
                <a:gd name="T26" fmla="*/ 363 w 400"/>
                <a:gd name="T27" fmla="*/ 0 h 367"/>
                <a:gd name="T28" fmla="*/ 361 w 400"/>
                <a:gd name="T29" fmla="*/ 253 h 367"/>
                <a:gd name="T30" fmla="*/ 328 w 400"/>
                <a:gd name="T31" fmla="*/ 253 h 367"/>
                <a:gd name="T32" fmla="*/ 328 w 400"/>
                <a:gd name="T33" fmla="*/ 197 h 367"/>
                <a:gd name="T34" fmla="*/ 305 w 400"/>
                <a:gd name="T35" fmla="*/ 197 h 367"/>
                <a:gd name="T36" fmla="*/ 305 w 400"/>
                <a:gd name="T37" fmla="*/ 219 h 367"/>
                <a:gd name="T38" fmla="*/ 298 w 400"/>
                <a:gd name="T39" fmla="*/ 219 h 367"/>
                <a:gd name="T40" fmla="*/ 298 w 400"/>
                <a:gd name="T41" fmla="*/ 180 h 367"/>
                <a:gd name="T42" fmla="*/ 275 w 400"/>
                <a:gd name="T43" fmla="*/ 180 h 367"/>
                <a:gd name="T44" fmla="*/ 275 w 400"/>
                <a:gd name="T45" fmla="*/ 219 h 367"/>
                <a:gd name="T46" fmla="*/ 269 w 400"/>
                <a:gd name="T47" fmla="*/ 219 h 367"/>
                <a:gd name="T48" fmla="*/ 269 w 400"/>
                <a:gd name="T49" fmla="*/ 166 h 367"/>
                <a:gd name="T50" fmla="*/ 245 w 400"/>
                <a:gd name="T51" fmla="*/ 166 h 367"/>
                <a:gd name="T52" fmla="*/ 245 w 400"/>
                <a:gd name="T53" fmla="*/ 219 h 367"/>
                <a:gd name="T54" fmla="*/ 239 w 400"/>
                <a:gd name="T55" fmla="*/ 219 h 367"/>
                <a:gd name="T56" fmla="*/ 239 w 400"/>
                <a:gd name="T57" fmla="*/ 111 h 367"/>
                <a:gd name="T58" fmla="*/ 216 w 400"/>
                <a:gd name="T59" fmla="*/ 111 h 367"/>
                <a:gd name="T60" fmla="*/ 216 w 400"/>
                <a:gd name="T61" fmla="*/ 249 h 367"/>
                <a:gd name="T62" fmla="*/ 208 w 400"/>
                <a:gd name="T63" fmla="*/ 249 h 367"/>
                <a:gd name="T64" fmla="*/ 208 w 400"/>
                <a:gd name="T65" fmla="*/ 197 h 367"/>
                <a:gd name="T66" fmla="*/ 183 w 400"/>
                <a:gd name="T67" fmla="*/ 197 h 367"/>
                <a:gd name="T68" fmla="*/ 183 w 400"/>
                <a:gd name="T69" fmla="*/ 253 h 367"/>
                <a:gd name="T70" fmla="*/ 39 w 400"/>
                <a:gd name="T71" fmla="*/ 253 h 367"/>
                <a:gd name="T72" fmla="*/ 39 w 400"/>
                <a:gd name="T73" fmla="*/ 39 h 367"/>
                <a:gd name="T74" fmla="*/ 361 w 400"/>
                <a:gd name="T75" fmla="*/ 39 h 367"/>
                <a:gd name="T76" fmla="*/ 361 w 400"/>
                <a:gd name="T77" fmla="*/ 253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0" h="367">
                  <a:moveTo>
                    <a:pt x="363" y="0"/>
                  </a:moveTo>
                  <a:cubicBezTo>
                    <a:pt x="38" y="0"/>
                    <a:pt x="38" y="0"/>
                    <a:pt x="38" y="0"/>
                  </a:cubicBezTo>
                  <a:cubicBezTo>
                    <a:pt x="17" y="0"/>
                    <a:pt x="0" y="16"/>
                    <a:pt x="0" y="37"/>
                  </a:cubicBezTo>
                  <a:cubicBezTo>
                    <a:pt x="0" y="255"/>
                    <a:pt x="0" y="255"/>
                    <a:pt x="0" y="255"/>
                  </a:cubicBezTo>
                  <a:cubicBezTo>
                    <a:pt x="0" y="275"/>
                    <a:pt x="17" y="292"/>
                    <a:pt x="38" y="292"/>
                  </a:cubicBezTo>
                  <a:cubicBezTo>
                    <a:pt x="184" y="292"/>
                    <a:pt x="184" y="292"/>
                    <a:pt x="184" y="292"/>
                  </a:cubicBezTo>
                  <a:cubicBezTo>
                    <a:pt x="191" y="310"/>
                    <a:pt x="230" y="335"/>
                    <a:pt x="230" y="335"/>
                  </a:cubicBezTo>
                  <a:cubicBezTo>
                    <a:pt x="230" y="367"/>
                    <a:pt x="230" y="367"/>
                    <a:pt x="230" y="367"/>
                  </a:cubicBezTo>
                  <a:cubicBezTo>
                    <a:pt x="328" y="367"/>
                    <a:pt x="328" y="367"/>
                    <a:pt x="328" y="367"/>
                  </a:cubicBezTo>
                  <a:cubicBezTo>
                    <a:pt x="328" y="292"/>
                    <a:pt x="328" y="292"/>
                    <a:pt x="328" y="292"/>
                  </a:cubicBezTo>
                  <a:cubicBezTo>
                    <a:pt x="363" y="292"/>
                    <a:pt x="363" y="292"/>
                    <a:pt x="363" y="292"/>
                  </a:cubicBezTo>
                  <a:cubicBezTo>
                    <a:pt x="384" y="292"/>
                    <a:pt x="400" y="275"/>
                    <a:pt x="400" y="255"/>
                  </a:cubicBezTo>
                  <a:cubicBezTo>
                    <a:pt x="400" y="37"/>
                    <a:pt x="400" y="37"/>
                    <a:pt x="400" y="37"/>
                  </a:cubicBezTo>
                  <a:cubicBezTo>
                    <a:pt x="400" y="16"/>
                    <a:pt x="384" y="0"/>
                    <a:pt x="363" y="0"/>
                  </a:cubicBezTo>
                  <a:close/>
                  <a:moveTo>
                    <a:pt x="361" y="253"/>
                  </a:moveTo>
                  <a:cubicBezTo>
                    <a:pt x="328" y="253"/>
                    <a:pt x="328" y="253"/>
                    <a:pt x="328" y="253"/>
                  </a:cubicBezTo>
                  <a:cubicBezTo>
                    <a:pt x="328" y="197"/>
                    <a:pt x="328" y="197"/>
                    <a:pt x="328" y="197"/>
                  </a:cubicBezTo>
                  <a:cubicBezTo>
                    <a:pt x="328" y="181"/>
                    <a:pt x="305" y="181"/>
                    <a:pt x="305" y="197"/>
                  </a:cubicBezTo>
                  <a:cubicBezTo>
                    <a:pt x="305" y="219"/>
                    <a:pt x="305" y="219"/>
                    <a:pt x="305" y="219"/>
                  </a:cubicBezTo>
                  <a:cubicBezTo>
                    <a:pt x="305" y="222"/>
                    <a:pt x="298" y="222"/>
                    <a:pt x="298" y="219"/>
                  </a:cubicBezTo>
                  <a:cubicBezTo>
                    <a:pt x="298" y="180"/>
                    <a:pt x="298" y="180"/>
                    <a:pt x="298" y="180"/>
                  </a:cubicBezTo>
                  <a:cubicBezTo>
                    <a:pt x="298" y="165"/>
                    <a:pt x="275" y="165"/>
                    <a:pt x="275" y="180"/>
                  </a:cubicBezTo>
                  <a:cubicBezTo>
                    <a:pt x="275" y="219"/>
                    <a:pt x="275" y="219"/>
                    <a:pt x="275" y="219"/>
                  </a:cubicBezTo>
                  <a:cubicBezTo>
                    <a:pt x="275" y="222"/>
                    <a:pt x="269" y="222"/>
                    <a:pt x="269" y="219"/>
                  </a:cubicBezTo>
                  <a:cubicBezTo>
                    <a:pt x="269" y="166"/>
                    <a:pt x="269" y="166"/>
                    <a:pt x="269" y="166"/>
                  </a:cubicBezTo>
                  <a:cubicBezTo>
                    <a:pt x="269" y="150"/>
                    <a:pt x="245" y="150"/>
                    <a:pt x="245" y="166"/>
                  </a:cubicBezTo>
                  <a:cubicBezTo>
                    <a:pt x="245" y="219"/>
                    <a:pt x="245" y="219"/>
                    <a:pt x="245" y="219"/>
                  </a:cubicBezTo>
                  <a:cubicBezTo>
                    <a:pt x="245" y="222"/>
                    <a:pt x="239" y="222"/>
                    <a:pt x="239" y="219"/>
                  </a:cubicBezTo>
                  <a:cubicBezTo>
                    <a:pt x="239" y="111"/>
                    <a:pt x="239" y="111"/>
                    <a:pt x="239" y="111"/>
                  </a:cubicBezTo>
                  <a:cubicBezTo>
                    <a:pt x="239" y="96"/>
                    <a:pt x="216" y="96"/>
                    <a:pt x="216" y="111"/>
                  </a:cubicBezTo>
                  <a:cubicBezTo>
                    <a:pt x="216" y="249"/>
                    <a:pt x="216" y="249"/>
                    <a:pt x="216" y="249"/>
                  </a:cubicBezTo>
                  <a:cubicBezTo>
                    <a:pt x="216" y="252"/>
                    <a:pt x="208" y="252"/>
                    <a:pt x="208" y="249"/>
                  </a:cubicBezTo>
                  <a:cubicBezTo>
                    <a:pt x="208" y="197"/>
                    <a:pt x="208" y="197"/>
                    <a:pt x="208" y="197"/>
                  </a:cubicBezTo>
                  <a:cubicBezTo>
                    <a:pt x="208" y="178"/>
                    <a:pt x="183" y="179"/>
                    <a:pt x="183" y="197"/>
                  </a:cubicBezTo>
                  <a:cubicBezTo>
                    <a:pt x="183" y="253"/>
                    <a:pt x="183" y="253"/>
                    <a:pt x="183" y="253"/>
                  </a:cubicBezTo>
                  <a:cubicBezTo>
                    <a:pt x="39" y="253"/>
                    <a:pt x="39" y="253"/>
                    <a:pt x="39" y="253"/>
                  </a:cubicBezTo>
                  <a:cubicBezTo>
                    <a:pt x="39" y="39"/>
                    <a:pt x="39" y="39"/>
                    <a:pt x="39" y="39"/>
                  </a:cubicBezTo>
                  <a:cubicBezTo>
                    <a:pt x="361" y="39"/>
                    <a:pt x="361" y="39"/>
                    <a:pt x="361" y="39"/>
                  </a:cubicBezTo>
                  <a:cubicBezTo>
                    <a:pt x="361" y="253"/>
                    <a:pt x="361" y="253"/>
                    <a:pt x="361" y="253"/>
                  </a:cubicBezTo>
                  <a:close/>
                </a:path>
              </a:pathLst>
            </a:custGeom>
            <a:solidFill>
              <a:schemeClr val="tx1"/>
            </a:solidFill>
            <a:ln>
              <a:noFill/>
            </a:ln>
            <a:extLst/>
          </p:spPr>
          <p:txBody>
            <a:bodyPr vert="horz" wrap="square" lIns="89606" tIns="44803" rIns="89606" bIns="44803" numCol="1" anchor="t" anchorCtr="0" compatLnSpc="1">
              <a:prstTxWarp prst="textNoShape">
                <a:avLst/>
              </a:prstTxWarp>
            </a:bodyPr>
            <a:lstStyle/>
            <a:p>
              <a:pPr defTabSz="914005"/>
              <a:endParaRPr lang="en-US" sz="1764" kern="0">
                <a:solidFill>
                  <a:srgbClr val="333333"/>
                </a:solidFill>
                <a:latin typeface="Segoe UI"/>
              </a:endParaRPr>
            </a:p>
          </p:txBody>
        </p:sp>
      </p:grpSp>
      <p:sp>
        <p:nvSpPr>
          <p:cNvPr id="21" name="Rectangle 20"/>
          <p:cNvSpPr/>
          <p:nvPr/>
        </p:nvSpPr>
        <p:spPr>
          <a:xfrm>
            <a:off x="5122065" y="6078015"/>
            <a:ext cx="1407512" cy="338290"/>
          </a:xfrm>
          <a:prstGeom prst="rect">
            <a:avLst/>
          </a:prstGeom>
        </p:spPr>
        <p:txBody>
          <a:bodyPr wrap="none">
            <a:spAutoFit/>
          </a:bodyPr>
          <a:lstStyle/>
          <a:p>
            <a:pPr algn="ctr" defTabSz="710584">
              <a:spcAft>
                <a:spcPct val="35000"/>
              </a:spcAft>
            </a:pPr>
            <a:r>
              <a:rPr lang="en-US" sz="1567"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INTELLIGENCE</a:t>
            </a:r>
          </a:p>
        </p:txBody>
      </p:sp>
      <p:sp>
        <p:nvSpPr>
          <p:cNvPr id="2" name="Right Arrow 1"/>
          <p:cNvSpPr/>
          <p:nvPr/>
        </p:nvSpPr>
        <p:spPr bwMode="auto">
          <a:xfrm>
            <a:off x="1720314" y="6116674"/>
            <a:ext cx="3415586" cy="254446"/>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algn="ctr" defTabSz="932103">
              <a:lnSpc>
                <a:spcPct val="90000"/>
              </a:lnSpc>
            </a:pPr>
            <a:endParaRPr lang="en-US" sz="2399"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p:cNvSpPr/>
          <p:nvPr/>
        </p:nvSpPr>
        <p:spPr>
          <a:xfrm>
            <a:off x="10912602" y="6078015"/>
            <a:ext cx="876684" cy="338290"/>
          </a:xfrm>
          <a:prstGeom prst="rect">
            <a:avLst/>
          </a:prstGeom>
        </p:spPr>
        <p:txBody>
          <a:bodyPr wrap="none">
            <a:spAutoFit/>
          </a:bodyPr>
          <a:lstStyle/>
          <a:p>
            <a:pPr algn="ctr" defTabSz="710584">
              <a:spcAft>
                <a:spcPct val="35000"/>
              </a:spcAft>
            </a:pPr>
            <a:r>
              <a:rPr lang="en-US" sz="1567"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CTION</a:t>
            </a:r>
          </a:p>
        </p:txBody>
      </p:sp>
      <p:grpSp>
        <p:nvGrpSpPr>
          <p:cNvPr id="18" name="Group 17"/>
          <p:cNvGrpSpPr/>
          <p:nvPr/>
        </p:nvGrpSpPr>
        <p:grpSpPr>
          <a:xfrm>
            <a:off x="10702929" y="3016299"/>
            <a:ext cx="1215191" cy="1033419"/>
            <a:chOff x="10920388" y="2780901"/>
            <a:chExt cx="1239881" cy="1054416"/>
          </a:xfrm>
        </p:grpSpPr>
        <p:grpSp>
          <p:nvGrpSpPr>
            <p:cNvPr id="9" name="Group 8"/>
            <p:cNvGrpSpPr/>
            <p:nvPr/>
          </p:nvGrpSpPr>
          <p:grpSpPr>
            <a:xfrm>
              <a:off x="11311238" y="2780901"/>
              <a:ext cx="458181" cy="590870"/>
              <a:chOff x="8824650" y="2294433"/>
              <a:chExt cx="368737" cy="475523"/>
            </a:xfrm>
          </p:grpSpPr>
          <p:sp>
            <p:nvSpPr>
              <p:cNvPr id="117" name="Freeform 74"/>
              <p:cNvSpPr>
                <a:spLocks noEditPoints="1"/>
              </p:cNvSpPr>
              <p:nvPr/>
            </p:nvSpPr>
            <p:spPr bwMode="auto">
              <a:xfrm flipH="1">
                <a:off x="8824650" y="2294433"/>
                <a:ext cx="176113" cy="475523"/>
              </a:xfrm>
              <a:custGeom>
                <a:avLst/>
                <a:gdLst>
                  <a:gd name="T0" fmla="*/ 417 w 858"/>
                  <a:gd name="T1" fmla="*/ 0 h 2322"/>
                  <a:gd name="T2" fmla="*/ 609 w 858"/>
                  <a:gd name="T3" fmla="*/ 191 h 2322"/>
                  <a:gd name="T4" fmla="*/ 417 w 858"/>
                  <a:gd name="T5" fmla="*/ 377 h 2322"/>
                  <a:gd name="T6" fmla="*/ 226 w 858"/>
                  <a:gd name="T7" fmla="*/ 191 h 2322"/>
                  <a:gd name="T8" fmla="*/ 417 w 858"/>
                  <a:gd name="T9" fmla="*/ 0 h 2322"/>
                  <a:gd name="T10" fmla="*/ 191 w 858"/>
                  <a:gd name="T11" fmla="*/ 2218 h 2322"/>
                  <a:gd name="T12" fmla="*/ 301 w 858"/>
                  <a:gd name="T13" fmla="*/ 2322 h 2322"/>
                  <a:gd name="T14" fmla="*/ 406 w 858"/>
                  <a:gd name="T15" fmla="*/ 2218 h 2322"/>
                  <a:gd name="T16" fmla="*/ 406 w 858"/>
                  <a:gd name="T17" fmla="*/ 1324 h 2322"/>
                  <a:gd name="T18" fmla="*/ 452 w 858"/>
                  <a:gd name="T19" fmla="*/ 1324 h 2322"/>
                  <a:gd name="T20" fmla="*/ 452 w 858"/>
                  <a:gd name="T21" fmla="*/ 2218 h 2322"/>
                  <a:gd name="T22" fmla="*/ 557 w 858"/>
                  <a:gd name="T23" fmla="*/ 2322 h 2322"/>
                  <a:gd name="T24" fmla="*/ 667 w 858"/>
                  <a:gd name="T25" fmla="*/ 2218 h 2322"/>
                  <a:gd name="T26" fmla="*/ 667 w 858"/>
                  <a:gd name="T27" fmla="*/ 679 h 2322"/>
                  <a:gd name="T28" fmla="*/ 713 w 858"/>
                  <a:gd name="T29" fmla="*/ 679 h 2322"/>
                  <a:gd name="T30" fmla="*/ 713 w 858"/>
                  <a:gd name="T31" fmla="*/ 1248 h 2322"/>
                  <a:gd name="T32" fmla="*/ 858 w 858"/>
                  <a:gd name="T33" fmla="*/ 1248 h 2322"/>
                  <a:gd name="T34" fmla="*/ 858 w 858"/>
                  <a:gd name="T35" fmla="*/ 667 h 2322"/>
                  <a:gd name="T36" fmla="*/ 638 w 858"/>
                  <a:gd name="T37" fmla="*/ 418 h 2322"/>
                  <a:gd name="T38" fmla="*/ 215 w 858"/>
                  <a:gd name="T39" fmla="*/ 418 h 2322"/>
                  <a:gd name="T40" fmla="*/ 0 w 858"/>
                  <a:gd name="T41" fmla="*/ 662 h 2322"/>
                  <a:gd name="T42" fmla="*/ 0 w 858"/>
                  <a:gd name="T43" fmla="*/ 1248 h 2322"/>
                  <a:gd name="T44" fmla="*/ 145 w 858"/>
                  <a:gd name="T45" fmla="*/ 1248 h 2322"/>
                  <a:gd name="T46" fmla="*/ 145 w 858"/>
                  <a:gd name="T47" fmla="*/ 679 h 2322"/>
                  <a:gd name="T48" fmla="*/ 197 w 858"/>
                  <a:gd name="T49" fmla="*/ 679 h 2322"/>
                  <a:gd name="T50" fmla="*/ 191 w 858"/>
                  <a:gd name="T51" fmla="*/ 2218 h 2322"/>
                  <a:gd name="T52" fmla="*/ 191 w 858"/>
                  <a:gd name="T53" fmla="*/ 2218 h 2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8" h="2322">
                    <a:moveTo>
                      <a:pt x="417" y="0"/>
                    </a:moveTo>
                    <a:cubicBezTo>
                      <a:pt x="522" y="0"/>
                      <a:pt x="609" y="87"/>
                      <a:pt x="609" y="191"/>
                    </a:cubicBezTo>
                    <a:cubicBezTo>
                      <a:pt x="609" y="296"/>
                      <a:pt x="522" y="377"/>
                      <a:pt x="417" y="377"/>
                    </a:cubicBezTo>
                    <a:cubicBezTo>
                      <a:pt x="313" y="377"/>
                      <a:pt x="226" y="296"/>
                      <a:pt x="226" y="191"/>
                    </a:cubicBezTo>
                    <a:cubicBezTo>
                      <a:pt x="226" y="87"/>
                      <a:pt x="313" y="0"/>
                      <a:pt x="417" y="0"/>
                    </a:cubicBezTo>
                    <a:close/>
                    <a:moveTo>
                      <a:pt x="191" y="2218"/>
                    </a:moveTo>
                    <a:cubicBezTo>
                      <a:pt x="191" y="2276"/>
                      <a:pt x="244" y="2322"/>
                      <a:pt x="301" y="2322"/>
                    </a:cubicBezTo>
                    <a:cubicBezTo>
                      <a:pt x="359" y="2322"/>
                      <a:pt x="406" y="2276"/>
                      <a:pt x="406" y="2218"/>
                    </a:cubicBezTo>
                    <a:cubicBezTo>
                      <a:pt x="406" y="1324"/>
                      <a:pt x="406" y="1324"/>
                      <a:pt x="406" y="1324"/>
                    </a:cubicBezTo>
                    <a:cubicBezTo>
                      <a:pt x="452" y="1324"/>
                      <a:pt x="452" y="1324"/>
                      <a:pt x="452" y="1324"/>
                    </a:cubicBezTo>
                    <a:cubicBezTo>
                      <a:pt x="452" y="2218"/>
                      <a:pt x="452" y="2218"/>
                      <a:pt x="452" y="2218"/>
                    </a:cubicBezTo>
                    <a:cubicBezTo>
                      <a:pt x="452" y="2276"/>
                      <a:pt x="499" y="2322"/>
                      <a:pt x="557" y="2322"/>
                    </a:cubicBezTo>
                    <a:cubicBezTo>
                      <a:pt x="620" y="2322"/>
                      <a:pt x="667" y="2276"/>
                      <a:pt x="667" y="2218"/>
                    </a:cubicBezTo>
                    <a:cubicBezTo>
                      <a:pt x="667" y="679"/>
                      <a:pt x="667" y="679"/>
                      <a:pt x="667" y="679"/>
                    </a:cubicBezTo>
                    <a:cubicBezTo>
                      <a:pt x="713" y="679"/>
                      <a:pt x="713" y="679"/>
                      <a:pt x="713" y="679"/>
                    </a:cubicBezTo>
                    <a:cubicBezTo>
                      <a:pt x="713" y="1248"/>
                      <a:pt x="713" y="1248"/>
                      <a:pt x="713" y="1248"/>
                    </a:cubicBezTo>
                    <a:cubicBezTo>
                      <a:pt x="713" y="1358"/>
                      <a:pt x="858" y="1358"/>
                      <a:pt x="858" y="1248"/>
                    </a:cubicBezTo>
                    <a:cubicBezTo>
                      <a:pt x="858" y="667"/>
                      <a:pt x="858" y="667"/>
                      <a:pt x="858" y="667"/>
                    </a:cubicBezTo>
                    <a:cubicBezTo>
                      <a:pt x="858" y="540"/>
                      <a:pt x="788" y="418"/>
                      <a:pt x="638" y="418"/>
                    </a:cubicBezTo>
                    <a:cubicBezTo>
                      <a:pt x="215" y="418"/>
                      <a:pt x="215" y="418"/>
                      <a:pt x="215" y="418"/>
                    </a:cubicBezTo>
                    <a:cubicBezTo>
                      <a:pt x="81" y="418"/>
                      <a:pt x="0" y="528"/>
                      <a:pt x="0" y="662"/>
                    </a:cubicBezTo>
                    <a:cubicBezTo>
                      <a:pt x="0" y="1248"/>
                      <a:pt x="0" y="1248"/>
                      <a:pt x="0" y="1248"/>
                    </a:cubicBezTo>
                    <a:cubicBezTo>
                      <a:pt x="0" y="1358"/>
                      <a:pt x="145" y="1358"/>
                      <a:pt x="145" y="1248"/>
                    </a:cubicBezTo>
                    <a:cubicBezTo>
                      <a:pt x="145" y="679"/>
                      <a:pt x="145" y="679"/>
                      <a:pt x="145" y="679"/>
                    </a:cubicBezTo>
                    <a:cubicBezTo>
                      <a:pt x="197" y="679"/>
                      <a:pt x="197" y="679"/>
                      <a:pt x="197" y="679"/>
                    </a:cubicBezTo>
                    <a:cubicBezTo>
                      <a:pt x="191" y="2218"/>
                      <a:pt x="191" y="2218"/>
                      <a:pt x="191" y="2218"/>
                    </a:cubicBezTo>
                    <a:cubicBezTo>
                      <a:pt x="191" y="2218"/>
                      <a:pt x="191" y="2218"/>
                      <a:pt x="191" y="2218"/>
                    </a:cubicBezTo>
                    <a:close/>
                  </a:path>
                </a:pathLst>
              </a:custGeom>
              <a:solidFill>
                <a:schemeClr val="tx1"/>
              </a:solidFill>
              <a:ln>
                <a:noFill/>
              </a:ln>
            </p:spPr>
            <p:txBody>
              <a:bodyPr vert="horz" wrap="square" lIns="89606" tIns="44803" rIns="89606" bIns="44803" numCol="1" anchor="t" anchorCtr="0" compatLnSpc="1">
                <a:prstTxWarp prst="textNoShape">
                  <a:avLst/>
                </a:prstTxWarp>
              </a:bodyPr>
              <a:lstStyle/>
              <a:p>
                <a:pPr defTabSz="914005"/>
                <a:endParaRPr lang="en-US" sz="1764" kern="0">
                  <a:solidFill>
                    <a:srgbClr val="333333"/>
                  </a:solidFill>
                  <a:latin typeface="Segoe UI"/>
                </a:endParaRPr>
              </a:p>
            </p:txBody>
          </p:sp>
          <p:sp>
            <p:nvSpPr>
              <p:cNvPr id="118" name="Freeform 74"/>
              <p:cNvSpPr>
                <a:spLocks noEditPoints="1"/>
              </p:cNvSpPr>
              <p:nvPr/>
            </p:nvSpPr>
            <p:spPr bwMode="auto">
              <a:xfrm flipH="1">
                <a:off x="9017274" y="2294433"/>
                <a:ext cx="176113" cy="475523"/>
              </a:xfrm>
              <a:custGeom>
                <a:avLst/>
                <a:gdLst>
                  <a:gd name="T0" fmla="*/ 417 w 858"/>
                  <a:gd name="T1" fmla="*/ 0 h 2322"/>
                  <a:gd name="T2" fmla="*/ 609 w 858"/>
                  <a:gd name="T3" fmla="*/ 191 h 2322"/>
                  <a:gd name="T4" fmla="*/ 417 w 858"/>
                  <a:gd name="T5" fmla="*/ 377 h 2322"/>
                  <a:gd name="T6" fmla="*/ 226 w 858"/>
                  <a:gd name="T7" fmla="*/ 191 h 2322"/>
                  <a:gd name="T8" fmla="*/ 417 w 858"/>
                  <a:gd name="T9" fmla="*/ 0 h 2322"/>
                  <a:gd name="T10" fmla="*/ 191 w 858"/>
                  <a:gd name="T11" fmla="*/ 2218 h 2322"/>
                  <a:gd name="T12" fmla="*/ 301 w 858"/>
                  <a:gd name="T13" fmla="*/ 2322 h 2322"/>
                  <a:gd name="T14" fmla="*/ 406 w 858"/>
                  <a:gd name="T15" fmla="*/ 2218 h 2322"/>
                  <a:gd name="T16" fmla="*/ 406 w 858"/>
                  <a:gd name="T17" fmla="*/ 1324 h 2322"/>
                  <a:gd name="T18" fmla="*/ 452 w 858"/>
                  <a:gd name="T19" fmla="*/ 1324 h 2322"/>
                  <a:gd name="T20" fmla="*/ 452 w 858"/>
                  <a:gd name="T21" fmla="*/ 2218 h 2322"/>
                  <a:gd name="T22" fmla="*/ 557 w 858"/>
                  <a:gd name="T23" fmla="*/ 2322 h 2322"/>
                  <a:gd name="T24" fmla="*/ 667 w 858"/>
                  <a:gd name="T25" fmla="*/ 2218 h 2322"/>
                  <a:gd name="T26" fmla="*/ 667 w 858"/>
                  <a:gd name="T27" fmla="*/ 679 h 2322"/>
                  <a:gd name="T28" fmla="*/ 713 w 858"/>
                  <a:gd name="T29" fmla="*/ 679 h 2322"/>
                  <a:gd name="T30" fmla="*/ 713 w 858"/>
                  <a:gd name="T31" fmla="*/ 1248 h 2322"/>
                  <a:gd name="T32" fmla="*/ 858 w 858"/>
                  <a:gd name="T33" fmla="*/ 1248 h 2322"/>
                  <a:gd name="T34" fmla="*/ 858 w 858"/>
                  <a:gd name="T35" fmla="*/ 667 h 2322"/>
                  <a:gd name="T36" fmla="*/ 638 w 858"/>
                  <a:gd name="T37" fmla="*/ 418 h 2322"/>
                  <a:gd name="T38" fmla="*/ 215 w 858"/>
                  <a:gd name="T39" fmla="*/ 418 h 2322"/>
                  <a:gd name="T40" fmla="*/ 0 w 858"/>
                  <a:gd name="T41" fmla="*/ 662 h 2322"/>
                  <a:gd name="T42" fmla="*/ 0 w 858"/>
                  <a:gd name="T43" fmla="*/ 1248 h 2322"/>
                  <a:gd name="T44" fmla="*/ 145 w 858"/>
                  <a:gd name="T45" fmla="*/ 1248 h 2322"/>
                  <a:gd name="T46" fmla="*/ 145 w 858"/>
                  <a:gd name="T47" fmla="*/ 679 h 2322"/>
                  <a:gd name="T48" fmla="*/ 197 w 858"/>
                  <a:gd name="T49" fmla="*/ 679 h 2322"/>
                  <a:gd name="T50" fmla="*/ 191 w 858"/>
                  <a:gd name="T51" fmla="*/ 2218 h 2322"/>
                  <a:gd name="T52" fmla="*/ 191 w 858"/>
                  <a:gd name="T53" fmla="*/ 2218 h 2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8" h="2322">
                    <a:moveTo>
                      <a:pt x="417" y="0"/>
                    </a:moveTo>
                    <a:cubicBezTo>
                      <a:pt x="522" y="0"/>
                      <a:pt x="609" y="87"/>
                      <a:pt x="609" y="191"/>
                    </a:cubicBezTo>
                    <a:cubicBezTo>
                      <a:pt x="609" y="296"/>
                      <a:pt x="522" y="377"/>
                      <a:pt x="417" y="377"/>
                    </a:cubicBezTo>
                    <a:cubicBezTo>
                      <a:pt x="313" y="377"/>
                      <a:pt x="226" y="296"/>
                      <a:pt x="226" y="191"/>
                    </a:cubicBezTo>
                    <a:cubicBezTo>
                      <a:pt x="226" y="87"/>
                      <a:pt x="313" y="0"/>
                      <a:pt x="417" y="0"/>
                    </a:cubicBezTo>
                    <a:close/>
                    <a:moveTo>
                      <a:pt x="191" y="2218"/>
                    </a:moveTo>
                    <a:cubicBezTo>
                      <a:pt x="191" y="2276"/>
                      <a:pt x="244" y="2322"/>
                      <a:pt x="301" y="2322"/>
                    </a:cubicBezTo>
                    <a:cubicBezTo>
                      <a:pt x="359" y="2322"/>
                      <a:pt x="406" y="2276"/>
                      <a:pt x="406" y="2218"/>
                    </a:cubicBezTo>
                    <a:cubicBezTo>
                      <a:pt x="406" y="1324"/>
                      <a:pt x="406" y="1324"/>
                      <a:pt x="406" y="1324"/>
                    </a:cubicBezTo>
                    <a:cubicBezTo>
                      <a:pt x="452" y="1324"/>
                      <a:pt x="452" y="1324"/>
                      <a:pt x="452" y="1324"/>
                    </a:cubicBezTo>
                    <a:cubicBezTo>
                      <a:pt x="452" y="2218"/>
                      <a:pt x="452" y="2218"/>
                      <a:pt x="452" y="2218"/>
                    </a:cubicBezTo>
                    <a:cubicBezTo>
                      <a:pt x="452" y="2276"/>
                      <a:pt x="499" y="2322"/>
                      <a:pt x="557" y="2322"/>
                    </a:cubicBezTo>
                    <a:cubicBezTo>
                      <a:pt x="620" y="2322"/>
                      <a:pt x="667" y="2276"/>
                      <a:pt x="667" y="2218"/>
                    </a:cubicBezTo>
                    <a:cubicBezTo>
                      <a:pt x="667" y="679"/>
                      <a:pt x="667" y="679"/>
                      <a:pt x="667" y="679"/>
                    </a:cubicBezTo>
                    <a:cubicBezTo>
                      <a:pt x="713" y="679"/>
                      <a:pt x="713" y="679"/>
                      <a:pt x="713" y="679"/>
                    </a:cubicBezTo>
                    <a:cubicBezTo>
                      <a:pt x="713" y="1248"/>
                      <a:pt x="713" y="1248"/>
                      <a:pt x="713" y="1248"/>
                    </a:cubicBezTo>
                    <a:cubicBezTo>
                      <a:pt x="713" y="1358"/>
                      <a:pt x="858" y="1358"/>
                      <a:pt x="858" y="1248"/>
                    </a:cubicBezTo>
                    <a:cubicBezTo>
                      <a:pt x="858" y="667"/>
                      <a:pt x="858" y="667"/>
                      <a:pt x="858" y="667"/>
                    </a:cubicBezTo>
                    <a:cubicBezTo>
                      <a:pt x="858" y="540"/>
                      <a:pt x="788" y="418"/>
                      <a:pt x="638" y="418"/>
                    </a:cubicBezTo>
                    <a:cubicBezTo>
                      <a:pt x="215" y="418"/>
                      <a:pt x="215" y="418"/>
                      <a:pt x="215" y="418"/>
                    </a:cubicBezTo>
                    <a:cubicBezTo>
                      <a:pt x="81" y="418"/>
                      <a:pt x="0" y="528"/>
                      <a:pt x="0" y="662"/>
                    </a:cubicBezTo>
                    <a:cubicBezTo>
                      <a:pt x="0" y="1248"/>
                      <a:pt x="0" y="1248"/>
                      <a:pt x="0" y="1248"/>
                    </a:cubicBezTo>
                    <a:cubicBezTo>
                      <a:pt x="0" y="1358"/>
                      <a:pt x="145" y="1358"/>
                      <a:pt x="145" y="1248"/>
                    </a:cubicBezTo>
                    <a:cubicBezTo>
                      <a:pt x="145" y="679"/>
                      <a:pt x="145" y="679"/>
                      <a:pt x="145" y="679"/>
                    </a:cubicBezTo>
                    <a:cubicBezTo>
                      <a:pt x="197" y="679"/>
                      <a:pt x="197" y="679"/>
                      <a:pt x="197" y="679"/>
                    </a:cubicBezTo>
                    <a:cubicBezTo>
                      <a:pt x="191" y="2218"/>
                      <a:pt x="191" y="2218"/>
                      <a:pt x="191" y="2218"/>
                    </a:cubicBezTo>
                    <a:cubicBezTo>
                      <a:pt x="191" y="2218"/>
                      <a:pt x="191" y="2218"/>
                      <a:pt x="191" y="2218"/>
                    </a:cubicBezTo>
                    <a:close/>
                  </a:path>
                </a:pathLst>
              </a:custGeom>
              <a:solidFill>
                <a:schemeClr val="tx1"/>
              </a:solidFill>
              <a:ln>
                <a:noFill/>
              </a:ln>
            </p:spPr>
            <p:txBody>
              <a:bodyPr vert="horz" wrap="square" lIns="89606" tIns="44803" rIns="89606" bIns="44803" numCol="1" anchor="t" anchorCtr="0" compatLnSpc="1">
                <a:prstTxWarp prst="textNoShape">
                  <a:avLst/>
                </a:prstTxWarp>
              </a:bodyPr>
              <a:lstStyle/>
              <a:p>
                <a:pPr defTabSz="914005"/>
                <a:endParaRPr lang="en-US" sz="1764" kern="0">
                  <a:solidFill>
                    <a:srgbClr val="333333"/>
                  </a:solidFill>
                  <a:latin typeface="Segoe UI"/>
                </a:endParaRPr>
              </a:p>
            </p:txBody>
          </p:sp>
        </p:grpSp>
        <p:sp>
          <p:nvSpPr>
            <p:cNvPr id="119" name="TextBox 118"/>
            <p:cNvSpPr txBox="1"/>
            <p:nvPr/>
          </p:nvSpPr>
          <p:spPr>
            <a:xfrm>
              <a:off x="10920388" y="3380620"/>
              <a:ext cx="1239881" cy="454697"/>
            </a:xfrm>
            <a:prstGeom prst="rect">
              <a:avLst/>
            </a:prstGeom>
            <a:noFill/>
          </p:spPr>
          <p:txBody>
            <a:bodyPr wrap="square" lIns="179213" tIns="143370" rIns="179213" bIns="143370" rtlCol="0">
              <a:spAutoFit/>
            </a:bodyPr>
            <a:lstStyle/>
            <a:p>
              <a:pPr algn="ctr" defTabSz="914005">
                <a:lnSpc>
                  <a:spcPct val="90000"/>
                </a:lnSpc>
                <a:spcAft>
                  <a:spcPts val="588"/>
                </a:spcAft>
              </a:pPr>
              <a:r>
                <a:rPr lang="en-US" sz="1127"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People</a:t>
              </a:r>
            </a:p>
          </p:txBody>
        </p:sp>
      </p:grpSp>
      <p:grpSp>
        <p:nvGrpSpPr>
          <p:cNvPr id="19" name="Group 18"/>
          <p:cNvGrpSpPr/>
          <p:nvPr/>
        </p:nvGrpSpPr>
        <p:grpSpPr>
          <a:xfrm>
            <a:off x="10864058" y="4667289"/>
            <a:ext cx="1055600" cy="1282598"/>
            <a:chOff x="11084791" y="4760710"/>
            <a:chExt cx="1077047" cy="1308658"/>
          </a:xfrm>
        </p:grpSpPr>
        <p:grpSp>
          <p:nvGrpSpPr>
            <p:cNvPr id="10" name="Group 9"/>
            <p:cNvGrpSpPr/>
            <p:nvPr/>
          </p:nvGrpSpPr>
          <p:grpSpPr>
            <a:xfrm>
              <a:off x="11311897" y="4760710"/>
              <a:ext cx="503712" cy="783392"/>
              <a:chOff x="8597110" y="4718972"/>
              <a:chExt cx="361215" cy="561776"/>
            </a:xfrm>
          </p:grpSpPr>
          <p:sp>
            <p:nvSpPr>
              <p:cNvPr id="120" name="Freeform 68"/>
              <p:cNvSpPr>
                <a:spLocks/>
              </p:cNvSpPr>
              <p:nvPr/>
            </p:nvSpPr>
            <p:spPr bwMode="auto">
              <a:xfrm rot="16200000">
                <a:off x="8612012" y="5015484"/>
                <a:ext cx="273629" cy="256899"/>
              </a:xfrm>
              <a:custGeom>
                <a:avLst/>
                <a:gdLst>
                  <a:gd name="T0" fmla="*/ 564 w 1203"/>
                  <a:gd name="T1" fmla="*/ 1129 h 1129"/>
                  <a:gd name="T2" fmla="*/ 0 w 1203"/>
                  <a:gd name="T3" fmla="*/ 565 h 1129"/>
                  <a:gd name="T4" fmla="*/ 564 w 1203"/>
                  <a:gd name="T5" fmla="*/ 0 h 1129"/>
                  <a:gd name="T6" fmla="*/ 1115 w 1203"/>
                  <a:gd name="T7" fmla="*/ 443 h 1129"/>
                  <a:gd name="T8" fmla="*/ 1203 w 1203"/>
                  <a:gd name="T9" fmla="*/ 449 h 1129"/>
                  <a:gd name="T10" fmla="*/ 1055 w 1203"/>
                  <a:gd name="T11" fmla="*/ 599 h 1129"/>
                  <a:gd name="T12" fmla="*/ 876 w 1203"/>
                  <a:gd name="T13" fmla="*/ 426 h 1129"/>
                  <a:gd name="T14" fmla="*/ 963 w 1203"/>
                  <a:gd name="T15" fmla="*/ 432 h 1129"/>
                  <a:gd name="T16" fmla="*/ 431 w 1203"/>
                  <a:gd name="T17" fmla="*/ 166 h 1129"/>
                  <a:gd name="T18" fmla="*/ 165 w 1203"/>
                  <a:gd name="T19" fmla="*/ 698 h 1129"/>
                  <a:gd name="T20" fmla="*/ 564 w 1203"/>
                  <a:gd name="T21" fmla="*/ 985 h 1129"/>
                  <a:gd name="T22" fmla="*/ 564 w 1203"/>
                  <a:gd name="T23" fmla="*/ 1129 h 1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3" h="1129">
                    <a:moveTo>
                      <a:pt x="564" y="1129"/>
                    </a:moveTo>
                    <a:cubicBezTo>
                      <a:pt x="252" y="1129"/>
                      <a:pt x="0" y="877"/>
                      <a:pt x="0" y="565"/>
                    </a:cubicBezTo>
                    <a:cubicBezTo>
                      <a:pt x="0" y="253"/>
                      <a:pt x="252" y="0"/>
                      <a:pt x="564" y="0"/>
                    </a:cubicBezTo>
                    <a:cubicBezTo>
                      <a:pt x="829" y="0"/>
                      <a:pt x="1058" y="184"/>
                      <a:pt x="1115" y="443"/>
                    </a:cubicBezTo>
                    <a:cubicBezTo>
                      <a:pt x="1203" y="449"/>
                      <a:pt x="1203" y="449"/>
                      <a:pt x="1203" y="449"/>
                    </a:cubicBezTo>
                    <a:cubicBezTo>
                      <a:pt x="1055" y="599"/>
                      <a:pt x="1055" y="599"/>
                      <a:pt x="1055" y="599"/>
                    </a:cubicBezTo>
                    <a:cubicBezTo>
                      <a:pt x="876" y="426"/>
                      <a:pt x="876" y="426"/>
                      <a:pt x="876" y="426"/>
                    </a:cubicBezTo>
                    <a:cubicBezTo>
                      <a:pt x="963" y="432"/>
                      <a:pt x="963" y="432"/>
                      <a:pt x="963" y="432"/>
                    </a:cubicBezTo>
                    <a:cubicBezTo>
                      <a:pt x="889" y="212"/>
                      <a:pt x="651" y="93"/>
                      <a:pt x="431" y="166"/>
                    </a:cubicBezTo>
                    <a:cubicBezTo>
                      <a:pt x="211" y="239"/>
                      <a:pt x="92" y="477"/>
                      <a:pt x="165" y="698"/>
                    </a:cubicBezTo>
                    <a:cubicBezTo>
                      <a:pt x="222" y="869"/>
                      <a:pt x="383" y="985"/>
                      <a:pt x="564" y="985"/>
                    </a:cubicBezTo>
                    <a:lnTo>
                      <a:pt x="564" y="1129"/>
                    </a:lnTo>
                    <a:close/>
                  </a:path>
                </a:pathLst>
              </a:custGeom>
              <a:solidFill>
                <a:schemeClr val="tx1"/>
              </a:solidFill>
              <a:ln>
                <a:noFill/>
              </a:ln>
              <a:extLst/>
            </p:spPr>
            <p:txBody>
              <a:bodyPr vert="horz" wrap="square" lIns="89606" tIns="44803" rIns="89606" bIns="44803" numCol="1" anchor="t" anchorCtr="0" compatLnSpc="1">
                <a:prstTxWarp prst="textNoShape">
                  <a:avLst/>
                </a:prstTxWarp>
              </a:bodyPr>
              <a:lstStyle/>
              <a:p>
                <a:pPr defTabSz="914005"/>
                <a:endParaRPr lang="en-US" sz="1764" kern="0">
                  <a:solidFill>
                    <a:srgbClr val="333333"/>
                  </a:solidFill>
                  <a:latin typeface="Segoe UI"/>
                </a:endParaRPr>
              </a:p>
            </p:txBody>
          </p:sp>
          <p:sp>
            <p:nvSpPr>
              <p:cNvPr id="121" name="Freeform 69"/>
              <p:cNvSpPr>
                <a:spLocks/>
              </p:cNvSpPr>
              <p:nvPr/>
            </p:nvSpPr>
            <p:spPr bwMode="auto">
              <a:xfrm rot="16200000">
                <a:off x="8699407" y="4896072"/>
                <a:ext cx="286127" cy="231709"/>
              </a:xfrm>
              <a:custGeom>
                <a:avLst/>
                <a:gdLst>
                  <a:gd name="T0" fmla="*/ 219 w 1258"/>
                  <a:gd name="T1" fmla="*/ 0 h 1018"/>
                  <a:gd name="T2" fmla="*/ 321 w 1258"/>
                  <a:gd name="T3" fmla="*/ 102 h 1018"/>
                  <a:gd name="T4" fmla="*/ 321 w 1258"/>
                  <a:gd name="T5" fmla="*/ 697 h 1018"/>
                  <a:gd name="T6" fmla="*/ 916 w 1258"/>
                  <a:gd name="T7" fmla="*/ 697 h 1018"/>
                  <a:gd name="T8" fmla="*/ 1017 w 1258"/>
                  <a:gd name="T9" fmla="*/ 532 h 1018"/>
                  <a:gd name="T10" fmla="*/ 930 w 1258"/>
                  <a:gd name="T11" fmla="*/ 539 h 1018"/>
                  <a:gd name="T12" fmla="*/ 1110 w 1258"/>
                  <a:gd name="T13" fmla="*/ 365 h 1018"/>
                  <a:gd name="T14" fmla="*/ 1258 w 1258"/>
                  <a:gd name="T15" fmla="*/ 515 h 1018"/>
                  <a:gd name="T16" fmla="*/ 1170 w 1258"/>
                  <a:gd name="T17" fmla="*/ 522 h 1018"/>
                  <a:gd name="T18" fmla="*/ 496 w 1258"/>
                  <a:gd name="T19" fmla="*/ 951 h 1018"/>
                  <a:gd name="T20" fmla="*/ 67 w 1258"/>
                  <a:gd name="T21" fmla="*/ 277 h 1018"/>
                  <a:gd name="T22" fmla="*/ 219 w 1258"/>
                  <a:gd name="T23" fmla="*/ 0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58" h="1018">
                    <a:moveTo>
                      <a:pt x="219" y="0"/>
                    </a:moveTo>
                    <a:cubicBezTo>
                      <a:pt x="321" y="102"/>
                      <a:pt x="321" y="102"/>
                      <a:pt x="321" y="102"/>
                    </a:cubicBezTo>
                    <a:cubicBezTo>
                      <a:pt x="157" y="266"/>
                      <a:pt x="157" y="533"/>
                      <a:pt x="321" y="697"/>
                    </a:cubicBezTo>
                    <a:cubicBezTo>
                      <a:pt x="486" y="861"/>
                      <a:pt x="752" y="861"/>
                      <a:pt x="916" y="697"/>
                    </a:cubicBezTo>
                    <a:cubicBezTo>
                      <a:pt x="962" y="651"/>
                      <a:pt x="997" y="594"/>
                      <a:pt x="1017" y="532"/>
                    </a:cubicBezTo>
                    <a:cubicBezTo>
                      <a:pt x="930" y="539"/>
                      <a:pt x="930" y="539"/>
                      <a:pt x="930" y="539"/>
                    </a:cubicBezTo>
                    <a:cubicBezTo>
                      <a:pt x="1110" y="365"/>
                      <a:pt x="1110" y="365"/>
                      <a:pt x="1110" y="365"/>
                    </a:cubicBezTo>
                    <a:cubicBezTo>
                      <a:pt x="1258" y="515"/>
                      <a:pt x="1258" y="515"/>
                      <a:pt x="1258" y="515"/>
                    </a:cubicBezTo>
                    <a:cubicBezTo>
                      <a:pt x="1170" y="522"/>
                      <a:pt x="1170" y="522"/>
                      <a:pt x="1170" y="522"/>
                    </a:cubicBezTo>
                    <a:cubicBezTo>
                      <a:pt x="1102" y="826"/>
                      <a:pt x="801" y="1018"/>
                      <a:pt x="496" y="951"/>
                    </a:cubicBezTo>
                    <a:cubicBezTo>
                      <a:pt x="192" y="883"/>
                      <a:pt x="0" y="582"/>
                      <a:pt x="67" y="277"/>
                    </a:cubicBezTo>
                    <a:cubicBezTo>
                      <a:pt x="91" y="172"/>
                      <a:pt x="143" y="76"/>
                      <a:pt x="219" y="0"/>
                    </a:cubicBezTo>
                    <a:close/>
                  </a:path>
                </a:pathLst>
              </a:custGeom>
              <a:solidFill>
                <a:schemeClr val="tx1"/>
              </a:solidFill>
              <a:ln>
                <a:noFill/>
              </a:ln>
              <a:extLst/>
            </p:spPr>
            <p:txBody>
              <a:bodyPr vert="horz" wrap="square" lIns="89606" tIns="44803" rIns="89606" bIns="44803" numCol="1" anchor="t" anchorCtr="0" compatLnSpc="1">
                <a:prstTxWarp prst="textNoShape">
                  <a:avLst/>
                </a:prstTxWarp>
              </a:bodyPr>
              <a:lstStyle/>
              <a:p>
                <a:pPr defTabSz="914005"/>
                <a:endParaRPr lang="en-US" sz="1764" kern="0">
                  <a:solidFill>
                    <a:srgbClr val="333333"/>
                  </a:solidFill>
                  <a:latin typeface="Segoe UI"/>
                </a:endParaRPr>
              </a:p>
            </p:txBody>
          </p:sp>
          <p:sp>
            <p:nvSpPr>
              <p:cNvPr id="122" name="Freeform 70"/>
              <p:cNvSpPr>
                <a:spLocks/>
              </p:cNvSpPr>
              <p:nvPr/>
            </p:nvSpPr>
            <p:spPr bwMode="auto">
              <a:xfrm rot="16200000">
                <a:off x="8591100" y="4724982"/>
                <a:ext cx="281801" cy="269782"/>
              </a:xfrm>
              <a:custGeom>
                <a:avLst/>
                <a:gdLst>
                  <a:gd name="T0" fmla="*/ 220 w 1239"/>
                  <a:gd name="T1" fmla="*/ 1019 h 1185"/>
                  <a:gd name="T2" fmla="*/ 220 w 1239"/>
                  <a:gd name="T3" fmla="*/ 221 h 1185"/>
                  <a:gd name="T4" fmla="*/ 1019 w 1239"/>
                  <a:gd name="T5" fmla="*/ 221 h 1185"/>
                  <a:gd name="T6" fmla="*/ 1019 w 1239"/>
                  <a:gd name="T7" fmla="*/ 1019 h 1185"/>
                  <a:gd name="T8" fmla="*/ 620 w 1239"/>
                  <a:gd name="T9" fmla="*/ 1185 h 1185"/>
                  <a:gd name="T10" fmla="*/ 620 w 1239"/>
                  <a:gd name="T11" fmla="*/ 1041 h 1185"/>
                  <a:gd name="T12" fmla="*/ 1040 w 1239"/>
                  <a:gd name="T13" fmla="*/ 620 h 1185"/>
                  <a:gd name="T14" fmla="*/ 620 w 1239"/>
                  <a:gd name="T15" fmla="*/ 199 h 1185"/>
                  <a:gd name="T16" fmla="*/ 199 w 1239"/>
                  <a:gd name="T17" fmla="*/ 620 h 1185"/>
                  <a:gd name="T18" fmla="*/ 322 w 1239"/>
                  <a:gd name="T19" fmla="*/ 917 h 1185"/>
                  <a:gd name="T20" fmla="*/ 220 w 1239"/>
                  <a:gd name="T21" fmla="*/ 1019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39" h="1185">
                    <a:moveTo>
                      <a:pt x="220" y="1019"/>
                    </a:moveTo>
                    <a:cubicBezTo>
                      <a:pt x="0" y="799"/>
                      <a:pt x="0" y="441"/>
                      <a:pt x="220" y="221"/>
                    </a:cubicBezTo>
                    <a:cubicBezTo>
                      <a:pt x="441" y="0"/>
                      <a:pt x="798" y="0"/>
                      <a:pt x="1019" y="221"/>
                    </a:cubicBezTo>
                    <a:cubicBezTo>
                      <a:pt x="1239" y="441"/>
                      <a:pt x="1239" y="799"/>
                      <a:pt x="1019" y="1019"/>
                    </a:cubicBezTo>
                    <a:cubicBezTo>
                      <a:pt x="913" y="1125"/>
                      <a:pt x="769" y="1185"/>
                      <a:pt x="620" y="1185"/>
                    </a:cubicBezTo>
                    <a:cubicBezTo>
                      <a:pt x="620" y="1041"/>
                      <a:pt x="620" y="1041"/>
                      <a:pt x="620" y="1041"/>
                    </a:cubicBezTo>
                    <a:cubicBezTo>
                      <a:pt x="852" y="1041"/>
                      <a:pt x="1040" y="852"/>
                      <a:pt x="1040" y="620"/>
                    </a:cubicBezTo>
                    <a:cubicBezTo>
                      <a:pt x="1040" y="387"/>
                      <a:pt x="852" y="199"/>
                      <a:pt x="620" y="199"/>
                    </a:cubicBezTo>
                    <a:cubicBezTo>
                      <a:pt x="387" y="199"/>
                      <a:pt x="199" y="387"/>
                      <a:pt x="199" y="620"/>
                    </a:cubicBezTo>
                    <a:cubicBezTo>
                      <a:pt x="199" y="732"/>
                      <a:pt x="243" y="839"/>
                      <a:pt x="322" y="917"/>
                    </a:cubicBezTo>
                    <a:lnTo>
                      <a:pt x="220" y="1019"/>
                    </a:lnTo>
                    <a:close/>
                  </a:path>
                </a:pathLst>
              </a:custGeom>
              <a:solidFill>
                <a:schemeClr val="tx1"/>
              </a:solidFill>
              <a:ln>
                <a:noFill/>
              </a:ln>
              <a:extLst/>
            </p:spPr>
            <p:txBody>
              <a:bodyPr vert="horz" wrap="square" lIns="89606" tIns="44803" rIns="89606" bIns="44803" numCol="1" anchor="t" anchorCtr="0" compatLnSpc="1">
                <a:prstTxWarp prst="textNoShape">
                  <a:avLst/>
                </a:prstTxWarp>
              </a:bodyPr>
              <a:lstStyle/>
              <a:p>
                <a:pPr defTabSz="914005"/>
                <a:endParaRPr lang="en-US" sz="1764" kern="0">
                  <a:solidFill>
                    <a:srgbClr val="333333"/>
                  </a:solidFill>
                  <a:latin typeface="Segoe UI"/>
                </a:endParaRPr>
              </a:p>
            </p:txBody>
          </p:sp>
        </p:grpSp>
        <p:sp>
          <p:nvSpPr>
            <p:cNvPr id="124" name="TextBox 123"/>
            <p:cNvSpPr txBox="1"/>
            <p:nvPr/>
          </p:nvSpPr>
          <p:spPr>
            <a:xfrm>
              <a:off x="11084791" y="5455396"/>
              <a:ext cx="1077047" cy="613972"/>
            </a:xfrm>
            <a:prstGeom prst="rect">
              <a:avLst/>
            </a:prstGeom>
            <a:noFill/>
          </p:spPr>
          <p:txBody>
            <a:bodyPr wrap="square" lIns="179213" tIns="143370" rIns="179213" bIns="143370" rtlCol="0">
              <a:spAutoFit/>
            </a:bodyPr>
            <a:lstStyle/>
            <a:p>
              <a:pPr defTabSz="914005">
                <a:lnSpc>
                  <a:spcPct val="90000"/>
                </a:lnSpc>
                <a:spcAft>
                  <a:spcPts val="588"/>
                </a:spcAft>
              </a:pPr>
              <a:r>
                <a:rPr lang="en-US" sz="1127"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utomated </a:t>
              </a:r>
              <a:br>
                <a:rPr lang="en-US" sz="1127"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1127"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ystems</a:t>
              </a:r>
            </a:p>
          </p:txBody>
        </p:sp>
      </p:grpSp>
      <p:sp>
        <p:nvSpPr>
          <p:cNvPr id="37" name="Right Arrow 36"/>
          <p:cNvSpPr/>
          <p:nvPr/>
        </p:nvSpPr>
        <p:spPr bwMode="auto">
          <a:xfrm>
            <a:off x="6649609" y="6116674"/>
            <a:ext cx="3749877" cy="254446"/>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algn="ctr" defTabSz="932103">
              <a:lnSpc>
                <a:spcPct val="90000"/>
              </a:lnSpc>
            </a:pPr>
            <a:endParaRPr lang="en-US" sz="2399"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p:nvGrpSpPr>
        <p:grpSpPr>
          <a:xfrm>
            <a:off x="3935409" y="1756123"/>
            <a:ext cx="2327460" cy="4234072"/>
            <a:chOff x="4015367" y="1790395"/>
            <a:chExt cx="2374749" cy="4320099"/>
          </a:xfrm>
        </p:grpSpPr>
        <p:sp>
          <p:nvSpPr>
            <p:cNvPr id="42" name="Rectangle 41"/>
            <p:cNvSpPr/>
            <p:nvPr/>
          </p:nvSpPr>
          <p:spPr bwMode="auto">
            <a:xfrm>
              <a:off x="4015367" y="1790395"/>
              <a:ext cx="2079506" cy="432009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7" tIns="44803" rIns="17917" bIns="89581" numCol="1" spcCol="1270" anchor="t" anchorCtr="0">
              <a:noAutofit/>
            </a:bodyPr>
            <a:lstStyle/>
            <a:p>
              <a:pPr algn="ctr" defTabSz="710584">
                <a:spcAft>
                  <a:spcPct val="35000"/>
                </a:spcAft>
              </a:pPr>
              <a:r>
                <a:rPr lang="en-US" sz="1568"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Big Data Stores</a:t>
              </a:r>
            </a:p>
          </p:txBody>
        </p:sp>
        <p:pic>
          <p:nvPicPr>
            <p:cNvPr id="36" name="Picture 13"/>
            <p:cNvPicPr>
              <a:picLocks noChangeAspect="1"/>
            </p:cNvPicPr>
            <p:nvPr/>
          </p:nvPicPr>
          <p:blipFill>
            <a:blip r:embed="rId7">
              <a:lum bright="100000"/>
              <a:extLst>
                <a:ext uri="{28A0092B-C50C-407E-A947-70E740481C1C}">
                  <a14:useLocalDpi xmlns:a14="http://schemas.microsoft.com/office/drawing/2010/main" val="0"/>
                </a:ext>
              </a:extLst>
            </a:blip>
            <a:srcRect/>
            <a:stretch>
              <a:fillRect/>
            </a:stretch>
          </p:blipFill>
          <p:spPr bwMode="auto">
            <a:xfrm>
              <a:off x="4128059" y="4437777"/>
              <a:ext cx="329771" cy="4298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 name="Rounded Rectangle 38"/>
            <p:cNvSpPr/>
            <p:nvPr/>
          </p:nvSpPr>
          <p:spPr bwMode="auto">
            <a:xfrm>
              <a:off x="4149766" y="3430749"/>
              <a:ext cx="331473" cy="331473"/>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Rectangle 39"/>
            <p:cNvSpPr/>
            <p:nvPr/>
          </p:nvSpPr>
          <p:spPr bwMode="auto">
            <a:xfrm>
              <a:off x="4188894" y="3468844"/>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46"/>
            <p:cNvSpPr/>
            <p:nvPr/>
          </p:nvSpPr>
          <p:spPr bwMode="auto">
            <a:xfrm>
              <a:off x="4331042" y="3468844"/>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8" name="Oval 47"/>
            <p:cNvSpPr/>
            <p:nvPr/>
          </p:nvSpPr>
          <p:spPr bwMode="auto">
            <a:xfrm>
              <a:off x="4258333" y="3469240"/>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9" name="Oval 48"/>
            <p:cNvSpPr/>
            <p:nvPr/>
          </p:nvSpPr>
          <p:spPr bwMode="auto">
            <a:xfrm>
              <a:off x="4400481" y="3469240"/>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0" name="Rectangle 49"/>
            <p:cNvSpPr/>
            <p:nvPr/>
          </p:nvSpPr>
          <p:spPr bwMode="auto">
            <a:xfrm>
              <a:off x="4188894" y="3621011"/>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1" name="Rectangle 50"/>
            <p:cNvSpPr/>
            <p:nvPr/>
          </p:nvSpPr>
          <p:spPr bwMode="auto">
            <a:xfrm>
              <a:off x="4331042" y="3621011"/>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2" name="Oval 51"/>
            <p:cNvSpPr/>
            <p:nvPr/>
          </p:nvSpPr>
          <p:spPr bwMode="auto">
            <a:xfrm>
              <a:off x="4258333" y="3621407"/>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3" name="Oval 52"/>
            <p:cNvSpPr/>
            <p:nvPr/>
          </p:nvSpPr>
          <p:spPr bwMode="auto">
            <a:xfrm>
              <a:off x="4400481" y="3621407"/>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p:cNvSpPr/>
            <p:nvPr/>
          </p:nvSpPr>
          <p:spPr bwMode="auto">
            <a:xfrm>
              <a:off x="4261998" y="3693760"/>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5" name="Rectangle 54"/>
            <p:cNvSpPr/>
            <p:nvPr/>
          </p:nvSpPr>
          <p:spPr bwMode="auto">
            <a:xfrm>
              <a:off x="4404146" y="3693760"/>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6" name="Oval 55"/>
            <p:cNvSpPr/>
            <p:nvPr/>
          </p:nvSpPr>
          <p:spPr bwMode="auto">
            <a:xfrm>
              <a:off x="4189290" y="3694156"/>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7" name="Oval 56"/>
            <p:cNvSpPr/>
            <p:nvPr/>
          </p:nvSpPr>
          <p:spPr bwMode="auto">
            <a:xfrm>
              <a:off x="4331438" y="3694156"/>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8" name="Rectangle 57"/>
            <p:cNvSpPr/>
            <p:nvPr/>
          </p:nvSpPr>
          <p:spPr bwMode="auto">
            <a:xfrm>
              <a:off x="4261998" y="3534947"/>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9" name="Rectangle 58"/>
            <p:cNvSpPr/>
            <p:nvPr/>
          </p:nvSpPr>
          <p:spPr bwMode="auto">
            <a:xfrm>
              <a:off x="4404146" y="3534947"/>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60" name="Oval 59"/>
            <p:cNvSpPr/>
            <p:nvPr/>
          </p:nvSpPr>
          <p:spPr bwMode="auto">
            <a:xfrm>
              <a:off x="4189290" y="3535344"/>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61" name="Oval 60"/>
            <p:cNvSpPr/>
            <p:nvPr/>
          </p:nvSpPr>
          <p:spPr bwMode="auto">
            <a:xfrm>
              <a:off x="4331438" y="3535344"/>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81" name="Rectangle 80"/>
            <p:cNvSpPr/>
            <p:nvPr/>
          </p:nvSpPr>
          <p:spPr>
            <a:xfrm>
              <a:off x="4508069" y="3352325"/>
              <a:ext cx="797782" cy="461665"/>
            </a:xfrm>
            <a:prstGeom prst="rect">
              <a:avLst/>
            </a:prstGeom>
          </p:spPr>
          <p:txBody>
            <a:bodyPr wrap="none">
              <a:spAutoFit/>
            </a:bodyPr>
            <a:lstStyle/>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ta Lake</a:t>
              </a:r>
              <a:endParaRPr lang="en-US" sz="1176" kern="0" dirty="0">
                <a:gradFill>
                  <a:gsLst>
                    <a:gs pos="0">
                      <a:srgbClr val="FFFFFF"/>
                    </a:gs>
                    <a:gs pos="100000">
                      <a:srgbClr val="FFFFFF"/>
                    </a:gs>
                  </a:gsLst>
                  <a:lin ang="5400000" scaled="0"/>
                </a:gradFill>
                <a:latin typeface="Segoe UI"/>
              </a:endParaRPr>
            </a:p>
          </p:txBody>
        </p:sp>
        <p:sp>
          <p:nvSpPr>
            <p:cNvPr id="82" name="Rectangle 81"/>
            <p:cNvSpPr/>
            <p:nvPr/>
          </p:nvSpPr>
          <p:spPr>
            <a:xfrm>
              <a:off x="4489683" y="4446182"/>
              <a:ext cx="1463542" cy="453970"/>
            </a:xfrm>
            <a:prstGeom prst="rect">
              <a:avLst/>
            </a:prstGeom>
          </p:spPr>
          <p:txBody>
            <a:bodyPr wrap="none">
              <a:spAutoFit/>
            </a:bodyPr>
            <a:lstStyle/>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a:t>
              </a:r>
              <a:r>
                <a:rPr lang="en-US" sz="1127"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 </a:t>
              </a:r>
            </a:p>
            <a:p>
              <a:pPr defTabSz="914180"/>
              <a:r>
                <a:rPr lang="en-US" sz="1127"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QL Data Warehouse</a:t>
              </a:r>
              <a:endParaRPr lang="en-US" sz="1127" kern="0" dirty="0">
                <a:gradFill>
                  <a:gsLst>
                    <a:gs pos="0">
                      <a:srgbClr val="FFFFFF"/>
                    </a:gs>
                    <a:gs pos="100000">
                      <a:srgbClr val="FFFFFF"/>
                    </a:gs>
                  </a:gsLst>
                  <a:lin ang="5400000" scaled="0"/>
                </a:gradFill>
                <a:latin typeface="Segoe UI"/>
              </a:endParaRPr>
            </a:p>
          </p:txBody>
        </p:sp>
        <p:grpSp>
          <p:nvGrpSpPr>
            <p:cNvPr id="145" name="Group 144"/>
            <p:cNvGrpSpPr/>
            <p:nvPr/>
          </p:nvGrpSpPr>
          <p:grpSpPr>
            <a:xfrm>
              <a:off x="6094873" y="5254390"/>
              <a:ext cx="295243" cy="853675"/>
              <a:chOff x="3832324" y="5254390"/>
              <a:chExt cx="295243" cy="853675"/>
            </a:xfrm>
          </p:grpSpPr>
          <p:sp>
            <p:nvSpPr>
              <p:cNvPr id="146" name="Isosceles Triangle 145"/>
              <p:cNvSpPr/>
              <p:nvPr/>
            </p:nvSpPr>
            <p:spPr bwMode="auto">
              <a:xfrm rot="5400000">
                <a:off x="3576707" y="55572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47" name="Isosceles Triangle 146"/>
              <p:cNvSpPr/>
              <p:nvPr/>
            </p:nvSpPr>
            <p:spPr bwMode="auto">
              <a:xfrm rot="5400000">
                <a:off x="3529509" y="5557205"/>
                <a:ext cx="853675" cy="248045"/>
              </a:xfrm>
              <a:prstGeom prst="triangl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7" name="Group 6"/>
          <p:cNvGrpSpPr/>
          <p:nvPr/>
        </p:nvGrpSpPr>
        <p:grpSpPr>
          <a:xfrm>
            <a:off x="1720313" y="1756123"/>
            <a:ext cx="2325061" cy="4234072"/>
            <a:chOff x="1755266" y="1790395"/>
            <a:chExt cx="2372301" cy="4320099"/>
          </a:xfrm>
        </p:grpSpPr>
        <p:sp>
          <p:nvSpPr>
            <p:cNvPr id="41" name="Rectangle 40"/>
            <p:cNvSpPr/>
            <p:nvPr/>
          </p:nvSpPr>
          <p:spPr bwMode="auto">
            <a:xfrm>
              <a:off x="1755266" y="1790395"/>
              <a:ext cx="2079506" cy="4320099"/>
            </a:xfrm>
            <a:prstGeom prst="rect">
              <a:avLst/>
            </a:prstGeom>
            <a:solidFill>
              <a:schemeClr val="bg2">
                <a:lumMod val="75000"/>
                <a:lumOff val="25000"/>
              </a:schemeClr>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7" tIns="44803" rIns="17917" bIns="89581" numCol="1" spcCol="1270" anchor="t" anchorCtr="0">
              <a:noAutofit/>
            </a:bodyPr>
            <a:lstStyle/>
            <a:p>
              <a:pPr algn="ctr" defTabSz="710584">
                <a:spcAft>
                  <a:spcPct val="35000"/>
                </a:spcAft>
              </a:pPr>
              <a:r>
                <a:rPr lang="en-US" sz="1568"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Information Management</a:t>
              </a:r>
            </a:p>
          </p:txBody>
        </p:sp>
        <p:pic>
          <p:nvPicPr>
            <p:cNvPr id="46" name="Picture 4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892648" y="2887432"/>
              <a:ext cx="375108" cy="375108"/>
            </a:xfrm>
            <a:prstGeom prst="rect">
              <a:avLst/>
            </a:prstGeom>
          </p:spPr>
        </p:pic>
        <p:sp>
          <p:nvSpPr>
            <p:cNvPr id="77" name="Freeform 30"/>
            <p:cNvSpPr>
              <a:spLocks noEditPoints="1"/>
            </p:cNvSpPr>
            <p:nvPr/>
          </p:nvSpPr>
          <p:spPr bwMode="auto">
            <a:xfrm>
              <a:off x="1943680" y="3996178"/>
              <a:ext cx="273043" cy="347423"/>
            </a:xfrm>
            <a:custGeom>
              <a:avLst/>
              <a:gdLst>
                <a:gd name="T0" fmla="*/ 57 w 290"/>
                <a:gd name="T1" fmla="*/ 95 h 369"/>
                <a:gd name="T2" fmla="*/ 222 w 290"/>
                <a:gd name="T3" fmla="*/ 95 h 369"/>
                <a:gd name="T4" fmla="*/ 222 w 290"/>
                <a:gd name="T5" fmla="*/ 108 h 369"/>
                <a:gd name="T6" fmla="*/ 57 w 290"/>
                <a:gd name="T7" fmla="*/ 108 h 369"/>
                <a:gd name="T8" fmla="*/ 57 w 290"/>
                <a:gd name="T9" fmla="*/ 95 h 369"/>
                <a:gd name="T10" fmla="*/ 57 w 290"/>
                <a:gd name="T11" fmla="*/ 150 h 369"/>
                <a:gd name="T12" fmla="*/ 222 w 290"/>
                <a:gd name="T13" fmla="*/ 150 h 369"/>
                <a:gd name="T14" fmla="*/ 222 w 290"/>
                <a:gd name="T15" fmla="*/ 139 h 369"/>
                <a:gd name="T16" fmla="*/ 57 w 290"/>
                <a:gd name="T17" fmla="*/ 139 h 369"/>
                <a:gd name="T18" fmla="*/ 57 w 290"/>
                <a:gd name="T19" fmla="*/ 150 h 369"/>
                <a:gd name="T20" fmla="*/ 57 w 290"/>
                <a:gd name="T21" fmla="*/ 194 h 369"/>
                <a:gd name="T22" fmla="*/ 222 w 290"/>
                <a:gd name="T23" fmla="*/ 194 h 369"/>
                <a:gd name="T24" fmla="*/ 222 w 290"/>
                <a:gd name="T25" fmla="*/ 181 h 369"/>
                <a:gd name="T26" fmla="*/ 57 w 290"/>
                <a:gd name="T27" fmla="*/ 181 h 369"/>
                <a:gd name="T28" fmla="*/ 57 w 290"/>
                <a:gd name="T29" fmla="*/ 194 h 369"/>
                <a:gd name="T30" fmla="*/ 57 w 290"/>
                <a:gd name="T31" fmla="*/ 236 h 369"/>
                <a:gd name="T32" fmla="*/ 222 w 290"/>
                <a:gd name="T33" fmla="*/ 236 h 369"/>
                <a:gd name="T34" fmla="*/ 222 w 290"/>
                <a:gd name="T35" fmla="*/ 223 h 369"/>
                <a:gd name="T36" fmla="*/ 57 w 290"/>
                <a:gd name="T37" fmla="*/ 223 h 369"/>
                <a:gd name="T38" fmla="*/ 57 w 290"/>
                <a:gd name="T39" fmla="*/ 236 h 369"/>
                <a:gd name="T40" fmla="*/ 290 w 290"/>
                <a:gd name="T41" fmla="*/ 90 h 369"/>
                <a:gd name="T42" fmla="*/ 290 w 290"/>
                <a:gd name="T43" fmla="*/ 369 h 369"/>
                <a:gd name="T44" fmla="*/ 0 w 290"/>
                <a:gd name="T45" fmla="*/ 369 h 369"/>
                <a:gd name="T46" fmla="*/ 0 w 290"/>
                <a:gd name="T47" fmla="*/ 1 h 369"/>
                <a:gd name="T48" fmla="*/ 216 w 290"/>
                <a:gd name="T49" fmla="*/ 1 h 369"/>
                <a:gd name="T50" fmla="*/ 216 w 290"/>
                <a:gd name="T51" fmla="*/ 0 h 369"/>
                <a:gd name="T52" fmla="*/ 290 w 290"/>
                <a:gd name="T53" fmla="*/ 90 h 369"/>
                <a:gd name="T54" fmla="*/ 271 w 290"/>
                <a:gd name="T55" fmla="*/ 79 h 369"/>
                <a:gd name="T56" fmla="*/ 214 w 290"/>
                <a:gd name="T57" fmla="*/ 79 h 369"/>
                <a:gd name="T58" fmla="*/ 216 w 290"/>
                <a:gd name="T59" fmla="*/ 21 h 369"/>
                <a:gd name="T60" fmla="*/ 20 w 290"/>
                <a:gd name="T61" fmla="*/ 21 h 369"/>
                <a:gd name="T62" fmla="*/ 20 w 290"/>
                <a:gd name="T63" fmla="*/ 349 h 369"/>
                <a:gd name="T64" fmla="*/ 271 w 290"/>
                <a:gd name="T65" fmla="*/ 349 h 369"/>
                <a:gd name="T66" fmla="*/ 271 w 290"/>
                <a:gd name="T67" fmla="*/ 7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0" h="369">
                  <a:moveTo>
                    <a:pt x="57" y="95"/>
                  </a:moveTo>
                  <a:lnTo>
                    <a:pt x="222" y="95"/>
                  </a:lnTo>
                  <a:lnTo>
                    <a:pt x="222" y="108"/>
                  </a:lnTo>
                  <a:lnTo>
                    <a:pt x="57" y="108"/>
                  </a:lnTo>
                  <a:lnTo>
                    <a:pt x="57" y="95"/>
                  </a:lnTo>
                  <a:close/>
                  <a:moveTo>
                    <a:pt x="57" y="150"/>
                  </a:moveTo>
                  <a:lnTo>
                    <a:pt x="222" y="150"/>
                  </a:lnTo>
                  <a:lnTo>
                    <a:pt x="222" y="139"/>
                  </a:lnTo>
                  <a:lnTo>
                    <a:pt x="57" y="139"/>
                  </a:lnTo>
                  <a:lnTo>
                    <a:pt x="57" y="150"/>
                  </a:lnTo>
                  <a:close/>
                  <a:moveTo>
                    <a:pt x="57" y="194"/>
                  </a:moveTo>
                  <a:lnTo>
                    <a:pt x="222" y="194"/>
                  </a:lnTo>
                  <a:lnTo>
                    <a:pt x="222" y="181"/>
                  </a:lnTo>
                  <a:lnTo>
                    <a:pt x="57" y="181"/>
                  </a:lnTo>
                  <a:lnTo>
                    <a:pt x="57" y="194"/>
                  </a:lnTo>
                  <a:close/>
                  <a:moveTo>
                    <a:pt x="57" y="236"/>
                  </a:moveTo>
                  <a:lnTo>
                    <a:pt x="222" y="236"/>
                  </a:lnTo>
                  <a:lnTo>
                    <a:pt x="222" y="223"/>
                  </a:lnTo>
                  <a:lnTo>
                    <a:pt x="57" y="223"/>
                  </a:lnTo>
                  <a:lnTo>
                    <a:pt x="57" y="236"/>
                  </a:lnTo>
                  <a:close/>
                  <a:moveTo>
                    <a:pt x="290" y="90"/>
                  </a:moveTo>
                  <a:lnTo>
                    <a:pt x="290" y="369"/>
                  </a:lnTo>
                  <a:lnTo>
                    <a:pt x="0" y="369"/>
                  </a:lnTo>
                  <a:lnTo>
                    <a:pt x="0" y="1"/>
                  </a:lnTo>
                  <a:lnTo>
                    <a:pt x="216" y="1"/>
                  </a:lnTo>
                  <a:lnTo>
                    <a:pt x="216" y="0"/>
                  </a:lnTo>
                  <a:lnTo>
                    <a:pt x="290" y="90"/>
                  </a:lnTo>
                  <a:close/>
                  <a:moveTo>
                    <a:pt x="271" y="79"/>
                  </a:moveTo>
                  <a:lnTo>
                    <a:pt x="214" y="79"/>
                  </a:lnTo>
                  <a:lnTo>
                    <a:pt x="216" y="21"/>
                  </a:lnTo>
                  <a:lnTo>
                    <a:pt x="20" y="21"/>
                  </a:lnTo>
                  <a:lnTo>
                    <a:pt x="20" y="349"/>
                  </a:lnTo>
                  <a:lnTo>
                    <a:pt x="271" y="349"/>
                  </a:lnTo>
                  <a:lnTo>
                    <a:pt x="271" y="79"/>
                  </a:lnTo>
                  <a:close/>
                </a:path>
              </a:pathLst>
            </a:custGeom>
            <a:solidFill>
              <a:srgbClr val="FFFFFF"/>
            </a:solidFill>
            <a:ln>
              <a:noFill/>
            </a:ln>
            <a:extLst/>
          </p:spPr>
          <p:txBody>
            <a:bodyPr vert="horz" wrap="square" lIns="89606" tIns="44803" rIns="89606" bIns="44803" numCol="1" anchor="t" anchorCtr="0" compatLnSpc="1">
              <a:prstTxWarp prst="textNoShape">
                <a:avLst/>
              </a:prstTxWarp>
            </a:bodyPr>
            <a:lstStyle/>
            <a:p>
              <a:pPr defTabSz="877825">
                <a:defRPr/>
              </a:pPr>
              <a:endParaRPr lang="en-US" sz="1632" kern="0" dirty="0">
                <a:solidFill>
                  <a:srgbClr val="000000"/>
                </a:solidFill>
                <a:latin typeface="Segoe UI"/>
                <a:ea typeface="MS PGothic" charset="0"/>
              </a:endParaRPr>
            </a:p>
          </p:txBody>
        </p:sp>
        <p:pic>
          <p:nvPicPr>
            <p:cNvPr id="78" name="Picture 77"/>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892648" y="5001504"/>
              <a:ext cx="339648" cy="352813"/>
            </a:xfrm>
            <a:prstGeom prst="rect">
              <a:avLst/>
            </a:prstGeom>
          </p:spPr>
        </p:pic>
        <p:sp>
          <p:nvSpPr>
            <p:cNvPr id="4" name="Rectangle 3"/>
            <p:cNvSpPr/>
            <p:nvPr/>
          </p:nvSpPr>
          <p:spPr>
            <a:xfrm>
              <a:off x="2295424" y="2888599"/>
              <a:ext cx="1009122" cy="461665"/>
            </a:xfrm>
            <a:prstGeom prst="rect">
              <a:avLst/>
            </a:prstGeom>
          </p:spPr>
          <p:txBody>
            <a:bodyPr wrap="none">
              <a:spAutoFit/>
            </a:bodyPr>
            <a:lstStyle/>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ta Factory </a:t>
              </a:r>
              <a:endParaRPr lang="en-US" sz="1176" kern="0" dirty="0">
                <a:gradFill>
                  <a:gsLst>
                    <a:gs pos="0">
                      <a:srgbClr val="FFFFFF"/>
                    </a:gs>
                    <a:gs pos="100000">
                      <a:srgbClr val="FFFFFF"/>
                    </a:gs>
                  </a:gsLst>
                  <a:lin ang="5400000" scaled="0"/>
                </a:gradFill>
                <a:latin typeface="Segoe UI"/>
              </a:endParaRPr>
            </a:p>
          </p:txBody>
        </p:sp>
        <p:sp>
          <p:nvSpPr>
            <p:cNvPr id="79" name="Rectangle 78"/>
            <p:cNvSpPr/>
            <p:nvPr/>
          </p:nvSpPr>
          <p:spPr>
            <a:xfrm>
              <a:off x="2295424" y="3922283"/>
              <a:ext cx="999313" cy="461665"/>
            </a:xfrm>
            <a:prstGeom prst="rect">
              <a:avLst/>
            </a:prstGeom>
          </p:spPr>
          <p:txBody>
            <a:bodyPr wrap="none">
              <a:spAutoFit/>
            </a:bodyPr>
            <a:lstStyle/>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ta Catalog</a:t>
              </a:r>
              <a:endParaRPr lang="en-US" sz="1176" kern="0" dirty="0">
                <a:gradFill>
                  <a:gsLst>
                    <a:gs pos="0">
                      <a:srgbClr val="FFFFFF"/>
                    </a:gs>
                    <a:gs pos="100000">
                      <a:srgbClr val="FFFFFF"/>
                    </a:gs>
                  </a:gsLst>
                  <a:lin ang="5400000" scaled="0"/>
                </a:gradFill>
                <a:latin typeface="Segoe UI"/>
              </a:endParaRPr>
            </a:p>
          </p:txBody>
        </p:sp>
        <p:sp>
          <p:nvSpPr>
            <p:cNvPr id="80" name="Rectangle 79"/>
            <p:cNvSpPr/>
            <p:nvPr/>
          </p:nvSpPr>
          <p:spPr>
            <a:xfrm>
              <a:off x="2295424" y="4954772"/>
              <a:ext cx="833626" cy="461665"/>
            </a:xfrm>
            <a:prstGeom prst="rect">
              <a:avLst/>
            </a:prstGeom>
          </p:spPr>
          <p:txBody>
            <a:bodyPr wrap="none">
              <a:spAutoFit/>
            </a:bodyPr>
            <a:lstStyle/>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Event Hub</a:t>
              </a:r>
              <a:endParaRPr lang="en-US" sz="1176" kern="0" dirty="0">
                <a:gradFill>
                  <a:gsLst>
                    <a:gs pos="0">
                      <a:srgbClr val="FFFFFF"/>
                    </a:gs>
                    <a:gs pos="100000">
                      <a:srgbClr val="FFFFFF"/>
                    </a:gs>
                  </a:gsLst>
                  <a:lin ang="5400000" scaled="0"/>
                </a:gradFill>
                <a:latin typeface="Segoe UI"/>
              </a:endParaRPr>
            </a:p>
          </p:txBody>
        </p:sp>
        <p:grpSp>
          <p:nvGrpSpPr>
            <p:cNvPr id="12" name="Group 11"/>
            <p:cNvGrpSpPr/>
            <p:nvPr/>
          </p:nvGrpSpPr>
          <p:grpSpPr>
            <a:xfrm>
              <a:off x="3832324" y="5254390"/>
              <a:ext cx="295243" cy="853675"/>
              <a:chOff x="3832324" y="5254390"/>
              <a:chExt cx="295243" cy="853675"/>
            </a:xfrm>
          </p:grpSpPr>
          <p:sp>
            <p:nvSpPr>
              <p:cNvPr id="144" name="Isosceles Triangle 143"/>
              <p:cNvSpPr/>
              <p:nvPr/>
            </p:nvSpPr>
            <p:spPr bwMode="auto">
              <a:xfrm rot="5400000">
                <a:off x="3576707" y="55572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Isosceles Triangle 10"/>
              <p:cNvSpPr/>
              <p:nvPr/>
            </p:nvSpPr>
            <p:spPr bwMode="auto">
              <a:xfrm rot="5400000">
                <a:off x="3529509" y="5557205"/>
                <a:ext cx="853675" cy="248045"/>
              </a:xfrm>
              <a:prstGeom prst="triangl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grpSp>
    </p:spTree>
    <p:extLst>
      <p:ext uri="{BB962C8B-B14F-4D97-AF65-F5344CB8AC3E}">
        <p14:creationId xmlns:p14="http://schemas.microsoft.com/office/powerpoint/2010/main" val="87536819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3212" y="609600"/>
            <a:ext cx="6934200" cy="917575"/>
          </a:xfrm>
        </p:spPr>
        <p:txBody>
          <a:bodyPr/>
          <a:lstStyle/>
          <a:p>
            <a:r>
              <a:rPr lang="en-US" dirty="0"/>
              <a:t>Why the cloud?</a:t>
            </a:r>
            <a:br>
              <a:rPr lang="en-US" dirty="0"/>
            </a:br>
            <a:endParaRPr lang="en-US" dirty="0"/>
          </a:p>
        </p:txBody>
      </p:sp>
      <p:grpSp>
        <p:nvGrpSpPr>
          <p:cNvPr id="23" name="Group 22"/>
          <p:cNvGrpSpPr/>
          <p:nvPr/>
        </p:nvGrpSpPr>
        <p:grpSpPr>
          <a:xfrm>
            <a:off x="8506765" y="1981200"/>
            <a:ext cx="3150247" cy="2891967"/>
            <a:chOff x="9437286" y="2704505"/>
            <a:chExt cx="2377659" cy="2385653"/>
          </a:xfrm>
        </p:grpSpPr>
        <p:sp>
          <p:nvSpPr>
            <p:cNvPr id="5" name="Rectangle 4"/>
            <p:cNvSpPr/>
            <p:nvPr/>
          </p:nvSpPr>
          <p:spPr bwMode="auto">
            <a:xfrm>
              <a:off x="9516168" y="2704505"/>
              <a:ext cx="2298777" cy="2385653"/>
            </a:xfrm>
            <a:prstGeom prst="rect">
              <a:avLst/>
            </a:prstGeom>
            <a:solidFill>
              <a:schemeClr val="accent2">
                <a:lumMod val="50000"/>
              </a:schemeClr>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marL="0" marR="0" lvl="0" indent="0" algn="ctr" defTabSz="932013" eaLnBrk="1" fontAlgn="base" latinLnBrk="0" hangingPunct="1">
                <a:lnSpc>
                  <a:spcPct val="100000"/>
                </a:lnSpc>
                <a:spcBef>
                  <a:spcPct val="0"/>
                </a:spcBef>
                <a:spcAft>
                  <a:spcPct val="0"/>
                </a:spcAft>
                <a:buClrTx/>
                <a:buSzTx/>
                <a:buFontTx/>
                <a:buNone/>
                <a:tabLst/>
                <a:defRPr/>
              </a:pPr>
              <a:endParaRPr kumimoji="0" lang="en-US" sz="3136"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ndParaRPr>
            </a:p>
          </p:txBody>
        </p:sp>
        <p:sp>
          <p:nvSpPr>
            <p:cNvPr id="6" name="Rectangle 5"/>
            <p:cNvSpPr/>
            <p:nvPr/>
          </p:nvSpPr>
          <p:spPr>
            <a:xfrm>
              <a:off x="9437286" y="2765254"/>
              <a:ext cx="2246128" cy="646331"/>
            </a:xfrm>
            <a:prstGeom prst="rect">
              <a:avLst/>
            </a:prstGeom>
          </p:spPr>
          <p:txBody>
            <a:bodyPr wrap="none">
              <a:spAutoFit/>
            </a:bodyPr>
            <a:lstStyle/>
            <a:p>
              <a:pPr marL="0" marR="0" lvl="0" indent="0" algn="ctr" defTabSz="932013" eaLnBrk="1" fontAlgn="base" latinLnBrk="0" hangingPunct="1">
                <a:lnSpc>
                  <a:spcPct val="100000"/>
                </a:lnSpc>
                <a:spcBef>
                  <a:spcPct val="0"/>
                </a:spcBef>
                <a:spcAft>
                  <a:spcPct val="0"/>
                </a:spcAft>
                <a:buClrTx/>
                <a:buSzTx/>
                <a:buFontTx/>
                <a:buNone/>
                <a:tabLst/>
                <a:defRPr/>
              </a:pPr>
              <a:r>
                <a:rPr kumimoji="0" lang="en-US" sz="3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rPr>
                <a:t>Economics</a:t>
              </a:r>
            </a:p>
          </p:txBody>
        </p:sp>
        <p:sp>
          <p:nvSpPr>
            <p:cNvPr id="7" name="Freeform 9"/>
            <p:cNvSpPr>
              <a:spLocks noChangeAspect="1"/>
            </p:cNvSpPr>
            <p:nvPr/>
          </p:nvSpPr>
          <p:spPr bwMode="black">
            <a:xfrm>
              <a:off x="11092763" y="3988206"/>
              <a:ext cx="550479" cy="965267"/>
            </a:xfrm>
            <a:custGeom>
              <a:avLst/>
              <a:gdLst>
                <a:gd name="T0" fmla="*/ 219 w 339"/>
                <a:gd name="T1" fmla="*/ 584 h 584"/>
                <a:gd name="T2" fmla="*/ 219 w 339"/>
                <a:gd name="T3" fmla="*/ 511 h 584"/>
                <a:gd name="T4" fmla="*/ 339 w 339"/>
                <a:gd name="T5" fmla="*/ 373 h 584"/>
                <a:gd name="T6" fmla="*/ 214 w 339"/>
                <a:gd name="T7" fmla="*/ 230 h 584"/>
                <a:gd name="T8" fmla="*/ 146 w 339"/>
                <a:gd name="T9" fmla="*/ 190 h 584"/>
                <a:gd name="T10" fmla="*/ 186 w 339"/>
                <a:gd name="T11" fmla="*/ 169 h 584"/>
                <a:gd name="T12" fmla="*/ 274 w 339"/>
                <a:gd name="T13" fmla="*/ 191 h 584"/>
                <a:gd name="T14" fmla="*/ 294 w 339"/>
                <a:gd name="T15" fmla="*/ 200 h 584"/>
                <a:gd name="T16" fmla="*/ 300 w 339"/>
                <a:gd name="T17" fmla="*/ 180 h 584"/>
                <a:gd name="T18" fmla="*/ 324 w 339"/>
                <a:gd name="T19" fmla="*/ 89 h 584"/>
                <a:gd name="T20" fmla="*/ 310 w 339"/>
                <a:gd name="T21" fmla="*/ 83 h 584"/>
                <a:gd name="T22" fmla="*/ 222 w 339"/>
                <a:gd name="T23" fmla="*/ 61 h 584"/>
                <a:gd name="T24" fmla="*/ 222 w 339"/>
                <a:gd name="T25" fmla="*/ 0 h 584"/>
                <a:gd name="T26" fmla="*/ 121 w 339"/>
                <a:gd name="T27" fmla="*/ 0 h 584"/>
                <a:gd name="T28" fmla="*/ 121 w 339"/>
                <a:gd name="T29" fmla="*/ 68 h 584"/>
                <a:gd name="T30" fmla="*/ 7 w 339"/>
                <a:gd name="T31" fmla="*/ 201 h 584"/>
                <a:gd name="T32" fmla="*/ 140 w 339"/>
                <a:gd name="T33" fmla="*/ 341 h 584"/>
                <a:gd name="T34" fmla="*/ 200 w 339"/>
                <a:gd name="T35" fmla="*/ 383 h 584"/>
                <a:gd name="T36" fmla="*/ 153 w 339"/>
                <a:gd name="T37" fmla="*/ 407 h 584"/>
                <a:gd name="T38" fmla="*/ 50 w 339"/>
                <a:gd name="T39" fmla="*/ 379 h 584"/>
                <a:gd name="T40" fmla="*/ 30 w 339"/>
                <a:gd name="T41" fmla="*/ 369 h 584"/>
                <a:gd name="T42" fmla="*/ 0 w 339"/>
                <a:gd name="T43" fmla="*/ 483 h 584"/>
                <a:gd name="T44" fmla="*/ 0 w 339"/>
                <a:gd name="T45" fmla="*/ 483 h 584"/>
                <a:gd name="T46" fmla="*/ 12 w 339"/>
                <a:gd name="T47" fmla="*/ 489 h 584"/>
                <a:gd name="T48" fmla="*/ 118 w 339"/>
                <a:gd name="T49" fmla="*/ 518 h 584"/>
                <a:gd name="T50" fmla="*/ 118 w 339"/>
                <a:gd name="T51" fmla="*/ 584 h 584"/>
                <a:gd name="T52" fmla="*/ 219 w 339"/>
                <a:gd name="T53" fmla="*/ 584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9" h="584">
                  <a:moveTo>
                    <a:pt x="219" y="584"/>
                  </a:moveTo>
                  <a:cubicBezTo>
                    <a:pt x="219" y="511"/>
                    <a:pt x="219" y="511"/>
                    <a:pt x="219" y="511"/>
                  </a:cubicBezTo>
                  <a:cubicBezTo>
                    <a:pt x="293" y="493"/>
                    <a:pt x="339" y="442"/>
                    <a:pt x="339" y="373"/>
                  </a:cubicBezTo>
                  <a:cubicBezTo>
                    <a:pt x="339" y="304"/>
                    <a:pt x="301" y="261"/>
                    <a:pt x="214" y="230"/>
                  </a:cubicBezTo>
                  <a:cubicBezTo>
                    <a:pt x="182" y="219"/>
                    <a:pt x="146" y="203"/>
                    <a:pt x="146" y="190"/>
                  </a:cubicBezTo>
                  <a:cubicBezTo>
                    <a:pt x="146" y="172"/>
                    <a:pt x="171" y="169"/>
                    <a:pt x="186" y="169"/>
                  </a:cubicBezTo>
                  <a:cubicBezTo>
                    <a:pt x="230" y="169"/>
                    <a:pt x="258" y="183"/>
                    <a:pt x="274" y="191"/>
                  </a:cubicBezTo>
                  <a:cubicBezTo>
                    <a:pt x="294" y="200"/>
                    <a:pt x="294" y="200"/>
                    <a:pt x="294" y="200"/>
                  </a:cubicBezTo>
                  <a:cubicBezTo>
                    <a:pt x="300" y="180"/>
                    <a:pt x="300" y="180"/>
                    <a:pt x="300" y="180"/>
                  </a:cubicBezTo>
                  <a:cubicBezTo>
                    <a:pt x="324" y="89"/>
                    <a:pt x="324" y="89"/>
                    <a:pt x="324" y="89"/>
                  </a:cubicBezTo>
                  <a:cubicBezTo>
                    <a:pt x="310" y="83"/>
                    <a:pt x="310" y="83"/>
                    <a:pt x="310" y="83"/>
                  </a:cubicBezTo>
                  <a:cubicBezTo>
                    <a:pt x="293" y="75"/>
                    <a:pt x="264" y="64"/>
                    <a:pt x="222" y="61"/>
                  </a:cubicBezTo>
                  <a:cubicBezTo>
                    <a:pt x="222" y="0"/>
                    <a:pt x="222" y="0"/>
                    <a:pt x="222" y="0"/>
                  </a:cubicBezTo>
                  <a:cubicBezTo>
                    <a:pt x="121" y="0"/>
                    <a:pt x="121" y="0"/>
                    <a:pt x="121" y="0"/>
                  </a:cubicBezTo>
                  <a:cubicBezTo>
                    <a:pt x="121" y="68"/>
                    <a:pt x="121" y="68"/>
                    <a:pt x="121" y="68"/>
                  </a:cubicBezTo>
                  <a:cubicBezTo>
                    <a:pt x="51" y="86"/>
                    <a:pt x="7" y="136"/>
                    <a:pt x="7" y="201"/>
                  </a:cubicBezTo>
                  <a:cubicBezTo>
                    <a:pt x="7" y="286"/>
                    <a:pt x="78" y="320"/>
                    <a:pt x="140" y="341"/>
                  </a:cubicBezTo>
                  <a:cubicBezTo>
                    <a:pt x="193" y="359"/>
                    <a:pt x="200" y="372"/>
                    <a:pt x="200" y="383"/>
                  </a:cubicBezTo>
                  <a:cubicBezTo>
                    <a:pt x="200" y="400"/>
                    <a:pt x="176" y="407"/>
                    <a:pt x="153" y="407"/>
                  </a:cubicBezTo>
                  <a:cubicBezTo>
                    <a:pt x="107" y="407"/>
                    <a:pt x="68" y="390"/>
                    <a:pt x="50" y="379"/>
                  </a:cubicBezTo>
                  <a:cubicBezTo>
                    <a:pt x="30" y="369"/>
                    <a:pt x="30" y="369"/>
                    <a:pt x="30" y="369"/>
                  </a:cubicBezTo>
                  <a:cubicBezTo>
                    <a:pt x="0" y="483"/>
                    <a:pt x="0" y="483"/>
                    <a:pt x="0" y="483"/>
                  </a:cubicBezTo>
                  <a:cubicBezTo>
                    <a:pt x="0" y="483"/>
                    <a:pt x="0" y="483"/>
                    <a:pt x="0" y="483"/>
                  </a:cubicBezTo>
                  <a:cubicBezTo>
                    <a:pt x="12" y="489"/>
                    <a:pt x="12" y="489"/>
                    <a:pt x="12" y="489"/>
                  </a:cubicBezTo>
                  <a:cubicBezTo>
                    <a:pt x="39" y="504"/>
                    <a:pt x="79" y="515"/>
                    <a:pt x="118" y="518"/>
                  </a:cubicBezTo>
                  <a:cubicBezTo>
                    <a:pt x="118" y="584"/>
                    <a:pt x="118" y="584"/>
                    <a:pt x="118" y="584"/>
                  </a:cubicBezTo>
                  <a:lnTo>
                    <a:pt x="219" y="584"/>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marL="0" marR="0" lvl="0" indent="0" defTabSz="913859"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505050"/>
                </a:solidFill>
                <a:effectLst/>
                <a:uLnTx/>
                <a:uFillTx/>
              </a:endParaRPr>
            </a:p>
          </p:txBody>
        </p:sp>
      </p:grpSp>
      <p:grpSp>
        <p:nvGrpSpPr>
          <p:cNvPr id="24" name="Group 23"/>
          <p:cNvGrpSpPr/>
          <p:nvPr/>
        </p:nvGrpSpPr>
        <p:grpSpPr>
          <a:xfrm>
            <a:off x="4494212" y="1981200"/>
            <a:ext cx="3149413" cy="2891967"/>
            <a:chOff x="6530653" y="2701381"/>
            <a:chExt cx="2386402" cy="2388777"/>
          </a:xfrm>
        </p:grpSpPr>
        <p:sp>
          <p:nvSpPr>
            <p:cNvPr id="9" name="Rectangle 8"/>
            <p:cNvSpPr/>
            <p:nvPr/>
          </p:nvSpPr>
          <p:spPr bwMode="auto">
            <a:xfrm>
              <a:off x="6575713" y="2701381"/>
              <a:ext cx="2341342" cy="2388777"/>
            </a:xfrm>
            <a:prstGeom prst="rect">
              <a:avLst/>
            </a:prstGeom>
            <a:solidFill>
              <a:schemeClr val="accent2">
                <a:lumMod val="75000"/>
              </a:schemeClr>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marL="0" marR="0" lvl="0" indent="0" algn="ctr" defTabSz="932013" eaLnBrk="1" fontAlgn="base" latinLnBrk="0" hangingPunct="1">
                <a:lnSpc>
                  <a:spcPct val="100000"/>
                </a:lnSpc>
                <a:spcBef>
                  <a:spcPct val="0"/>
                </a:spcBef>
                <a:spcAft>
                  <a:spcPct val="0"/>
                </a:spcAft>
                <a:buClrTx/>
                <a:buSzTx/>
                <a:buFontTx/>
                <a:buNone/>
                <a:tabLst/>
                <a:defRPr/>
              </a:pPr>
              <a:endParaRPr kumimoji="0" lang="en-US" sz="3136"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ndParaRPr>
            </a:p>
          </p:txBody>
        </p:sp>
        <p:sp>
          <p:nvSpPr>
            <p:cNvPr id="10" name="Rectangle 9"/>
            <p:cNvSpPr/>
            <p:nvPr/>
          </p:nvSpPr>
          <p:spPr>
            <a:xfrm>
              <a:off x="6530653" y="2762209"/>
              <a:ext cx="1173719" cy="646331"/>
            </a:xfrm>
            <a:prstGeom prst="rect">
              <a:avLst/>
            </a:prstGeom>
          </p:spPr>
          <p:txBody>
            <a:bodyPr wrap="none">
              <a:spAutoFit/>
            </a:bodyPr>
            <a:lstStyle/>
            <a:p>
              <a:pPr marL="0" marR="0" lvl="0" indent="0" algn="ctr" defTabSz="932013" eaLnBrk="1" fontAlgn="base" latinLnBrk="0" hangingPunct="1">
                <a:lnSpc>
                  <a:spcPct val="100000"/>
                </a:lnSpc>
                <a:spcBef>
                  <a:spcPct val="0"/>
                </a:spcBef>
                <a:spcAft>
                  <a:spcPct val="0"/>
                </a:spcAft>
                <a:buClrTx/>
                <a:buSzTx/>
                <a:buFontTx/>
                <a:buNone/>
                <a:tabLst/>
                <a:defRPr/>
              </a:pPr>
              <a:r>
                <a:rPr kumimoji="0" lang="en-US" sz="3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rPr>
                <a:t>Scale</a:t>
              </a:r>
            </a:p>
          </p:txBody>
        </p:sp>
        <p:grpSp>
          <p:nvGrpSpPr>
            <p:cNvPr id="11" name="Group 425"/>
            <p:cNvGrpSpPr>
              <a:grpSpLocks noChangeAspect="1"/>
            </p:cNvGrpSpPr>
            <p:nvPr/>
          </p:nvGrpSpPr>
          <p:grpSpPr bwMode="auto">
            <a:xfrm>
              <a:off x="7790888" y="3958358"/>
              <a:ext cx="958889" cy="972126"/>
              <a:chOff x="-5139" y="3144"/>
              <a:chExt cx="652" cy="661"/>
            </a:xfrm>
            <a:solidFill>
              <a:schemeClr val="bg1">
                <a:lumMod val="50000"/>
              </a:schemeClr>
            </a:solidFill>
          </p:grpSpPr>
          <p:sp>
            <p:nvSpPr>
              <p:cNvPr id="12" name="Freeform 426"/>
              <p:cNvSpPr>
                <a:spLocks/>
              </p:cNvSpPr>
              <p:nvPr/>
            </p:nvSpPr>
            <p:spPr bwMode="auto">
              <a:xfrm>
                <a:off x="-5139" y="3144"/>
                <a:ext cx="300" cy="304"/>
              </a:xfrm>
              <a:custGeom>
                <a:avLst/>
                <a:gdLst>
                  <a:gd name="T0" fmla="*/ 0 w 300"/>
                  <a:gd name="T1" fmla="*/ 0 h 304"/>
                  <a:gd name="T2" fmla="*/ 0 w 300"/>
                  <a:gd name="T3" fmla="*/ 231 h 304"/>
                  <a:gd name="T4" fmla="*/ 70 w 300"/>
                  <a:gd name="T5" fmla="*/ 160 h 304"/>
                  <a:gd name="T6" fmla="*/ 212 w 300"/>
                  <a:gd name="T7" fmla="*/ 304 h 304"/>
                  <a:gd name="T8" fmla="*/ 300 w 300"/>
                  <a:gd name="T9" fmla="*/ 215 h 304"/>
                  <a:gd name="T10" fmla="*/ 158 w 300"/>
                  <a:gd name="T11" fmla="*/ 71 h 304"/>
                  <a:gd name="T12" fmla="*/ 229 w 300"/>
                  <a:gd name="T13" fmla="*/ 0 h 304"/>
                  <a:gd name="T14" fmla="*/ 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0" y="0"/>
                    </a:moveTo>
                    <a:lnTo>
                      <a:pt x="0" y="231"/>
                    </a:lnTo>
                    <a:lnTo>
                      <a:pt x="70" y="160"/>
                    </a:lnTo>
                    <a:lnTo>
                      <a:pt x="212" y="304"/>
                    </a:lnTo>
                    <a:lnTo>
                      <a:pt x="300" y="215"/>
                    </a:lnTo>
                    <a:lnTo>
                      <a:pt x="158" y="71"/>
                    </a:lnTo>
                    <a:lnTo>
                      <a:pt x="229" y="0"/>
                    </a:lnTo>
                    <a:lnTo>
                      <a:pt x="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marL="0" marR="0" lvl="0" indent="0" defTabSz="913859"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505050"/>
                  </a:solidFill>
                  <a:effectLst/>
                  <a:uLnTx/>
                  <a:uFillTx/>
                </a:endParaRPr>
              </a:p>
            </p:txBody>
          </p:sp>
          <p:sp>
            <p:nvSpPr>
              <p:cNvPr id="13" name="Freeform 427"/>
              <p:cNvSpPr>
                <a:spLocks/>
              </p:cNvSpPr>
              <p:nvPr/>
            </p:nvSpPr>
            <p:spPr bwMode="auto">
              <a:xfrm>
                <a:off x="-4787" y="3144"/>
                <a:ext cx="300" cy="304"/>
              </a:xfrm>
              <a:custGeom>
                <a:avLst/>
                <a:gdLst>
                  <a:gd name="T0" fmla="*/ 300 w 300"/>
                  <a:gd name="T1" fmla="*/ 0 h 304"/>
                  <a:gd name="T2" fmla="*/ 300 w 300"/>
                  <a:gd name="T3" fmla="*/ 231 h 304"/>
                  <a:gd name="T4" fmla="*/ 229 w 300"/>
                  <a:gd name="T5" fmla="*/ 160 h 304"/>
                  <a:gd name="T6" fmla="*/ 87 w 300"/>
                  <a:gd name="T7" fmla="*/ 304 h 304"/>
                  <a:gd name="T8" fmla="*/ 0 w 300"/>
                  <a:gd name="T9" fmla="*/ 215 h 304"/>
                  <a:gd name="T10" fmla="*/ 141 w 300"/>
                  <a:gd name="T11" fmla="*/ 71 h 304"/>
                  <a:gd name="T12" fmla="*/ 70 w 300"/>
                  <a:gd name="T13" fmla="*/ 0 h 304"/>
                  <a:gd name="T14" fmla="*/ 30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300" y="0"/>
                    </a:moveTo>
                    <a:lnTo>
                      <a:pt x="300" y="231"/>
                    </a:lnTo>
                    <a:lnTo>
                      <a:pt x="229" y="160"/>
                    </a:lnTo>
                    <a:lnTo>
                      <a:pt x="87" y="304"/>
                    </a:lnTo>
                    <a:lnTo>
                      <a:pt x="0" y="215"/>
                    </a:lnTo>
                    <a:lnTo>
                      <a:pt x="141" y="71"/>
                    </a:lnTo>
                    <a:lnTo>
                      <a:pt x="70" y="0"/>
                    </a:lnTo>
                    <a:lnTo>
                      <a:pt x="30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marL="0" marR="0" lvl="0" indent="0" defTabSz="913859"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505050"/>
                  </a:solidFill>
                  <a:effectLst/>
                  <a:uLnTx/>
                  <a:uFillTx/>
                </a:endParaRPr>
              </a:p>
            </p:txBody>
          </p:sp>
          <p:sp>
            <p:nvSpPr>
              <p:cNvPr id="14" name="Freeform 428"/>
              <p:cNvSpPr>
                <a:spLocks/>
              </p:cNvSpPr>
              <p:nvPr/>
            </p:nvSpPr>
            <p:spPr bwMode="auto">
              <a:xfrm>
                <a:off x="-5139" y="3500"/>
                <a:ext cx="300" cy="305"/>
              </a:xfrm>
              <a:custGeom>
                <a:avLst/>
                <a:gdLst>
                  <a:gd name="T0" fmla="*/ 0 w 300"/>
                  <a:gd name="T1" fmla="*/ 305 h 305"/>
                  <a:gd name="T2" fmla="*/ 0 w 300"/>
                  <a:gd name="T3" fmla="*/ 74 h 305"/>
                  <a:gd name="T4" fmla="*/ 70 w 300"/>
                  <a:gd name="T5" fmla="*/ 145 h 305"/>
                  <a:gd name="T6" fmla="*/ 212 w 300"/>
                  <a:gd name="T7" fmla="*/ 0 h 305"/>
                  <a:gd name="T8" fmla="*/ 300 w 300"/>
                  <a:gd name="T9" fmla="*/ 90 h 305"/>
                  <a:gd name="T10" fmla="*/ 158 w 300"/>
                  <a:gd name="T11" fmla="*/ 234 h 305"/>
                  <a:gd name="T12" fmla="*/ 229 w 300"/>
                  <a:gd name="T13" fmla="*/ 305 h 305"/>
                  <a:gd name="T14" fmla="*/ 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0" y="305"/>
                    </a:moveTo>
                    <a:lnTo>
                      <a:pt x="0" y="74"/>
                    </a:lnTo>
                    <a:lnTo>
                      <a:pt x="70" y="145"/>
                    </a:lnTo>
                    <a:lnTo>
                      <a:pt x="212" y="0"/>
                    </a:lnTo>
                    <a:lnTo>
                      <a:pt x="300" y="90"/>
                    </a:lnTo>
                    <a:lnTo>
                      <a:pt x="158" y="234"/>
                    </a:lnTo>
                    <a:lnTo>
                      <a:pt x="229" y="305"/>
                    </a:lnTo>
                    <a:lnTo>
                      <a:pt x="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marL="0" marR="0" lvl="0" indent="0" defTabSz="913859"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505050"/>
                  </a:solidFill>
                  <a:effectLst/>
                  <a:uLnTx/>
                  <a:uFillTx/>
                </a:endParaRPr>
              </a:p>
            </p:txBody>
          </p:sp>
          <p:sp>
            <p:nvSpPr>
              <p:cNvPr id="15" name="Freeform 429"/>
              <p:cNvSpPr>
                <a:spLocks/>
              </p:cNvSpPr>
              <p:nvPr/>
            </p:nvSpPr>
            <p:spPr bwMode="auto">
              <a:xfrm>
                <a:off x="-4787" y="3500"/>
                <a:ext cx="300" cy="305"/>
              </a:xfrm>
              <a:custGeom>
                <a:avLst/>
                <a:gdLst>
                  <a:gd name="T0" fmla="*/ 300 w 300"/>
                  <a:gd name="T1" fmla="*/ 305 h 305"/>
                  <a:gd name="T2" fmla="*/ 300 w 300"/>
                  <a:gd name="T3" fmla="*/ 74 h 305"/>
                  <a:gd name="T4" fmla="*/ 229 w 300"/>
                  <a:gd name="T5" fmla="*/ 145 h 305"/>
                  <a:gd name="T6" fmla="*/ 87 w 300"/>
                  <a:gd name="T7" fmla="*/ 0 h 305"/>
                  <a:gd name="T8" fmla="*/ 0 w 300"/>
                  <a:gd name="T9" fmla="*/ 90 h 305"/>
                  <a:gd name="T10" fmla="*/ 141 w 300"/>
                  <a:gd name="T11" fmla="*/ 234 h 305"/>
                  <a:gd name="T12" fmla="*/ 70 w 300"/>
                  <a:gd name="T13" fmla="*/ 305 h 305"/>
                  <a:gd name="T14" fmla="*/ 30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300" y="305"/>
                    </a:moveTo>
                    <a:lnTo>
                      <a:pt x="300" y="74"/>
                    </a:lnTo>
                    <a:lnTo>
                      <a:pt x="229" y="145"/>
                    </a:lnTo>
                    <a:lnTo>
                      <a:pt x="87" y="0"/>
                    </a:lnTo>
                    <a:lnTo>
                      <a:pt x="0" y="90"/>
                    </a:lnTo>
                    <a:lnTo>
                      <a:pt x="141" y="234"/>
                    </a:lnTo>
                    <a:lnTo>
                      <a:pt x="70" y="305"/>
                    </a:lnTo>
                    <a:lnTo>
                      <a:pt x="30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marL="0" marR="0" lvl="0" indent="0" defTabSz="913859"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505050"/>
                  </a:solidFill>
                  <a:effectLst/>
                  <a:uLnTx/>
                  <a:uFillTx/>
                </a:endParaRPr>
              </a:p>
            </p:txBody>
          </p:sp>
        </p:grpSp>
      </p:grpSp>
      <p:grpSp>
        <p:nvGrpSpPr>
          <p:cNvPr id="25" name="Group 24"/>
          <p:cNvGrpSpPr/>
          <p:nvPr/>
        </p:nvGrpSpPr>
        <p:grpSpPr>
          <a:xfrm>
            <a:off x="455612" y="1981201"/>
            <a:ext cx="3021776" cy="2895600"/>
            <a:chOff x="3563297" y="2701381"/>
            <a:chExt cx="2407504" cy="2388777"/>
          </a:xfrm>
        </p:grpSpPr>
        <p:sp>
          <p:nvSpPr>
            <p:cNvPr id="17" name="Rectangle 16"/>
            <p:cNvSpPr/>
            <p:nvPr/>
          </p:nvSpPr>
          <p:spPr bwMode="auto">
            <a:xfrm>
              <a:off x="3629460" y="2701381"/>
              <a:ext cx="2341341" cy="2388777"/>
            </a:xfrm>
            <a:prstGeom prst="rect">
              <a:avLst/>
            </a:prstGeom>
            <a:solidFill>
              <a:schemeClr val="accent2"/>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marL="0" marR="0" lvl="0" indent="0" algn="ctr" defTabSz="932013" eaLnBrk="1" fontAlgn="base" latinLnBrk="0" hangingPunct="1">
                <a:lnSpc>
                  <a:spcPct val="100000"/>
                </a:lnSpc>
                <a:spcBef>
                  <a:spcPct val="0"/>
                </a:spcBef>
                <a:spcAft>
                  <a:spcPct val="0"/>
                </a:spcAft>
                <a:buClrTx/>
                <a:buSzTx/>
                <a:buFontTx/>
                <a:buNone/>
                <a:tabLst/>
                <a:defRPr/>
              </a:pPr>
              <a:endParaRPr kumimoji="0" lang="en-US" sz="3136"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ndParaRPr>
            </a:p>
          </p:txBody>
        </p:sp>
        <p:sp>
          <p:nvSpPr>
            <p:cNvPr id="18" name="Rectangle 17"/>
            <p:cNvSpPr/>
            <p:nvPr/>
          </p:nvSpPr>
          <p:spPr>
            <a:xfrm>
              <a:off x="3563297" y="2762209"/>
              <a:ext cx="1394933" cy="646331"/>
            </a:xfrm>
            <a:prstGeom prst="rect">
              <a:avLst/>
            </a:prstGeom>
          </p:spPr>
          <p:txBody>
            <a:bodyPr wrap="none">
              <a:spAutoFit/>
            </a:bodyPr>
            <a:lstStyle/>
            <a:p>
              <a:pPr marL="0" marR="0" lvl="0" indent="0" algn="ctr" defTabSz="932013" eaLnBrk="1" fontAlgn="base" latinLnBrk="0" hangingPunct="1">
                <a:lnSpc>
                  <a:spcPct val="100000"/>
                </a:lnSpc>
                <a:spcBef>
                  <a:spcPct val="0"/>
                </a:spcBef>
                <a:spcAft>
                  <a:spcPct val="0"/>
                </a:spcAft>
                <a:buClrTx/>
                <a:buSzTx/>
                <a:buFontTx/>
                <a:buNone/>
                <a:tabLst/>
                <a:defRPr/>
              </a:pPr>
              <a:r>
                <a:rPr kumimoji="0" lang="en-US" sz="3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rPr>
                <a:t>Speed</a:t>
              </a:r>
            </a:p>
          </p:txBody>
        </p:sp>
        <p:sp>
          <p:nvSpPr>
            <p:cNvPr id="19" name="Freeform 58"/>
            <p:cNvSpPr>
              <a:spLocks noEditPoints="1"/>
            </p:cNvSpPr>
            <p:nvPr/>
          </p:nvSpPr>
          <p:spPr bwMode="black">
            <a:xfrm>
              <a:off x="4836209" y="3893699"/>
              <a:ext cx="967314" cy="1036785"/>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0666" tIns="40333" rIns="80666" bIns="40333" numCol="1" anchor="t" anchorCtr="0" compatLnSpc="1">
              <a:prstTxWarp prst="textNoShape">
                <a:avLst/>
              </a:prstTxWarp>
            </a:bodyPr>
            <a:lstStyle/>
            <a:p>
              <a:pPr marL="0" marR="0" lvl="0" indent="0" defTabSz="913859"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a:ln>
                  <a:noFill/>
                </a:ln>
                <a:solidFill>
                  <a:srgbClr val="505050"/>
                </a:solidFill>
                <a:effectLst/>
                <a:uLnTx/>
                <a:uFillTx/>
              </a:endParaRPr>
            </a:p>
          </p:txBody>
        </p:sp>
      </p:grpSp>
    </p:spTree>
    <p:extLst>
      <p:ext uri="{BB962C8B-B14F-4D97-AF65-F5344CB8AC3E}">
        <p14:creationId xmlns:p14="http://schemas.microsoft.com/office/powerpoint/2010/main" val="21792072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anim calcmode="lin" valueType="num">
                                      <p:cBhvr>
                                        <p:cTn id="8" dur="500" fill="hold"/>
                                        <p:tgtEl>
                                          <p:spTgt spid="25"/>
                                        </p:tgtEl>
                                        <p:attrNameLst>
                                          <p:attrName>ppt_x</p:attrName>
                                        </p:attrNameLst>
                                      </p:cBhvr>
                                      <p:tavLst>
                                        <p:tav tm="0">
                                          <p:val>
                                            <p:strVal val="#ppt_x"/>
                                          </p:val>
                                        </p:tav>
                                        <p:tav tm="100000">
                                          <p:val>
                                            <p:strVal val="#ppt_x"/>
                                          </p:val>
                                        </p:tav>
                                      </p:tavLst>
                                    </p:anim>
                                    <p:anim calcmode="lin" valueType="num">
                                      <p:cBhvr>
                                        <p:cTn id="9" dur="500" fill="hold"/>
                                        <p:tgtEl>
                                          <p:spTgt spid="25"/>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24"/>
                                        </p:tgtEl>
                                        <p:attrNameLst>
                                          <p:attrName>style.visibility</p:attrName>
                                        </p:attrNameLst>
                                      </p:cBhvr>
                                      <p:to>
                                        <p:strVal val="visible"/>
                                      </p:to>
                                    </p:set>
                                    <p:animEffect transition="in" filter="fade">
                                      <p:cBhvr>
                                        <p:cTn id="14" dur="500"/>
                                        <p:tgtEl>
                                          <p:spTgt spid="24"/>
                                        </p:tgtEl>
                                      </p:cBhvr>
                                    </p:animEffect>
                                    <p:anim calcmode="lin" valueType="num">
                                      <p:cBhvr>
                                        <p:cTn id="15" dur="500" fill="hold"/>
                                        <p:tgtEl>
                                          <p:spTgt spid="24"/>
                                        </p:tgtEl>
                                        <p:attrNameLst>
                                          <p:attrName>ppt_x</p:attrName>
                                        </p:attrNameLst>
                                      </p:cBhvr>
                                      <p:tavLst>
                                        <p:tav tm="0">
                                          <p:val>
                                            <p:strVal val="#ppt_x"/>
                                          </p:val>
                                        </p:tav>
                                        <p:tav tm="100000">
                                          <p:val>
                                            <p:strVal val="#ppt_x"/>
                                          </p:val>
                                        </p:tav>
                                      </p:tavLst>
                                    </p:anim>
                                    <p:anim calcmode="lin" valueType="num">
                                      <p:cBhvr>
                                        <p:cTn id="16" dur="500" fill="hold"/>
                                        <p:tgtEl>
                                          <p:spTgt spid="24"/>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23"/>
                                        </p:tgtEl>
                                        <p:attrNameLst>
                                          <p:attrName>style.visibility</p:attrName>
                                        </p:attrNameLst>
                                      </p:cBhvr>
                                      <p:to>
                                        <p:strVal val="visible"/>
                                      </p:to>
                                    </p:set>
                                    <p:animEffect transition="in" filter="fade">
                                      <p:cBhvr>
                                        <p:cTn id="21" dur="500"/>
                                        <p:tgtEl>
                                          <p:spTgt spid="23"/>
                                        </p:tgtEl>
                                      </p:cBhvr>
                                    </p:animEffect>
                                    <p:anim calcmode="lin" valueType="num">
                                      <p:cBhvr>
                                        <p:cTn id="22" dur="500" fill="hold"/>
                                        <p:tgtEl>
                                          <p:spTgt spid="23"/>
                                        </p:tgtEl>
                                        <p:attrNameLst>
                                          <p:attrName>ppt_x</p:attrName>
                                        </p:attrNameLst>
                                      </p:cBhvr>
                                      <p:tavLst>
                                        <p:tav tm="0">
                                          <p:val>
                                            <p:strVal val="#ppt_x"/>
                                          </p:val>
                                        </p:tav>
                                        <p:tav tm="100000">
                                          <p:val>
                                            <p:strVal val="#ppt_x"/>
                                          </p:val>
                                        </p:tav>
                                      </p:tavLst>
                                    </p:anim>
                                    <p:anim calcmode="lin" valueType="num">
                                      <p:cBhvr>
                                        <p:cTn id="23" dur="500" fill="hold"/>
                                        <p:tgtEl>
                                          <p:spTgt spid="2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6" name="Title 1"/>
          <p:cNvSpPr txBox="1">
            <a:spLocks/>
          </p:cNvSpPr>
          <p:nvPr/>
        </p:nvSpPr>
        <p:spPr>
          <a:xfrm>
            <a:off x="5049014" y="1551681"/>
            <a:ext cx="6945325" cy="1565551"/>
          </a:xfrm>
          <a:prstGeom prst="rect">
            <a:avLst/>
          </a:prstGeom>
          <a:noFill/>
        </p:spPr>
        <p:txBody>
          <a:bodyPr wrap="square" tIns="89619" bIns="89619" anchor="b" anchorCtr="0">
            <a:spAutoFit/>
          </a:bodyPr>
          <a:lstStyle>
            <a:lvl1pPr algn="l" defTabSz="932742" rtl="0" eaLnBrk="1" latinLnBrk="0" hangingPunct="1">
              <a:lnSpc>
                <a:spcPct val="90000"/>
              </a:lnSpc>
              <a:spcBef>
                <a:spcPct val="0"/>
              </a:spcBef>
              <a:buNone/>
              <a:defRPr lang="en-US" sz="6000" b="0" kern="1200" cap="none" spc="-100"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defTabSz="914180"/>
            <a:br>
              <a:rPr lang="en-US" sz="4704" spc="-98" dirty="0">
                <a:solidFill>
                  <a:schemeClr val="accent2"/>
                </a:solidFill>
              </a:rPr>
            </a:br>
            <a:r>
              <a:rPr lang="en-US" sz="5293" spc="-98" dirty="0"/>
              <a:t>SQL Data Warehouse</a:t>
            </a:r>
            <a:endParaRPr lang="en-US" sz="3920" spc="-98" dirty="0"/>
          </a:p>
        </p:txBody>
      </p:sp>
      <p:sp>
        <p:nvSpPr>
          <p:cNvPr id="7" name="Text Placeholder 4"/>
          <p:cNvSpPr txBox="1">
            <a:spLocks/>
          </p:cNvSpPr>
          <p:nvPr/>
        </p:nvSpPr>
        <p:spPr>
          <a:xfrm>
            <a:off x="4994558" y="3575308"/>
            <a:ext cx="6946423" cy="2039139"/>
          </a:xfrm>
          <a:prstGeom prst="rect">
            <a:avLst/>
          </a:prstGeom>
          <a:noFill/>
        </p:spPr>
        <p:txBody>
          <a:bodyPr wrap="square" lIns="179238" tIns="143391" rIns="179238" bIns="143391">
            <a:sp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2800" kern="1200" spc="0" baseline="0">
                <a:gradFill>
                  <a:gsLst>
                    <a:gs pos="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180">
              <a:lnSpc>
                <a:spcPct val="100000"/>
              </a:lnSpc>
              <a:spcAft>
                <a:spcPts val="1176"/>
              </a:spcAft>
            </a:pPr>
            <a:r>
              <a:rPr lang="en-US" sz="3136" dirty="0">
                <a:solidFill>
                  <a:schemeClr val="tx1"/>
                </a:solidFill>
                <a:latin typeface="+mj-lt"/>
                <a:sym typeface="Wingdings" panose="05000000000000000000" pitchFamily="2" charset="2"/>
              </a:rPr>
              <a:t>Aggregate + store petabytes of data</a:t>
            </a:r>
          </a:p>
          <a:p>
            <a:pPr defTabSz="914180">
              <a:lnSpc>
                <a:spcPct val="100000"/>
              </a:lnSpc>
              <a:spcAft>
                <a:spcPts val="1176"/>
              </a:spcAft>
            </a:pPr>
            <a:r>
              <a:rPr lang="en-US" sz="3136" dirty="0">
                <a:solidFill>
                  <a:schemeClr val="tx1"/>
                </a:solidFill>
                <a:latin typeface="+mj-lt"/>
                <a:sym typeface="Wingdings" panose="05000000000000000000" pitchFamily="2" charset="2"/>
              </a:rPr>
              <a:t>Interactively query and visualize data</a:t>
            </a:r>
          </a:p>
          <a:p>
            <a:pPr defTabSz="914180">
              <a:lnSpc>
                <a:spcPct val="100000"/>
              </a:lnSpc>
              <a:spcAft>
                <a:spcPts val="1176"/>
              </a:spcAft>
            </a:pPr>
            <a:r>
              <a:rPr lang="en-US" sz="3136" dirty="0">
                <a:solidFill>
                  <a:schemeClr val="tx1"/>
                </a:solidFill>
                <a:latin typeface="+mj-lt"/>
                <a:sym typeface="Wingdings" panose="05000000000000000000" pitchFamily="2" charset="2"/>
              </a:rPr>
              <a:t>Operationalize machine learning</a:t>
            </a:r>
            <a:endParaRPr lang="en-US" sz="3136" dirty="0">
              <a:latin typeface="+mj-lt"/>
            </a:endParaRPr>
          </a:p>
        </p:txBody>
      </p:sp>
      <p:cxnSp>
        <p:nvCxnSpPr>
          <p:cNvPr id="8" name="Straight Connector 7"/>
          <p:cNvCxnSpPr/>
          <p:nvPr/>
        </p:nvCxnSpPr>
        <p:spPr>
          <a:xfrm>
            <a:off x="5168817" y="3309955"/>
            <a:ext cx="6202636" cy="0"/>
          </a:xfrm>
          <a:prstGeom prst="line">
            <a:avLst/>
          </a:prstGeom>
          <a:ln w="12700">
            <a:solidFill>
              <a:srgbClr val="00BCF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Rounded Rectangle 8"/>
          <p:cNvSpPr/>
          <p:nvPr/>
        </p:nvSpPr>
        <p:spPr bwMode="auto">
          <a:xfrm>
            <a:off x="522297" y="1387582"/>
            <a:ext cx="4083539" cy="4046292"/>
          </a:xfrm>
          <a:prstGeom prst="roundRect">
            <a:avLst>
              <a:gd name="adj" fmla="val 7255"/>
            </a:avLst>
          </a:prstGeom>
          <a:solidFill>
            <a:srgbClr val="0078D7">
              <a:alpha val="1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r>
              <a:rPr lang="en-US" sz="2352" kern="0" dirty="0">
                <a:gradFill>
                  <a:gsLst>
                    <a:gs pos="0">
                      <a:srgbClr val="FFFFFF"/>
                    </a:gs>
                    <a:gs pos="100000">
                      <a:srgbClr val="FFFFFF"/>
                    </a:gs>
                  </a:gsLst>
                  <a:lin ang="5400000" scaled="0"/>
                </a:gradFill>
                <a:ea typeface="Segoe UI" pitchFamily="34" charset="0"/>
                <a:cs typeface="Segoe UI" pitchFamily="34" charset="0"/>
              </a:rPr>
              <a:t> </a:t>
            </a:r>
          </a:p>
        </p:txBody>
      </p:sp>
      <p:pic>
        <p:nvPicPr>
          <p:cNvPr id="25" name="Picture 24"/>
          <p:cNvPicPr>
            <a:picLocks noChangeAspect="1"/>
          </p:cNvPicPr>
          <p:nvPr/>
        </p:nvPicPr>
        <p:blipFill>
          <a:blip r:embed="rId3"/>
          <a:stretch>
            <a:fillRect/>
          </a:stretch>
        </p:blipFill>
        <p:spPr>
          <a:xfrm>
            <a:off x="680395" y="1980322"/>
            <a:ext cx="3453681" cy="2860813"/>
          </a:xfrm>
          <a:prstGeom prst="rect">
            <a:avLst/>
          </a:prstGeom>
        </p:spPr>
      </p:pic>
      <p:sp>
        <p:nvSpPr>
          <p:cNvPr id="26" name="TextBox 25"/>
          <p:cNvSpPr txBox="1"/>
          <p:nvPr/>
        </p:nvSpPr>
        <p:spPr>
          <a:xfrm>
            <a:off x="2352514" y="3410729"/>
            <a:ext cx="1523698" cy="832547"/>
          </a:xfrm>
          <a:prstGeom prst="rect">
            <a:avLst/>
          </a:prstGeom>
          <a:noFill/>
        </p:spPr>
        <p:txBody>
          <a:bodyPr wrap="none" lIns="179238" tIns="143391" rIns="179238" bIns="143391" rtlCol="0">
            <a:spAutoFit/>
          </a:bodyPr>
          <a:lstStyle/>
          <a:p>
            <a:pPr algn="ctr" defTabSz="896203">
              <a:lnSpc>
                <a:spcPct val="90000"/>
              </a:lnSpc>
              <a:spcAft>
                <a:spcPts val="588"/>
              </a:spcAft>
            </a:pPr>
            <a:r>
              <a:rPr lang="en-US" sz="1960" kern="0" spc="-98" dirty="0">
                <a:solidFill>
                  <a:srgbClr val="515151"/>
                </a:solidFill>
                <a:latin typeface="Segoe UI Semibold" panose="020B0702040204020203" pitchFamily="34" charset="0"/>
                <a:cs typeface="Segoe UI Semibold" panose="020B0702040204020203" pitchFamily="34" charset="0"/>
              </a:rPr>
              <a:t>SQL Data</a:t>
            </a:r>
            <a:br>
              <a:rPr lang="en-US" sz="1960" kern="0" spc="-98" dirty="0">
                <a:solidFill>
                  <a:srgbClr val="515151"/>
                </a:solidFill>
                <a:latin typeface="Segoe UI Semibold" panose="020B0702040204020203" pitchFamily="34" charset="0"/>
                <a:cs typeface="Segoe UI Semibold" panose="020B0702040204020203" pitchFamily="34" charset="0"/>
              </a:rPr>
            </a:br>
            <a:r>
              <a:rPr lang="en-US" sz="1960" kern="0" spc="-98" dirty="0">
                <a:solidFill>
                  <a:srgbClr val="515151"/>
                </a:solidFill>
                <a:latin typeface="Segoe UI Semibold" panose="020B0702040204020203" pitchFamily="34" charset="0"/>
                <a:cs typeface="Segoe UI Semibold" panose="020B0702040204020203" pitchFamily="34" charset="0"/>
              </a:rPr>
              <a:t>Warehouse</a:t>
            </a:r>
          </a:p>
        </p:txBody>
      </p:sp>
    </p:spTree>
    <p:extLst>
      <p:ext uri="{BB962C8B-B14F-4D97-AF65-F5344CB8AC3E}">
        <p14:creationId xmlns:p14="http://schemas.microsoft.com/office/powerpoint/2010/main" val="1158154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nodeType="withEffect">
                                  <p:stCondLst>
                                    <p:cond delay="50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42" presetClass="path" presetSubtype="0" decel="100000" fill="hold" grpId="1" nodeType="withEffect">
                                  <p:stCondLst>
                                    <p:cond delay="500"/>
                                  </p:stCondLst>
                                  <p:childTnLst>
                                    <p:animMotion origin="layout" path="M -0.03944 -0.00046 L -4.28389E-6 4.53926E-6 " pathEditMode="relative" rAng="0" ptsTypes="AA">
                                      <p:cBhvr>
                                        <p:cTn id="15" dur="600" fill="hold"/>
                                        <p:tgtEl>
                                          <p:spTgt spid="7"/>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tmplLst>
          <p:tmpl>
            <p:tnLst>
              <p:par>
                <p:cTn presetID="10" presetClass="entr" presetSubtype="0" fill="hold" nodeType="withEffect">
                  <p:stCondLst>
                    <p:cond delay="50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Lst>
      </p:bldP>
      <p:bldP spid="7"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7"/>
                        </p:tgtEl>
                        <p:attrNameLst>
                          <p:attrName>ppt_x</p:attrName>
                          <p:attrName>ppt_y</p:attrName>
                        </p:attrNameLst>
                      </p:cBhvr>
                      <p:rCtr x="1966" y="23"/>
                    </p:animMotion>
                  </p:childTnLst>
                </p:cTn>
              </p:par>
            </p:tnLst>
          </p:tmpl>
        </p:tmplLst>
      </p:bldP>
    </p:bldLst>
  </p:timing>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grpSp>
        <p:nvGrpSpPr>
          <p:cNvPr id="96" name="Group 95"/>
          <p:cNvGrpSpPr/>
          <p:nvPr/>
        </p:nvGrpSpPr>
        <p:grpSpPr>
          <a:xfrm>
            <a:off x="567899" y="2342684"/>
            <a:ext cx="11053027" cy="704059"/>
            <a:chOff x="579437" y="-1075563"/>
            <a:chExt cx="11277600" cy="718364"/>
          </a:xfrm>
        </p:grpSpPr>
        <p:sp>
          <p:nvSpPr>
            <p:cNvPr id="97" name="Rectangle 96"/>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98" name="Rectangle 97"/>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9" name="Rectangle 98"/>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Microsoft Enterprise Mobility Suite</a:t>
              </a:r>
            </a:p>
          </p:txBody>
        </p:sp>
        <p:sp>
          <p:nvSpPr>
            <p:cNvPr id="100" name="Rectangle 99"/>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Enterprise Mobility</a:t>
              </a:r>
            </a:p>
          </p:txBody>
        </p:sp>
      </p:grpSp>
      <p:grpSp>
        <p:nvGrpSpPr>
          <p:cNvPr id="2" name="Group 1"/>
          <p:cNvGrpSpPr/>
          <p:nvPr/>
        </p:nvGrpSpPr>
        <p:grpSpPr>
          <a:xfrm>
            <a:off x="567899" y="1632385"/>
            <a:ext cx="11053027" cy="706548"/>
            <a:chOff x="579437" y="1781105"/>
            <a:chExt cx="11277600" cy="720903"/>
          </a:xfrm>
        </p:grpSpPr>
        <p:grpSp>
          <p:nvGrpSpPr>
            <p:cNvPr id="101" name="Group 100"/>
            <p:cNvGrpSpPr/>
            <p:nvPr/>
          </p:nvGrpSpPr>
          <p:grpSpPr>
            <a:xfrm>
              <a:off x="579437" y="1781105"/>
              <a:ext cx="11277600" cy="717538"/>
              <a:chOff x="579437" y="-1074737"/>
              <a:chExt cx="11277600" cy="717538"/>
            </a:xfrm>
          </p:grpSpPr>
          <p:sp>
            <p:nvSpPr>
              <p:cNvPr id="102" name="Rectangle 101"/>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03" name="Rectangle 102"/>
              <p:cNvSpPr/>
              <p:nvPr/>
            </p:nvSpPr>
            <p:spPr bwMode="auto">
              <a:xfrm>
                <a:off x="579438" y="-1074737"/>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4" name="Rectangle 103"/>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SAAS Solutions</a:t>
                </a:r>
              </a:p>
            </p:txBody>
          </p:sp>
        </p:grpSp>
        <p:grpSp>
          <p:nvGrpSpPr>
            <p:cNvPr id="105" name="Group 104"/>
            <p:cNvGrpSpPr/>
            <p:nvPr/>
          </p:nvGrpSpPr>
          <p:grpSpPr>
            <a:xfrm>
              <a:off x="5007047" y="1810301"/>
              <a:ext cx="6274750" cy="691707"/>
              <a:chOff x="4663445" y="2099949"/>
              <a:chExt cx="6274750" cy="691707"/>
            </a:xfrm>
          </p:grpSpPr>
          <p:grpSp>
            <p:nvGrpSpPr>
              <p:cNvPr id="106" name="Group 105"/>
              <p:cNvGrpSpPr/>
              <p:nvPr/>
            </p:nvGrpSpPr>
            <p:grpSpPr>
              <a:xfrm>
                <a:off x="4663445" y="2231764"/>
                <a:ext cx="6274750" cy="391163"/>
                <a:chOff x="2275217" y="3622867"/>
                <a:chExt cx="7933779" cy="494585"/>
              </a:xfrm>
            </p:grpSpPr>
            <p:pic>
              <p:nvPicPr>
                <p:cNvPr id="108" name="Picture 107"/>
                <p:cNvPicPr>
                  <a:picLocks noChangeAspect="1"/>
                </p:cNvPicPr>
                <p:nvPr/>
              </p:nvPicPr>
              <p:blipFill>
                <a:blip r:embed="rId3">
                  <a:biLevel thresh="25000"/>
                </a:blip>
                <a:stretch>
                  <a:fillRect/>
                </a:stretch>
              </p:blipFill>
              <p:spPr>
                <a:xfrm>
                  <a:off x="2275217" y="3704039"/>
                  <a:ext cx="1869528" cy="413413"/>
                </a:xfrm>
                <a:prstGeom prst="rect">
                  <a:avLst/>
                </a:prstGeom>
              </p:spPr>
            </p:pic>
            <p:pic>
              <p:nvPicPr>
                <p:cNvPr id="109" name="Picture 10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214596" y="3622867"/>
                  <a:ext cx="1994400" cy="481206"/>
                </a:xfrm>
                <a:prstGeom prst="rect">
                  <a:avLst/>
                </a:prstGeom>
              </p:spPr>
            </p:pic>
          </p:grpSp>
          <p:sp>
            <p:nvSpPr>
              <p:cNvPr id="107" name="Rectangle 106"/>
              <p:cNvSpPr/>
              <p:nvPr/>
            </p:nvSpPr>
            <p:spPr bwMode="auto">
              <a:xfrm>
                <a:off x="6516672" y="2099949"/>
                <a:ext cx="2512092" cy="69170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Microsoft Dynamics</a:t>
                </a:r>
              </a:p>
            </p:txBody>
          </p:sp>
        </p:grpSp>
      </p:grpSp>
      <p:sp>
        <p:nvSpPr>
          <p:cNvPr id="3" name="Rectangle 2"/>
          <p:cNvSpPr/>
          <p:nvPr/>
        </p:nvSpPr>
        <p:spPr bwMode="auto">
          <a:xfrm>
            <a:off x="439376" y="1632384"/>
            <a:ext cx="11297048" cy="1541281"/>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48" name="Group 47"/>
          <p:cNvGrpSpPr/>
          <p:nvPr/>
        </p:nvGrpSpPr>
        <p:grpSpPr>
          <a:xfrm>
            <a:off x="567899" y="3534610"/>
            <a:ext cx="11053027" cy="703250"/>
            <a:chOff x="579437" y="-1074737"/>
            <a:chExt cx="11277600" cy="717538"/>
          </a:xfrm>
        </p:grpSpPr>
        <p:sp>
          <p:nvSpPr>
            <p:cNvPr id="49" name="Rectangle 48"/>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50" name="Rectangle 49"/>
            <p:cNvSpPr/>
            <p:nvPr/>
          </p:nvSpPr>
          <p:spPr bwMode="auto">
            <a:xfrm>
              <a:off x="579438" y="-1074737"/>
              <a:ext cx="3657600" cy="717537"/>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1" name="Rectangle 50"/>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Visual Studio Family + Azure App Service</a:t>
              </a:r>
            </a:p>
          </p:txBody>
        </p:sp>
        <p:sp>
          <p:nvSpPr>
            <p:cNvPr id="52" name="Rectangle 51"/>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eveloper + App Platform</a:t>
              </a:r>
            </a:p>
          </p:txBody>
        </p:sp>
      </p:grpSp>
      <p:grpSp>
        <p:nvGrpSpPr>
          <p:cNvPr id="43" name="Group 42"/>
          <p:cNvGrpSpPr/>
          <p:nvPr/>
        </p:nvGrpSpPr>
        <p:grpSpPr>
          <a:xfrm>
            <a:off x="567899" y="5680476"/>
            <a:ext cx="11053027" cy="703250"/>
            <a:chOff x="579437" y="-1077298"/>
            <a:chExt cx="11277600" cy="717538"/>
          </a:xfrm>
        </p:grpSpPr>
        <p:sp>
          <p:nvSpPr>
            <p:cNvPr id="44" name="Rectangle 43"/>
            <p:cNvSpPr/>
            <p:nvPr/>
          </p:nvSpPr>
          <p:spPr bwMode="auto">
            <a:xfrm>
              <a:off x="579437" y="-1077298"/>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45" name="Rectangle 44"/>
            <p:cNvSpPr/>
            <p:nvPr/>
          </p:nvSpPr>
          <p:spPr bwMode="auto">
            <a:xfrm>
              <a:off x="579438" y="-1077298"/>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6" name="Rectangle 45"/>
            <p:cNvSpPr/>
            <p:nvPr/>
          </p:nvSpPr>
          <p:spPr bwMode="auto">
            <a:xfrm>
              <a:off x="4237037" y="-1053261"/>
              <a:ext cx="762000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spc="-49" dirty="0">
                  <a:solidFill>
                    <a:srgbClr val="FFFFFF"/>
                  </a:solidFill>
                  <a:latin typeface="Segoe UI Semilight"/>
                  <a:ea typeface="Segoe UI" pitchFamily="34" charset="0"/>
                  <a:cs typeface="Segoe UI" pitchFamily="34" charset="0"/>
                </a:rPr>
                <a:t>Azure + Azure Stack + Operations Management Suite</a:t>
              </a:r>
            </a:p>
          </p:txBody>
        </p:sp>
        <p:sp>
          <p:nvSpPr>
            <p:cNvPr id="47" name="Rectangle 46"/>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Cloud Infrastructure</a:t>
              </a:r>
            </a:p>
          </p:txBody>
        </p:sp>
      </p:grpSp>
      <p:grpSp>
        <p:nvGrpSpPr>
          <p:cNvPr id="53" name="Group 52"/>
          <p:cNvGrpSpPr/>
          <p:nvPr/>
        </p:nvGrpSpPr>
        <p:grpSpPr>
          <a:xfrm>
            <a:off x="567899" y="4249626"/>
            <a:ext cx="11053027" cy="704059"/>
            <a:chOff x="579437" y="-1075563"/>
            <a:chExt cx="11277600" cy="718364"/>
          </a:xfrm>
        </p:grpSpPr>
        <p:sp>
          <p:nvSpPr>
            <p:cNvPr id="54" name="Rectangle 53"/>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55" name="Rectangle 54"/>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6" name="Rectangle 55"/>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Cortana Analytics Suite</a:t>
              </a:r>
            </a:p>
          </p:txBody>
        </p:sp>
        <p:sp>
          <p:nvSpPr>
            <p:cNvPr id="57" name="Rectangle 56"/>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ata + Analytics</a:t>
              </a:r>
            </a:p>
          </p:txBody>
        </p:sp>
      </p:grpSp>
      <p:grpSp>
        <p:nvGrpSpPr>
          <p:cNvPr id="58" name="Group 57"/>
          <p:cNvGrpSpPr/>
          <p:nvPr/>
        </p:nvGrpSpPr>
        <p:grpSpPr>
          <a:xfrm>
            <a:off x="567899" y="4960733"/>
            <a:ext cx="11053027" cy="704061"/>
            <a:chOff x="579437" y="-1075565"/>
            <a:chExt cx="11277600" cy="718366"/>
          </a:xfrm>
        </p:grpSpPr>
        <p:sp>
          <p:nvSpPr>
            <p:cNvPr id="59" name="Rectangle 58"/>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60" name="Rectangle 59"/>
            <p:cNvSpPr/>
            <p:nvPr/>
          </p:nvSpPr>
          <p:spPr bwMode="auto">
            <a:xfrm>
              <a:off x="579438" y="-1075565"/>
              <a:ext cx="3657600" cy="718365"/>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1" name="Rectangle 60"/>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Azure </a:t>
              </a:r>
              <a:r>
                <a:rPr lang="en-US" sz="1960" dirty="0" err="1">
                  <a:solidFill>
                    <a:srgbClr val="FFFFFF"/>
                  </a:solidFill>
                  <a:latin typeface="Segoe UI Semilight"/>
                  <a:ea typeface="Segoe UI" pitchFamily="34" charset="0"/>
                  <a:cs typeface="Segoe UI" pitchFamily="34" charset="0"/>
                </a:rPr>
                <a:t>IoT</a:t>
              </a:r>
              <a:r>
                <a:rPr lang="en-US" sz="1960" dirty="0">
                  <a:solidFill>
                    <a:srgbClr val="FFFFFF"/>
                  </a:solidFill>
                  <a:latin typeface="Segoe UI Semilight"/>
                  <a:ea typeface="Segoe UI" pitchFamily="34" charset="0"/>
                  <a:cs typeface="Segoe UI" pitchFamily="34" charset="0"/>
                </a:rPr>
                <a:t> Suite</a:t>
              </a:r>
            </a:p>
          </p:txBody>
        </p:sp>
        <p:sp>
          <p:nvSpPr>
            <p:cNvPr id="62" name="Rectangle 61"/>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Internet of Things</a:t>
              </a:r>
            </a:p>
          </p:txBody>
        </p:sp>
      </p:grpSp>
      <p:sp>
        <p:nvSpPr>
          <p:cNvPr id="4" name="TextBox 3"/>
          <p:cNvSpPr txBox="1"/>
          <p:nvPr/>
        </p:nvSpPr>
        <p:spPr>
          <a:xfrm>
            <a:off x="394674" y="405269"/>
            <a:ext cx="3446828" cy="778252"/>
          </a:xfrm>
          <a:prstGeom prst="rect">
            <a:avLst/>
          </a:prstGeom>
          <a:noFill/>
        </p:spPr>
        <p:txBody>
          <a:bodyPr wrap="none" lIns="179238" tIns="143391" rIns="179238" bIns="143391" rtlCol="0">
            <a:spAutoFit/>
          </a:bodyPr>
          <a:lstStyle/>
          <a:p>
            <a:pPr defTabSz="913319" eaLnBrk="0" fontAlgn="base" hangingPunct="0">
              <a:lnSpc>
                <a:spcPct val="90000"/>
              </a:lnSpc>
              <a:spcBef>
                <a:spcPct val="0"/>
              </a:spcBef>
              <a:spcAft>
                <a:spcPts val="588"/>
              </a:spcAft>
              <a:defRPr/>
            </a:pPr>
            <a:r>
              <a:rPr lang="en-US" sz="3528" spc="-98"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Microsoft Azure</a:t>
            </a:r>
          </a:p>
        </p:txBody>
      </p:sp>
      <p:grpSp>
        <p:nvGrpSpPr>
          <p:cNvPr id="7" name="Group 6"/>
          <p:cNvGrpSpPr/>
          <p:nvPr/>
        </p:nvGrpSpPr>
        <p:grpSpPr>
          <a:xfrm>
            <a:off x="567899" y="2606528"/>
            <a:ext cx="11053027" cy="3063558"/>
            <a:chOff x="581169" y="-769074"/>
            <a:chExt cx="11277600" cy="2493062"/>
          </a:xfrm>
        </p:grpSpPr>
        <p:sp>
          <p:nvSpPr>
            <p:cNvPr id="64" name="Rectangle 63"/>
            <p:cNvSpPr/>
            <p:nvPr/>
          </p:nvSpPr>
          <p:spPr bwMode="auto">
            <a:xfrm>
              <a:off x="581169" y="-769074"/>
              <a:ext cx="11277600" cy="2493062"/>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5" name="Rectangle 64"/>
            <p:cNvSpPr/>
            <p:nvPr/>
          </p:nvSpPr>
          <p:spPr bwMode="auto">
            <a:xfrm>
              <a:off x="581170" y="-769074"/>
              <a:ext cx="3657600" cy="2493059"/>
            </a:xfrm>
            <a:prstGeom prst="rect">
              <a:avLst/>
            </a:prstGeom>
            <a:solidFill>
              <a:srgbClr val="002050">
                <a:alpha val="1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66" name="Rectangle 65"/>
          <p:cNvSpPr/>
          <p:nvPr/>
        </p:nvSpPr>
        <p:spPr bwMode="auto">
          <a:xfrm>
            <a:off x="563989" y="3741111"/>
            <a:ext cx="3584765" cy="6460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chemeClr val="tx1"/>
                </a:solidFill>
                <a:latin typeface="Segoe UI Semibold" panose="020B0702040204020203" pitchFamily="34" charset="0"/>
                <a:ea typeface="Segoe UI" pitchFamily="34" charset="0"/>
                <a:cs typeface="Segoe UI Semibold" panose="020B0702040204020203" pitchFamily="34" charset="0"/>
              </a:rPr>
              <a:t>Internet of Things</a:t>
            </a:r>
          </a:p>
        </p:txBody>
      </p:sp>
      <p:grpSp>
        <p:nvGrpSpPr>
          <p:cNvPr id="14" name="Group 13"/>
          <p:cNvGrpSpPr/>
          <p:nvPr/>
        </p:nvGrpSpPr>
        <p:grpSpPr>
          <a:xfrm>
            <a:off x="6854390" y="3587881"/>
            <a:ext cx="2015073" cy="846785"/>
            <a:chOff x="7019425" y="3801417"/>
            <a:chExt cx="2056015" cy="863990"/>
          </a:xfrm>
        </p:grpSpPr>
        <p:grpSp>
          <p:nvGrpSpPr>
            <p:cNvPr id="169" name="Group 168"/>
            <p:cNvGrpSpPr/>
            <p:nvPr/>
          </p:nvGrpSpPr>
          <p:grpSpPr>
            <a:xfrm>
              <a:off x="7019425" y="3801417"/>
              <a:ext cx="2056015" cy="863990"/>
              <a:chOff x="4413164" y="2200031"/>
              <a:chExt cx="930184" cy="390887"/>
            </a:xfrm>
          </p:grpSpPr>
          <p:sp>
            <p:nvSpPr>
              <p:cNvPr id="170" name="Rectangle 169"/>
              <p:cNvSpPr/>
              <p:nvPr/>
            </p:nvSpPr>
            <p:spPr bwMode="auto">
              <a:xfrm>
                <a:off x="4413164" y="2200031"/>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76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1" name="TextBox 170"/>
              <p:cNvSpPr txBox="1"/>
              <p:nvPr/>
            </p:nvSpPr>
            <p:spPr>
              <a:xfrm>
                <a:off x="4776390" y="2218588"/>
                <a:ext cx="566958" cy="359251"/>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764"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Stream </a:t>
                </a:r>
                <a:br>
                  <a:rPr lang="en-US" sz="1764"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br>
                <a:r>
                  <a:rPr lang="en-US" sz="1764"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nalytics</a:t>
                </a:r>
              </a:p>
            </p:txBody>
          </p:sp>
        </p:grpSp>
        <p:pic>
          <p:nvPicPr>
            <p:cNvPr id="180" name="Picture 179"/>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7104927" y="3890320"/>
              <a:ext cx="676984" cy="679715"/>
            </a:xfrm>
            <a:prstGeom prst="rect">
              <a:avLst/>
            </a:prstGeom>
            <a:noFill/>
          </p:spPr>
        </p:pic>
      </p:grpSp>
      <p:grpSp>
        <p:nvGrpSpPr>
          <p:cNvPr id="5" name="Group 4"/>
          <p:cNvGrpSpPr/>
          <p:nvPr/>
        </p:nvGrpSpPr>
        <p:grpSpPr>
          <a:xfrm>
            <a:off x="9226017" y="3587881"/>
            <a:ext cx="2220319" cy="846785"/>
            <a:chOff x="4765670" y="3659371"/>
            <a:chExt cx="2265431" cy="863990"/>
          </a:xfrm>
        </p:grpSpPr>
        <p:grpSp>
          <p:nvGrpSpPr>
            <p:cNvPr id="111" name="Group 110"/>
            <p:cNvGrpSpPr/>
            <p:nvPr/>
          </p:nvGrpSpPr>
          <p:grpSpPr>
            <a:xfrm>
              <a:off x="4765670" y="3659371"/>
              <a:ext cx="2265431" cy="863990"/>
              <a:chOff x="4413164" y="2200031"/>
              <a:chExt cx="1024928" cy="390887"/>
            </a:xfrm>
          </p:grpSpPr>
          <p:sp>
            <p:nvSpPr>
              <p:cNvPr id="120" name="Rectangle 119"/>
              <p:cNvSpPr/>
              <p:nvPr/>
            </p:nvSpPr>
            <p:spPr bwMode="auto">
              <a:xfrm>
                <a:off x="4413164" y="2200031"/>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76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1" name="TextBox 120"/>
              <p:cNvSpPr txBox="1"/>
              <p:nvPr/>
            </p:nvSpPr>
            <p:spPr>
              <a:xfrm>
                <a:off x="4776390" y="2274982"/>
                <a:ext cx="661702" cy="246463"/>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764"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Logic Apps</a:t>
                </a:r>
              </a:p>
            </p:txBody>
          </p:sp>
        </p:grpSp>
        <p:pic>
          <p:nvPicPr>
            <p:cNvPr id="67" name="Picture 66"/>
            <p:cNvPicPr>
              <a:picLocks noChangeAspect="1"/>
            </p:cNvPicPr>
            <p:nvPr/>
          </p:nvPicPr>
          <p:blipFill>
            <a:blip r:embed="rId6"/>
            <a:stretch>
              <a:fillRect/>
            </a:stretch>
          </p:blipFill>
          <p:spPr>
            <a:xfrm>
              <a:off x="4954549" y="3823120"/>
              <a:ext cx="519305" cy="518725"/>
            </a:xfrm>
            <a:prstGeom prst="rect">
              <a:avLst/>
            </a:prstGeom>
          </p:spPr>
        </p:pic>
      </p:grpSp>
      <p:grpSp>
        <p:nvGrpSpPr>
          <p:cNvPr id="6" name="Group 5"/>
          <p:cNvGrpSpPr/>
          <p:nvPr/>
        </p:nvGrpSpPr>
        <p:grpSpPr>
          <a:xfrm>
            <a:off x="4640824" y="3587881"/>
            <a:ext cx="1939024" cy="846785"/>
            <a:chOff x="9475474" y="3659371"/>
            <a:chExt cx="1978421" cy="863990"/>
          </a:xfrm>
        </p:grpSpPr>
        <p:grpSp>
          <p:nvGrpSpPr>
            <p:cNvPr id="176" name="Group 175"/>
            <p:cNvGrpSpPr/>
            <p:nvPr/>
          </p:nvGrpSpPr>
          <p:grpSpPr>
            <a:xfrm>
              <a:off x="9475474" y="3659371"/>
              <a:ext cx="1978421" cy="863990"/>
              <a:chOff x="4413164" y="2200031"/>
              <a:chExt cx="895079" cy="390887"/>
            </a:xfrm>
          </p:grpSpPr>
          <p:sp>
            <p:nvSpPr>
              <p:cNvPr id="177" name="Rectangle 176"/>
              <p:cNvSpPr/>
              <p:nvPr/>
            </p:nvSpPr>
            <p:spPr bwMode="auto">
              <a:xfrm>
                <a:off x="4413164" y="2200031"/>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76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8" name="TextBox 177"/>
              <p:cNvSpPr txBox="1"/>
              <p:nvPr/>
            </p:nvSpPr>
            <p:spPr>
              <a:xfrm>
                <a:off x="4781435" y="2274982"/>
                <a:ext cx="526808" cy="246463"/>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764" spc="-49" dirty="0" err="1">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IoT</a:t>
                </a:r>
                <a:r>
                  <a:rPr lang="en-US" sz="1764"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 Hub</a:t>
                </a:r>
              </a:p>
            </p:txBody>
          </p:sp>
        </p:grpSp>
        <p:pic>
          <p:nvPicPr>
            <p:cNvPr id="68" name="Picture 67"/>
            <p:cNvPicPr>
              <a:picLocks noChangeAspect="1"/>
            </p:cNvPicPr>
            <p:nvPr/>
          </p:nvPicPr>
          <p:blipFill>
            <a:blip r:embed="rId7"/>
            <a:stretch>
              <a:fillRect/>
            </a:stretch>
          </p:blipFill>
          <p:spPr>
            <a:xfrm>
              <a:off x="9610637" y="3808925"/>
              <a:ext cx="627900" cy="515724"/>
            </a:xfrm>
            <a:prstGeom prst="rect">
              <a:avLst/>
            </a:prstGeom>
            <a:noFill/>
          </p:spPr>
        </p:pic>
      </p:grpSp>
    </p:spTree>
    <p:extLst>
      <p:ext uri="{BB962C8B-B14F-4D97-AF65-F5344CB8AC3E}">
        <p14:creationId xmlns:p14="http://schemas.microsoft.com/office/powerpoint/2010/main" val="3020279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4" presetClass="path" presetSubtype="0" accel="50000" decel="50000" fill="hold" nodeType="afterEffect">
                                  <p:stCondLst>
                                    <p:cond delay="500"/>
                                  </p:stCondLst>
                                  <p:childTnLst>
                                    <p:animMotion origin="layout" path="M 0 2.8098E-6 L 0 -0.34408 " pathEditMode="relative" rAng="0" ptsTypes="AA">
                                      <p:cBhvr>
                                        <p:cTn id="6" dur="1000" fill="hold"/>
                                        <p:tgtEl>
                                          <p:spTgt spid="48"/>
                                        </p:tgtEl>
                                        <p:attrNameLst>
                                          <p:attrName>ppt_x</p:attrName>
                                          <p:attrName>ppt_y</p:attrName>
                                        </p:attrNameLst>
                                      </p:cBhvr>
                                      <p:rCtr x="0" y="-17204"/>
                                    </p:animMotion>
                                  </p:childTnLst>
                                </p:cTn>
                              </p:par>
                              <p:par>
                                <p:cTn id="7" presetID="64" presetClass="path" presetSubtype="0" accel="50000" decel="50000" fill="hold" nodeType="withEffect">
                                  <p:stCondLst>
                                    <p:cond delay="500"/>
                                  </p:stCondLst>
                                  <p:childTnLst>
                                    <p:animMotion origin="layout" path="M 0 2.8098E-6 L 0 -0.34408 " pathEditMode="relative" rAng="0" ptsTypes="AA">
                                      <p:cBhvr>
                                        <p:cTn id="8" dur="1000" fill="hold"/>
                                        <p:tgtEl>
                                          <p:spTgt spid="53"/>
                                        </p:tgtEl>
                                        <p:attrNameLst>
                                          <p:attrName>ppt_x</p:attrName>
                                          <p:attrName>ppt_y</p:attrName>
                                        </p:attrNameLst>
                                      </p:cBhvr>
                                      <p:rCtr x="0" y="-17204"/>
                                    </p:animMotion>
                                  </p:childTnLst>
                                </p:cTn>
                              </p:par>
                              <p:par>
                                <p:cTn id="9" presetID="22" presetClass="entr" presetSubtype="4" fill="hold" nodeType="withEffect">
                                  <p:stCondLst>
                                    <p:cond delay="1250"/>
                                  </p:stCondLst>
                                  <p:childTnLst>
                                    <p:set>
                                      <p:cBhvr>
                                        <p:cTn id="10" dur="1" fill="hold">
                                          <p:stCondLst>
                                            <p:cond delay="0"/>
                                          </p:stCondLst>
                                        </p:cTn>
                                        <p:tgtEl>
                                          <p:spTgt spid="7"/>
                                        </p:tgtEl>
                                        <p:attrNameLst>
                                          <p:attrName>style.visibility</p:attrName>
                                        </p:attrNameLst>
                                      </p:cBhvr>
                                      <p:to>
                                        <p:strVal val="visible"/>
                                      </p:to>
                                    </p:set>
                                    <p:animEffect transition="in" filter="wipe(down)">
                                      <p:cBhvr>
                                        <p:cTn id="11" dur="500"/>
                                        <p:tgtEl>
                                          <p:spTgt spid="7"/>
                                        </p:tgtEl>
                                      </p:cBhvr>
                                    </p:animEffect>
                                  </p:childTnLst>
                                </p:cTn>
                              </p:par>
                            </p:childTnLst>
                          </p:cTn>
                        </p:par>
                        <p:par>
                          <p:cTn id="12" fill="hold">
                            <p:stCondLst>
                              <p:cond delay="1750"/>
                            </p:stCondLst>
                            <p:childTnLst>
                              <p:par>
                                <p:cTn id="13" presetID="10" presetClass="entr" presetSubtype="0" fill="hold" grpId="0" nodeType="afterEffect">
                                  <p:stCondLst>
                                    <p:cond delay="0"/>
                                  </p:stCondLst>
                                  <p:childTnLst>
                                    <p:set>
                                      <p:cBhvr>
                                        <p:cTn id="14" dur="1" fill="hold">
                                          <p:stCondLst>
                                            <p:cond delay="0"/>
                                          </p:stCondLst>
                                        </p:cTn>
                                        <p:tgtEl>
                                          <p:spTgt spid="66"/>
                                        </p:tgtEl>
                                        <p:attrNameLst>
                                          <p:attrName>style.visibility</p:attrName>
                                        </p:attrNameLst>
                                      </p:cBhvr>
                                      <p:to>
                                        <p:strVal val="visible"/>
                                      </p:to>
                                    </p:set>
                                    <p:animEffect transition="in" filter="fade">
                                      <p:cBhvr>
                                        <p:cTn id="15" dur="500"/>
                                        <p:tgtEl>
                                          <p:spTgt spid="66"/>
                                        </p:tgtEl>
                                      </p:cBhvr>
                                    </p:animEffect>
                                  </p:childTnLst>
                                </p:cTn>
                              </p:par>
                              <p:par>
                                <p:cTn id="16" presetID="10" presetClass="entr" presetSubtype="0" fill="hold" nodeType="with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250"/>
                                        <p:tgtEl>
                                          <p:spTgt spid="5"/>
                                        </p:tgtEl>
                                      </p:cBhvr>
                                    </p:animEffect>
                                  </p:childTnLst>
                                </p:cTn>
                              </p:par>
                              <p:par>
                                <p:cTn id="19" presetID="10" presetClass="entr" presetSubtype="0" fill="hold" nodeType="withEffect">
                                  <p:stCondLst>
                                    <p:cond delay="10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250"/>
                                        <p:tgtEl>
                                          <p:spTgt spid="14"/>
                                        </p:tgtEl>
                                      </p:cBhvr>
                                    </p:animEffect>
                                  </p:childTnLst>
                                </p:cTn>
                              </p:par>
                              <p:par>
                                <p:cTn id="22" presetID="10" presetClass="entr" presetSubtype="0" fill="hold" nodeType="withEffect">
                                  <p:stCondLst>
                                    <p:cond delay="150"/>
                                  </p:stCondLst>
                                  <p:childTnLst>
                                    <p:set>
                                      <p:cBhvr>
                                        <p:cTn id="23" dur="1" fill="hold">
                                          <p:stCondLst>
                                            <p:cond delay="0"/>
                                          </p:stCondLst>
                                        </p:cTn>
                                        <p:tgtEl>
                                          <p:spTgt spid="6"/>
                                        </p:tgtEl>
                                        <p:attrNameLst>
                                          <p:attrName>style.visibility</p:attrName>
                                        </p:attrNameLst>
                                      </p:cBhvr>
                                      <p:to>
                                        <p:strVal val="visible"/>
                                      </p:to>
                                    </p:set>
                                    <p:animEffect transition="in" filter="fade">
                                      <p:cBhvr>
                                        <p:cTn id="24" dur="25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5"/>
          <p:cNvSpPr/>
          <p:nvPr/>
        </p:nvSpPr>
        <p:spPr bwMode="auto">
          <a:xfrm>
            <a:off x="7572817" y="973937"/>
            <a:ext cx="4505851" cy="4505851"/>
          </a:xfrm>
          <a:prstGeom prst="ellipse">
            <a:avLst/>
          </a:prstGeom>
          <a:noFill/>
          <a:ln w="12700">
            <a:solidFill>
              <a:srgbClr val="0078D7"/>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Content Placeholder 2"/>
          <p:cNvSpPr txBox="1">
            <a:spLocks/>
          </p:cNvSpPr>
          <p:nvPr/>
        </p:nvSpPr>
        <p:spPr>
          <a:xfrm>
            <a:off x="302741" y="3117626"/>
            <a:ext cx="7399230" cy="2673040"/>
          </a:xfrm>
          <a:prstGeom prst="rect">
            <a:avLst/>
          </a:prstGeom>
          <a:noFill/>
        </p:spPr>
        <p:txBody>
          <a:bodyPr vert="horz" wrap="square" lIns="179238" tIns="143391" rIns="179238" bIns="143391"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3946">
              <a:lnSpc>
                <a:spcPct val="75000"/>
              </a:lnSpc>
              <a:spcBef>
                <a:spcPts val="0"/>
              </a:spcBef>
              <a:spcAft>
                <a:spcPts val="1176"/>
              </a:spcAft>
              <a:buClr>
                <a:srgbClr val="FFFFFF"/>
              </a:buClr>
              <a:buNone/>
            </a:pPr>
            <a:r>
              <a:rPr lang="en-US" sz="2352" dirty="0">
                <a:gradFill>
                  <a:gsLst>
                    <a:gs pos="1250">
                      <a:srgbClr val="FFFFFF"/>
                    </a:gs>
                    <a:gs pos="100000">
                      <a:srgbClr val="FFFFFF"/>
                    </a:gs>
                  </a:gsLst>
                  <a:lin ang="5400000" scaled="0"/>
                </a:gradFill>
              </a:rPr>
              <a:t>Device Connectivity and Security</a:t>
            </a:r>
          </a:p>
          <a:p>
            <a:pPr marL="0" indent="0" defTabSz="913946">
              <a:lnSpc>
                <a:spcPct val="75000"/>
              </a:lnSpc>
              <a:spcBef>
                <a:spcPts val="0"/>
              </a:spcBef>
              <a:spcAft>
                <a:spcPts val="1176"/>
              </a:spcAft>
              <a:buClr>
                <a:srgbClr val="FFFFFF"/>
              </a:buClr>
              <a:buNone/>
            </a:pPr>
            <a:r>
              <a:rPr lang="en-US" sz="2352" dirty="0">
                <a:gradFill>
                  <a:gsLst>
                    <a:gs pos="1250">
                      <a:srgbClr val="FFFFFF"/>
                    </a:gs>
                    <a:gs pos="100000">
                      <a:srgbClr val="FFFFFF"/>
                    </a:gs>
                  </a:gsLst>
                  <a:lin ang="5400000" scaled="0"/>
                </a:gradFill>
              </a:rPr>
              <a:t>Data Ingestion and Command &amp; Control</a:t>
            </a:r>
          </a:p>
          <a:p>
            <a:pPr marL="0" indent="0" defTabSz="913946">
              <a:lnSpc>
                <a:spcPct val="75000"/>
              </a:lnSpc>
              <a:spcBef>
                <a:spcPts val="0"/>
              </a:spcBef>
              <a:spcAft>
                <a:spcPts val="1176"/>
              </a:spcAft>
              <a:buClr>
                <a:srgbClr val="FFFFFF"/>
              </a:buClr>
              <a:buNone/>
            </a:pPr>
            <a:r>
              <a:rPr lang="en-US" sz="2352" dirty="0">
                <a:gradFill>
                  <a:gsLst>
                    <a:gs pos="1250">
                      <a:srgbClr val="FFFFFF"/>
                    </a:gs>
                    <a:gs pos="100000">
                      <a:srgbClr val="FFFFFF"/>
                    </a:gs>
                  </a:gsLst>
                  <a:lin ang="5400000" scaled="0"/>
                </a:gradFill>
              </a:rPr>
              <a:t>Stream Processing &amp; Predictive Analytics</a:t>
            </a:r>
          </a:p>
          <a:p>
            <a:pPr marL="0" indent="0" defTabSz="913946">
              <a:lnSpc>
                <a:spcPct val="75000"/>
              </a:lnSpc>
              <a:spcBef>
                <a:spcPts val="0"/>
              </a:spcBef>
              <a:spcAft>
                <a:spcPts val="1176"/>
              </a:spcAft>
              <a:buClr>
                <a:srgbClr val="FFFFFF"/>
              </a:buClr>
              <a:buNone/>
            </a:pPr>
            <a:r>
              <a:rPr lang="en-US" sz="2352" dirty="0">
                <a:gradFill>
                  <a:gsLst>
                    <a:gs pos="1250">
                      <a:srgbClr val="FFFFFF"/>
                    </a:gs>
                    <a:gs pos="100000">
                      <a:srgbClr val="FFFFFF"/>
                    </a:gs>
                  </a:gsLst>
                  <a:lin ang="5400000" scaled="0"/>
                </a:gradFill>
              </a:rPr>
              <a:t>Workflow Automation</a:t>
            </a:r>
          </a:p>
          <a:p>
            <a:pPr marL="0" indent="0" defTabSz="913946">
              <a:lnSpc>
                <a:spcPct val="75000"/>
              </a:lnSpc>
              <a:spcBef>
                <a:spcPts val="0"/>
              </a:spcBef>
              <a:spcAft>
                <a:spcPts val="1176"/>
              </a:spcAft>
              <a:buClr>
                <a:srgbClr val="FFFFFF"/>
              </a:buClr>
              <a:buNone/>
            </a:pPr>
            <a:r>
              <a:rPr lang="en-US" sz="2352" dirty="0">
                <a:gradFill>
                  <a:gsLst>
                    <a:gs pos="1250">
                      <a:srgbClr val="FFFFFF"/>
                    </a:gs>
                    <a:gs pos="100000">
                      <a:srgbClr val="FFFFFF"/>
                    </a:gs>
                  </a:gsLst>
                  <a:lin ang="5400000" scaled="0"/>
                </a:gradFill>
              </a:rPr>
              <a:t>Dashboards and Visualization</a:t>
            </a:r>
          </a:p>
          <a:p>
            <a:pPr marL="0" indent="0" defTabSz="913946">
              <a:lnSpc>
                <a:spcPct val="75000"/>
              </a:lnSpc>
              <a:spcBef>
                <a:spcPts val="0"/>
              </a:spcBef>
              <a:spcAft>
                <a:spcPts val="1176"/>
              </a:spcAft>
              <a:buClr>
                <a:srgbClr val="FFFFFF"/>
              </a:buClr>
              <a:buNone/>
            </a:pPr>
            <a:r>
              <a:rPr lang="en-US" sz="2352" dirty="0">
                <a:gradFill>
                  <a:gsLst>
                    <a:gs pos="1250">
                      <a:srgbClr val="FFFFFF"/>
                    </a:gs>
                    <a:gs pos="100000">
                      <a:srgbClr val="FFFFFF"/>
                    </a:gs>
                  </a:gsLst>
                  <a:lin ang="5400000" scaled="0"/>
                </a:gradFill>
              </a:rPr>
              <a:t>Preconfigured Solutions</a:t>
            </a:r>
          </a:p>
        </p:txBody>
      </p:sp>
      <p:sp>
        <p:nvSpPr>
          <p:cNvPr id="5" name="Title 1"/>
          <p:cNvSpPr txBox="1">
            <a:spLocks/>
          </p:cNvSpPr>
          <p:nvPr/>
        </p:nvSpPr>
        <p:spPr>
          <a:xfrm>
            <a:off x="295842" y="1301761"/>
            <a:ext cx="8829017" cy="1608788"/>
          </a:xfrm>
          <a:prstGeom prst="rect">
            <a:avLst/>
          </a:prstGeom>
        </p:spPr>
        <p:txBody>
          <a:bodyPr vert="horz" wrap="square" lIns="179238" tIns="143391" rIns="179238" bIns="143391"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80" fontAlgn="base">
              <a:spcBef>
                <a:spcPts val="1176"/>
              </a:spcBef>
              <a:spcAft>
                <a:spcPct val="0"/>
              </a:spcAft>
              <a:defRPr/>
            </a:pPr>
            <a:r>
              <a:rPr lang="en-US" sz="4312" spc="-100" dirty="0">
                <a:solidFill>
                  <a:srgbClr val="0072CC"/>
                </a:solidFill>
                <a:latin typeface="Segoe UI Semilight" panose="020B0402040204020203" pitchFamily="34" charset="0"/>
                <a:cs typeface="Segoe UI Semilight" panose="020B0402040204020203" pitchFamily="34" charset="0"/>
              </a:rPr>
              <a:t>Now Available to Purchase</a:t>
            </a:r>
            <a:r>
              <a:rPr lang="en-US" sz="4312" spc="-100" dirty="0">
                <a:solidFill>
                  <a:srgbClr val="0072CC"/>
                </a:solidFill>
                <a:latin typeface="Segoe UI Light"/>
              </a:rPr>
              <a:t> </a:t>
            </a:r>
            <a:br>
              <a:rPr lang="en-US" sz="4312" spc="-100" dirty="0">
                <a:gradFill>
                  <a:gsLst>
                    <a:gs pos="1250">
                      <a:srgbClr val="FFFFFF"/>
                    </a:gs>
                    <a:gs pos="100000">
                      <a:srgbClr val="FFFFFF"/>
                    </a:gs>
                  </a:gsLst>
                  <a:lin ang="5400000" scaled="0"/>
                </a:gradFill>
                <a:latin typeface="Segoe UI Light"/>
              </a:rPr>
            </a:br>
            <a:r>
              <a:rPr lang="en-US" sz="4704" spc="-100" dirty="0">
                <a:gradFill>
                  <a:gsLst>
                    <a:gs pos="1250">
                      <a:srgbClr val="FFFFFF"/>
                    </a:gs>
                    <a:gs pos="100000">
                      <a:srgbClr val="FFFFFF"/>
                    </a:gs>
                  </a:gsLst>
                  <a:lin ang="5400000" scaled="0"/>
                </a:gradFill>
                <a:latin typeface="Segoe UI Light"/>
              </a:rPr>
              <a:t>Azure </a:t>
            </a:r>
            <a:r>
              <a:rPr lang="en-US" sz="4704" spc="-100" dirty="0" err="1">
                <a:gradFill>
                  <a:gsLst>
                    <a:gs pos="1250">
                      <a:srgbClr val="FFFFFF"/>
                    </a:gs>
                    <a:gs pos="100000">
                      <a:srgbClr val="FFFFFF"/>
                    </a:gs>
                  </a:gsLst>
                  <a:lin ang="5400000" scaled="0"/>
                </a:gradFill>
                <a:latin typeface="Segoe UI Light"/>
              </a:rPr>
              <a:t>IoT</a:t>
            </a:r>
            <a:r>
              <a:rPr lang="en-US" sz="4704" spc="-100" dirty="0">
                <a:gradFill>
                  <a:gsLst>
                    <a:gs pos="1250">
                      <a:srgbClr val="FFFFFF"/>
                    </a:gs>
                    <a:gs pos="100000">
                      <a:srgbClr val="FFFFFF"/>
                    </a:gs>
                  </a:gsLst>
                  <a:lin ang="5400000" scaled="0"/>
                </a:gradFill>
                <a:latin typeface="Segoe UI Light"/>
              </a:rPr>
              <a:t> Suite</a:t>
            </a:r>
            <a:endParaRPr lang="en-US" sz="5293" spc="-100" dirty="0">
              <a:gradFill>
                <a:gsLst>
                  <a:gs pos="1250">
                    <a:srgbClr val="FFFFFF"/>
                  </a:gs>
                  <a:gs pos="100000">
                    <a:srgbClr val="FFFFFF"/>
                  </a:gs>
                </a:gsLst>
                <a:lin ang="5400000" scaled="0"/>
              </a:gradFill>
              <a:latin typeface="Segoe UI Light"/>
            </a:endParaRPr>
          </a:p>
        </p:txBody>
      </p:sp>
      <p:grpSp>
        <p:nvGrpSpPr>
          <p:cNvPr id="96" name="Group 95"/>
          <p:cNvGrpSpPr/>
          <p:nvPr/>
        </p:nvGrpSpPr>
        <p:grpSpPr>
          <a:xfrm>
            <a:off x="12532773" y="925706"/>
            <a:ext cx="1184031" cy="5218448"/>
            <a:chOff x="9363076" y="1000126"/>
            <a:chExt cx="1208088" cy="5324475"/>
          </a:xfrm>
        </p:grpSpPr>
        <p:sp>
          <p:nvSpPr>
            <p:cNvPr id="7" name="Freeform 5"/>
            <p:cNvSpPr>
              <a:spLocks/>
            </p:cNvSpPr>
            <p:nvPr/>
          </p:nvSpPr>
          <p:spPr bwMode="auto">
            <a:xfrm>
              <a:off x="9431338" y="4329113"/>
              <a:ext cx="825500" cy="1798638"/>
            </a:xfrm>
            <a:custGeom>
              <a:avLst/>
              <a:gdLst>
                <a:gd name="T0" fmla="*/ 79 w 134"/>
                <a:gd name="T1" fmla="*/ 7 h 292"/>
                <a:gd name="T2" fmla="*/ 6 w 134"/>
                <a:gd name="T3" fmla="*/ 56 h 292"/>
                <a:gd name="T4" fmla="*/ 33 w 134"/>
                <a:gd name="T5" fmla="*/ 120 h 292"/>
                <a:gd name="T6" fmla="*/ 3 w 134"/>
                <a:gd name="T7" fmla="*/ 270 h 292"/>
                <a:gd name="T8" fmla="*/ 9 w 134"/>
                <a:gd name="T9" fmla="*/ 277 h 292"/>
                <a:gd name="T10" fmla="*/ 16 w 134"/>
                <a:gd name="T11" fmla="*/ 285 h 292"/>
                <a:gd name="T12" fmla="*/ 22 w 134"/>
                <a:gd name="T13" fmla="*/ 292 h 292"/>
                <a:gd name="T14" fmla="*/ 22 w 134"/>
                <a:gd name="T15" fmla="*/ 292 h 292"/>
                <a:gd name="T16" fmla="*/ 39 w 134"/>
                <a:gd name="T17" fmla="*/ 281 h 292"/>
                <a:gd name="T18" fmla="*/ 42 w 134"/>
                <a:gd name="T19" fmla="*/ 266 h 292"/>
                <a:gd name="T20" fmla="*/ 50 w 134"/>
                <a:gd name="T21" fmla="*/ 261 h 292"/>
                <a:gd name="T22" fmla="*/ 52 w 134"/>
                <a:gd name="T23" fmla="*/ 250 h 292"/>
                <a:gd name="T24" fmla="*/ 42 w 134"/>
                <a:gd name="T25" fmla="*/ 234 h 292"/>
                <a:gd name="T26" fmla="*/ 44 w 134"/>
                <a:gd name="T27" fmla="*/ 224 h 292"/>
                <a:gd name="T28" fmla="*/ 51 w 134"/>
                <a:gd name="T29" fmla="*/ 219 h 292"/>
                <a:gd name="T30" fmla="*/ 53 w 134"/>
                <a:gd name="T31" fmla="*/ 210 h 292"/>
                <a:gd name="T32" fmla="*/ 62 w 134"/>
                <a:gd name="T33" fmla="*/ 204 h 292"/>
                <a:gd name="T34" fmla="*/ 64 w 134"/>
                <a:gd name="T35" fmla="*/ 192 h 292"/>
                <a:gd name="T36" fmla="*/ 54 w 134"/>
                <a:gd name="T37" fmla="*/ 178 h 292"/>
                <a:gd name="T38" fmla="*/ 57 w 134"/>
                <a:gd name="T39" fmla="*/ 164 h 292"/>
                <a:gd name="T40" fmla="*/ 72 w 134"/>
                <a:gd name="T41" fmla="*/ 154 h 292"/>
                <a:gd name="T42" fmla="*/ 77 w 134"/>
                <a:gd name="T43" fmla="*/ 130 h 292"/>
                <a:gd name="T44" fmla="*/ 77 w 134"/>
                <a:gd name="T45" fmla="*/ 129 h 292"/>
                <a:gd name="T46" fmla="*/ 127 w 134"/>
                <a:gd name="T47" fmla="*/ 80 h 292"/>
                <a:gd name="T48" fmla="*/ 79 w 134"/>
                <a:gd name="T49" fmla="*/ 7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4" h="292">
                  <a:moveTo>
                    <a:pt x="79" y="7"/>
                  </a:moveTo>
                  <a:cubicBezTo>
                    <a:pt x="45" y="0"/>
                    <a:pt x="13" y="22"/>
                    <a:pt x="6" y="56"/>
                  </a:cubicBezTo>
                  <a:cubicBezTo>
                    <a:pt x="0" y="81"/>
                    <a:pt x="12" y="107"/>
                    <a:pt x="33" y="120"/>
                  </a:cubicBezTo>
                  <a:cubicBezTo>
                    <a:pt x="3" y="270"/>
                    <a:pt x="3" y="270"/>
                    <a:pt x="3" y="270"/>
                  </a:cubicBezTo>
                  <a:cubicBezTo>
                    <a:pt x="9" y="277"/>
                    <a:pt x="9" y="277"/>
                    <a:pt x="9" y="277"/>
                  </a:cubicBezTo>
                  <a:cubicBezTo>
                    <a:pt x="16" y="285"/>
                    <a:pt x="16" y="285"/>
                    <a:pt x="16" y="285"/>
                  </a:cubicBezTo>
                  <a:cubicBezTo>
                    <a:pt x="22" y="292"/>
                    <a:pt x="22" y="292"/>
                    <a:pt x="22" y="292"/>
                  </a:cubicBezTo>
                  <a:cubicBezTo>
                    <a:pt x="22" y="292"/>
                    <a:pt x="22" y="292"/>
                    <a:pt x="22" y="292"/>
                  </a:cubicBezTo>
                  <a:cubicBezTo>
                    <a:pt x="39" y="281"/>
                    <a:pt x="39" y="281"/>
                    <a:pt x="39" y="281"/>
                  </a:cubicBezTo>
                  <a:cubicBezTo>
                    <a:pt x="42" y="266"/>
                    <a:pt x="42" y="266"/>
                    <a:pt x="42" y="266"/>
                  </a:cubicBezTo>
                  <a:cubicBezTo>
                    <a:pt x="50" y="261"/>
                    <a:pt x="50" y="261"/>
                    <a:pt x="50" y="261"/>
                  </a:cubicBezTo>
                  <a:cubicBezTo>
                    <a:pt x="52" y="250"/>
                    <a:pt x="52" y="250"/>
                    <a:pt x="52" y="250"/>
                  </a:cubicBezTo>
                  <a:cubicBezTo>
                    <a:pt x="42" y="234"/>
                    <a:pt x="42" y="234"/>
                    <a:pt x="42" y="234"/>
                  </a:cubicBezTo>
                  <a:cubicBezTo>
                    <a:pt x="44" y="224"/>
                    <a:pt x="44" y="224"/>
                    <a:pt x="44" y="224"/>
                  </a:cubicBezTo>
                  <a:cubicBezTo>
                    <a:pt x="51" y="219"/>
                    <a:pt x="51" y="219"/>
                    <a:pt x="51" y="219"/>
                  </a:cubicBezTo>
                  <a:cubicBezTo>
                    <a:pt x="53" y="210"/>
                    <a:pt x="53" y="210"/>
                    <a:pt x="53" y="210"/>
                  </a:cubicBezTo>
                  <a:cubicBezTo>
                    <a:pt x="62" y="204"/>
                    <a:pt x="62" y="204"/>
                    <a:pt x="62" y="204"/>
                  </a:cubicBezTo>
                  <a:cubicBezTo>
                    <a:pt x="64" y="192"/>
                    <a:pt x="64" y="192"/>
                    <a:pt x="64" y="192"/>
                  </a:cubicBezTo>
                  <a:cubicBezTo>
                    <a:pt x="54" y="178"/>
                    <a:pt x="54" y="178"/>
                    <a:pt x="54" y="178"/>
                  </a:cubicBezTo>
                  <a:cubicBezTo>
                    <a:pt x="57" y="164"/>
                    <a:pt x="57" y="164"/>
                    <a:pt x="57" y="164"/>
                  </a:cubicBezTo>
                  <a:cubicBezTo>
                    <a:pt x="72" y="154"/>
                    <a:pt x="72" y="154"/>
                    <a:pt x="72" y="154"/>
                  </a:cubicBezTo>
                  <a:cubicBezTo>
                    <a:pt x="77" y="130"/>
                    <a:pt x="77" y="130"/>
                    <a:pt x="77" y="130"/>
                  </a:cubicBezTo>
                  <a:cubicBezTo>
                    <a:pt x="77" y="129"/>
                    <a:pt x="77" y="129"/>
                    <a:pt x="77" y="129"/>
                  </a:cubicBezTo>
                  <a:cubicBezTo>
                    <a:pt x="102" y="125"/>
                    <a:pt x="122" y="106"/>
                    <a:pt x="127" y="80"/>
                  </a:cubicBezTo>
                  <a:cubicBezTo>
                    <a:pt x="134" y="47"/>
                    <a:pt x="113" y="14"/>
                    <a:pt x="79" y="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8" name="Freeform 6"/>
            <p:cNvSpPr>
              <a:spLocks/>
            </p:cNvSpPr>
            <p:nvPr/>
          </p:nvSpPr>
          <p:spPr bwMode="auto">
            <a:xfrm>
              <a:off x="9591676" y="4532313"/>
              <a:ext cx="763588" cy="1792288"/>
            </a:xfrm>
            <a:custGeom>
              <a:avLst/>
              <a:gdLst>
                <a:gd name="T0" fmla="*/ 124 w 124"/>
                <a:gd name="T1" fmla="*/ 62 h 291"/>
                <a:gd name="T2" fmla="*/ 62 w 124"/>
                <a:gd name="T3" fmla="*/ 0 h 291"/>
                <a:gd name="T4" fmla="*/ 0 w 124"/>
                <a:gd name="T5" fmla="*/ 62 h 291"/>
                <a:gd name="T6" fmla="*/ 40 w 124"/>
                <a:gd name="T7" fmla="*/ 120 h 291"/>
                <a:gd name="T8" fmla="*/ 40 w 124"/>
                <a:gd name="T9" fmla="*/ 273 h 291"/>
                <a:gd name="T10" fmla="*/ 47 w 124"/>
                <a:gd name="T11" fmla="*/ 279 h 291"/>
                <a:gd name="T12" fmla="*/ 56 w 124"/>
                <a:gd name="T13" fmla="*/ 285 h 291"/>
                <a:gd name="T14" fmla="*/ 63 w 124"/>
                <a:gd name="T15" fmla="*/ 291 h 291"/>
                <a:gd name="T16" fmla="*/ 63 w 124"/>
                <a:gd name="T17" fmla="*/ 291 h 291"/>
                <a:gd name="T18" fmla="*/ 78 w 124"/>
                <a:gd name="T19" fmla="*/ 277 h 291"/>
                <a:gd name="T20" fmla="*/ 78 w 124"/>
                <a:gd name="T21" fmla="*/ 261 h 291"/>
                <a:gd name="T22" fmla="*/ 84 w 124"/>
                <a:gd name="T23" fmla="*/ 255 h 291"/>
                <a:gd name="T24" fmla="*/ 84 w 124"/>
                <a:gd name="T25" fmla="*/ 243 h 291"/>
                <a:gd name="T26" fmla="*/ 71 w 124"/>
                <a:gd name="T27" fmla="*/ 230 h 291"/>
                <a:gd name="T28" fmla="*/ 71 w 124"/>
                <a:gd name="T29" fmla="*/ 220 h 291"/>
                <a:gd name="T30" fmla="*/ 77 w 124"/>
                <a:gd name="T31" fmla="*/ 214 h 291"/>
                <a:gd name="T32" fmla="*/ 77 w 124"/>
                <a:gd name="T33" fmla="*/ 204 h 291"/>
                <a:gd name="T34" fmla="*/ 85 w 124"/>
                <a:gd name="T35" fmla="*/ 197 h 291"/>
                <a:gd name="T36" fmla="*/ 85 w 124"/>
                <a:gd name="T37" fmla="*/ 185 h 291"/>
                <a:gd name="T38" fmla="*/ 72 w 124"/>
                <a:gd name="T39" fmla="*/ 173 h 291"/>
                <a:gd name="T40" fmla="*/ 72 w 124"/>
                <a:gd name="T41" fmla="*/ 158 h 291"/>
                <a:gd name="T42" fmla="*/ 85 w 124"/>
                <a:gd name="T43" fmla="*/ 146 h 291"/>
                <a:gd name="T44" fmla="*/ 85 w 124"/>
                <a:gd name="T45" fmla="*/ 121 h 291"/>
                <a:gd name="T46" fmla="*/ 85 w 124"/>
                <a:gd name="T47" fmla="*/ 120 h 291"/>
                <a:gd name="T48" fmla="*/ 124 w 124"/>
                <a:gd name="T49" fmla="*/ 62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4" h="291">
                  <a:moveTo>
                    <a:pt x="124" y="62"/>
                  </a:moveTo>
                  <a:cubicBezTo>
                    <a:pt x="124" y="28"/>
                    <a:pt x="96" y="0"/>
                    <a:pt x="62" y="0"/>
                  </a:cubicBezTo>
                  <a:cubicBezTo>
                    <a:pt x="28" y="0"/>
                    <a:pt x="0" y="28"/>
                    <a:pt x="0" y="62"/>
                  </a:cubicBezTo>
                  <a:cubicBezTo>
                    <a:pt x="0" y="89"/>
                    <a:pt x="16" y="111"/>
                    <a:pt x="40" y="120"/>
                  </a:cubicBezTo>
                  <a:cubicBezTo>
                    <a:pt x="40" y="273"/>
                    <a:pt x="40" y="273"/>
                    <a:pt x="40" y="273"/>
                  </a:cubicBezTo>
                  <a:cubicBezTo>
                    <a:pt x="47" y="279"/>
                    <a:pt x="47" y="279"/>
                    <a:pt x="47" y="279"/>
                  </a:cubicBezTo>
                  <a:cubicBezTo>
                    <a:pt x="56" y="285"/>
                    <a:pt x="56" y="285"/>
                    <a:pt x="56" y="285"/>
                  </a:cubicBezTo>
                  <a:cubicBezTo>
                    <a:pt x="63" y="291"/>
                    <a:pt x="63" y="291"/>
                    <a:pt x="63" y="291"/>
                  </a:cubicBezTo>
                  <a:cubicBezTo>
                    <a:pt x="63" y="291"/>
                    <a:pt x="63" y="291"/>
                    <a:pt x="63" y="291"/>
                  </a:cubicBezTo>
                  <a:cubicBezTo>
                    <a:pt x="78" y="277"/>
                    <a:pt x="78" y="277"/>
                    <a:pt x="78" y="277"/>
                  </a:cubicBezTo>
                  <a:cubicBezTo>
                    <a:pt x="78" y="261"/>
                    <a:pt x="78" y="261"/>
                    <a:pt x="78" y="261"/>
                  </a:cubicBezTo>
                  <a:cubicBezTo>
                    <a:pt x="84" y="255"/>
                    <a:pt x="84" y="255"/>
                    <a:pt x="84" y="255"/>
                  </a:cubicBezTo>
                  <a:cubicBezTo>
                    <a:pt x="84" y="243"/>
                    <a:pt x="84" y="243"/>
                    <a:pt x="84" y="243"/>
                  </a:cubicBezTo>
                  <a:cubicBezTo>
                    <a:pt x="71" y="230"/>
                    <a:pt x="71" y="230"/>
                    <a:pt x="71" y="230"/>
                  </a:cubicBezTo>
                  <a:cubicBezTo>
                    <a:pt x="71" y="220"/>
                    <a:pt x="71" y="220"/>
                    <a:pt x="71" y="220"/>
                  </a:cubicBezTo>
                  <a:cubicBezTo>
                    <a:pt x="77" y="214"/>
                    <a:pt x="77" y="214"/>
                    <a:pt x="77" y="214"/>
                  </a:cubicBezTo>
                  <a:cubicBezTo>
                    <a:pt x="77" y="204"/>
                    <a:pt x="77" y="204"/>
                    <a:pt x="77" y="204"/>
                  </a:cubicBezTo>
                  <a:cubicBezTo>
                    <a:pt x="85" y="197"/>
                    <a:pt x="85" y="197"/>
                    <a:pt x="85" y="197"/>
                  </a:cubicBezTo>
                  <a:cubicBezTo>
                    <a:pt x="85" y="185"/>
                    <a:pt x="85" y="185"/>
                    <a:pt x="85" y="185"/>
                  </a:cubicBezTo>
                  <a:cubicBezTo>
                    <a:pt x="72" y="173"/>
                    <a:pt x="72" y="173"/>
                    <a:pt x="72" y="173"/>
                  </a:cubicBezTo>
                  <a:cubicBezTo>
                    <a:pt x="72" y="158"/>
                    <a:pt x="72" y="158"/>
                    <a:pt x="72" y="158"/>
                  </a:cubicBezTo>
                  <a:cubicBezTo>
                    <a:pt x="85" y="146"/>
                    <a:pt x="85" y="146"/>
                    <a:pt x="85" y="146"/>
                  </a:cubicBezTo>
                  <a:cubicBezTo>
                    <a:pt x="85" y="121"/>
                    <a:pt x="85" y="121"/>
                    <a:pt x="85" y="121"/>
                  </a:cubicBezTo>
                  <a:cubicBezTo>
                    <a:pt x="85" y="120"/>
                    <a:pt x="85" y="120"/>
                    <a:pt x="85" y="120"/>
                  </a:cubicBezTo>
                  <a:cubicBezTo>
                    <a:pt x="108" y="111"/>
                    <a:pt x="124" y="89"/>
                    <a:pt x="124" y="62"/>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9" name="Freeform 7"/>
            <p:cNvSpPr>
              <a:spLocks/>
            </p:cNvSpPr>
            <p:nvPr/>
          </p:nvSpPr>
          <p:spPr bwMode="auto">
            <a:xfrm>
              <a:off x="9690101" y="4532313"/>
              <a:ext cx="665163" cy="947738"/>
            </a:xfrm>
            <a:custGeom>
              <a:avLst/>
              <a:gdLst>
                <a:gd name="T0" fmla="*/ 46 w 108"/>
                <a:gd name="T1" fmla="*/ 0 h 154"/>
                <a:gd name="T2" fmla="*/ 3 w 108"/>
                <a:gd name="T3" fmla="*/ 18 h 154"/>
                <a:gd name="T4" fmla="*/ 1 w 108"/>
                <a:gd name="T5" fmla="*/ 45 h 154"/>
                <a:gd name="T6" fmla="*/ 50 w 108"/>
                <a:gd name="T7" fmla="*/ 96 h 154"/>
                <a:gd name="T8" fmla="*/ 60 w 108"/>
                <a:gd name="T9" fmla="*/ 154 h 154"/>
                <a:gd name="T10" fmla="*/ 69 w 108"/>
                <a:gd name="T11" fmla="*/ 146 h 154"/>
                <a:gd name="T12" fmla="*/ 69 w 108"/>
                <a:gd name="T13" fmla="*/ 121 h 154"/>
                <a:gd name="T14" fmla="*/ 69 w 108"/>
                <a:gd name="T15" fmla="*/ 120 h 154"/>
                <a:gd name="T16" fmla="*/ 96 w 108"/>
                <a:gd name="T17" fmla="*/ 99 h 154"/>
                <a:gd name="T18" fmla="*/ 95 w 108"/>
                <a:gd name="T19" fmla="*/ 90 h 154"/>
                <a:gd name="T20" fmla="*/ 95 w 108"/>
                <a:gd name="T21" fmla="*/ 88 h 154"/>
                <a:gd name="T22" fmla="*/ 106 w 108"/>
                <a:gd name="T23" fmla="*/ 80 h 154"/>
                <a:gd name="T24" fmla="*/ 108 w 108"/>
                <a:gd name="T25" fmla="*/ 62 h 154"/>
                <a:gd name="T26" fmla="*/ 46 w 108"/>
                <a:gd name="T27"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8" h="154">
                  <a:moveTo>
                    <a:pt x="46" y="0"/>
                  </a:moveTo>
                  <a:cubicBezTo>
                    <a:pt x="29" y="0"/>
                    <a:pt x="14" y="7"/>
                    <a:pt x="3" y="18"/>
                  </a:cubicBezTo>
                  <a:cubicBezTo>
                    <a:pt x="1" y="26"/>
                    <a:pt x="0" y="36"/>
                    <a:pt x="1" y="45"/>
                  </a:cubicBezTo>
                  <a:cubicBezTo>
                    <a:pt x="6" y="71"/>
                    <a:pt x="26" y="91"/>
                    <a:pt x="50" y="96"/>
                  </a:cubicBezTo>
                  <a:cubicBezTo>
                    <a:pt x="60" y="154"/>
                    <a:pt x="60" y="154"/>
                    <a:pt x="60" y="154"/>
                  </a:cubicBezTo>
                  <a:cubicBezTo>
                    <a:pt x="69" y="146"/>
                    <a:pt x="69" y="146"/>
                    <a:pt x="69" y="146"/>
                  </a:cubicBezTo>
                  <a:cubicBezTo>
                    <a:pt x="69" y="121"/>
                    <a:pt x="69" y="121"/>
                    <a:pt x="69" y="121"/>
                  </a:cubicBezTo>
                  <a:cubicBezTo>
                    <a:pt x="69" y="120"/>
                    <a:pt x="69" y="120"/>
                    <a:pt x="69" y="120"/>
                  </a:cubicBezTo>
                  <a:cubicBezTo>
                    <a:pt x="80" y="116"/>
                    <a:pt x="89" y="108"/>
                    <a:pt x="96" y="99"/>
                  </a:cubicBezTo>
                  <a:cubicBezTo>
                    <a:pt x="95" y="90"/>
                    <a:pt x="95" y="90"/>
                    <a:pt x="95" y="90"/>
                  </a:cubicBezTo>
                  <a:cubicBezTo>
                    <a:pt x="95" y="88"/>
                    <a:pt x="95" y="88"/>
                    <a:pt x="95" y="88"/>
                  </a:cubicBezTo>
                  <a:cubicBezTo>
                    <a:pt x="99" y="86"/>
                    <a:pt x="102" y="83"/>
                    <a:pt x="106" y="80"/>
                  </a:cubicBezTo>
                  <a:cubicBezTo>
                    <a:pt x="107" y="74"/>
                    <a:pt x="108" y="68"/>
                    <a:pt x="108" y="62"/>
                  </a:cubicBezTo>
                  <a:cubicBezTo>
                    <a:pt x="108" y="28"/>
                    <a:pt x="80" y="0"/>
                    <a:pt x="46"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65" name="Freeform 8"/>
            <p:cNvSpPr>
              <a:spLocks/>
            </p:cNvSpPr>
            <p:nvPr/>
          </p:nvSpPr>
          <p:spPr bwMode="auto">
            <a:xfrm>
              <a:off x="10090151" y="5646738"/>
              <a:ext cx="25400" cy="104775"/>
            </a:xfrm>
            <a:custGeom>
              <a:avLst/>
              <a:gdLst>
                <a:gd name="T0" fmla="*/ 16 w 16"/>
                <a:gd name="T1" fmla="*/ 16 h 66"/>
                <a:gd name="T2" fmla="*/ 0 w 16"/>
                <a:gd name="T3" fmla="*/ 0 h 66"/>
                <a:gd name="T4" fmla="*/ 8 w 16"/>
                <a:gd name="T5" fmla="*/ 66 h 66"/>
                <a:gd name="T6" fmla="*/ 16 w 16"/>
                <a:gd name="T7" fmla="*/ 62 h 66"/>
                <a:gd name="T8" fmla="*/ 16 w 16"/>
                <a:gd name="T9" fmla="*/ 16 h 66"/>
              </a:gdLst>
              <a:ahLst/>
              <a:cxnLst>
                <a:cxn ang="0">
                  <a:pos x="T0" y="T1"/>
                </a:cxn>
                <a:cxn ang="0">
                  <a:pos x="T2" y="T3"/>
                </a:cxn>
                <a:cxn ang="0">
                  <a:pos x="T4" y="T5"/>
                </a:cxn>
                <a:cxn ang="0">
                  <a:pos x="T6" y="T7"/>
                </a:cxn>
                <a:cxn ang="0">
                  <a:pos x="T8" y="T9"/>
                </a:cxn>
              </a:cxnLst>
              <a:rect l="0" t="0" r="r" b="b"/>
              <a:pathLst>
                <a:path w="16" h="66">
                  <a:moveTo>
                    <a:pt x="16" y="16"/>
                  </a:moveTo>
                  <a:lnTo>
                    <a:pt x="0" y="0"/>
                  </a:lnTo>
                  <a:lnTo>
                    <a:pt x="8" y="66"/>
                  </a:lnTo>
                  <a:lnTo>
                    <a:pt x="16" y="62"/>
                  </a:lnTo>
                  <a:lnTo>
                    <a:pt x="16" y="1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83" name="Freeform 9"/>
            <p:cNvSpPr>
              <a:spLocks/>
            </p:cNvSpPr>
            <p:nvPr/>
          </p:nvSpPr>
          <p:spPr bwMode="auto">
            <a:xfrm>
              <a:off x="9696451" y="4291013"/>
              <a:ext cx="825500" cy="1793875"/>
            </a:xfrm>
            <a:custGeom>
              <a:avLst/>
              <a:gdLst>
                <a:gd name="T0" fmla="*/ 125 w 134"/>
                <a:gd name="T1" fmla="*/ 259 h 291"/>
                <a:gd name="T2" fmla="*/ 130 w 134"/>
                <a:gd name="T3" fmla="*/ 251 h 291"/>
                <a:gd name="T4" fmla="*/ 127 w 134"/>
                <a:gd name="T5" fmla="*/ 240 h 291"/>
                <a:gd name="T6" fmla="*/ 112 w 134"/>
                <a:gd name="T7" fmla="*/ 230 h 291"/>
                <a:gd name="T8" fmla="*/ 110 w 134"/>
                <a:gd name="T9" fmla="*/ 220 h 291"/>
                <a:gd name="T10" fmla="*/ 114 w 134"/>
                <a:gd name="T11" fmla="*/ 212 h 291"/>
                <a:gd name="T12" fmla="*/ 112 w 134"/>
                <a:gd name="T13" fmla="*/ 203 h 291"/>
                <a:gd name="T14" fmla="*/ 118 w 134"/>
                <a:gd name="T15" fmla="*/ 194 h 291"/>
                <a:gd name="T16" fmla="*/ 115 w 134"/>
                <a:gd name="T17" fmla="*/ 182 h 291"/>
                <a:gd name="T18" fmla="*/ 100 w 134"/>
                <a:gd name="T19" fmla="*/ 173 h 291"/>
                <a:gd name="T20" fmla="*/ 97 w 134"/>
                <a:gd name="T21" fmla="*/ 159 h 291"/>
                <a:gd name="T22" fmla="*/ 107 w 134"/>
                <a:gd name="T23" fmla="*/ 144 h 291"/>
                <a:gd name="T24" fmla="*/ 102 w 134"/>
                <a:gd name="T25" fmla="*/ 121 h 291"/>
                <a:gd name="T26" fmla="*/ 102 w 134"/>
                <a:gd name="T27" fmla="*/ 119 h 291"/>
                <a:gd name="T28" fmla="*/ 128 w 134"/>
                <a:gd name="T29" fmla="*/ 54 h 291"/>
                <a:gd name="T30" fmla="*/ 55 w 134"/>
                <a:gd name="T31" fmla="*/ 7 h 291"/>
                <a:gd name="T32" fmla="*/ 7 w 134"/>
                <a:gd name="T33" fmla="*/ 81 h 291"/>
                <a:gd name="T34" fmla="*/ 58 w 134"/>
                <a:gd name="T35" fmla="*/ 129 h 291"/>
                <a:gd name="T36" fmla="*/ 90 w 134"/>
                <a:gd name="T37" fmla="*/ 278 h 291"/>
                <a:gd name="T38" fmla="*/ 99 w 134"/>
                <a:gd name="T39" fmla="*/ 282 h 291"/>
                <a:gd name="T40" fmla="*/ 109 w 134"/>
                <a:gd name="T41" fmla="*/ 287 h 291"/>
                <a:gd name="T42" fmla="*/ 117 w 134"/>
                <a:gd name="T43" fmla="*/ 291 h 291"/>
                <a:gd name="T44" fmla="*/ 117 w 134"/>
                <a:gd name="T45" fmla="*/ 291 h 291"/>
                <a:gd name="T46" fmla="*/ 128 w 134"/>
                <a:gd name="T47" fmla="*/ 274 h 291"/>
                <a:gd name="T48" fmla="*/ 125 w 134"/>
                <a:gd name="T49" fmla="*/ 259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4" h="291">
                  <a:moveTo>
                    <a:pt x="125" y="259"/>
                  </a:moveTo>
                  <a:cubicBezTo>
                    <a:pt x="130" y="251"/>
                    <a:pt x="130" y="251"/>
                    <a:pt x="130" y="251"/>
                  </a:cubicBezTo>
                  <a:cubicBezTo>
                    <a:pt x="127" y="240"/>
                    <a:pt x="127" y="240"/>
                    <a:pt x="127" y="240"/>
                  </a:cubicBezTo>
                  <a:cubicBezTo>
                    <a:pt x="112" y="230"/>
                    <a:pt x="112" y="230"/>
                    <a:pt x="112" y="230"/>
                  </a:cubicBezTo>
                  <a:cubicBezTo>
                    <a:pt x="110" y="220"/>
                    <a:pt x="110" y="220"/>
                    <a:pt x="110" y="220"/>
                  </a:cubicBezTo>
                  <a:cubicBezTo>
                    <a:pt x="114" y="212"/>
                    <a:pt x="114" y="212"/>
                    <a:pt x="114" y="212"/>
                  </a:cubicBezTo>
                  <a:cubicBezTo>
                    <a:pt x="112" y="203"/>
                    <a:pt x="112" y="203"/>
                    <a:pt x="112" y="203"/>
                  </a:cubicBezTo>
                  <a:cubicBezTo>
                    <a:pt x="118" y="194"/>
                    <a:pt x="118" y="194"/>
                    <a:pt x="118" y="194"/>
                  </a:cubicBezTo>
                  <a:cubicBezTo>
                    <a:pt x="115" y="182"/>
                    <a:pt x="115" y="182"/>
                    <a:pt x="115" y="182"/>
                  </a:cubicBezTo>
                  <a:cubicBezTo>
                    <a:pt x="100" y="173"/>
                    <a:pt x="100" y="173"/>
                    <a:pt x="100" y="173"/>
                  </a:cubicBezTo>
                  <a:cubicBezTo>
                    <a:pt x="97" y="159"/>
                    <a:pt x="97" y="159"/>
                    <a:pt x="97" y="159"/>
                  </a:cubicBezTo>
                  <a:cubicBezTo>
                    <a:pt x="107" y="144"/>
                    <a:pt x="107" y="144"/>
                    <a:pt x="107" y="144"/>
                  </a:cubicBezTo>
                  <a:cubicBezTo>
                    <a:pt x="102" y="121"/>
                    <a:pt x="102" y="121"/>
                    <a:pt x="102" y="121"/>
                  </a:cubicBezTo>
                  <a:cubicBezTo>
                    <a:pt x="102" y="119"/>
                    <a:pt x="102" y="119"/>
                    <a:pt x="102" y="119"/>
                  </a:cubicBezTo>
                  <a:cubicBezTo>
                    <a:pt x="123" y="106"/>
                    <a:pt x="134" y="80"/>
                    <a:pt x="128" y="54"/>
                  </a:cubicBezTo>
                  <a:cubicBezTo>
                    <a:pt x="121" y="21"/>
                    <a:pt x="88" y="0"/>
                    <a:pt x="55" y="7"/>
                  </a:cubicBezTo>
                  <a:cubicBezTo>
                    <a:pt x="21" y="14"/>
                    <a:pt x="0" y="47"/>
                    <a:pt x="7" y="81"/>
                  </a:cubicBezTo>
                  <a:cubicBezTo>
                    <a:pt x="12" y="106"/>
                    <a:pt x="33" y="125"/>
                    <a:pt x="58" y="129"/>
                  </a:cubicBezTo>
                  <a:cubicBezTo>
                    <a:pt x="90" y="278"/>
                    <a:pt x="90" y="278"/>
                    <a:pt x="90" y="278"/>
                  </a:cubicBezTo>
                  <a:cubicBezTo>
                    <a:pt x="99" y="282"/>
                    <a:pt x="99" y="282"/>
                    <a:pt x="99" y="282"/>
                  </a:cubicBezTo>
                  <a:cubicBezTo>
                    <a:pt x="109" y="287"/>
                    <a:pt x="109" y="287"/>
                    <a:pt x="109" y="287"/>
                  </a:cubicBezTo>
                  <a:cubicBezTo>
                    <a:pt x="117" y="291"/>
                    <a:pt x="117" y="291"/>
                    <a:pt x="117" y="291"/>
                  </a:cubicBezTo>
                  <a:cubicBezTo>
                    <a:pt x="117" y="291"/>
                    <a:pt x="117" y="291"/>
                    <a:pt x="117" y="291"/>
                  </a:cubicBezTo>
                  <a:cubicBezTo>
                    <a:pt x="128" y="274"/>
                    <a:pt x="128" y="274"/>
                    <a:pt x="128" y="274"/>
                  </a:cubicBezTo>
                  <a:lnTo>
                    <a:pt x="125" y="259"/>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88" name="Freeform 10"/>
            <p:cNvSpPr>
              <a:spLocks/>
            </p:cNvSpPr>
            <p:nvPr/>
          </p:nvSpPr>
          <p:spPr bwMode="auto">
            <a:xfrm>
              <a:off x="9782176" y="1000126"/>
              <a:ext cx="369888" cy="1449388"/>
            </a:xfrm>
            <a:custGeom>
              <a:avLst/>
              <a:gdLst>
                <a:gd name="T0" fmla="*/ 191 w 233"/>
                <a:gd name="T1" fmla="*/ 66 h 913"/>
                <a:gd name="T2" fmla="*/ 191 w 233"/>
                <a:gd name="T3" fmla="*/ 901 h 913"/>
                <a:gd name="T4" fmla="*/ 148 w 233"/>
                <a:gd name="T5" fmla="*/ 901 h 913"/>
                <a:gd name="T6" fmla="*/ 148 w 233"/>
                <a:gd name="T7" fmla="*/ 31 h 913"/>
                <a:gd name="T8" fmla="*/ 109 w 233"/>
                <a:gd name="T9" fmla="*/ 0 h 913"/>
                <a:gd name="T10" fmla="*/ 109 w 233"/>
                <a:gd name="T11" fmla="*/ 0 h 913"/>
                <a:gd name="T12" fmla="*/ 35 w 233"/>
                <a:gd name="T13" fmla="*/ 74 h 913"/>
                <a:gd name="T14" fmla="*/ 35 w 233"/>
                <a:gd name="T15" fmla="*/ 152 h 913"/>
                <a:gd name="T16" fmla="*/ 0 w 233"/>
                <a:gd name="T17" fmla="*/ 187 h 913"/>
                <a:gd name="T18" fmla="*/ 0 w 233"/>
                <a:gd name="T19" fmla="*/ 249 h 913"/>
                <a:gd name="T20" fmla="*/ 70 w 233"/>
                <a:gd name="T21" fmla="*/ 315 h 913"/>
                <a:gd name="T22" fmla="*/ 70 w 233"/>
                <a:gd name="T23" fmla="*/ 369 h 913"/>
                <a:gd name="T24" fmla="*/ 39 w 233"/>
                <a:gd name="T25" fmla="*/ 400 h 913"/>
                <a:gd name="T26" fmla="*/ 39 w 233"/>
                <a:gd name="T27" fmla="*/ 451 h 913"/>
                <a:gd name="T28" fmla="*/ 0 w 233"/>
                <a:gd name="T29" fmla="*/ 489 h 913"/>
                <a:gd name="T30" fmla="*/ 0 w 233"/>
                <a:gd name="T31" fmla="*/ 548 h 913"/>
                <a:gd name="T32" fmla="*/ 66 w 233"/>
                <a:gd name="T33" fmla="*/ 610 h 913"/>
                <a:gd name="T34" fmla="*/ 66 w 233"/>
                <a:gd name="T35" fmla="*/ 684 h 913"/>
                <a:gd name="T36" fmla="*/ 0 w 233"/>
                <a:gd name="T37" fmla="*/ 750 h 913"/>
                <a:gd name="T38" fmla="*/ 0 w 233"/>
                <a:gd name="T39" fmla="*/ 874 h 913"/>
                <a:gd name="T40" fmla="*/ 0 w 233"/>
                <a:gd name="T41" fmla="*/ 913 h 913"/>
                <a:gd name="T42" fmla="*/ 233 w 233"/>
                <a:gd name="T43" fmla="*/ 913 h 913"/>
                <a:gd name="T44" fmla="*/ 233 w 233"/>
                <a:gd name="T45" fmla="*/ 97 h 913"/>
                <a:gd name="T46" fmla="*/ 191 w 233"/>
                <a:gd name="T47" fmla="*/ 66 h 9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33" h="913">
                  <a:moveTo>
                    <a:pt x="191" y="66"/>
                  </a:moveTo>
                  <a:lnTo>
                    <a:pt x="191" y="901"/>
                  </a:lnTo>
                  <a:lnTo>
                    <a:pt x="148" y="901"/>
                  </a:lnTo>
                  <a:lnTo>
                    <a:pt x="148" y="31"/>
                  </a:lnTo>
                  <a:lnTo>
                    <a:pt x="109" y="0"/>
                  </a:lnTo>
                  <a:lnTo>
                    <a:pt x="109" y="0"/>
                  </a:lnTo>
                  <a:lnTo>
                    <a:pt x="35" y="74"/>
                  </a:lnTo>
                  <a:lnTo>
                    <a:pt x="35" y="152"/>
                  </a:lnTo>
                  <a:lnTo>
                    <a:pt x="0" y="187"/>
                  </a:lnTo>
                  <a:lnTo>
                    <a:pt x="0" y="249"/>
                  </a:lnTo>
                  <a:lnTo>
                    <a:pt x="70" y="315"/>
                  </a:lnTo>
                  <a:lnTo>
                    <a:pt x="70" y="369"/>
                  </a:lnTo>
                  <a:lnTo>
                    <a:pt x="39" y="400"/>
                  </a:lnTo>
                  <a:lnTo>
                    <a:pt x="39" y="451"/>
                  </a:lnTo>
                  <a:lnTo>
                    <a:pt x="0" y="489"/>
                  </a:lnTo>
                  <a:lnTo>
                    <a:pt x="0" y="548"/>
                  </a:lnTo>
                  <a:lnTo>
                    <a:pt x="66" y="610"/>
                  </a:lnTo>
                  <a:lnTo>
                    <a:pt x="66" y="684"/>
                  </a:lnTo>
                  <a:lnTo>
                    <a:pt x="0" y="750"/>
                  </a:lnTo>
                  <a:lnTo>
                    <a:pt x="0" y="874"/>
                  </a:lnTo>
                  <a:lnTo>
                    <a:pt x="0" y="913"/>
                  </a:lnTo>
                  <a:lnTo>
                    <a:pt x="233" y="913"/>
                  </a:lnTo>
                  <a:lnTo>
                    <a:pt x="233" y="97"/>
                  </a:lnTo>
                  <a:lnTo>
                    <a:pt x="191" y="66"/>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89" name="Freeform 11"/>
            <p:cNvSpPr>
              <a:spLocks/>
            </p:cNvSpPr>
            <p:nvPr/>
          </p:nvSpPr>
          <p:spPr bwMode="auto">
            <a:xfrm>
              <a:off x="10017126" y="1049338"/>
              <a:ext cx="68263" cy="1381125"/>
            </a:xfrm>
            <a:custGeom>
              <a:avLst/>
              <a:gdLst>
                <a:gd name="T0" fmla="*/ 43 w 43"/>
                <a:gd name="T1" fmla="*/ 870 h 870"/>
                <a:gd name="T2" fmla="*/ 43 w 43"/>
                <a:gd name="T3" fmla="*/ 35 h 870"/>
                <a:gd name="T4" fmla="*/ 0 w 43"/>
                <a:gd name="T5" fmla="*/ 0 h 870"/>
                <a:gd name="T6" fmla="*/ 0 w 43"/>
                <a:gd name="T7" fmla="*/ 870 h 870"/>
                <a:gd name="T8" fmla="*/ 43 w 43"/>
                <a:gd name="T9" fmla="*/ 870 h 870"/>
              </a:gdLst>
              <a:ahLst/>
              <a:cxnLst>
                <a:cxn ang="0">
                  <a:pos x="T0" y="T1"/>
                </a:cxn>
                <a:cxn ang="0">
                  <a:pos x="T2" y="T3"/>
                </a:cxn>
                <a:cxn ang="0">
                  <a:pos x="T4" y="T5"/>
                </a:cxn>
                <a:cxn ang="0">
                  <a:pos x="T6" y="T7"/>
                </a:cxn>
                <a:cxn ang="0">
                  <a:pos x="T8" y="T9"/>
                </a:cxn>
              </a:cxnLst>
              <a:rect l="0" t="0" r="r" b="b"/>
              <a:pathLst>
                <a:path w="43" h="870">
                  <a:moveTo>
                    <a:pt x="43" y="870"/>
                  </a:moveTo>
                  <a:lnTo>
                    <a:pt x="43" y="35"/>
                  </a:lnTo>
                  <a:lnTo>
                    <a:pt x="0" y="0"/>
                  </a:lnTo>
                  <a:lnTo>
                    <a:pt x="0" y="870"/>
                  </a:lnTo>
                  <a:lnTo>
                    <a:pt x="43" y="87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90" name="Freeform 12"/>
            <p:cNvSpPr>
              <a:spLocks noEditPoints="1"/>
            </p:cNvSpPr>
            <p:nvPr/>
          </p:nvSpPr>
          <p:spPr bwMode="auto">
            <a:xfrm>
              <a:off x="9363076" y="2393951"/>
              <a:ext cx="1208088" cy="1212850"/>
            </a:xfrm>
            <a:custGeom>
              <a:avLst/>
              <a:gdLst>
                <a:gd name="T0" fmla="*/ 160 w 196"/>
                <a:gd name="T1" fmla="*/ 30 h 197"/>
                <a:gd name="T2" fmla="*/ 98 w 196"/>
                <a:gd name="T3" fmla="*/ 0 h 197"/>
                <a:gd name="T4" fmla="*/ 35 w 196"/>
                <a:gd name="T5" fmla="*/ 30 h 197"/>
                <a:gd name="T6" fmla="*/ 29 w 196"/>
                <a:gd name="T7" fmla="*/ 36 h 197"/>
                <a:gd name="T8" fmla="*/ 0 w 196"/>
                <a:gd name="T9" fmla="*/ 107 h 197"/>
                <a:gd name="T10" fmla="*/ 0 w 196"/>
                <a:gd name="T11" fmla="*/ 155 h 197"/>
                <a:gd name="T12" fmla="*/ 41 w 196"/>
                <a:gd name="T13" fmla="*/ 197 h 197"/>
                <a:gd name="T14" fmla="*/ 154 w 196"/>
                <a:gd name="T15" fmla="*/ 197 h 197"/>
                <a:gd name="T16" fmla="*/ 196 w 196"/>
                <a:gd name="T17" fmla="*/ 155 h 197"/>
                <a:gd name="T18" fmla="*/ 196 w 196"/>
                <a:gd name="T19" fmla="*/ 107 h 197"/>
                <a:gd name="T20" fmla="*/ 167 w 196"/>
                <a:gd name="T21" fmla="*/ 36 h 197"/>
                <a:gd name="T22" fmla="*/ 160 w 196"/>
                <a:gd name="T23" fmla="*/ 30 h 197"/>
                <a:gd name="T24" fmla="*/ 124 w 196"/>
                <a:gd name="T25" fmla="*/ 167 h 197"/>
                <a:gd name="T26" fmla="*/ 98 w 196"/>
                <a:gd name="T27" fmla="*/ 178 h 197"/>
                <a:gd name="T28" fmla="*/ 72 w 196"/>
                <a:gd name="T29" fmla="*/ 167 h 197"/>
                <a:gd name="T30" fmla="*/ 98 w 196"/>
                <a:gd name="T31" fmla="*/ 156 h 197"/>
                <a:gd name="T32" fmla="*/ 124 w 196"/>
                <a:gd name="T33" fmla="*/ 16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6" h="197">
                  <a:moveTo>
                    <a:pt x="160" y="30"/>
                  </a:moveTo>
                  <a:cubicBezTo>
                    <a:pt x="144" y="13"/>
                    <a:pt x="116" y="0"/>
                    <a:pt x="98" y="0"/>
                  </a:cubicBezTo>
                  <a:cubicBezTo>
                    <a:pt x="80" y="0"/>
                    <a:pt x="52" y="13"/>
                    <a:pt x="35" y="30"/>
                  </a:cubicBezTo>
                  <a:cubicBezTo>
                    <a:pt x="29" y="36"/>
                    <a:pt x="29" y="36"/>
                    <a:pt x="29" y="36"/>
                  </a:cubicBezTo>
                  <a:cubicBezTo>
                    <a:pt x="13" y="52"/>
                    <a:pt x="0" y="84"/>
                    <a:pt x="0" y="107"/>
                  </a:cubicBezTo>
                  <a:cubicBezTo>
                    <a:pt x="0" y="155"/>
                    <a:pt x="0" y="155"/>
                    <a:pt x="0" y="155"/>
                  </a:cubicBezTo>
                  <a:cubicBezTo>
                    <a:pt x="0" y="178"/>
                    <a:pt x="18" y="197"/>
                    <a:pt x="41" y="197"/>
                  </a:cubicBezTo>
                  <a:cubicBezTo>
                    <a:pt x="154" y="197"/>
                    <a:pt x="154" y="197"/>
                    <a:pt x="154" y="197"/>
                  </a:cubicBezTo>
                  <a:cubicBezTo>
                    <a:pt x="177" y="197"/>
                    <a:pt x="196" y="178"/>
                    <a:pt x="196" y="155"/>
                  </a:cubicBezTo>
                  <a:cubicBezTo>
                    <a:pt x="196" y="107"/>
                    <a:pt x="196" y="107"/>
                    <a:pt x="196" y="107"/>
                  </a:cubicBezTo>
                  <a:cubicBezTo>
                    <a:pt x="196" y="84"/>
                    <a:pt x="183" y="52"/>
                    <a:pt x="167" y="36"/>
                  </a:cubicBezTo>
                  <a:lnTo>
                    <a:pt x="160" y="30"/>
                  </a:lnTo>
                  <a:close/>
                  <a:moveTo>
                    <a:pt x="124" y="167"/>
                  </a:moveTo>
                  <a:cubicBezTo>
                    <a:pt x="124" y="173"/>
                    <a:pt x="112" y="178"/>
                    <a:pt x="98" y="178"/>
                  </a:cubicBezTo>
                  <a:cubicBezTo>
                    <a:pt x="83" y="178"/>
                    <a:pt x="72" y="173"/>
                    <a:pt x="72" y="167"/>
                  </a:cubicBezTo>
                  <a:cubicBezTo>
                    <a:pt x="72" y="161"/>
                    <a:pt x="83" y="156"/>
                    <a:pt x="98" y="156"/>
                  </a:cubicBezTo>
                  <a:cubicBezTo>
                    <a:pt x="112" y="156"/>
                    <a:pt x="124" y="161"/>
                    <a:pt x="124" y="16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92" name="Freeform 14"/>
            <p:cNvSpPr>
              <a:spLocks/>
            </p:cNvSpPr>
            <p:nvPr/>
          </p:nvSpPr>
          <p:spPr bwMode="auto">
            <a:xfrm>
              <a:off x="9899651" y="3416301"/>
              <a:ext cx="153988" cy="455613"/>
            </a:xfrm>
            <a:custGeom>
              <a:avLst/>
              <a:gdLst>
                <a:gd name="T0" fmla="*/ 25 w 25"/>
                <a:gd name="T1" fmla="*/ 12 h 74"/>
                <a:gd name="T2" fmla="*/ 12 w 25"/>
                <a:gd name="T3" fmla="*/ 0 h 74"/>
                <a:gd name="T4" fmla="*/ 0 w 25"/>
                <a:gd name="T5" fmla="*/ 12 h 74"/>
                <a:gd name="T6" fmla="*/ 0 w 25"/>
                <a:gd name="T7" fmla="*/ 74 h 74"/>
                <a:gd name="T8" fmla="*/ 25 w 25"/>
                <a:gd name="T9" fmla="*/ 74 h 74"/>
                <a:gd name="T10" fmla="*/ 25 w 25"/>
                <a:gd name="T11" fmla="*/ 12 h 74"/>
              </a:gdLst>
              <a:ahLst/>
              <a:cxnLst>
                <a:cxn ang="0">
                  <a:pos x="T0" y="T1"/>
                </a:cxn>
                <a:cxn ang="0">
                  <a:pos x="T2" y="T3"/>
                </a:cxn>
                <a:cxn ang="0">
                  <a:pos x="T4" y="T5"/>
                </a:cxn>
                <a:cxn ang="0">
                  <a:pos x="T6" y="T7"/>
                </a:cxn>
                <a:cxn ang="0">
                  <a:pos x="T8" y="T9"/>
                </a:cxn>
                <a:cxn ang="0">
                  <a:pos x="T10" y="T11"/>
                </a:cxn>
              </a:cxnLst>
              <a:rect l="0" t="0" r="r" b="b"/>
              <a:pathLst>
                <a:path w="25" h="74">
                  <a:moveTo>
                    <a:pt x="25" y="12"/>
                  </a:moveTo>
                  <a:cubicBezTo>
                    <a:pt x="25" y="5"/>
                    <a:pt x="19" y="0"/>
                    <a:pt x="12" y="0"/>
                  </a:cubicBezTo>
                  <a:cubicBezTo>
                    <a:pt x="5" y="0"/>
                    <a:pt x="0" y="5"/>
                    <a:pt x="0" y="12"/>
                  </a:cubicBezTo>
                  <a:cubicBezTo>
                    <a:pt x="0" y="74"/>
                    <a:pt x="0" y="74"/>
                    <a:pt x="0" y="74"/>
                  </a:cubicBezTo>
                  <a:cubicBezTo>
                    <a:pt x="25" y="74"/>
                    <a:pt x="25" y="74"/>
                    <a:pt x="25" y="74"/>
                  </a:cubicBezTo>
                  <a:lnTo>
                    <a:pt x="25" y="1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93" name="Oval 15"/>
            <p:cNvSpPr>
              <a:spLocks noChangeArrowheads="1"/>
            </p:cNvSpPr>
            <p:nvPr/>
          </p:nvSpPr>
          <p:spPr bwMode="auto">
            <a:xfrm>
              <a:off x="9850438" y="4519613"/>
              <a:ext cx="246063" cy="2460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94" name="Freeform 16"/>
            <p:cNvSpPr>
              <a:spLocks/>
            </p:cNvSpPr>
            <p:nvPr/>
          </p:nvSpPr>
          <p:spPr bwMode="auto">
            <a:xfrm>
              <a:off x="9899651" y="3871913"/>
              <a:ext cx="153988" cy="844550"/>
            </a:xfrm>
            <a:custGeom>
              <a:avLst/>
              <a:gdLst>
                <a:gd name="T0" fmla="*/ 0 w 25"/>
                <a:gd name="T1" fmla="*/ 0 h 137"/>
                <a:gd name="T2" fmla="*/ 0 w 25"/>
                <a:gd name="T3" fmla="*/ 125 h 137"/>
                <a:gd name="T4" fmla="*/ 12 w 25"/>
                <a:gd name="T5" fmla="*/ 137 h 137"/>
                <a:gd name="T6" fmla="*/ 25 w 25"/>
                <a:gd name="T7" fmla="*/ 125 h 137"/>
                <a:gd name="T8" fmla="*/ 25 w 25"/>
                <a:gd name="T9" fmla="*/ 0 h 137"/>
                <a:gd name="T10" fmla="*/ 0 w 25"/>
                <a:gd name="T11" fmla="*/ 0 h 137"/>
              </a:gdLst>
              <a:ahLst/>
              <a:cxnLst>
                <a:cxn ang="0">
                  <a:pos x="T0" y="T1"/>
                </a:cxn>
                <a:cxn ang="0">
                  <a:pos x="T2" y="T3"/>
                </a:cxn>
                <a:cxn ang="0">
                  <a:pos x="T4" y="T5"/>
                </a:cxn>
                <a:cxn ang="0">
                  <a:pos x="T6" y="T7"/>
                </a:cxn>
                <a:cxn ang="0">
                  <a:pos x="T8" y="T9"/>
                </a:cxn>
                <a:cxn ang="0">
                  <a:pos x="T10" y="T11"/>
                </a:cxn>
              </a:cxnLst>
              <a:rect l="0" t="0" r="r" b="b"/>
              <a:pathLst>
                <a:path w="25" h="137">
                  <a:moveTo>
                    <a:pt x="0" y="0"/>
                  </a:moveTo>
                  <a:cubicBezTo>
                    <a:pt x="0" y="125"/>
                    <a:pt x="0" y="125"/>
                    <a:pt x="0" y="125"/>
                  </a:cubicBezTo>
                  <a:cubicBezTo>
                    <a:pt x="0" y="132"/>
                    <a:pt x="5" y="137"/>
                    <a:pt x="12" y="137"/>
                  </a:cubicBezTo>
                  <a:cubicBezTo>
                    <a:pt x="19" y="137"/>
                    <a:pt x="25" y="132"/>
                    <a:pt x="25" y="125"/>
                  </a:cubicBezTo>
                  <a:cubicBezTo>
                    <a:pt x="25" y="0"/>
                    <a:pt x="25" y="0"/>
                    <a:pt x="25" y="0"/>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pic>
          <p:nvPicPr>
            <p:cNvPr id="95" name="Picture 94"/>
            <p:cNvPicPr>
              <a:picLocks noChangeAspect="1"/>
            </p:cNvPicPr>
            <p:nvPr/>
          </p:nvPicPr>
          <p:blipFill>
            <a:blip r:embed="rId3"/>
            <a:stretch>
              <a:fillRect/>
            </a:stretch>
          </p:blipFill>
          <p:spPr>
            <a:xfrm>
              <a:off x="9580162" y="2894862"/>
              <a:ext cx="802944" cy="240224"/>
            </a:xfrm>
            <a:prstGeom prst="rect">
              <a:avLst/>
            </a:prstGeom>
          </p:spPr>
        </p:pic>
      </p:grpSp>
      <p:cxnSp>
        <p:nvCxnSpPr>
          <p:cNvPr id="23" name="Straight Connector 22"/>
          <p:cNvCxnSpPr/>
          <p:nvPr/>
        </p:nvCxnSpPr>
        <p:spPr>
          <a:xfrm>
            <a:off x="295841" y="2921345"/>
            <a:ext cx="7063791" cy="0"/>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9" name="Picture 18"/>
          <p:cNvPicPr>
            <a:picLocks noChangeAspect="1"/>
          </p:cNvPicPr>
          <p:nvPr/>
        </p:nvPicPr>
        <p:blipFill rotWithShape="1">
          <a:blip r:embed="rId4"/>
          <a:srcRect b="17383"/>
          <a:stretch/>
        </p:blipFill>
        <p:spPr>
          <a:xfrm>
            <a:off x="7961805" y="3393593"/>
            <a:ext cx="1525659" cy="2548050"/>
          </a:xfrm>
          <a:prstGeom prst="rect">
            <a:avLst/>
          </a:prstGeom>
        </p:spPr>
      </p:pic>
      <p:pic>
        <p:nvPicPr>
          <p:cNvPr id="22" name="Picture 21"/>
          <p:cNvPicPr>
            <a:picLocks noChangeAspect="1"/>
          </p:cNvPicPr>
          <p:nvPr/>
        </p:nvPicPr>
        <p:blipFill>
          <a:blip r:embed="rId5"/>
          <a:stretch>
            <a:fillRect/>
          </a:stretch>
        </p:blipFill>
        <p:spPr>
          <a:xfrm>
            <a:off x="10446656" y="3551341"/>
            <a:ext cx="1704247" cy="2604820"/>
          </a:xfrm>
          <a:prstGeom prst="rect">
            <a:avLst/>
          </a:prstGeom>
        </p:spPr>
      </p:pic>
      <p:grpSp>
        <p:nvGrpSpPr>
          <p:cNvPr id="15" name="Group 14"/>
          <p:cNvGrpSpPr/>
          <p:nvPr/>
        </p:nvGrpSpPr>
        <p:grpSpPr>
          <a:xfrm>
            <a:off x="8872126" y="659667"/>
            <a:ext cx="2791025" cy="1519381"/>
            <a:chOff x="9052388" y="671662"/>
            <a:chExt cx="2847732" cy="1550251"/>
          </a:xfrm>
        </p:grpSpPr>
        <p:pic>
          <p:nvPicPr>
            <p:cNvPr id="12" name="Picture 11"/>
            <p:cNvPicPr>
              <a:picLocks noChangeAspect="1"/>
            </p:cNvPicPr>
            <p:nvPr/>
          </p:nvPicPr>
          <p:blipFill>
            <a:blip r:embed="rId6"/>
            <a:stretch>
              <a:fillRect/>
            </a:stretch>
          </p:blipFill>
          <p:spPr>
            <a:xfrm>
              <a:off x="9052388" y="671662"/>
              <a:ext cx="2847732" cy="1550251"/>
            </a:xfrm>
            <a:prstGeom prst="rect">
              <a:avLst/>
            </a:prstGeom>
          </p:spPr>
        </p:pic>
        <p:sp>
          <p:nvSpPr>
            <p:cNvPr id="29" name="TextBox 28"/>
            <p:cNvSpPr txBox="1"/>
            <p:nvPr/>
          </p:nvSpPr>
          <p:spPr>
            <a:xfrm>
              <a:off x="10307956" y="943106"/>
              <a:ext cx="1326197" cy="627864"/>
            </a:xfrm>
            <a:prstGeom prst="rect">
              <a:avLst/>
            </a:prstGeom>
            <a:noFill/>
          </p:spPr>
          <p:txBody>
            <a:bodyPr wrap="none" lIns="179238" tIns="143391" rIns="179238" bIns="143391" rtlCol="0">
              <a:spAutoFit/>
            </a:bodyPr>
            <a:lstStyle/>
            <a:p>
              <a:pPr defTabSz="896203">
                <a:lnSpc>
                  <a:spcPct val="90000"/>
                </a:lnSpc>
                <a:spcAft>
                  <a:spcPts val="588"/>
                </a:spcAft>
              </a:pPr>
              <a:r>
                <a:rPr lang="en-US" sz="2352" kern="0" dirty="0">
                  <a:gradFill>
                    <a:gsLst>
                      <a:gs pos="2917">
                        <a:schemeClr val="tx1"/>
                      </a:gs>
                      <a:gs pos="30000">
                        <a:schemeClr val="tx1"/>
                      </a:gs>
                    </a:gsLst>
                    <a:lin ang="5400000" scaled="0"/>
                  </a:gradFill>
                  <a:latin typeface="Rockwell" panose="02060603020205020403" pitchFamily="18" charset="0"/>
                </a:rPr>
                <a:t>Things</a:t>
              </a:r>
            </a:p>
          </p:txBody>
        </p:sp>
      </p:grpSp>
      <p:pic>
        <p:nvPicPr>
          <p:cNvPr id="14" name="Picture 13"/>
          <p:cNvPicPr>
            <a:picLocks noChangeAspect="1"/>
          </p:cNvPicPr>
          <p:nvPr/>
        </p:nvPicPr>
        <p:blipFill>
          <a:blip r:embed="rId7"/>
          <a:stretch>
            <a:fillRect/>
          </a:stretch>
        </p:blipFill>
        <p:spPr>
          <a:xfrm flipH="1">
            <a:off x="6933106" y="1895417"/>
            <a:ext cx="2001460" cy="1351264"/>
          </a:xfrm>
          <a:prstGeom prst="rect">
            <a:avLst/>
          </a:prstGeom>
        </p:spPr>
      </p:pic>
      <p:grpSp>
        <p:nvGrpSpPr>
          <p:cNvPr id="2" name="Group 4"/>
          <p:cNvGrpSpPr>
            <a:grpSpLocks noChangeAspect="1"/>
          </p:cNvGrpSpPr>
          <p:nvPr/>
        </p:nvGrpSpPr>
        <p:grpSpPr bwMode="auto">
          <a:xfrm>
            <a:off x="9825432" y="4150933"/>
            <a:ext cx="910194" cy="2091113"/>
            <a:chOff x="6315" y="2667"/>
            <a:chExt cx="585" cy="1344"/>
          </a:xfrm>
        </p:grpSpPr>
        <p:sp>
          <p:nvSpPr>
            <p:cNvPr id="3" name="AutoShape 3"/>
            <p:cNvSpPr>
              <a:spLocks noChangeAspect="1" noChangeArrowheads="1" noTextEdit="1"/>
            </p:cNvSpPr>
            <p:nvPr/>
          </p:nvSpPr>
          <p:spPr bwMode="auto">
            <a:xfrm>
              <a:off x="6315" y="2667"/>
              <a:ext cx="585" cy="13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10" name="Freeform 5"/>
            <p:cNvSpPr>
              <a:spLocks/>
            </p:cNvSpPr>
            <p:nvPr/>
          </p:nvSpPr>
          <p:spPr bwMode="auto">
            <a:xfrm>
              <a:off x="6315" y="2667"/>
              <a:ext cx="585" cy="1344"/>
            </a:xfrm>
            <a:custGeom>
              <a:avLst/>
              <a:gdLst>
                <a:gd name="T0" fmla="*/ 1290 w 1376"/>
                <a:gd name="T1" fmla="*/ 0 h 3172"/>
                <a:gd name="T2" fmla="*/ 87 w 1376"/>
                <a:gd name="T3" fmla="*/ 0 h 3172"/>
                <a:gd name="T4" fmla="*/ 0 w 1376"/>
                <a:gd name="T5" fmla="*/ 86 h 3172"/>
                <a:gd name="T6" fmla="*/ 40 w 1376"/>
                <a:gd name="T7" fmla="*/ 2978 h 3172"/>
                <a:gd name="T8" fmla="*/ 127 w 1376"/>
                <a:gd name="T9" fmla="*/ 3064 h 3172"/>
                <a:gd name="T10" fmla="*/ 188 w 1376"/>
                <a:gd name="T11" fmla="*/ 3064 h 3172"/>
                <a:gd name="T12" fmla="*/ 188 w 1376"/>
                <a:gd name="T13" fmla="*/ 3126 h 3172"/>
                <a:gd name="T14" fmla="*/ 256 w 1376"/>
                <a:gd name="T15" fmla="*/ 3172 h 3172"/>
                <a:gd name="T16" fmla="*/ 324 w 1376"/>
                <a:gd name="T17" fmla="*/ 3126 h 3172"/>
                <a:gd name="T18" fmla="*/ 324 w 1376"/>
                <a:gd name="T19" fmla="*/ 3064 h 3172"/>
                <a:gd name="T20" fmla="*/ 1052 w 1376"/>
                <a:gd name="T21" fmla="*/ 3064 h 3172"/>
                <a:gd name="T22" fmla="*/ 1052 w 1376"/>
                <a:gd name="T23" fmla="*/ 3126 h 3172"/>
                <a:gd name="T24" fmla="*/ 1120 w 1376"/>
                <a:gd name="T25" fmla="*/ 3172 h 3172"/>
                <a:gd name="T26" fmla="*/ 1188 w 1376"/>
                <a:gd name="T27" fmla="*/ 3126 h 3172"/>
                <a:gd name="T28" fmla="*/ 1188 w 1376"/>
                <a:gd name="T29" fmla="*/ 3064 h 3172"/>
                <a:gd name="T30" fmla="*/ 1250 w 1376"/>
                <a:gd name="T31" fmla="*/ 3064 h 3172"/>
                <a:gd name="T32" fmla="*/ 1336 w 1376"/>
                <a:gd name="T33" fmla="*/ 2978 h 3172"/>
                <a:gd name="T34" fmla="*/ 1376 w 1376"/>
                <a:gd name="T35" fmla="*/ 86 h 3172"/>
                <a:gd name="T36" fmla="*/ 1290 w 1376"/>
                <a:gd name="T37" fmla="*/ 0 h 3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76" h="3172">
                  <a:moveTo>
                    <a:pt x="1290" y="0"/>
                  </a:moveTo>
                  <a:cubicBezTo>
                    <a:pt x="87" y="0"/>
                    <a:pt x="87" y="0"/>
                    <a:pt x="87" y="0"/>
                  </a:cubicBezTo>
                  <a:cubicBezTo>
                    <a:pt x="39" y="0"/>
                    <a:pt x="0" y="39"/>
                    <a:pt x="0" y="86"/>
                  </a:cubicBezTo>
                  <a:cubicBezTo>
                    <a:pt x="40" y="2978"/>
                    <a:pt x="40" y="2978"/>
                    <a:pt x="40" y="2978"/>
                  </a:cubicBezTo>
                  <a:cubicBezTo>
                    <a:pt x="40" y="3025"/>
                    <a:pt x="79" y="3064"/>
                    <a:pt x="127" y="3064"/>
                  </a:cubicBezTo>
                  <a:cubicBezTo>
                    <a:pt x="188" y="3064"/>
                    <a:pt x="188" y="3064"/>
                    <a:pt x="188" y="3064"/>
                  </a:cubicBezTo>
                  <a:cubicBezTo>
                    <a:pt x="188" y="3126"/>
                    <a:pt x="188" y="3126"/>
                    <a:pt x="188" y="3126"/>
                  </a:cubicBezTo>
                  <a:cubicBezTo>
                    <a:pt x="188" y="3151"/>
                    <a:pt x="219" y="3172"/>
                    <a:pt x="256" y="3172"/>
                  </a:cubicBezTo>
                  <a:cubicBezTo>
                    <a:pt x="294" y="3172"/>
                    <a:pt x="324" y="3151"/>
                    <a:pt x="324" y="3126"/>
                  </a:cubicBezTo>
                  <a:cubicBezTo>
                    <a:pt x="324" y="3064"/>
                    <a:pt x="324" y="3064"/>
                    <a:pt x="324" y="3064"/>
                  </a:cubicBezTo>
                  <a:cubicBezTo>
                    <a:pt x="1052" y="3064"/>
                    <a:pt x="1052" y="3064"/>
                    <a:pt x="1052" y="3064"/>
                  </a:cubicBezTo>
                  <a:cubicBezTo>
                    <a:pt x="1052" y="3126"/>
                    <a:pt x="1052" y="3126"/>
                    <a:pt x="1052" y="3126"/>
                  </a:cubicBezTo>
                  <a:cubicBezTo>
                    <a:pt x="1052" y="3151"/>
                    <a:pt x="1083" y="3172"/>
                    <a:pt x="1120" y="3172"/>
                  </a:cubicBezTo>
                  <a:cubicBezTo>
                    <a:pt x="1158" y="3172"/>
                    <a:pt x="1188" y="3151"/>
                    <a:pt x="1188" y="3126"/>
                  </a:cubicBezTo>
                  <a:cubicBezTo>
                    <a:pt x="1188" y="3064"/>
                    <a:pt x="1188" y="3064"/>
                    <a:pt x="1188" y="3064"/>
                  </a:cubicBezTo>
                  <a:cubicBezTo>
                    <a:pt x="1250" y="3064"/>
                    <a:pt x="1250" y="3064"/>
                    <a:pt x="1250" y="3064"/>
                  </a:cubicBezTo>
                  <a:cubicBezTo>
                    <a:pt x="1298" y="3064"/>
                    <a:pt x="1336" y="3025"/>
                    <a:pt x="1336" y="2978"/>
                  </a:cubicBezTo>
                  <a:cubicBezTo>
                    <a:pt x="1376" y="86"/>
                    <a:pt x="1376" y="86"/>
                    <a:pt x="1376" y="86"/>
                  </a:cubicBezTo>
                  <a:cubicBezTo>
                    <a:pt x="1376" y="39"/>
                    <a:pt x="1338" y="0"/>
                    <a:pt x="1290" y="0"/>
                  </a:cubicBez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11" name="Oval 6"/>
            <p:cNvSpPr>
              <a:spLocks noChangeArrowheads="1"/>
            </p:cNvSpPr>
            <p:nvPr/>
          </p:nvSpPr>
          <p:spPr bwMode="auto">
            <a:xfrm>
              <a:off x="6409" y="3165"/>
              <a:ext cx="398" cy="255"/>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13" name="Freeform 7"/>
            <p:cNvSpPr>
              <a:spLocks/>
            </p:cNvSpPr>
            <p:nvPr/>
          </p:nvSpPr>
          <p:spPr bwMode="auto">
            <a:xfrm>
              <a:off x="6412" y="2792"/>
              <a:ext cx="391" cy="275"/>
            </a:xfrm>
            <a:custGeom>
              <a:avLst/>
              <a:gdLst>
                <a:gd name="T0" fmla="*/ 920 w 920"/>
                <a:gd name="T1" fmla="*/ 568 h 648"/>
                <a:gd name="T2" fmla="*/ 841 w 920"/>
                <a:gd name="T3" fmla="*/ 648 h 648"/>
                <a:gd name="T4" fmla="*/ 80 w 920"/>
                <a:gd name="T5" fmla="*/ 648 h 648"/>
                <a:gd name="T6" fmla="*/ 0 w 920"/>
                <a:gd name="T7" fmla="*/ 568 h 648"/>
                <a:gd name="T8" fmla="*/ 0 w 920"/>
                <a:gd name="T9" fmla="*/ 79 h 648"/>
                <a:gd name="T10" fmla="*/ 80 w 920"/>
                <a:gd name="T11" fmla="*/ 0 h 648"/>
                <a:gd name="T12" fmla="*/ 841 w 920"/>
                <a:gd name="T13" fmla="*/ 0 h 648"/>
                <a:gd name="T14" fmla="*/ 920 w 920"/>
                <a:gd name="T15" fmla="*/ 79 h 648"/>
                <a:gd name="T16" fmla="*/ 920 w 920"/>
                <a:gd name="T17" fmla="*/ 568 h 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0" h="648">
                  <a:moveTo>
                    <a:pt x="920" y="568"/>
                  </a:moveTo>
                  <a:cubicBezTo>
                    <a:pt x="920" y="612"/>
                    <a:pt x="885" y="648"/>
                    <a:pt x="841" y="648"/>
                  </a:cubicBezTo>
                  <a:cubicBezTo>
                    <a:pt x="80" y="648"/>
                    <a:pt x="80" y="648"/>
                    <a:pt x="80" y="648"/>
                  </a:cubicBezTo>
                  <a:cubicBezTo>
                    <a:pt x="36" y="648"/>
                    <a:pt x="0" y="612"/>
                    <a:pt x="0" y="568"/>
                  </a:cubicBezTo>
                  <a:cubicBezTo>
                    <a:pt x="0" y="79"/>
                    <a:pt x="0" y="79"/>
                    <a:pt x="0" y="79"/>
                  </a:cubicBezTo>
                  <a:cubicBezTo>
                    <a:pt x="0" y="36"/>
                    <a:pt x="36" y="0"/>
                    <a:pt x="80" y="0"/>
                  </a:cubicBezTo>
                  <a:cubicBezTo>
                    <a:pt x="841" y="0"/>
                    <a:pt x="841" y="0"/>
                    <a:pt x="841" y="0"/>
                  </a:cubicBezTo>
                  <a:cubicBezTo>
                    <a:pt x="885" y="0"/>
                    <a:pt x="920" y="36"/>
                    <a:pt x="920" y="79"/>
                  </a:cubicBezTo>
                  <a:lnTo>
                    <a:pt x="920" y="56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16" name="Rectangle 8"/>
            <p:cNvSpPr>
              <a:spLocks noChangeArrowheads="1"/>
            </p:cNvSpPr>
            <p:nvPr/>
          </p:nvSpPr>
          <p:spPr bwMode="auto">
            <a:xfrm>
              <a:off x="6457" y="2837"/>
              <a:ext cx="46" cy="45"/>
            </a:xfrm>
            <a:prstGeom prst="rect">
              <a:avLst/>
            </a:prstGeom>
            <a:solidFill>
              <a:srgbClr val="FF33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17" name="Rectangle 9"/>
            <p:cNvSpPr>
              <a:spLocks noChangeArrowheads="1"/>
            </p:cNvSpPr>
            <p:nvPr/>
          </p:nvSpPr>
          <p:spPr bwMode="auto">
            <a:xfrm>
              <a:off x="6542" y="2837"/>
              <a:ext cx="46" cy="45"/>
            </a:xfrm>
            <a:prstGeom prst="rect">
              <a:avLst/>
            </a:prstGeom>
            <a:solidFill>
              <a:srgbClr val="B4009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18" name="Rectangle 10"/>
            <p:cNvSpPr>
              <a:spLocks noChangeArrowheads="1"/>
            </p:cNvSpPr>
            <p:nvPr/>
          </p:nvSpPr>
          <p:spPr bwMode="auto">
            <a:xfrm>
              <a:off x="6627" y="2837"/>
              <a:ext cx="46" cy="45"/>
            </a:xfrm>
            <a:prstGeom prst="rect">
              <a:avLst/>
            </a:prstGeom>
            <a:solidFill>
              <a:srgbClr val="E8112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20" name="Rectangle 11"/>
            <p:cNvSpPr>
              <a:spLocks noChangeArrowheads="1"/>
            </p:cNvSpPr>
            <p:nvPr/>
          </p:nvSpPr>
          <p:spPr bwMode="auto">
            <a:xfrm>
              <a:off x="6712" y="2837"/>
              <a:ext cx="46" cy="45"/>
            </a:xfrm>
            <a:prstGeom prst="rect">
              <a:avLst/>
            </a:prstGeom>
            <a:solidFill>
              <a:srgbClr val="FCEE1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25" name="Rectangle 12"/>
            <p:cNvSpPr>
              <a:spLocks noChangeArrowheads="1"/>
            </p:cNvSpPr>
            <p:nvPr/>
          </p:nvSpPr>
          <p:spPr bwMode="auto">
            <a:xfrm>
              <a:off x="6457" y="2909"/>
              <a:ext cx="46" cy="4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26" name="Rectangle 13"/>
            <p:cNvSpPr>
              <a:spLocks noChangeArrowheads="1"/>
            </p:cNvSpPr>
            <p:nvPr/>
          </p:nvSpPr>
          <p:spPr bwMode="auto">
            <a:xfrm>
              <a:off x="6542" y="2909"/>
              <a:ext cx="46" cy="46"/>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27" name="Rectangle 14"/>
            <p:cNvSpPr>
              <a:spLocks noChangeArrowheads="1"/>
            </p:cNvSpPr>
            <p:nvPr/>
          </p:nvSpPr>
          <p:spPr bwMode="auto">
            <a:xfrm>
              <a:off x="6627" y="2909"/>
              <a:ext cx="46" cy="46"/>
            </a:xfrm>
            <a:prstGeom prst="rect">
              <a:avLst/>
            </a:prstGeom>
            <a:solidFill>
              <a:srgbClr val="00B19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28" name="Rectangle 15"/>
            <p:cNvSpPr>
              <a:spLocks noChangeArrowheads="1"/>
            </p:cNvSpPr>
            <p:nvPr/>
          </p:nvSpPr>
          <p:spPr bwMode="auto">
            <a:xfrm>
              <a:off x="6712" y="2909"/>
              <a:ext cx="46" cy="46"/>
            </a:xfrm>
            <a:prstGeom prst="rect">
              <a:avLst/>
            </a:prstGeom>
            <a:solidFill>
              <a:srgbClr val="DC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30" name="Rectangle 16"/>
            <p:cNvSpPr>
              <a:spLocks noChangeArrowheads="1"/>
            </p:cNvSpPr>
            <p:nvPr/>
          </p:nvSpPr>
          <p:spPr bwMode="auto">
            <a:xfrm>
              <a:off x="6457" y="2982"/>
              <a:ext cx="46" cy="46"/>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31" name="Rectangle 17"/>
            <p:cNvSpPr>
              <a:spLocks noChangeArrowheads="1"/>
            </p:cNvSpPr>
            <p:nvPr/>
          </p:nvSpPr>
          <p:spPr bwMode="auto">
            <a:xfrm>
              <a:off x="6542" y="2982"/>
              <a:ext cx="46" cy="4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64" name="Rectangle 18"/>
            <p:cNvSpPr>
              <a:spLocks noChangeArrowheads="1"/>
            </p:cNvSpPr>
            <p:nvPr/>
          </p:nvSpPr>
          <p:spPr bwMode="auto">
            <a:xfrm>
              <a:off x="6627" y="2982"/>
              <a:ext cx="46" cy="46"/>
            </a:xfrm>
            <a:prstGeom prst="rect">
              <a:avLst/>
            </a:prstGeom>
            <a:solidFill>
              <a:srgbClr val="FDB81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66" name="Rectangle 19"/>
            <p:cNvSpPr>
              <a:spLocks noChangeArrowheads="1"/>
            </p:cNvSpPr>
            <p:nvPr/>
          </p:nvSpPr>
          <p:spPr bwMode="auto">
            <a:xfrm>
              <a:off x="6712" y="2982"/>
              <a:ext cx="46" cy="46"/>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67" name="Oval 20"/>
            <p:cNvSpPr>
              <a:spLocks noChangeArrowheads="1"/>
            </p:cNvSpPr>
            <p:nvPr/>
          </p:nvSpPr>
          <p:spPr bwMode="auto">
            <a:xfrm>
              <a:off x="6547" y="3225"/>
              <a:ext cx="121" cy="25"/>
            </a:xfrm>
            <a:prstGeom prst="ellipse">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68" name="Freeform 21"/>
            <p:cNvSpPr>
              <a:spLocks/>
            </p:cNvSpPr>
            <p:nvPr/>
          </p:nvSpPr>
          <p:spPr bwMode="auto">
            <a:xfrm>
              <a:off x="6667" y="3235"/>
              <a:ext cx="0" cy="1"/>
            </a:xfrm>
            <a:custGeom>
              <a:avLst/>
              <a:gdLst>
                <a:gd name="T0" fmla="*/ 1 w 1"/>
                <a:gd name="T1" fmla="*/ 2 h 2"/>
                <a:gd name="T2" fmla="*/ 1 w 1"/>
                <a:gd name="T3" fmla="*/ 0 h 2"/>
                <a:gd name="T4" fmla="*/ 0 w 1"/>
                <a:gd name="T5" fmla="*/ 0 h 2"/>
                <a:gd name="T6" fmla="*/ 1 w 1"/>
                <a:gd name="T7" fmla="*/ 2 h 2"/>
              </a:gdLst>
              <a:ahLst/>
              <a:cxnLst>
                <a:cxn ang="0">
                  <a:pos x="T0" y="T1"/>
                </a:cxn>
                <a:cxn ang="0">
                  <a:pos x="T2" y="T3"/>
                </a:cxn>
                <a:cxn ang="0">
                  <a:pos x="T4" y="T5"/>
                </a:cxn>
                <a:cxn ang="0">
                  <a:pos x="T6" y="T7"/>
                </a:cxn>
              </a:cxnLst>
              <a:rect l="0" t="0" r="r" b="b"/>
              <a:pathLst>
                <a:path w="1" h="2">
                  <a:moveTo>
                    <a:pt x="1" y="2"/>
                  </a:moveTo>
                  <a:cubicBezTo>
                    <a:pt x="1" y="0"/>
                    <a:pt x="1" y="0"/>
                    <a:pt x="1" y="0"/>
                  </a:cubicBezTo>
                  <a:cubicBezTo>
                    <a:pt x="0" y="0"/>
                    <a:pt x="0" y="0"/>
                    <a:pt x="0" y="0"/>
                  </a:cubicBezTo>
                  <a:cubicBezTo>
                    <a:pt x="0" y="1"/>
                    <a:pt x="1" y="1"/>
                    <a:pt x="1"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69" name="Freeform 22"/>
            <p:cNvSpPr>
              <a:spLocks/>
            </p:cNvSpPr>
            <p:nvPr/>
          </p:nvSpPr>
          <p:spPr bwMode="auto">
            <a:xfrm>
              <a:off x="6548" y="3240"/>
              <a:ext cx="119" cy="149"/>
            </a:xfrm>
            <a:custGeom>
              <a:avLst/>
              <a:gdLst>
                <a:gd name="T0" fmla="*/ 281 w 281"/>
                <a:gd name="T1" fmla="*/ 0 h 353"/>
                <a:gd name="T2" fmla="*/ 140 w 281"/>
                <a:gd name="T3" fmla="*/ 25 h 353"/>
                <a:gd name="T4" fmla="*/ 0 w 281"/>
                <a:gd name="T5" fmla="*/ 0 h 353"/>
                <a:gd name="T6" fmla="*/ 27 w 281"/>
                <a:gd name="T7" fmla="*/ 329 h 353"/>
                <a:gd name="T8" fmla="*/ 27 w 281"/>
                <a:gd name="T9" fmla="*/ 329 h 353"/>
                <a:gd name="T10" fmla="*/ 140 w 281"/>
                <a:gd name="T11" fmla="*/ 353 h 353"/>
                <a:gd name="T12" fmla="*/ 254 w 281"/>
                <a:gd name="T13" fmla="*/ 329 h 353"/>
                <a:gd name="T14" fmla="*/ 253 w 281"/>
                <a:gd name="T15" fmla="*/ 329 h 353"/>
                <a:gd name="T16" fmla="*/ 281 w 281"/>
                <a:gd name="T17" fmla="*/ 0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1" h="353">
                  <a:moveTo>
                    <a:pt x="281" y="0"/>
                  </a:moveTo>
                  <a:cubicBezTo>
                    <a:pt x="270" y="14"/>
                    <a:pt x="211" y="25"/>
                    <a:pt x="140" y="25"/>
                  </a:cubicBezTo>
                  <a:cubicBezTo>
                    <a:pt x="70" y="25"/>
                    <a:pt x="11" y="14"/>
                    <a:pt x="0" y="0"/>
                  </a:cubicBezTo>
                  <a:cubicBezTo>
                    <a:pt x="27" y="329"/>
                    <a:pt x="27" y="329"/>
                    <a:pt x="27" y="329"/>
                  </a:cubicBezTo>
                  <a:cubicBezTo>
                    <a:pt x="27" y="329"/>
                    <a:pt x="27" y="329"/>
                    <a:pt x="27" y="329"/>
                  </a:cubicBezTo>
                  <a:cubicBezTo>
                    <a:pt x="27" y="342"/>
                    <a:pt x="78" y="353"/>
                    <a:pt x="140" y="353"/>
                  </a:cubicBezTo>
                  <a:cubicBezTo>
                    <a:pt x="203" y="353"/>
                    <a:pt x="254" y="342"/>
                    <a:pt x="254" y="329"/>
                  </a:cubicBezTo>
                  <a:cubicBezTo>
                    <a:pt x="253" y="329"/>
                    <a:pt x="253" y="329"/>
                    <a:pt x="253" y="329"/>
                  </a:cubicBezTo>
                  <a:lnTo>
                    <a:pt x="28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70" name="Freeform 23"/>
            <p:cNvSpPr>
              <a:spLocks/>
            </p:cNvSpPr>
            <p:nvPr/>
          </p:nvSpPr>
          <p:spPr bwMode="auto">
            <a:xfrm>
              <a:off x="6547" y="3235"/>
              <a:ext cx="1" cy="1"/>
            </a:xfrm>
            <a:custGeom>
              <a:avLst/>
              <a:gdLst>
                <a:gd name="T0" fmla="*/ 2 w 2"/>
                <a:gd name="T1" fmla="*/ 0 h 2"/>
                <a:gd name="T2" fmla="*/ 0 w 2"/>
                <a:gd name="T3" fmla="*/ 0 h 2"/>
                <a:gd name="T4" fmla="*/ 1 w 2"/>
                <a:gd name="T5" fmla="*/ 2 h 2"/>
                <a:gd name="T6" fmla="*/ 2 w 2"/>
                <a:gd name="T7" fmla="*/ 0 h 2"/>
              </a:gdLst>
              <a:ahLst/>
              <a:cxnLst>
                <a:cxn ang="0">
                  <a:pos x="T0" y="T1"/>
                </a:cxn>
                <a:cxn ang="0">
                  <a:pos x="T2" y="T3"/>
                </a:cxn>
                <a:cxn ang="0">
                  <a:pos x="T4" y="T5"/>
                </a:cxn>
                <a:cxn ang="0">
                  <a:pos x="T6" y="T7"/>
                </a:cxn>
              </a:cxnLst>
              <a:rect l="0" t="0" r="r" b="b"/>
              <a:pathLst>
                <a:path w="2" h="2">
                  <a:moveTo>
                    <a:pt x="2" y="0"/>
                  </a:moveTo>
                  <a:cubicBezTo>
                    <a:pt x="0" y="0"/>
                    <a:pt x="0" y="0"/>
                    <a:pt x="0" y="0"/>
                  </a:cubicBezTo>
                  <a:cubicBezTo>
                    <a:pt x="1" y="2"/>
                    <a:pt x="1" y="2"/>
                    <a:pt x="1" y="2"/>
                  </a:cubicBezTo>
                  <a:cubicBezTo>
                    <a:pt x="1" y="1"/>
                    <a:pt x="2" y="1"/>
                    <a:pt x="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grpSp>
      <p:pic>
        <p:nvPicPr>
          <p:cNvPr id="71" name="Picture 70"/>
          <p:cNvPicPr>
            <a:picLocks noChangeAspect="1"/>
          </p:cNvPicPr>
          <p:nvPr/>
        </p:nvPicPr>
        <p:blipFill>
          <a:blip r:embed="rId8"/>
          <a:stretch>
            <a:fillRect/>
          </a:stretch>
        </p:blipFill>
        <p:spPr>
          <a:xfrm flipH="1">
            <a:off x="10443120" y="2446595"/>
            <a:ext cx="1701104" cy="1072484"/>
          </a:xfrm>
          <a:prstGeom prst="rect">
            <a:avLst/>
          </a:prstGeom>
        </p:spPr>
      </p:pic>
    </p:spTree>
    <p:extLst>
      <p:ext uri="{BB962C8B-B14F-4D97-AF65-F5344CB8AC3E}">
        <p14:creationId xmlns:p14="http://schemas.microsoft.com/office/powerpoint/2010/main" val="29107660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2.64743E-6 -1.25284E-6 L -0.05284 -1.25284E-6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2.48404E-6 1.23014E-6 L -0.05284 1.23014E-6 " pathEditMode="relative" rAng="0" ptsTypes="AA">
                                      <p:cBhvr>
                                        <p:cTn id="14" dur="750" spd="-100000" fill="hold"/>
                                        <p:tgtEl>
                                          <p:spTgt spid="4"/>
                                        </p:tgtEl>
                                        <p:attrNameLst>
                                          <p:attrName>ppt_x</p:attrName>
                                          <p:attrName>ppt_y</p:attrName>
                                        </p:attrNameLst>
                                      </p:cBhvr>
                                      <p:rCtr x="-2642" y="0"/>
                                    </p:animMotion>
                                  </p:childTnLst>
                                </p:cTn>
                              </p:par>
                              <p:par>
                                <p:cTn id="15" presetID="2" presetClass="entr" presetSubtype="2" decel="100000" fill="hold" nodeType="withEffect">
                                  <p:stCondLst>
                                    <p:cond delay="250"/>
                                  </p:stCondLst>
                                  <p:childTnLst>
                                    <p:set>
                                      <p:cBhvr>
                                        <p:cTn id="16" dur="1" fill="hold">
                                          <p:stCondLst>
                                            <p:cond delay="0"/>
                                          </p:stCondLst>
                                        </p:cTn>
                                        <p:tgtEl>
                                          <p:spTgt spid="96"/>
                                        </p:tgtEl>
                                        <p:attrNameLst>
                                          <p:attrName>style.visibility</p:attrName>
                                        </p:attrNameLst>
                                      </p:cBhvr>
                                      <p:to>
                                        <p:strVal val="visible"/>
                                      </p:to>
                                    </p:set>
                                    <p:anim calcmode="lin" valueType="num">
                                      <p:cBhvr additive="base">
                                        <p:cTn id="17" dur="850" fill="hold"/>
                                        <p:tgtEl>
                                          <p:spTgt spid="96"/>
                                        </p:tgtEl>
                                        <p:attrNameLst>
                                          <p:attrName>ppt_x</p:attrName>
                                        </p:attrNameLst>
                                      </p:cBhvr>
                                      <p:tavLst>
                                        <p:tav tm="0">
                                          <p:val>
                                            <p:strVal val="1+#ppt_w/2"/>
                                          </p:val>
                                        </p:tav>
                                        <p:tav tm="100000">
                                          <p:val>
                                            <p:strVal val="#ppt_x"/>
                                          </p:val>
                                        </p:tav>
                                      </p:tavLst>
                                    </p:anim>
                                    <p:anim calcmode="lin" valueType="num">
                                      <p:cBhvr additive="base">
                                        <p:cTn id="18" dur="850" fill="hold"/>
                                        <p:tgtEl>
                                          <p:spTgt spid="96"/>
                                        </p:tgtEl>
                                        <p:attrNameLst>
                                          <p:attrName>ppt_y</p:attrName>
                                        </p:attrNameLst>
                                      </p:cBhvr>
                                      <p:tavLst>
                                        <p:tav tm="0">
                                          <p:val>
                                            <p:strVal val="#ppt_y"/>
                                          </p:val>
                                        </p:tav>
                                        <p:tav tm="100000">
                                          <p:val>
                                            <p:strVal val="#ppt_y"/>
                                          </p:val>
                                        </p:tav>
                                      </p:tavLst>
                                    </p:anim>
                                  </p:childTnLst>
                                </p:cTn>
                              </p:par>
                              <p:par>
                                <p:cTn id="19" presetID="10" presetClass="entr" presetSubtype="0" fill="hold" nodeType="withEffect">
                                  <p:stCondLst>
                                    <p:cond delay="0"/>
                                  </p:stCondLst>
                                  <p:childTnLst>
                                    <p:set>
                                      <p:cBhvr>
                                        <p:cTn id="20" dur="1" fill="hold">
                                          <p:stCondLst>
                                            <p:cond delay="0"/>
                                          </p:stCondLst>
                                        </p:cTn>
                                        <p:tgtEl>
                                          <p:spTgt spid="19"/>
                                        </p:tgtEl>
                                        <p:attrNameLst>
                                          <p:attrName>style.visibility</p:attrName>
                                        </p:attrNameLst>
                                      </p:cBhvr>
                                      <p:to>
                                        <p:strVal val="visible"/>
                                      </p:to>
                                    </p:set>
                                    <p:animEffect transition="in" filter="fade">
                                      <p:cBhvr>
                                        <p:cTn id="21" dur="500"/>
                                        <p:tgtEl>
                                          <p:spTgt spid="19"/>
                                        </p:tgtEl>
                                      </p:cBhvr>
                                    </p:animEffect>
                                  </p:childTnLst>
                                </p:cTn>
                              </p:par>
                              <p:par>
                                <p:cTn id="22" presetID="10" presetClass="entr" presetSubtype="0" fill="hold" nodeType="withEffect">
                                  <p:stCondLst>
                                    <p:cond delay="500"/>
                                  </p:stCondLst>
                                  <p:childTnLst>
                                    <p:set>
                                      <p:cBhvr>
                                        <p:cTn id="23" dur="1" fill="hold">
                                          <p:stCondLst>
                                            <p:cond delay="0"/>
                                          </p:stCondLst>
                                        </p:cTn>
                                        <p:tgtEl>
                                          <p:spTgt spid="22"/>
                                        </p:tgtEl>
                                        <p:attrNameLst>
                                          <p:attrName>style.visibility</p:attrName>
                                        </p:attrNameLst>
                                      </p:cBhvr>
                                      <p:to>
                                        <p:strVal val="visible"/>
                                      </p:to>
                                    </p:set>
                                    <p:animEffect transition="in" filter="fade">
                                      <p:cBhvr>
                                        <p:cTn id="24" dur="500"/>
                                        <p:tgtEl>
                                          <p:spTgt spid="22"/>
                                        </p:tgtEl>
                                      </p:cBhvr>
                                    </p:animEffect>
                                  </p:childTnLst>
                                </p:cTn>
                              </p:par>
                              <p:par>
                                <p:cTn id="25" presetID="10" presetClass="entr" presetSubtype="0" fill="hold" nodeType="withEffect">
                                  <p:stCondLst>
                                    <p:cond delay="1000"/>
                                  </p:stCondLst>
                                  <p:childTnLst>
                                    <p:set>
                                      <p:cBhvr>
                                        <p:cTn id="26" dur="1" fill="hold">
                                          <p:stCondLst>
                                            <p:cond delay="0"/>
                                          </p:stCondLst>
                                        </p:cTn>
                                        <p:tgtEl>
                                          <p:spTgt spid="15"/>
                                        </p:tgtEl>
                                        <p:attrNameLst>
                                          <p:attrName>style.visibility</p:attrName>
                                        </p:attrNameLst>
                                      </p:cBhvr>
                                      <p:to>
                                        <p:strVal val="visible"/>
                                      </p:to>
                                    </p:set>
                                    <p:animEffect transition="in" filter="fade">
                                      <p:cBhvr>
                                        <p:cTn id="27" dur="500"/>
                                        <p:tgtEl>
                                          <p:spTgt spid="15"/>
                                        </p:tgtEl>
                                      </p:cBhvr>
                                    </p:animEffect>
                                  </p:childTnLst>
                                </p:cTn>
                              </p:par>
                              <p:par>
                                <p:cTn id="28" presetID="10" presetClass="entr" presetSubtype="0" fill="hold" nodeType="withEffect">
                                  <p:stCondLst>
                                    <p:cond delay="1250"/>
                                  </p:stCondLst>
                                  <p:childTnLst>
                                    <p:set>
                                      <p:cBhvr>
                                        <p:cTn id="29" dur="1" fill="hold">
                                          <p:stCondLst>
                                            <p:cond delay="0"/>
                                          </p:stCondLst>
                                        </p:cTn>
                                        <p:tgtEl>
                                          <p:spTgt spid="14"/>
                                        </p:tgtEl>
                                        <p:attrNameLst>
                                          <p:attrName>style.visibility</p:attrName>
                                        </p:attrNameLst>
                                      </p:cBhvr>
                                      <p:to>
                                        <p:strVal val="visible"/>
                                      </p:to>
                                    </p:set>
                                    <p:animEffect transition="in" filter="fade">
                                      <p:cBhvr>
                                        <p:cTn id="30"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2981" y="1380"/>
            <a:ext cx="10282863" cy="6855242"/>
          </a:xfrm>
          <a:prstGeom prst="rect">
            <a:avLst/>
          </a:prstGeom>
        </p:spPr>
      </p:pic>
    </p:spTree>
    <p:extLst>
      <p:ext uri="{BB962C8B-B14F-4D97-AF65-F5344CB8AC3E}">
        <p14:creationId xmlns:p14="http://schemas.microsoft.com/office/powerpoint/2010/main" val="669105937"/>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2981" y="1380"/>
            <a:ext cx="10282863" cy="6855242"/>
          </a:xfrm>
          <a:prstGeom prst="rect">
            <a:avLst/>
          </a:prstGeom>
        </p:spPr>
      </p:pic>
    </p:spTree>
    <p:extLst>
      <p:ext uri="{BB962C8B-B14F-4D97-AF65-F5344CB8AC3E}">
        <p14:creationId xmlns:p14="http://schemas.microsoft.com/office/powerpoint/2010/main" val="2972085210"/>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0" name="Rectangle 19"/>
          <p:cNvSpPr/>
          <p:nvPr/>
        </p:nvSpPr>
        <p:spPr bwMode="auto">
          <a:xfrm>
            <a:off x="0" y="1380"/>
            <a:ext cx="2749093" cy="6855242"/>
          </a:xfrm>
          <a:prstGeom prst="rect">
            <a:avLst/>
          </a:prstGeom>
          <a:solidFill>
            <a:srgbClr val="002050"/>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 name="Title 2"/>
          <p:cNvSpPr>
            <a:spLocks noGrp="1"/>
          </p:cNvSpPr>
          <p:nvPr>
            <p:ph type="title"/>
          </p:nvPr>
        </p:nvSpPr>
        <p:spPr>
          <a:xfrm>
            <a:off x="89996" y="2843558"/>
            <a:ext cx="2618168" cy="1170884"/>
          </a:xfrm>
        </p:spPr>
        <p:txBody>
          <a:bodyPr anchor="ctr"/>
          <a:lstStyle/>
          <a:p>
            <a:r>
              <a:rPr lang="en-US" sz="3920" dirty="0">
                <a:gradFill>
                  <a:gsLst>
                    <a:gs pos="2917">
                      <a:schemeClr val="tx1"/>
                    </a:gs>
                    <a:gs pos="30000">
                      <a:schemeClr val="tx1"/>
                    </a:gs>
                  </a:gsLst>
                  <a:lin ang="5400000" scaled="0"/>
                </a:gradFill>
                <a:cs typeface="Segoe UI Semilight" panose="020B0402040204020203" pitchFamily="34" charset="0"/>
              </a:rPr>
              <a:t>Internet</a:t>
            </a:r>
            <a:br>
              <a:rPr lang="en-US" sz="3920" dirty="0">
                <a:gradFill>
                  <a:gsLst>
                    <a:gs pos="2917">
                      <a:schemeClr val="tx1"/>
                    </a:gs>
                    <a:gs pos="30000">
                      <a:schemeClr val="tx1"/>
                    </a:gs>
                  </a:gsLst>
                  <a:lin ang="5400000" scaled="0"/>
                </a:gradFill>
                <a:cs typeface="Segoe UI Semilight" panose="020B0402040204020203" pitchFamily="34" charset="0"/>
              </a:rPr>
            </a:br>
            <a:r>
              <a:rPr lang="en-US" sz="3920" dirty="0">
                <a:gradFill>
                  <a:gsLst>
                    <a:gs pos="2917">
                      <a:schemeClr val="tx1"/>
                    </a:gs>
                    <a:gs pos="30000">
                      <a:schemeClr val="tx1"/>
                    </a:gs>
                  </a:gsLst>
                  <a:lin ang="5400000" scaled="0"/>
                </a:gradFill>
                <a:cs typeface="Segoe UI Semilight" panose="020B0402040204020203" pitchFamily="34" charset="0"/>
              </a:rPr>
              <a:t>of</a:t>
            </a:r>
            <a:br>
              <a:rPr lang="en-US" sz="3920" dirty="0">
                <a:gradFill>
                  <a:gsLst>
                    <a:gs pos="2917">
                      <a:schemeClr val="tx1"/>
                    </a:gs>
                    <a:gs pos="30000">
                      <a:schemeClr val="tx1"/>
                    </a:gs>
                  </a:gsLst>
                  <a:lin ang="5400000" scaled="0"/>
                </a:gradFill>
                <a:cs typeface="Segoe UI Semilight" panose="020B0402040204020203" pitchFamily="34" charset="0"/>
              </a:rPr>
            </a:br>
            <a:r>
              <a:rPr lang="en-US" sz="3920" dirty="0">
                <a:gradFill>
                  <a:gsLst>
                    <a:gs pos="2917">
                      <a:schemeClr val="tx1"/>
                    </a:gs>
                    <a:gs pos="30000">
                      <a:schemeClr val="tx1"/>
                    </a:gs>
                  </a:gsLst>
                  <a:lin ang="5400000" scaled="0"/>
                </a:gradFill>
                <a:cs typeface="Segoe UI Semilight" panose="020B0402040204020203" pitchFamily="34" charset="0"/>
              </a:rPr>
              <a:t>Things</a:t>
            </a:r>
          </a:p>
        </p:txBody>
      </p:sp>
      <p:sp>
        <p:nvSpPr>
          <p:cNvPr id="68" name="Rectangle 67"/>
          <p:cNvSpPr/>
          <p:nvPr/>
        </p:nvSpPr>
        <p:spPr bwMode="auto">
          <a:xfrm>
            <a:off x="5602098" y="931169"/>
            <a:ext cx="1204089"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9" name="Rectangle 68"/>
          <p:cNvSpPr/>
          <p:nvPr/>
        </p:nvSpPr>
        <p:spPr bwMode="auto">
          <a:xfrm>
            <a:off x="5602098" y="2188816"/>
            <a:ext cx="1204089"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2" name="Rectangle 71"/>
          <p:cNvSpPr/>
          <p:nvPr/>
        </p:nvSpPr>
        <p:spPr bwMode="auto">
          <a:xfrm>
            <a:off x="6878377" y="931169"/>
            <a:ext cx="1204089"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3" name="Rectangle 72"/>
          <p:cNvSpPr/>
          <p:nvPr/>
        </p:nvSpPr>
        <p:spPr bwMode="auto">
          <a:xfrm>
            <a:off x="6878377" y="2188816"/>
            <a:ext cx="1204089"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6" name="Rectangle 75"/>
          <p:cNvSpPr/>
          <p:nvPr/>
        </p:nvSpPr>
        <p:spPr bwMode="auto">
          <a:xfrm>
            <a:off x="8158409" y="931169"/>
            <a:ext cx="1204089"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7" name="Rectangle 76"/>
          <p:cNvSpPr/>
          <p:nvPr/>
        </p:nvSpPr>
        <p:spPr bwMode="auto">
          <a:xfrm>
            <a:off x="8158409" y="2188816"/>
            <a:ext cx="1204089"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0" name="Rectangle 79"/>
          <p:cNvSpPr/>
          <p:nvPr/>
        </p:nvSpPr>
        <p:spPr bwMode="auto">
          <a:xfrm>
            <a:off x="9434690" y="931169"/>
            <a:ext cx="1204089"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4" name="Rectangle 83"/>
          <p:cNvSpPr/>
          <p:nvPr/>
        </p:nvSpPr>
        <p:spPr bwMode="auto">
          <a:xfrm>
            <a:off x="10707218" y="931169"/>
            <a:ext cx="1204089"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5" name="Rectangle 84"/>
          <p:cNvSpPr/>
          <p:nvPr/>
        </p:nvSpPr>
        <p:spPr bwMode="auto">
          <a:xfrm>
            <a:off x="10707218" y="2188816"/>
            <a:ext cx="1204089"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7" name="Rectangle 86"/>
          <p:cNvSpPr/>
          <p:nvPr/>
        </p:nvSpPr>
        <p:spPr bwMode="auto">
          <a:xfrm>
            <a:off x="6878377" y="3455780"/>
            <a:ext cx="1204089"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9" name="Rectangle 88"/>
          <p:cNvSpPr/>
          <p:nvPr/>
        </p:nvSpPr>
        <p:spPr bwMode="auto">
          <a:xfrm>
            <a:off x="9434690" y="3455780"/>
            <a:ext cx="1204089"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3" name="Rectangle 92"/>
          <p:cNvSpPr/>
          <p:nvPr/>
        </p:nvSpPr>
        <p:spPr bwMode="auto">
          <a:xfrm>
            <a:off x="4333324" y="931169"/>
            <a:ext cx="1204089"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4" name="Rectangle 93"/>
          <p:cNvSpPr/>
          <p:nvPr/>
        </p:nvSpPr>
        <p:spPr bwMode="auto">
          <a:xfrm>
            <a:off x="4333324" y="2188816"/>
            <a:ext cx="1204089"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1" name="Rectangle 80"/>
          <p:cNvSpPr/>
          <p:nvPr/>
        </p:nvSpPr>
        <p:spPr bwMode="auto">
          <a:xfrm>
            <a:off x="9434690" y="2188816"/>
            <a:ext cx="1204089"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5" name="Rectangle 94"/>
          <p:cNvSpPr/>
          <p:nvPr/>
        </p:nvSpPr>
        <p:spPr bwMode="auto">
          <a:xfrm>
            <a:off x="4333324" y="3455780"/>
            <a:ext cx="1204089"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1" name="Rectangle 90"/>
          <p:cNvSpPr/>
          <p:nvPr/>
        </p:nvSpPr>
        <p:spPr bwMode="auto">
          <a:xfrm>
            <a:off x="6885883" y="4722743"/>
            <a:ext cx="1204088"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9" name="Rectangle 98"/>
          <p:cNvSpPr/>
          <p:nvPr/>
        </p:nvSpPr>
        <p:spPr bwMode="auto">
          <a:xfrm>
            <a:off x="8158409" y="4722743"/>
            <a:ext cx="1204088"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1" name="Rectangle 100"/>
          <p:cNvSpPr/>
          <p:nvPr/>
        </p:nvSpPr>
        <p:spPr bwMode="auto">
          <a:xfrm>
            <a:off x="9434690" y="4722743"/>
            <a:ext cx="1204088" cy="1204089"/>
          </a:xfrm>
          <a:prstGeom prst="rect">
            <a:avLst/>
          </a:prstGeom>
          <a:solidFill>
            <a:srgbClr val="FFFFFF"/>
          </a:solidFill>
          <a:ln w="9525" cap="flat" cmpd="sng" algn="ctr">
            <a:solidFill>
              <a:schemeClr val="bg1">
                <a:lumMod val="40000"/>
                <a:lumOff val="60000"/>
              </a:scheme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30" name="Rectangle 129"/>
          <p:cNvSpPr/>
          <p:nvPr/>
        </p:nvSpPr>
        <p:spPr bwMode="auto">
          <a:xfrm>
            <a:off x="4333324" y="4722743"/>
            <a:ext cx="1204089"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46" name="Rectangle 145"/>
          <p:cNvSpPr/>
          <p:nvPr/>
        </p:nvSpPr>
        <p:spPr bwMode="auto">
          <a:xfrm>
            <a:off x="5609604" y="4722743"/>
            <a:ext cx="1204089"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8" name="Rectangle 97"/>
          <p:cNvSpPr/>
          <p:nvPr/>
        </p:nvSpPr>
        <p:spPr bwMode="auto">
          <a:xfrm>
            <a:off x="3056323" y="4722743"/>
            <a:ext cx="1204088"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48" name="Rectangle 147"/>
          <p:cNvSpPr/>
          <p:nvPr/>
        </p:nvSpPr>
        <p:spPr bwMode="auto">
          <a:xfrm>
            <a:off x="3056324" y="2188816"/>
            <a:ext cx="1204089"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33" name="Rectangle 132"/>
          <p:cNvSpPr/>
          <p:nvPr/>
        </p:nvSpPr>
        <p:spPr bwMode="auto">
          <a:xfrm>
            <a:off x="3056324" y="931169"/>
            <a:ext cx="1204089"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61" name="Picture 160"/>
          <p:cNvPicPr>
            <a:picLocks noChangeAspect="1"/>
          </p:cNvPicPr>
          <p:nvPr/>
        </p:nvPicPr>
        <p:blipFill rotWithShape="1">
          <a:blip r:embed="rId3">
            <a:extLst>
              <a:ext uri="{28A0092B-C50C-407E-A947-70E740481C1C}">
                <a14:useLocalDpi xmlns:a14="http://schemas.microsoft.com/office/drawing/2010/main" val="0"/>
              </a:ext>
            </a:extLst>
          </a:blip>
          <a:srcRect l="8558" r="8200"/>
          <a:stretch/>
        </p:blipFill>
        <p:spPr>
          <a:xfrm>
            <a:off x="8209395" y="5186636"/>
            <a:ext cx="1102118" cy="286593"/>
          </a:xfrm>
          <a:prstGeom prst="rect">
            <a:avLst/>
          </a:prstGeom>
        </p:spPr>
      </p:pic>
      <p:pic>
        <p:nvPicPr>
          <p:cNvPr id="162" name="Picture 161"/>
          <p:cNvPicPr>
            <a:picLocks/>
          </p:cNvPicPr>
          <p:nvPr/>
        </p:nvPicPr>
        <p:blipFill>
          <a:blip r:embed="rId4">
            <a:extLst>
              <a:ext uri="{28A0092B-C50C-407E-A947-70E740481C1C}">
                <a14:useLocalDpi xmlns:a14="http://schemas.microsoft.com/office/drawing/2010/main" val="0"/>
              </a:ext>
            </a:extLst>
          </a:blip>
          <a:stretch>
            <a:fillRect/>
          </a:stretch>
        </p:blipFill>
        <p:spPr>
          <a:xfrm>
            <a:off x="4451809" y="2632346"/>
            <a:ext cx="1000066" cy="317030"/>
          </a:xfrm>
          <a:prstGeom prst="rect">
            <a:avLst/>
          </a:prstGeom>
        </p:spPr>
      </p:pic>
      <p:pic>
        <p:nvPicPr>
          <p:cNvPr id="163" name="Picture 16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306279" y="1387229"/>
            <a:ext cx="908349" cy="291969"/>
          </a:xfrm>
          <a:prstGeom prst="rect">
            <a:avLst/>
          </a:prstGeom>
        </p:spPr>
      </p:pic>
      <p:pic>
        <p:nvPicPr>
          <p:cNvPr id="164" name="Picture 16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529314" y="1364605"/>
            <a:ext cx="1014839" cy="337215"/>
          </a:xfrm>
          <a:prstGeom prst="rect">
            <a:avLst/>
          </a:prstGeom>
        </p:spPr>
      </p:pic>
      <p:pic>
        <p:nvPicPr>
          <p:cNvPr id="165" name="Picture 16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683714" y="5247709"/>
            <a:ext cx="1055868" cy="154157"/>
          </a:xfrm>
          <a:prstGeom prst="rect">
            <a:avLst/>
          </a:prstGeom>
        </p:spPr>
      </p:pic>
      <p:pic>
        <p:nvPicPr>
          <p:cNvPr id="166" name="Picture 165"/>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012766" y="5274141"/>
            <a:ext cx="950322" cy="168127"/>
          </a:xfrm>
          <a:prstGeom prst="rect">
            <a:avLst/>
          </a:prstGeom>
        </p:spPr>
      </p:pic>
      <p:pic>
        <p:nvPicPr>
          <p:cNvPr id="169" name="Picture 168"/>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254295" y="2457832"/>
            <a:ext cx="708445" cy="666058"/>
          </a:xfrm>
          <a:prstGeom prst="rect">
            <a:avLst/>
          </a:prstGeom>
        </p:spPr>
      </p:pic>
      <p:pic>
        <p:nvPicPr>
          <p:cNvPr id="171" name="Picture 170"/>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0783220" y="1289571"/>
            <a:ext cx="1052085" cy="487282"/>
          </a:xfrm>
          <a:prstGeom prst="rect">
            <a:avLst/>
          </a:prstGeom>
        </p:spPr>
      </p:pic>
      <p:pic>
        <p:nvPicPr>
          <p:cNvPr id="202" name="Picture 201"/>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227810" y="2458823"/>
            <a:ext cx="1065287" cy="664073"/>
          </a:xfrm>
          <a:prstGeom prst="rect">
            <a:avLst/>
          </a:prstGeom>
        </p:spPr>
      </p:pic>
      <p:grpSp>
        <p:nvGrpSpPr>
          <p:cNvPr id="4" name="Group 3"/>
          <p:cNvGrpSpPr/>
          <p:nvPr/>
        </p:nvGrpSpPr>
        <p:grpSpPr>
          <a:xfrm>
            <a:off x="10707218" y="4722743"/>
            <a:ext cx="1204088" cy="1204089"/>
            <a:chOff x="9626382" y="5454117"/>
            <a:chExt cx="1228552" cy="1228553"/>
          </a:xfrm>
        </p:grpSpPr>
        <p:sp>
          <p:nvSpPr>
            <p:cNvPr id="102" name="Rectangle 101"/>
            <p:cNvSpPr/>
            <p:nvPr/>
          </p:nvSpPr>
          <p:spPr bwMode="auto">
            <a:xfrm>
              <a:off x="9626382" y="5454117"/>
              <a:ext cx="1228552" cy="1228553"/>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203" name="Picture 202"/>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722105" y="5717433"/>
              <a:ext cx="1037106" cy="595565"/>
            </a:xfrm>
            <a:prstGeom prst="rect">
              <a:avLst/>
            </a:prstGeom>
          </p:spPr>
        </p:pic>
      </p:grpSp>
      <p:pic>
        <p:nvPicPr>
          <p:cNvPr id="204" name="Picture 203"/>
          <p:cNvPicPr>
            <a:picLocks noChangeAspect="1"/>
          </p:cNvPicPr>
          <p:nvPr/>
        </p:nvPicPr>
        <p:blipFill>
          <a:blip r:embed="rId13">
            <a:clrChange>
              <a:clrFrom>
                <a:srgbClr val="F1F0E5"/>
              </a:clrFrom>
              <a:clrTo>
                <a:srgbClr val="F1F0E5">
                  <a:alpha val="0"/>
                </a:srgbClr>
              </a:clrTo>
            </a:clrChange>
            <a:extLst>
              <a:ext uri="{28A0092B-C50C-407E-A947-70E740481C1C}">
                <a14:useLocalDpi xmlns:a14="http://schemas.microsoft.com/office/drawing/2010/main" val="0"/>
              </a:ext>
            </a:extLst>
          </a:blip>
          <a:stretch>
            <a:fillRect/>
          </a:stretch>
        </p:blipFill>
        <p:spPr>
          <a:xfrm>
            <a:off x="4446481" y="3902309"/>
            <a:ext cx="1004373" cy="311032"/>
          </a:xfrm>
          <a:prstGeom prst="rect">
            <a:avLst/>
          </a:prstGeom>
        </p:spPr>
      </p:pic>
      <p:pic>
        <p:nvPicPr>
          <p:cNvPr id="205" name="Picture 204"/>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3084423" y="1402859"/>
            <a:ext cx="1147889" cy="260707"/>
          </a:xfrm>
          <a:prstGeom prst="rect">
            <a:avLst/>
          </a:prstGeom>
        </p:spPr>
      </p:pic>
      <p:pic>
        <p:nvPicPr>
          <p:cNvPr id="206" name="Picture 205"/>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5782830" y="1397822"/>
            <a:ext cx="895620" cy="270783"/>
          </a:xfrm>
          <a:prstGeom prst="rect">
            <a:avLst/>
          </a:prstGeom>
        </p:spPr>
      </p:pic>
      <p:pic>
        <p:nvPicPr>
          <p:cNvPr id="207" name="Picture 206"/>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4396206" y="1430771"/>
            <a:ext cx="1078323" cy="204883"/>
          </a:xfrm>
          <a:prstGeom prst="rect">
            <a:avLst/>
          </a:prstGeom>
        </p:spPr>
      </p:pic>
      <p:pic>
        <p:nvPicPr>
          <p:cNvPr id="208" name="Picture 207"/>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7079598" y="1231795"/>
            <a:ext cx="801647" cy="602837"/>
          </a:xfrm>
          <a:prstGeom prst="rect">
            <a:avLst/>
          </a:prstGeom>
        </p:spPr>
      </p:pic>
      <p:pic>
        <p:nvPicPr>
          <p:cNvPr id="209" name="Picture 208"/>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6941771" y="2719986"/>
            <a:ext cx="1077298" cy="141749"/>
          </a:xfrm>
          <a:prstGeom prst="rect">
            <a:avLst/>
          </a:prstGeom>
        </p:spPr>
      </p:pic>
      <p:pic>
        <p:nvPicPr>
          <p:cNvPr id="210" name="Picture 209"/>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9466141" y="5226987"/>
            <a:ext cx="1141186" cy="253597"/>
          </a:xfrm>
          <a:prstGeom prst="rect">
            <a:avLst/>
          </a:prstGeom>
        </p:spPr>
      </p:pic>
      <p:pic>
        <p:nvPicPr>
          <p:cNvPr id="211" name="Picture 210"/>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9789444" y="2469382"/>
            <a:ext cx="494582" cy="642955"/>
          </a:xfrm>
          <a:prstGeom prst="rect">
            <a:avLst/>
          </a:prstGeom>
        </p:spPr>
      </p:pic>
      <p:pic>
        <p:nvPicPr>
          <p:cNvPr id="212" name="Picture 211"/>
          <p:cNvPicPr>
            <a:picLocks noChangeAspect="1"/>
          </p:cNvPicPr>
          <p:nvPr/>
        </p:nvPicPr>
        <p:blipFill rotWithShape="1">
          <a:blip r:embed="rId21">
            <a:extLst>
              <a:ext uri="{28A0092B-C50C-407E-A947-70E740481C1C}">
                <a14:useLocalDpi xmlns:a14="http://schemas.microsoft.com/office/drawing/2010/main" val="0"/>
              </a:ext>
            </a:extLst>
          </a:blip>
          <a:srcRect b="18366"/>
          <a:stretch/>
        </p:blipFill>
        <p:spPr>
          <a:xfrm>
            <a:off x="5656316" y="2573298"/>
            <a:ext cx="1095654" cy="435123"/>
          </a:xfrm>
          <a:prstGeom prst="rect">
            <a:avLst/>
          </a:prstGeom>
        </p:spPr>
      </p:pic>
      <p:pic>
        <p:nvPicPr>
          <p:cNvPr id="213" name="Picture 212"/>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10741521" y="2566345"/>
            <a:ext cx="1135484" cy="449032"/>
          </a:xfrm>
          <a:prstGeom prst="rect">
            <a:avLst/>
          </a:prstGeom>
        </p:spPr>
      </p:pic>
      <p:pic>
        <p:nvPicPr>
          <p:cNvPr id="214" name="Picture 213"/>
          <p:cNvPicPr>
            <a:picLocks noChangeAspect="1"/>
          </p:cNvPicPr>
          <p:nvPr/>
        </p:nvPicPr>
        <p:blipFill>
          <a:blip r:embed="rId23">
            <a:lum bright="-100000"/>
            <a:extLst>
              <a:ext uri="{28A0092B-C50C-407E-A947-70E740481C1C}">
                <a14:useLocalDpi xmlns:a14="http://schemas.microsoft.com/office/drawing/2010/main" val="0"/>
              </a:ext>
            </a:extLst>
          </a:blip>
          <a:stretch>
            <a:fillRect/>
          </a:stretch>
        </p:blipFill>
        <p:spPr>
          <a:xfrm>
            <a:off x="4385520" y="5250395"/>
            <a:ext cx="1099695" cy="148783"/>
          </a:xfrm>
          <a:prstGeom prst="rect">
            <a:avLst/>
          </a:prstGeom>
        </p:spPr>
      </p:pic>
      <p:pic>
        <p:nvPicPr>
          <p:cNvPr id="215" name="Picture 214"/>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3397080" y="5063499"/>
            <a:ext cx="522577" cy="522576"/>
          </a:xfrm>
          <a:prstGeom prst="rect">
            <a:avLst/>
          </a:prstGeom>
        </p:spPr>
      </p:pic>
      <p:grpSp>
        <p:nvGrpSpPr>
          <p:cNvPr id="2" name="Group 1"/>
          <p:cNvGrpSpPr/>
          <p:nvPr/>
        </p:nvGrpSpPr>
        <p:grpSpPr>
          <a:xfrm>
            <a:off x="10707218" y="3455780"/>
            <a:ext cx="1204088" cy="1204089"/>
            <a:chOff x="8324170" y="5454117"/>
            <a:chExt cx="1228552" cy="1228553"/>
          </a:xfrm>
        </p:grpSpPr>
        <p:sp>
          <p:nvSpPr>
            <p:cNvPr id="105" name="Rectangle 104"/>
            <p:cNvSpPr/>
            <p:nvPr/>
          </p:nvSpPr>
          <p:spPr bwMode="auto">
            <a:xfrm>
              <a:off x="8324170" y="5454117"/>
              <a:ext cx="1228552" cy="1228553"/>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216" name="Picture 215"/>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8400207" y="5990951"/>
              <a:ext cx="1076478" cy="185937"/>
            </a:xfrm>
            <a:prstGeom prst="rect">
              <a:avLst/>
            </a:prstGeom>
          </p:spPr>
        </p:pic>
      </p:grpSp>
      <p:pic>
        <p:nvPicPr>
          <p:cNvPr id="217" name="Picture 216"/>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7221669" y="3682634"/>
            <a:ext cx="517503" cy="750380"/>
          </a:xfrm>
          <a:prstGeom prst="rect">
            <a:avLst/>
          </a:prstGeom>
        </p:spPr>
      </p:pic>
      <p:pic>
        <p:nvPicPr>
          <p:cNvPr id="218" name="Picture 217"/>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9457588" y="3970952"/>
            <a:ext cx="1158292" cy="173744"/>
          </a:xfrm>
          <a:prstGeom prst="rect">
            <a:avLst/>
          </a:prstGeom>
        </p:spPr>
      </p:pic>
      <p:grpSp>
        <p:nvGrpSpPr>
          <p:cNvPr id="5" name="Group 4"/>
          <p:cNvGrpSpPr/>
          <p:nvPr/>
        </p:nvGrpSpPr>
        <p:grpSpPr>
          <a:xfrm>
            <a:off x="3056323" y="3455780"/>
            <a:ext cx="1204088" cy="1204089"/>
            <a:chOff x="3118421" y="2878212"/>
            <a:chExt cx="1228552" cy="1228553"/>
          </a:xfrm>
        </p:grpSpPr>
        <p:sp>
          <p:nvSpPr>
            <p:cNvPr id="100" name="Rectangle 99"/>
            <p:cNvSpPr/>
            <p:nvPr/>
          </p:nvSpPr>
          <p:spPr bwMode="auto">
            <a:xfrm>
              <a:off x="3118421" y="2878212"/>
              <a:ext cx="1228552" cy="1228553"/>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14" name="Picture 2" descr="http://www.theoriginof.com/wp-content/uploads/2011/07/Rockwell-Automation.jpg"/>
            <p:cNvPicPr>
              <a:picLocks noChangeAspect="1" noChangeArrowheads="1"/>
            </p:cNvPicPr>
            <p:nvPr/>
          </p:nvPicPr>
          <p:blipFill rotWithShape="1">
            <a:blip r:embed="rId28">
              <a:extLst>
                <a:ext uri="{28A0092B-C50C-407E-A947-70E740481C1C}">
                  <a14:useLocalDpi xmlns:a14="http://schemas.microsoft.com/office/drawing/2010/main" val="0"/>
                </a:ext>
              </a:extLst>
            </a:blip>
            <a:srcRect t="29242" b="38663"/>
            <a:stretch/>
          </p:blipFill>
          <p:spPr bwMode="auto">
            <a:xfrm>
              <a:off x="3162621" y="3326935"/>
              <a:ext cx="1140153" cy="33110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 name="Group 6"/>
          <p:cNvGrpSpPr/>
          <p:nvPr/>
        </p:nvGrpSpPr>
        <p:grpSpPr>
          <a:xfrm>
            <a:off x="8158409" y="3455780"/>
            <a:ext cx="1204089" cy="1204089"/>
            <a:chOff x="8324170" y="2878212"/>
            <a:chExt cx="1228553" cy="1228553"/>
          </a:xfrm>
        </p:grpSpPr>
        <p:sp>
          <p:nvSpPr>
            <p:cNvPr id="88" name="Rectangle 87"/>
            <p:cNvSpPr/>
            <p:nvPr/>
          </p:nvSpPr>
          <p:spPr bwMode="auto">
            <a:xfrm>
              <a:off x="8324170" y="2878212"/>
              <a:ext cx="1228553" cy="1228553"/>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10" name="Picture 6" descr="http://wbma.images.worldnow.com/images/19635772_BG2.jpg"/>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8424779" y="3148886"/>
              <a:ext cx="1027335" cy="687205"/>
            </a:xfrm>
            <a:prstGeom prst="rect">
              <a:avLst/>
            </a:prstGeom>
            <a:noFill/>
            <a:extLst>
              <a:ext uri="{909E8E84-426E-40DD-AFC4-6F175D3DCCD1}">
                <a14:hiddenFill xmlns:a14="http://schemas.microsoft.com/office/drawing/2010/main">
                  <a:solidFill>
                    <a:srgbClr val="FFFFFF"/>
                  </a:solidFill>
                </a14:hiddenFill>
              </a:ext>
            </a:extLst>
          </p:spPr>
        </p:pic>
      </p:grpSp>
      <p:sp>
        <p:nvSpPr>
          <p:cNvPr id="86" name="Rectangle 85"/>
          <p:cNvSpPr/>
          <p:nvPr/>
        </p:nvSpPr>
        <p:spPr bwMode="auto">
          <a:xfrm>
            <a:off x="5602098" y="3455780"/>
            <a:ext cx="1204089"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78" name="Picture 77"/>
          <p:cNvPicPr>
            <a:picLocks noChangeAspect="1"/>
          </p:cNvPicPr>
          <p:nvPr/>
        </p:nvPicPr>
        <p:blipFill>
          <a:blip r:embed="rId30">
            <a:clrChange>
              <a:clrFrom>
                <a:srgbClr val="FFFFFF"/>
              </a:clrFrom>
              <a:clrTo>
                <a:srgbClr val="FFFFFF">
                  <a:alpha val="0"/>
                </a:srgbClr>
              </a:clrTo>
            </a:clrChange>
          </a:blip>
          <a:stretch>
            <a:fillRect/>
          </a:stretch>
        </p:blipFill>
        <p:spPr>
          <a:xfrm>
            <a:off x="5715667" y="3869109"/>
            <a:ext cx="1023914" cy="417149"/>
          </a:xfrm>
          <a:prstGeom prst="rect">
            <a:avLst/>
          </a:prstGeom>
        </p:spPr>
      </p:pic>
      <p:sp>
        <p:nvSpPr>
          <p:cNvPr id="26" name="Rectangle 25"/>
          <p:cNvSpPr/>
          <p:nvPr/>
        </p:nvSpPr>
        <p:spPr bwMode="auto">
          <a:xfrm>
            <a:off x="2839088" y="1379"/>
            <a:ext cx="9349738" cy="6867257"/>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19" name="Group 218"/>
          <p:cNvGrpSpPr/>
          <p:nvPr/>
        </p:nvGrpSpPr>
        <p:grpSpPr>
          <a:xfrm>
            <a:off x="3043335" y="2011590"/>
            <a:ext cx="2858850" cy="2858850"/>
            <a:chOff x="3118421" y="2878212"/>
            <a:chExt cx="1228552" cy="1228553"/>
          </a:xfrm>
        </p:grpSpPr>
        <p:sp>
          <p:nvSpPr>
            <p:cNvPr id="220" name="Rectangle 219"/>
            <p:cNvSpPr/>
            <p:nvPr/>
          </p:nvSpPr>
          <p:spPr bwMode="auto">
            <a:xfrm>
              <a:off x="3118421" y="2878212"/>
              <a:ext cx="1228552" cy="1228553"/>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221" name="Picture 2" descr="http://www.theoriginof.com/wp-content/uploads/2011/07/Rockwell-Automation.jpg"/>
            <p:cNvPicPr>
              <a:picLocks noChangeAspect="1" noChangeArrowheads="1"/>
            </p:cNvPicPr>
            <p:nvPr/>
          </p:nvPicPr>
          <p:blipFill rotWithShape="1">
            <a:blip r:embed="rId28">
              <a:clrChange>
                <a:clrFrom>
                  <a:srgbClr val="FFFFFF"/>
                </a:clrFrom>
                <a:clrTo>
                  <a:srgbClr val="FFFFFF">
                    <a:alpha val="0"/>
                  </a:srgbClr>
                </a:clrTo>
              </a:clrChange>
              <a:extLst>
                <a:ext uri="{28A0092B-C50C-407E-A947-70E740481C1C}">
                  <a14:useLocalDpi xmlns:a14="http://schemas.microsoft.com/office/drawing/2010/main" val="0"/>
                </a:ext>
              </a:extLst>
            </a:blip>
            <a:srcRect t="29242" b="38663"/>
            <a:stretch/>
          </p:blipFill>
          <p:spPr bwMode="auto">
            <a:xfrm>
              <a:off x="3162621" y="3326935"/>
              <a:ext cx="1140153" cy="33110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25" name="Group 224"/>
          <p:cNvGrpSpPr/>
          <p:nvPr/>
        </p:nvGrpSpPr>
        <p:grpSpPr>
          <a:xfrm>
            <a:off x="9056042" y="2011590"/>
            <a:ext cx="2858850" cy="2858850"/>
            <a:chOff x="8324170" y="2878212"/>
            <a:chExt cx="1228553" cy="1228553"/>
          </a:xfrm>
        </p:grpSpPr>
        <p:sp>
          <p:nvSpPr>
            <p:cNvPr id="226" name="Rectangle 225"/>
            <p:cNvSpPr/>
            <p:nvPr/>
          </p:nvSpPr>
          <p:spPr bwMode="auto">
            <a:xfrm>
              <a:off x="8324170" y="2878212"/>
              <a:ext cx="1228553" cy="1228553"/>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227" name="Picture 6" descr="http://wbma.images.worldnow.com/images/19635772_BG2.jpg"/>
            <p:cNvPicPr>
              <a:picLocks noChangeAspect="1" noChangeArrowheads="1"/>
            </p:cNvPicPr>
            <p:nvPr/>
          </p:nvPicPr>
          <p:blipFill>
            <a:blip r:embed="rId2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424779" y="3148886"/>
              <a:ext cx="1027335" cy="68720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6052094" y="2011590"/>
            <a:ext cx="2858850" cy="2858850"/>
            <a:chOff x="6188311" y="2038794"/>
            <a:chExt cx="2916936" cy="2916936"/>
          </a:xfrm>
        </p:grpSpPr>
        <p:sp>
          <p:nvSpPr>
            <p:cNvPr id="223" name="Rectangle 222"/>
            <p:cNvSpPr/>
            <p:nvPr/>
          </p:nvSpPr>
          <p:spPr bwMode="auto">
            <a:xfrm>
              <a:off x="6188311" y="2038794"/>
              <a:ext cx="2916936" cy="2916936"/>
            </a:xfrm>
            <a:prstGeom prst="rect">
              <a:avLst/>
            </a:prstGeom>
            <a:solidFill>
              <a:schemeClr val="tx1"/>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a:lnSpc>
                  <a:spcPct val="90000"/>
                </a:lnSpc>
                <a:defRPr/>
              </a:pPr>
              <a:endParaRPr lang="en-US" sz="2352"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75" name="Picture 74"/>
            <p:cNvPicPr>
              <a:picLocks noChangeAspect="1"/>
            </p:cNvPicPr>
            <p:nvPr/>
          </p:nvPicPr>
          <p:blipFill>
            <a:blip r:embed="rId30">
              <a:clrChange>
                <a:clrFrom>
                  <a:srgbClr val="FFFFFF"/>
                </a:clrFrom>
                <a:clrTo>
                  <a:srgbClr val="FFFFFF">
                    <a:alpha val="0"/>
                  </a:srgbClr>
                </a:clrTo>
              </a:clrChange>
            </a:blip>
            <a:stretch>
              <a:fillRect/>
            </a:stretch>
          </p:blipFill>
          <p:spPr>
            <a:xfrm>
              <a:off x="6584839" y="3020993"/>
              <a:ext cx="2245726" cy="914924"/>
            </a:xfrm>
            <a:prstGeom prst="rect">
              <a:avLst/>
            </a:prstGeom>
          </p:spPr>
        </p:pic>
      </p:grpSp>
    </p:spTree>
    <p:extLst>
      <p:ext uri="{BB962C8B-B14F-4D97-AF65-F5344CB8AC3E}">
        <p14:creationId xmlns:p14="http://schemas.microsoft.com/office/powerpoint/2010/main" val="1257084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75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par>
                                <p:cTn id="8" presetID="42" presetClass="entr" presetSubtype="0" fill="hold" nodeType="withEffect">
                                  <p:stCondLst>
                                    <p:cond delay="1000"/>
                                  </p:stCondLst>
                                  <p:childTnLst>
                                    <p:set>
                                      <p:cBhvr>
                                        <p:cTn id="9" dur="1" fill="hold">
                                          <p:stCondLst>
                                            <p:cond delay="0"/>
                                          </p:stCondLst>
                                        </p:cTn>
                                        <p:tgtEl>
                                          <p:spTgt spid="219"/>
                                        </p:tgtEl>
                                        <p:attrNameLst>
                                          <p:attrName>style.visibility</p:attrName>
                                        </p:attrNameLst>
                                      </p:cBhvr>
                                      <p:to>
                                        <p:strVal val="visible"/>
                                      </p:to>
                                    </p:set>
                                    <p:animEffect transition="in" filter="fade">
                                      <p:cBhvr>
                                        <p:cTn id="10" dur="500"/>
                                        <p:tgtEl>
                                          <p:spTgt spid="219"/>
                                        </p:tgtEl>
                                      </p:cBhvr>
                                    </p:animEffect>
                                    <p:anim calcmode="lin" valueType="num">
                                      <p:cBhvr>
                                        <p:cTn id="11" dur="500" fill="hold"/>
                                        <p:tgtEl>
                                          <p:spTgt spid="219"/>
                                        </p:tgtEl>
                                        <p:attrNameLst>
                                          <p:attrName>ppt_x</p:attrName>
                                        </p:attrNameLst>
                                      </p:cBhvr>
                                      <p:tavLst>
                                        <p:tav tm="0">
                                          <p:val>
                                            <p:strVal val="#ppt_x"/>
                                          </p:val>
                                        </p:tav>
                                        <p:tav tm="100000">
                                          <p:val>
                                            <p:strVal val="#ppt_x"/>
                                          </p:val>
                                        </p:tav>
                                      </p:tavLst>
                                    </p:anim>
                                    <p:anim calcmode="lin" valueType="num">
                                      <p:cBhvr>
                                        <p:cTn id="12" dur="500" fill="hold"/>
                                        <p:tgtEl>
                                          <p:spTgt spid="219"/>
                                        </p:tgtEl>
                                        <p:attrNameLst>
                                          <p:attrName>ppt_y</p:attrName>
                                        </p:attrNameLst>
                                      </p:cBhvr>
                                      <p:tavLst>
                                        <p:tav tm="0">
                                          <p:val>
                                            <p:strVal val="#ppt_y+.1"/>
                                          </p:val>
                                        </p:tav>
                                        <p:tav tm="100000">
                                          <p:val>
                                            <p:strVal val="#ppt_y"/>
                                          </p:val>
                                        </p:tav>
                                      </p:tavLst>
                                    </p:anim>
                                  </p:childTnLst>
                                </p:cTn>
                              </p:par>
                              <p:par>
                                <p:cTn id="13" presetID="42" presetClass="entr" presetSubtype="0" fill="hold" nodeType="withEffect">
                                  <p:stCondLst>
                                    <p:cond delay="110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anim calcmode="lin" valueType="num">
                                      <p:cBhvr>
                                        <p:cTn id="16" dur="500" fill="hold"/>
                                        <p:tgtEl>
                                          <p:spTgt spid="6"/>
                                        </p:tgtEl>
                                        <p:attrNameLst>
                                          <p:attrName>ppt_x</p:attrName>
                                        </p:attrNameLst>
                                      </p:cBhvr>
                                      <p:tavLst>
                                        <p:tav tm="0">
                                          <p:val>
                                            <p:strVal val="#ppt_x"/>
                                          </p:val>
                                        </p:tav>
                                        <p:tav tm="100000">
                                          <p:val>
                                            <p:strVal val="#ppt_x"/>
                                          </p:val>
                                        </p:tav>
                                      </p:tavLst>
                                    </p:anim>
                                    <p:anim calcmode="lin" valueType="num">
                                      <p:cBhvr>
                                        <p:cTn id="17" dur="500" fill="hold"/>
                                        <p:tgtEl>
                                          <p:spTgt spid="6"/>
                                        </p:tgtEl>
                                        <p:attrNameLst>
                                          <p:attrName>ppt_y</p:attrName>
                                        </p:attrNameLst>
                                      </p:cBhvr>
                                      <p:tavLst>
                                        <p:tav tm="0">
                                          <p:val>
                                            <p:strVal val="#ppt_y+.1"/>
                                          </p:val>
                                        </p:tav>
                                        <p:tav tm="100000">
                                          <p:val>
                                            <p:strVal val="#ppt_y"/>
                                          </p:val>
                                        </p:tav>
                                      </p:tavLst>
                                    </p:anim>
                                  </p:childTnLst>
                                </p:cTn>
                              </p:par>
                              <p:par>
                                <p:cTn id="18" presetID="42" presetClass="entr" presetSubtype="0" fill="hold" nodeType="withEffect">
                                  <p:stCondLst>
                                    <p:cond delay="1200"/>
                                  </p:stCondLst>
                                  <p:childTnLst>
                                    <p:set>
                                      <p:cBhvr>
                                        <p:cTn id="19" dur="1" fill="hold">
                                          <p:stCondLst>
                                            <p:cond delay="0"/>
                                          </p:stCondLst>
                                        </p:cTn>
                                        <p:tgtEl>
                                          <p:spTgt spid="225"/>
                                        </p:tgtEl>
                                        <p:attrNameLst>
                                          <p:attrName>style.visibility</p:attrName>
                                        </p:attrNameLst>
                                      </p:cBhvr>
                                      <p:to>
                                        <p:strVal val="visible"/>
                                      </p:to>
                                    </p:set>
                                    <p:animEffect transition="in" filter="fade">
                                      <p:cBhvr>
                                        <p:cTn id="20" dur="500"/>
                                        <p:tgtEl>
                                          <p:spTgt spid="225"/>
                                        </p:tgtEl>
                                      </p:cBhvr>
                                    </p:animEffect>
                                    <p:anim calcmode="lin" valueType="num">
                                      <p:cBhvr>
                                        <p:cTn id="21" dur="500" fill="hold"/>
                                        <p:tgtEl>
                                          <p:spTgt spid="225"/>
                                        </p:tgtEl>
                                        <p:attrNameLst>
                                          <p:attrName>ppt_x</p:attrName>
                                        </p:attrNameLst>
                                      </p:cBhvr>
                                      <p:tavLst>
                                        <p:tav tm="0">
                                          <p:val>
                                            <p:strVal val="#ppt_x"/>
                                          </p:val>
                                        </p:tav>
                                        <p:tav tm="100000">
                                          <p:val>
                                            <p:strVal val="#ppt_x"/>
                                          </p:val>
                                        </p:tav>
                                      </p:tavLst>
                                    </p:anim>
                                    <p:anim calcmode="lin" valueType="num">
                                      <p:cBhvr>
                                        <p:cTn id="22" dur="500" fill="hold"/>
                                        <p:tgtEl>
                                          <p:spTgt spid="22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Title 1"/>
          <p:cNvSpPr txBox="1">
            <a:spLocks/>
          </p:cNvSpPr>
          <p:nvPr/>
        </p:nvSpPr>
        <p:spPr>
          <a:xfrm>
            <a:off x="4092608" y="2678381"/>
            <a:ext cx="7916603" cy="1525096"/>
          </a:xfrm>
          <a:prstGeom prst="rect">
            <a:avLst/>
          </a:prstGeom>
        </p:spPr>
        <p:txBody>
          <a:bodyPr anchor="ct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80">
              <a:defRPr/>
            </a:pPr>
            <a:r>
              <a:rPr lang="en-US" sz="4704" spc="-100" dirty="0">
                <a:solidFill>
                  <a:schemeClr val="tx1"/>
                </a:solidFill>
                <a:latin typeface="Segoe UI Semilight" panose="020B0402040204020203" pitchFamily="34" charset="0"/>
                <a:cs typeface="Segoe UI Semilight" panose="020B0402040204020203" pitchFamily="34" charset="0"/>
              </a:rPr>
              <a:t>ThyssenKrupp</a:t>
            </a:r>
          </a:p>
        </p:txBody>
      </p:sp>
      <p:sp>
        <p:nvSpPr>
          <p:cNvPr id="8" name="Freeform 101">
            <a:hlinkClick r:id="rId4" action="ppaction://hlinkfile"/>
          </p:cNvPr>
          <p:cNvSpPr>
            <a:spLocks noChangeAspect="1"/>
          </p:cNvSpPr>
          <p:nvPr/>
        </p:nvSpPr>
        <p:spPr bwMode="black">
          <a:xfrm flipH="1">
            <a:off x="2173077" y="2959531"/>
            <a:ext cx="628579" cy="941313"/>
          </a:xfrm>
          <a:custGeom>
            <a:avLst/>
            <a:gdLst>
              <a:gd name="T0" fmla="*/ 0 w 66"/>
              <a:gd name="T1" fmla="*/ 49 h 99"/>
              <a:gd name="T2" fmla="*/ 66 w 66"/>
              <a:gd name="T3" fmla="*/ 0 h 99"/>
              <a:gd name="T4" fmla="*/ 66 w 66"/>
              <a:gd name="T5" fmla="*/ 99 h 99"/>
              <a:gd name="T6" fmla="*/ 0 w 66"/>
              <a:gd name="T7" fmla="*/ 49 h 99"/>
            </a:gdLst>
            <a:ahLst/>
            <a:cxnLst>
              <a:cxn ang="0">
                <a:pos x="T0" y="T1"/>
              </a:cxn>
              <a:cxn ang="0">
                <a:pos x="T2" y="T3"/>
              </a:cxn>
              <a:cxn ang="0">
                <a:pos x="T4" y="T5"/>
              </a:cxn>
              <a:cxn ang="0">
                <a:pos x="T6" y="T7"/>
              </a:cxn>
            </a:cxnLst>
            <a:rect l="0" t="0" r="r" b="b"/>
            <a:pathLst>
              <a:path w="66" h="99">
                <a:moveTo>
                  <a:pt x="0" y="49"/>
                </a:moveTo>
                <a:lnTo>
                  <a:pt x="66" y="0"/>
                </a:lnTo>
                <a:lnTo>
                  <a:pt x="66" y="99"/>
                </a:lnTo>
                <a:lnTo>
                  <a:pt x="0" y="49"/>
                </a:lnTo>
                <a:close/>
              </a:path>
            </a:pathLst>
          </a:custGeom>
          <a:solidFill>
            <a:schemeClr val="tx1"/>
          </a:solidFill>
          <a:ln>
            <a:noFill/>
          </a:ln>
          <a:extLst/>
        </p:spPr>
        <p:txBody>
          <a:bodyPr lIns="68560" tIns="34280" rIns="68560" bIns="34280"/>
          <a:lstStyle/>
          <a:p>
            <a:pPr defTabSz="914180">
              <a:defRPr/>
            </a:pPr>
            <a:endParaRPr lang="en-US" sz="1323" dirty="0">
              <a:solidFill>
                <a:srgbClr val="000000"/>
              </a:solidFill>
              <a:latin typeface="Segoe UI"/>
              <a:ea typeface="MS PGothic" panose="020B0600070205080204" pitchFamily="34" charset="-128"/>
            </a:endParaRPr>
          </a:p>
        </p:txBody>
      </p:sp>
      <p:sp>
        <p:nvSpPr>
          <p:cNvPr id="10" name="Oval 9">
            <a:hlinkClick r:id="rId4" action="ppaction://hlinkfile"/>
          </p:cNvPr>
          <p:cNvSpPr/>
          <p:nvPr/>
        </p:nvSpPr>
        <p:spPr bwMode="auto">
          <a:xfrm>
            <a:off x="1065197" y="2131022"/>
            <a:ext cx="2598333" cy="2598333"/>
          </a:xfrm>
          <a:prstGeom prst="ellipse">
            <a:avLst/>
          </a:prstGeom>
          <a:noFill/>
          <a:ln w="76200" cmpd="sng">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8" tIns="143391" rIns="179238" bIns="143391"/>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2" name="ThyssenKrupp IoT">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0" y="0"/>
            <a:ext cx="12188826" cy="6856215"/>
          </a:xfrm>
          <a:prstGeom prst="rect">
            <a:avLst/>
          </a:prstGeom>
        </p:spPr>
      </p:pic>
    </p:spTree>
    <p:extLst>
      <p:ext uri="{BB962C8B-B14F-4D97-AF65-F5344CB8AC3E}">
        <p14:creationId xmlns:p14="http://schemas.microsoft.com/office/powerpoint/2010/main" val="1719338531"/>
      </p:ext>
    </p:extLst>
  </p:cSld>
  <p:clrMapOvr>
    <a:masterClrMapping/>
  </p:clrMapOvr>
  <p:transition>
    <p:fade/>
  </p:transition>
  <p:timing>
    <p:tnLst>
      <p:par>
        <p:cTn id="1" dur="indefinite" restart="never" nodeType="tmRoot">
          <p:childTnLst>
            <p:seq concurrent="1" nextAc="seek">
              <p:cTn id="2" restart="whenNotActive" fill="hold" evtFilter="cancelBubble" nodeType="interactiveSeq">
                <p:stCondLst>
                  <p:cond evt="onClick" delay="0">
                    <p:tgtEl>
                      <p:spTgt spid="2"/>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2"/>
                                        </p:tgtEl>
                                      </p:cBhvr>
                                    </p:cmd>
                                  </p:childTnLst>
                                </p:cTn>
                              </p:par>
                            </p:childTnLst>
                          </p:cTn>
                        </p:par>
                      </p:childTnLst>
                    </p:cTn>
                  </p:par>
                </p:childTnLst>
              </p:cTn>
              <p:nextCondLst>
                <p:cond evt="onClick" delay="0">
                  <p:tgtEl>
                    <p:spTgt spid="2"/>
                  </p:tgtEl>
                </p:cond>
              </p:nextCondLst>
            </p:seq>
            <p:video>
              <p:cMediaNode vol="80000">
                <p:cTn id="7" fill="hold" display="0">
                  <p:stCondLst>
                    <p:cond delay="indefinite"/>
                  </p:stCondLst>
                </p:cTn>
                <p:tgtEl>
                  <p:spTgt spid="2"/>
                </p:tgtEl>
              </p:cMediaNode>
            </p:video>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Azure Data Platform</a:t>
            </a:r>
          </a:p>
        </p:txBody>
      </p:sp>
    </p:spTree>
    <p:extLst>
      <p:ext uri="{BB962C8B-B14F-4D97-AF65-F5344CB8AC3E}">
        <p14:creationId xmlns:p14="http://schemas.microsoft.com/office/powerpoint/2010/main" val="462254792"/>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SQL Database</a:t>
            </a:r>
          </a:p>
        </p:txBody>
      </p:sp>
      <p:pic>
        <p:nvPicPr>
          <p:cNvPr id="3" name="Picture 2"/>
          <p:cNvPicPr>
            <a:picLocks noChangeAspect="1"/>
          </p:cNvPicPr>
          <p:nvPr/>
        </p:nvPicPr>
        <p:blipFill>
          <a:blip r:embed="rId3">
            <a:biLevel thresh="25000"/>
          </a:blip>
          <a:stretch>
            <a:fillRect/>
          </a:stretch>
        </p:blipFill>
        <p:spPr>
          <a:xfrm>
            <a:off x="10185734" y="4627538"/>
            <a:ext cx="1302963" cy="1371243"/>
          </a:xfrm>
          <a:prstGeom prst="rect">
            <a:avLst/>
          </a:prstGeom>
        </p:spPr>
      </p:pic>
    </p:spTree>
    <p:extLst>
      <p:ext uri="{BB962C8B-B14F-4D97-AF65-F5344CB8AC3E}">
        <p14:creationId xmlns:p14="http://schemas.microsoft.com/office/powerpoint/2010/main" val="2059330725"/>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Rectangle 61"/>
          <p:cNvSpPr/>
          <p:nvPr/>
        </p:nvSpPr>
        <p:spPr bwMode="auto">
          <a:xfrm>
            <a:off x="8070211" y="2209310"/>
            <a:ext cx="1549436" cy="1908027"/>
          </a:xfrm>
          <a:prstGeom prst="rect">
            <a:avLst/>
          </a:prstGeom>
          <a:solidFill>
            <a:srgbClr val="0F4329"/>
          </a:solidFill>
          <a:ln w="9525" cap="flat" cmpd="sng" algn="ctr">
            <a:noFill/>
            <a:prstDash val="solid"/>
            <a:headEnd type="none" w="med" len="med"/>
            <a:tailEnd type="none" w="med" len="med"/>
          </a:ln>
          <a:effectLst/>
        </p:spPr>
        <p:txBody>
          <a:bodyPr vert="horz" wrap="square" lIns="243694" tIns="243694" rIns="121845" bIns="60920" numCol="1" rtlCol="0" anchor="t" anchorCtr="0" compatLnSpc="1">
            <a:prstTxWarp prst="textNoShape">
              <a:avLst/>
            </a:prstTxWarp>
          </a:bodyPr>
          <a:lstStyle/>
          <a:p>
            <a:pPr defTabSz="913935">
              <a:lnSpc>
                <a:spcPct val="90000"/>
              </a:lnSpc>
              <a:buSzPct val="90000"/>
            </a:pPr>
            <a:endParaRPr lang="en-US" sz="2899" kern="0">
              <a:gradFill>
                <a:gsLst>
                  <a:gs pos="85000">
                    <a:srgbClr val="FFFFFF"/>
                  </a:gs>
                  <a:gs pos="0">
                    <a:srgbClr val="FFFFFF"/>
                  </a:gs>
                </a:gsLst>
                <a:lin ang="5400000" scaled="0"/>
              </a:gradFill>
            </a:endParaRPr>
          </a:p>
        </p:txBody>
      </p:sp>
      <p:sp>
        <p:nvSpPr>
          <p:cNvPr id="60" name="Rectangle 59"/>
          <p:cNvSpPr/>
          <p:nvPr/>
        </p:nvSpPr>
        <p:spPr bwMode="auto">
          <a:xfrm>
            <a:off x="8070211" y="4168208"/>
            <a:ext cx="1549436" cy="518781"/>
          </a:xfrm>
          <a:prstGeom prst="rect">
            <a:avLst/>
          </a:prstGeom>
          <a:solidFill>
            <a:srgbClr val="0F4329"/>
          </a:solidFill>
          <a:ln w="9525" cap="flat" cmpd="sng" algn="ctr">
            <a:noFill/>
            <a:prstDash val="solid"/>
            <a:headEnd type="none" w="med" len="med"/>
            <a:tailEnd type="none" w="med" len="med"/>
          </a:ln>
          <a:effectLst/>
        </p:spPr>
        <p:txBody>
          <a:bodyPr vert="horz" wrap="square" lIns="243694" tIns="0" rIns="121845" bIns="0" numCol="1" rtlCol="0" anchor="ctr" anchorCtr="1" compatLnSpc="1">
            <a:prstTxWarp prst="textNoShape">
              <a:avLst/>
            </a:prstTxWarp>
          </a:bodyPr>
          <a:lstStyle/>
          <a:p>
            <a:pPr defTabSz="913935">
              <a:lnSpc>
                <a:spcPct val="90000"/>
              </a:lnSpc>
              <a:buSzPct val="90000"/>
              <a:defRPr/>
            </a:pPr>
            <a:endParaRPr lang="en-US" sz="1799" kern="0" dirty="0">
              <a:gradFill>
                <a:gsLst>
                  <a:gs pos="85000">
                    <a:srgbClr val="FFFFFF"/>
                  </a:gs>
                  <a:gs pos="0">
                    <a:srgbClr val="FFFFFF"/>
                  </a:gs>
                </a:gsLst>
                <a:lin ang="5400000" scaled="0"/>
              </a:gradFill>
            </a:endParaRPr>
          </a:p>
        </p:txBody>
      </p:sp>
      <p:sp>
        <p:nvSpPr>
          <p:cNvPr id="80" name="Rectangle 79"/>
          <p:cNvSpPr/>
          <p:nvPr/>
        </p:nvSpPr>
        <p:spPr bwMode="auto">
          <a:xfrm>
            <a:off x="6476488" y="4168208"/>
            <a:ext cx="1549436" cy="518781"/>
          </a:xfrm>
          <a:prstGeom prst="rect">
            <a:avLst/>
          </a:prstGeom>
          <a:solidFill>
            <a:schemeClr val="accent6">
              <a:lumMod val="75000"/>
            </a:schemeClr>
          </a:solidFill>
          <a:ln w="9525" cap="flat" cmpd="sng" algn="ctr">
            <a:noFill/>
            <a:prstDash val="solid"/>
            <a:headEnd type="none" w="med" len="med"/>
            <a:tailEnd type="none" w="med" len="med"/>
          </a:ln>
          <a:effectLst/>
        </p:spPr>
        <p:txBody>
          <a:bodyPr vert="horz" wrap="square" lIns="243694" tIns="0" rIns="121845" bIns="0" numCol="1" rtlCol="0" anchor="ctr" anchorCtr="1" compatLnSpc="1">
            <a:prstTxWarp prst="textNoShape">
              <a:avLst/>
            </a:prstTxWarp>
          </a:bodyPr>
          <a:lstStyle/>
          <a:p>
            <a:pPr defTabSz="913935">
              <a:lnSpc>
                <a:spcPct val="90000"/>
              </a:lnSpc>
              <a:buSzPct val="90000"/>
              <a:defRPr/>
            </a:pPr>
            <a:endParaRPr lang="en-US" sz="1799" kern="0" dirty="0">
              <a:gradFill>
                <a:gsLst>
                  <a:gs pos="85000">
                    <a:srgbClr val="FFFFFF"/>
                  </a:gs>
                  <a:gs pos="0">
                    <a:srgbClr val="FFFFFF"/>
                  </a:gs>
                </a:gsLst>
                <a:lin ang="5400000" scaled="0"/>
              </a:gradFill>
            </a:endParaRPr>
          </a:p>
        </p:txBody>
      </p:sp>
      <p:sp>
        <p:nvSpPr>
          <p:cNvPr id="28" name="Rectangle 27"/>
          <p:cNvSpPr/>
          <p:nvPr/>
        </p:nvSpPr>
        <p:spPr bwMode="auto">
          <a:xfrm>
            <a:off x="6476488" y="4168208"/>
            <a:ext cx="1549436" cy="518781"/>
          </a:xfrm>
          <a:prstGeom prst="rect">
            <a:avLst/>
          </a:prstGeom>
          <a:solidFill>
            <a:srgbClr val="0F4329"/>
          </a:solidFill>
          <a:ln w="9525" cap="flat" cmpd="sng" algn="ctr">
            <a:noFill/>
            <a:prstDash val="solid"/>
            <a:headEnd type="none" w="med" len="med"/>
            <a:tailEnd type="none" w="med" len="med"/>
          </a:ln>
          <a:effectLst/>
        </p:spPr>
        <p:txBody>
          <a:bodyPr vert="horz" wrap="square" lIns="243694" tIns="0" rIns="121845" bIns="0" numCol="1" rtlCol="0" anchor="ctr" anchorCtr="1" compatLnSpc="1">
            <a:prstTxWarp prst="textNoShape">
              <a:avLst/>
            </a:prstTxWarp>
          </a:bodyPr>
          <a:lstStyle/>
          <a:p>
            <a:pPr defTabSz="913935">
              <a:lnSpc>
                <a:spcPct val="90000"/>
              </a:lnSpc>
              <a:buSzPct val="90000"/>
            </a:pPr>
            <a:r>
              <a:rPr lang="en-US" sz="1799" kern="0" dirty="0" err="1">
                <a:gradFill>
                  <a:gsLst>
                    <a:gs pos="85000">
                      <a:srgbClr val="FFFFFF"/>
                    </a:gs>
                    <a:gs pos="0">
                      <a:srgbClr val="FFFFFF"/>
                    </a:gs>
                  </a:gsLst>
                  <a:lin ang="5400000" scaled="0"/>
                </a:gradFill>
              </a:rPr>
              <a:t>IaaS</a:t>
            </a:r>
            <a:endParaRPr lang="en-US" sz="1799" kern="0" dirty="0">
              <a:gradFill>
                <a:gsLst>
                  <a:gs pos="85000">
                    <a:srgbClr val="FFFFFF"/>
                  </a:gs>
                  <a:gs pos="0">
                    <a:srgbClr val="FFFFFF"/>
                  </a:gs>
                </a:gsLst>
                <a:lin ang="5400000" scaled="0"/>
              </a:gradFill>
            </a:endParaRPr>
          </a:p>
        </p:txBody>
      </p:sp>
      <p:sp>
        <p:nvSpPr>
          <p:cNvPr id="29" name="Rectangle 28"/>
          <p:cNvSpPr/>
          <p:nvPr/>
        </p:nvSpPr>
        <p:spPr bwMode="auto">
          <a:xfrm>
            <a:off x="6476488" y="2209310"/>
            <a:ext cx="1549436" cy="1908027"/>
          </a:xfrm>
          <a:prstGeom prst="rect">
            <a:avLst/>
          </a:prstGeom>
          <a:solidFill>
            <a:srgbClr val="658E00">
              <a:alpha val="14902"/>
            </a:srgbClr>
          </a:solidFill>
          <a:ln w="9525" cap="flat" cmpd="sng" algn="ctr">
            <a:noFill/>
            <a:prstDash val="solid"/>
            <a:headEnd type="none" w="med" len="med"/>
            <a:tailEnd type="none" w="med" len="med"/>
          </a:ln>
          <a:effectLst/>
        </p:spPr>
        <p:txBody>
          <a:bodyPr vert="horz" wrap="square" lIns="243694" tIns="243694" rIns="121845" bIns="60920" numCol="1" rtlCol="0" anchor="t" anchorCtr="0" compatLnSpc="1">
            <a:prstTxWarp prst="textNoShape">
              <a:avLst/>
            </a:prstTxWarp>
          </a:bodyPr>
          <a:lstStyle/>
          <a:p>
            <a:pPr defTabSz="913935">
              <a:lnSpc>
                <a:spcPct val="90000"/>
              </a:lnSpc>
              <a:buSzPct val="90000"/>
            </a:pPr>
            <a:endParaRPr lang="en-US" sz="2899" kern="0">
              <a:gradFill>
                <a:gsLst>
                  <a:gs pos="85000">
                    <a:srgbClr val="FFFFFF"/>
                  </a:gs>
                  <a:gs pos="0">
                    <a:srgbClr val="FFFFFF"/>
                  </a:gs>
                </a:gsLst>
                <a:lin ang="5400000" scaled="0"/>
              </a:gradFill>
            </a:endParaRPr>
          </a:p>
        </p:txBody>
      </p:sp>
      <p:sp>
        <p:nvSpPr>
          <p:cNvPr id="81" name="Rectangle 80"/>
          <p:cNvSpPr/>
          <p:nvPr/>
        </p:nvSpPr>
        <p:spPr bwMode="auto">
          <a:xfrm>
            <a:off x="8070211" y="893"/>
            <a:ext cx="1549436" cy="6856214"/>
          </a:xfrm>
          <a:prstGeom prst="rect">
            <a:avLst/>
          </a:prstGeom>
          <a:solidFill>
            <a:srgbClr val="008272">
              <a:alpha val="6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56" tIns="60928" rIns="121856" bIns="60928" numCol="1" rtlCol="0" anchor="ctr" anchorCtr="0" compatLnSpc="1">
            <a:prstTxWarp prst="textNoShape">
              <a:avLst/>
            </a:prstTxWarp>
          </a:bodyPr>
          <a:lstStyle/>
          <a:p>
            <a:pPr algn="ctr" defTabSz="1218169" fontAlgn="base">
              <a:spcBef>
                <a:spcPct val="0"/>
              </a:spcBef>
              <a:spcAft>
                <a:spcPct val="0"/>
              </a:spcAft>
            </a:pPr>
            <a:endParaRPr lang="en-US" sz="2699" kern="0">
              <a:gradFill>
                <a:gsLst>
                  <a:gs pos="0">
                    <a:srgbClr val="FFFFFF"/>
                  </a:gs>
                  <a:gs pos="100000">
                    <a:srgbClr val="FFFFFF"/>
                  </a:gs>
                </a:gsLst>
                <a:lin ang="5400000" scaled="0"/>
              </a:gradFill>
            </a:endParaRPr>
          </a:p>
        </p:txBody>
      </p:sp>
      <p:sp>
        <p:nvSpPr>
          <p:cNvPr id="64" name="Rectangle 63"/>
          <p:cNvSpPr/>
          <p:nvPr/>
        </p:nvSpPr>
        <p:spPr bwMode="auto">
          <a:xfrm>
            <a:off x="3290568" y="4168208"/>
            <a:ext cx="1549436" cy="518781"/>
          </a:xfrm>
          <a:prstGeom prst="rect">
            <a:avLst/>
          </a:prstGeom>
          <a:solidFill>
            <a:srgbClr val="658E00">
              <a:alpha val="14902"/>
            </a:srgbClr>
          </a:solidFill>
          <a:ln w="9525" cap="flat" cmpd="sng" algn="ctr">
            <a:noFill/>
            <a:prstDash val="solid"/>
            <a:headEnd type="none" w="med" len="med"/>
            <a:tailEnd type="none" w="med" len="med"/>
          </a:ln>
          <a:effectLst/>
        </p:spPr>
        <p:txBody>
          <a:bodyPr vert="horz" wrap="square" lIns="121845" tIns="0" rIns="0" bIns="0" numCol="1" rtlCol="0" anchor="ctr" anchorCtr="1" compatLnSpc="1">
            <a:prstTxWarp prst="textNoShape">
              <a:avLst/>
            </a:prstTxWarp>
          </a:bodyPr>
          <a:lstStyle/>
          <a:p>
            <a:pPr algn="ctr" defTabSz="913935">
              <a:buSzPct val="90000"/>
              <a:defRPr/>
            </a:pPr>
            <a:r>
              <a:rPr lang="en-US" sz="1799" kern="0" dirty="0">
                <a:gradFill>
                  <a:gsLst>
                    <a:gs pos="85000">
                      <a:srgbClr val="FFFFFF"/>
                    </a:gs>
                    <a:gs pos="0">
                      <a:srgbClr val="FFFFFF"/>
                    </a:gs>
                  </a:gsLst>
                  <a:lin ang="5400000" scaled="0"/>
                </a:gradFill>
              </a:rPr>
              <a:t>Physical</a:t>
            </a:r>
          </a:p>
        </p:txBody>
      </p:sp>
      <p:sp>
        <p:nvSpPr>
          <p:cNvPr id="65" name="Rectangle 64"/>
          <p:cNvSpPr/>
          <p:nvPr/>
        </p:nvSpPr>
        <p:spPr bwMode="auto">
          <a:xfrm>
            <a:off x="3289047" y="2209310"/>
            <a:ext cx="1549436" cy="1908027"/>
          </a:xfrm>
          <a:prstGeom prst="rect">
            <a:avLst/>
          </a:prstGeom>
          <a:solidFill>
            <a:srgbClr val="658E00">
              <a:alpha val="14902"/>
            </a:srgbClr>
          </a:solidFill>
          <a:ln w="9525" cap="flat" cmpd="sng" algn="ctr">
            <a:noFill/>
            <a:prstDash val="solid"/>
            <a:headEnd type="none" w="med" len="med"/>
            <a:tailEnd type="none" w="med" len="med"/>
          </a:ln>
          <a:effectLst/>
        </p:spPr>
        <p:txBody>
          <a:bodyPr vert="horz" wrap="square" lIns="243694" tIns="243694" rIns="121845" bIns="60920" numCol="1" rtlCol="0" anchor="t" anchorCtr="0" compatLnSpc="1">
            <a:prstTxWarp prst="textNoShape">
              <a:avLst/>
            </a:prstTxWarp>
          </a:bodyPr>
          <a:lstStyle/>
          <a:p>
            <a:pPr defTabSz="913935">
              <a:lnSpc>
                <a:spcPct val="90000"/>
              </a:lnSpc>
              <a:buSzPct val="90000"/>
            </a:pPr>
            <a:endParaRPr lang="en-US" sz="2899" kern="0">
              <a:gradFill>
                <a:gsLst>
                  <a:gs pos="85000">
                    <a:srgbClr val="FFFFFF"/>
                  </a:gs>
                  <a:gs pos="0">
                    <a:srgbClr val="FFFFFF"/>
                  </a:gs>
                </a:gsLst>
                <a:lin ang="5400000" scaled="0"/>
              </a:gradFill>
            </a:endParaRPr>
          </a:p>
        </p:txBody>
      </p:sp>
      <p:sp>
        <p:nvSpPr>
          <p:cNvPr id="76" name="Rectangle 75"/>
          <p:cNvSpPr/>
          <p:nvPr/>
        </p:nvSpPr>
        <p:spPr bwMode="auto">
          <a:xfrm>
            <a:off x="4884288" y="4168206"/>
            <a:ext cx="1549436" cy="518781"/>
          </a:xfrm>
          <a:prstGeom prst="rect">
            <a:avLst/>
          </a:prstGeom>
          <a:solidFill>
            <a:srgbClr val="658E00">
              <a:alpha val="14902"/>
            </a:srgb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algn="ctr" defTabSz="913935">
              <a:lnSpc>
                <a:spcPct val="90000"/>
              </a:lnSpc>
              <a:buSzPct val="90000"/>
              <a:defRPr/>
            </a:pPr>
            <a:r>
              <a:rPr lang="en-US" sz="1799" kern="0" dirty="0">
                <a:gradFill>
                  <a:gsLst>
                    <a:gs pos="85000">
                      <a:srgbClr val="FFFFFF"/>
                    </a:gs>
                    <a:gs pos="0">
                      <a:srgbClr val="FFFFFF"/>
                    </a:gs>
                  </a:gsLst>
                  <a:lin ang="5400000" scaled="0"/>
                </a:gradFill>
              </a:rPr>
              <a:t>Virtual</a:t>
            </a:r>
          </a:p>
        </p:txBody>
      </p:sp>
      <p:sp>
        <p:nvSpPr>
          <p:cNvPr id="77" name="Rectangle 76"/>
          <p:cNvSpPr/>
          <p:nvPr/>
        </p:nvSpPr>
        <p:spPr bwMode="auto">
          <a:xfrm>
            <a:off x="4882768" y="2209310"/>
            <a:ext cx="1549436" cy="1908027"/>
          </a:xfrm>
          <a:prstGeom prst="rect">
            <a:avLst/>
          </a:prstGeom>
          <a:solidFill>
            <a:srgbClr val="658E00">
              <a:alpha val="14902"/>
            </a:srgbClr>
          </a:solidFill>
          <a:ln w="9525" cap="flat" cmpd="sng" algn="ctr">
            <a:noFill/>
            <a:prstDash val="solid"/>
            <a:headEnd type="none" w="med" len="med"/>
            <a:tailEnd type="none" w="med" len="med"/>
          </a:ln>
          <a:effectLst/>
        </p:spPr>
        <p:txBody>
          <a:bodyPr vert="horz" wrap="square" lIns="243694" tIns="243694" rIns="121845" bIns="60920" numCol="1" rtlCol="0" anchor="t" anchorCtr="0" compatLnSpc="1">
            <a:prstTxWarp prst="textNoShape">
              <a:avLst/>
            </a:prstTxWarp>
          </a:bodyPr>
          <a:lstStyle/>
          <a:p>
            <a:pPr defTabSz="913935">
              <a:lnSpc>
                <a:spcPct val="90000"/>
              </a:lnSpc>
              <a:buSzPct val="90000"/>
            </a:pPr>
            <a:endParaRPr lang="en-US" sz="2899" kern="0">
              <a:gradFill>
                <a:gsLst>
                  <a:gs pos="85000">
                    <a:srgbClr val="FFFFFF"/>
                  </a:gs>
                  <a:gs pos="0">
                    <a:srgbClr val="FFFFFF"/>
                  </a:gs>
                </a:gsLst>
                <a:lin ang="5400000" scaled="0"/>
              </a:gradFill>
            </a:endParaRPr>
          </a:p>
        </p:txBody>
      </p:sp>
      <p:sp>
        <p:nvSpPr>
          <p:cNvPr id="31" name="Freeform 6"/>
          <p:cNvSpPr>
            <a:spLocks noChangeAspect="1" noEditPoints="1"/>
          </p:cNvSpPr>
          <p:nvPr/>
        </p:nvSpPr>
        <p:spPr bwMode="auto">
          <a:xfrm>
            <a:off x="3726267" y="2719658"/>
            <a:ext cx="674995" cy="887332"/>
          </a:xfrm>
          <a:custGeom>
            <a:avLst/>
            <a:gdLst>
              <a:gd name="T0" fmla="*/ 16 w 199"/>
              <a:gd name="T1" fmla="*/ 212 h 262"/>
              <a:gd name="T2" fmla="*/ 171 w 199"/>
              <a:gd name="T3" fmla="*/ 238 h 262"/>
              <a:gd name="T4" fmla="*/ 171 w 199"/>
              <a:gd name="T5" fmla="*/ 200 h 262"/>
              <a:gd name="T6" fmla="*/ 36 w 199"/>
              <a:gd name="T7" fmla="*/ 219 h 262"/>
              <a:gd name="T8" fmla="*/ 45 w 199"/>
              <a:gd name="T9" fmla="*/ 219 h 262"/>
              <a:gd name="T10" fmla="*/ 96 w 199"/>
              <a:gd name="T11" fmla="*/ 223 h 262"/>
              <a:gd name="T12" fmla="*/ 162 w 199"/>
              <a:gd name="T13" fmla="*/ 215 h 262"/>
              <a:gd name="T14" fmla="*/ 171 w 199"/>
              <a:gd name="T15" fmla="*/ 65 h 262"/>
              <a:gd name="T16" fmla="*/ 16 w 199"/>
              <a:gd name="T17" fmla="*/ 91 h 262"/>
              <a:gd name="T18" fmla="*/ 183 w 199"/>
              <a:gd name="T19" fmla="*/ 91 h 262"/>
              <a:gd name="T20" fmla="*/ 41 w 199"/>
              <a:gd name="T21" fmla="*/ 88 h 262"/>
              <a:gd name="T22" fmla="*/ 40 w 199"/>
              <a:gd name="T23" fmla="*/ 80 h 262"/>
              <a:gd name="T24" fmla="*/ 41 w 199"/>
              <a:gd name="T25" fmla="*/ 88 h 262"/>
              <a:gd name="T26" fmla="*/ 92 w 199"/>
              <a:gd name="T27" fmla="*/ 84 h 262"/>
              <a:gd name="T28" fmla="*/ 166 w 199"/>
              <a:gd name="T29" fmla="*/ 84 h 262"/>
              <a:gd name="T30" fmla="*/ 27 w 199"/>
              <a:gd name="T31" fmla="*/ 0 h 262"/>
              <a:gd name="T32" fmla="*/ 18 w 199"/>
              <a:gd name="T33" fmla="*/ 253 h 262"/>
              <a:gd name="T34" fmla="*/ 63 w 199"/>
              <a:gd name="T35" fmla="*/ 255 h 262"/>
              <a:gd name="T36" fmla="*/ 177 w 199"/>
              <a:gd name="T37" fmla="*/ 262 h 262"/>
              <a:gd name="T38" fmla="*/ 199 w 199"/>
              <a:gd name="T39" fmla="*/ 27 h 262"/>
              <a:gd name="T40" fmla="*/ 172 w 199"/>
              <a:gd name="T41" fmla="*/ 249 h 262"/>
              <a:gd name="T42" fmla="*/ 6 w 199"/>
              <a:gd name="T43" fmla="*/ 27 h 262"/>
              <a:gd name="T44" fmla="*/ 193 w 199"/>
              <a:gd name="T45" fmla="*/ 27 h 262"/>
              <a:gd name="T46" fmla="*/ 28 w 199"/>
              <a:gd name="T47" fmla="*/ 20 h 262"/>
              <a:gd name="T48" fmla="*/ 28 w 199"/>
              <a:gd name="T49" fmla="*/ 58 h 262"/>
              <a:gd name="T50" fmla="*/ 183 w 199"/>
              <a:gd name="T51" fmla="*/ 32 h 262"/>
              <a:gd name="T52" fmla="*/ 40 w 199"/>
              <a:gd name="T53" fmla="*/ 43 h 262"/>
              <a:gd name="T54" fmla="*/ 41 w 199"/>
              <a:gd name="T55" fmla="*/ 35 h 262"/>
              <a:gd name="T56" fmla="*/ 162 w 199"/>
              <a:gd name="T57" fmla="*/ 43 h 262"/>
              <a:gd name="T58" fmla="*/ 96 w 199"/>
              <a:gd name="T59" fmla="*/ 35 h 262"/>
              <a:gd name="T60" fmla="*/ 162 w 199"/>
              <a:gd name="T61" fmla="*/ 43 h 262"/>
              <a:gd name="T62" fmla="*/ 16 w 199"/>
              <a:gd name="T63" fmla="*/ 122 h 262"/>
              <a:gd name="T64" fmla="*/ 171 w 199"/>
              <a:gd name="T65" fmla="*/ 148 h 262"/>
              <a:gd name="T66" fmla="*/ 171 w 199"/>
              <a:gd name="T67" fmla="*/ 110 h 262"/>
              <a:gd name="T68" fmla="*/ 36 w 199"/>
              <a:gd name="T69" fmla="*/ 129 h 262"/>
              <a:gd name="T70" fmla="*/ 45 w 199"/>
              <a:gd name="T71" fmla="*/ 129 h 262"/>
              <a:gd name="T72" fmla="*/ 96 w 199"/>
              <a:gd name="T73" fmla="*/ 133 h 262"/>
              <a:gd name="T74" fmla="*/ 162 w 199"/>
              <a:gd name="T75" fmla="*/ 125 h 262"/>
              <a:gd name="T76" fmla="*/ 171 w 199"/>
              <a:gd name="T77" fmla="*/ 155 h 262"/>
              <a:gd name="T78" fmla="*/ 16 w 199"/>
              <a:gd name="T79" fmla="*/ 181 h 262"/>
              <a:gd name="T80" fmla="*/ 183 w 199"/>
              <a:gd name="T81" fmla="*/ 181 h 262"/>
              <a:gd name="T82" fmla="*/ 41 w 199"/>
              <a:gd name="T83" fmla="*/ 178 h 262"/>
              <a:gd name="T84" fmla="*/ 40 w 199"/>
              <a:gd name="T85" fmla="*/ 170 h 262"/>
              <a:gd name="T86" fmla="*/ 41 w 199"/>
              <a:gd name="T87" fmla="*/ 178 h 262"/>
              <a:gd name="T88" fmla="*/ 92 w 199"/>
              <a:gd name="T89" fmla="*/ 174 h 262"/>
              <a:gd name="T90" fmla="*/ 166 w 199"/>
              <a:gd name="T91" fmla="*/ 174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9" h="262">
                <a:moveTo>
                  <a:pt x="171" y="200"/>
                </a:moveTo>
                <a:cubicBezTo>
                  <a:pt x="28" y="200"/>
                  <a:pt x="28" y="200"/>
                  <a:pt x="28" y="200"/>
                </a:cubicBezTo>
                <a:cubicBezTo>
                  <a:pt x="22" y="200"/>
                  <a:pt x="16" y="206"/>
                  <a:pt x="16" y="212"/>
                </a:cubicBezTo>
                <a:cubicBezTo>
                  <a:pt x="16" y="226"/>
                  <a:pt x="16" y="226"/>
                  <a:pt x="16" y="226"/>
                </a:cubicBezTo>
                <a:cubicBezTo>
                  <a:pt x="16" y="233"/>
                  <a:pt x="22" y="238"/>
                  <a:pt x="28" y="238"/>
                </a:cubicBezTo>
                <a:cubicBezTo>
                  <a:pt x="171" y="238"/>
                  <a:pt x="171" y="238"/>
                  <a:pt x="171" y="238"/>
                </a:cubicBezTo>
                <a:cubicBezTo>
                  <a:pt x="178" y="238"/>
                  <a:pt x="183" y="233"/>
                  <a:pt x="183" y="226"/>
                </a:cubicBezTo>
                <a:cubicBezTo>
                  <a:pt x="183" y="212"/>
                  <a:pt x="183" y="212"/>
                  <a:pt x="183" y="212"/>
                </a:cubicBezTo>
                <a:cubicBezTo>
                  <a:pt x="183" y="206"/>
                  <a:pt x="178" y="200"/>
                  <a:pt x="171" y="200"/>
                </a:cubicBezTo>
                <a:close/>
                <a:moveTo>
                  <a:pt x="41" y="223"/>
                </a:moveTo>
                <a:cubicBezTo>
                  <a:pt x="40" y="223"/>
                  <a:pt x="40" y="223"/>
                  <a:pt x="40" y="223"/>
                </a:cubicBezTo>
                <a:cubicBezTo>
                  <a:pt x="38" y="223"/>
                  <a:pt x="36" y="221"/>
                  <a:pt x="36" y="219"/>
                </a:cubicBezTo>
                <a:cubicBezTo>
                  <a:pt x="36" y="217"/>
                  <a:pt x="38" y="215"/>
                  <a:pt x="40" y="215"/>
                </a:cubicBezTo>
                <a:cubicBezTo>
                  <a:pt x="41" y="215"/>
                  <a:pt x="41" y="215"/>
                  <a:pt x="41" y="215"/>
                </a:cubicBezTo>
                <a:cubicBezTo>
                  <a:pt x="43" y="215"/>
                  <a:pt x="45" y="217"/>
                  <a:pt x="45" y="219"/>
                </a:cubicBezTo>
                <a:cubicBezTo>
                  <a:pt x="45" y="221"/>
                  <a:pt x="43" y="223"/>
                  <a:pt x="41" y="223"/>
                </a:cubicBezTo>
                <a:close/>
                <a:moveTo>
                  <a:pt x="162" y="223"/>
                </a:moveTo>
                <a:cubicBezTo>
                  <a:pt x="96" y="223"/>
                  <a:pt x="96" y="223"/>
                  <a:pt x="96" y="223"/>
                </a:cubicBezTo>
                <a:cubicBezTo>
                  <a:pt x="94" y="223"/>
                  <a:pt x="92" y="221"/>
                  <a:pt x="92" y="219"/>
                </a:cubicBezTo>
                <a:cubicBezTo>
                  <a:pt x="92" y="217"/>
                  <a:pt x="94" y="215"/>
                  <a:pt x="96" y="215"/>
                </a:cubicBezTo>
                <a:cubicBezTo>
                  <a:pt x="162" y="215"/>
                  <a:pt x="162" y="215"/>
                  <a:pt x="162" y="215"/>
                </a:cubicBezTo>
                <a:cubicBezTo>
                  <a:pt x="165" y="215"/>
                  <a:pt x="166" y="217"/>
                  <a:pt x="166" y="219"/>
                </a:cubicBezTo>
                <a:cubicBezTo>
                  <a:pt x="166" y="221"/>
                  <a:pt x="165" y="223"/>
                  <a:pt x="162" y="223"/>
                </a:cubicBezTo>
                <a:close/>
                <a:moveTo>
                  <a:pt x="171" y="65"/>
                </a:moveTo>
                <a:cubicBezTo>
                  <a:pt x="28" y="65"/>
                  <a:pt x="28" y="65"/>
                  <a:pt x="28" y="65"/>
                </a:cubicBezTo>
                <a:cubicBezTo>
                  <a:pt x="22" y="65"/>
                  <a:pt x="16" y="71"/>
                  <a:pt x="16" y="77"/>
                </a:cubicBezTo>
                <a:cubicBezTo>
                  <a:pt x="16" y="91"/>
                  <a:pt x="16" y="91"/>
                  <a:pt x="16" y="91"/>
                </a:cubicBezTo>
                <a:cubicBezTo>
                  <a:pt x="16" y="98"/>
                  <a:pt x="22" y="103"/>
                  <a:pt x="28" y="103"/>
                </a:cubicBezTo>
                <a:cubicBezTo>
                  <a:pt x="171" y="103"/>
                  <a:pt x="171" y="103"/>
                  <a:pt x="171" y="103"/>
                </a:cubicBezTo>
                <a:cubicBezTo>
                  <a:pt x="178" y="103"/>
                  <a:pt x="183" y="98"/>
                  <a:pt x="183" y="91"/>
                </a:cubicBezTo>
                <a:cubicBezTo>
                  <a:pt x="183" y="77"/>
                  <a:pt x="183" y="77"/>
                  <a:pt x="183" y="77"/>
                </a:cubicBezTo>
                <a:cubicBezTo>
                  <a:pt x="183" y="71"/>
                  <a:pt x="178" y="65"/>
                  <a:pt x="171" y="65"/>
                </a:cubicBezTo>
                <a:close/>
                <a:moveTo>
                  <a:pt x="41" y="88"/>
                </a:moveTo>
                <a:cubicBezTo>
                  <a:pt x="40" y="88"/>
                  <a:pt x="40" y="88"/>
                  <a:pt x="40" y="88"/>
                </a:cubicBezTo>
                <a:cubicBezTo>
                  <a:pt x="38" y="88"/>
                  <a:pt x="36" y="86"/>
                  <a:pt x="36" y="84"/>
                </a:cubicBezTo>
                <a:cubicBezTo>
                  <a:pt x="36" y="82"/>
                  <a:pt x="38" y="80"/>
                  <a:pt x="40" y="80"/>
                </a:cubicBezTo>
                <a:cubicBezTo>
                  <a:pt x="41" y="80"/>
                  <a:pt x="41" y="80"/>
                  <a:pt x="41" y="80"/>
                </a:cubicBezTo>
                <a:cubicBezTo>
                  <a:pt x="43" y="80"/>
                  <a:pt x="45" y="82"/>
                  <a:pt x="45" y="84"/>
                </a:cubicBezTo>
                <a:cubicBezTo>
                  <a:pt x="45" y="86"/>
                  <a:pt x="43" y="88"/>
                  <a:pt x="41" y="88"/>
                </a:cubicBezTo>
                <a:close/>
                <a:moveTo>
                  <a:pt x="162" y="88"/>
                </a:moveTo>
                <a:cubicBezTo>
                  <a:pt x="96" y="88"/>
                  <a:pt x="96" y="88"/>
                  <a:pt x="96" y="88"/>
                </a:cubicBezTo>
                <a:cubicBezTo>
                  <a:pt x="94" y="88"/>
                  <a:pt x="92" y="86"/>
                  <a:pt x="92" y="84"/>
                </a:cubicBezTo>
                <a:cubicBezTo>
                  <a:pt x="92" y="82"/>
                  <a:pt x="94" y="80"/>
                  <a:pt x="96" y="80"/>
                </a:cubicBezTo>
                <a:cubicBezTo>
                  <a:pt x="162" y="80"/>
                  <a:pt x="162" y="80"/>
                  <a:pt x="162" y="80"/>
                </a:cubicBezTo>
                <a:cubicBezTo>
                  <a:pt x="165" y="80"/>
                  <a:pt x="166" y="82"/>
                  <a:pt x="166" y="84"/>
                </a:cubicBezTo>
                <a:cubicBezTo>
                  <a:pt x="166" y="86"/>
                  <a:pt x="165" y="88"/>
                  <a:pt x="162" y="88"/>
                </a:cubicBezTo>
                <a:close/>
                <a:moveTo>
                  <a:pt x="172" y="0"/>
                </a:moveTo>
                <a:cubicBezTo>
                  <a:pt x="27" y="0"/>
                  <a:pt x="27" y="0"/>
                  <a:pt x="27" y="0"/>
                </a:cubicBezTo>
                <a:cubicBezTo>
                  <a:pt x="12" y="0"/>
                  <a:pt x="0" y="12"/>
                  <a:pt x="0" y="27"/>
                </a:cubicBezTo>
                <a:cubicBezTo>
                  <a:pt x="0" y="228"/>
                  <a:pt x="0" y="228"/>
                  <a:pt x="0" y="228"/>
                </a:cubicBezTo>
                <a:cubicBezTo>
                  <a:pt x="0" y="240"/>
                  <a:pt x="7" y="249"/>
                  <a:pt x="18" y="253"/>
                </a:cubicBezTo>
                <a:cubicBezTo>
                  <a:pt x="22" y="262"/>
                  <a:pt x="22" y="262"/>
                  <a:pt x="22" y="262"/>
                </a:cubicBezTo>
                <a:cubicBezTo>
                  <a:pt x="59" y="262"/>
                  <a:pt x="59" y="262"/>
                  <a:pt x="59" y="262"/>
                </a:cubicBezTo>
                <a:cubicBezTo>
                  <a:pt x="63" y="255"/>
                  <a:pt x="63" y="255"/>
                  <a:pt x="63" y="255"/>
                </a:cubicBezTo>
                <a:cubicBezTo>
                  <a:pt x="137" y="255"/>
                  <a:pt x="137" y="255"/>
                  <a:pt x="137" y="255"/>
                </a:cubicBezTo>
                <a:cubicBezTo>
                  <a:pt x="140" y="262"/>
                  <a:pt x="140" y="262"/>
                  <a:pt x="140" y="262"/>
                </a:cubicBezTo>
                <a:cubicBezTo>
                  <a:pt x="177" y="262"/>
                  <a:pt x="177" y="262"/>
                  <a:pt x="177" y="262"/>
                </a:cubicBezTo>
                <a:cubicBezTo>
                  <a:pt x="182" y="253"/>
                  <a:pt x="182" y="253"/>
                  <a:pt x="182" y="253"/>
                </a:cubicBezTo>
                <a:cubicBezTo>
                  <a:pt x="192" y="249"/>
                  <a:pt x="199" y="240"/>
                  <a:pt x="199" y="228"/>
                </a:cubicBezTo>
                <a:cubicBezTo>
                  <a:pt x="199" y="27"/>
                  <a:pt x="199" y="27"/>
                  <a:pt x="199" y="27"/>
                </a:cubicBezTo>
                <a:cubicBezTo>
                  <a:pt x="199" y="12"/>
                  <a:pt x="187" y="0"/>
                  <a:pt x="172" y="0"/>
                </a:cubicBezTo>
                <a:close/>
                <a:moveTo>
                  <a:pt x="193" y="228"/>
                </a:moveTo>
                <a:cubicBezTo>
                  <a:pt x="193" y="240"/>
                  <a:pt x="184" y="249"/>
                  <a:pt x="172" y="249"/>
                </a:cubicBezTo>
                <a:cubicBezTo>
                  <a:pt x="27" y="249"/>
                  <a:pt x="27" y="249"/>
                  <a:pt x="27" y="249"/>
                </a:cubicBezTo>
                <a:cubicBezTo>
                  <a:pt x="16" y="249"/>
                  <a:pt x="6" y="240"/>
                  <a:pt x="6" y="228"/>
                </a:cubicBezTo>
                <a:cubicBezTo>
                  <a:pt x="6" y="27"/>
                  <a:pt x="6" y="27"/>
                  <a:pt x="6" y="27"/>
                </a:cubicBezTo>
                <a:cubicBezTo>
                  <a:pt x="6" y="15"/>
                  <a:pt x="16" y="6"/>
                  <a:pt x="27" y="6"/>
                </a:cubicBezTo>
                <a:cubicBezTo>
                  <a:pt x="172" y="6"/>
                  <a:pt x="172" y="6"/>
                  <a:pt x="172" y="6"/>
                </a:cubicBezTo>
                <a:cubicBezTo>
                  <a:pt x="184" y="6"/>
                  <a:pt x="193" y="15"/>
                  <a:pt x="193" y="27"/>
                </a:cubicBezTo>
                <a:lnTo>
                  <a:pt x="193" y="228"/>
                </a:lnTo>
                <a:close/>
                <a:moveTo>
                  <a:pt x="171" y="20"/>
                </a:moveTo>
                <a:cubicBezTo>
                  <a:pt x="28" y="20"/>
                  <a:pt x="28" y="20"/>
                  <a:pt x="28" y="20"/>
                </a:cubicBezTo>
                <a:cubicBezTo>
                  <a:pt x="22" y="20"/>
                  <a:pt x="16" y="26"/>
                  <a:pt x="16" y="32"/>
                </a:cubicBezTo>
                <a:cubicBezTo>
                  <a:pt x="16" y="46"/>
                  <a:pt x="16" y="46"/>
                  <a:pt x="16" y="46"/>
                </a:cubicBezTo>
                <a:cubicBezTo>
                  <a:pt x="16" y="53"/>
                  <a:pt x="22" y="58"/>
                  <a:pt x="28" y="58"/>
                </a:cubicBezTo>
                <a:cubicBezTo>
                  <a:pt x="171" y="58"/>
                  <a:pt x="171" y="58"/>
                  <a:pt x="171" y="58"/>
                </a:cubicBezTo>
                <a:cubicBezTo>
                  <a:pt x="178" y="58"/>
                  <a:pt x="183" y="53"/>
                  <a:pt x="183" y="46"/>
                </a:cubicBezTo>
                <a:cubicBezTo>
                  <a:pt x="183" y="32"/>
                  <a:pt x="183" y="32"/>
                  <a:pt x="183" y="32"/>
                </a:cubicBezTo>
                <a:cubicBezTo>
                  <a:pt x="183" y="26"/>
                  <a:pt x="178" y="20"/>
                  <a:pt x="171" y="20"/>
                </a:cubicBezTo>
                <a:close/>
                <a:moveTo>
                  <a:pt x="41" y="43"/>
                </a:moveTo>
                <a:cubicBezTo>
                  <a:pt x="40" y="43"/>
                  <a:pt x="40" y="43"/>
                  <a:pt x="40" y="43"/>
                </a:cubicBezTo>
                <a:cubicBezTo>
                  <a:pt x="38" y="43"/>
                  <a:pt x="36" y="41"/>
                  <a:pt x="36" y="39"/>
                </a:cubicBezTo>
                <a:cubicBezTo>
                  <a:pt x="36" y="37"/>
                  <a:pt x="38" y="35"/>
                  <a:pt x="40" y="35"/>
                </a:cubicBezTo>
                <a:cubicBezTo>
                  <a:pt x="41" y="35"/>
                  <a:pt x="41" y="35"/>
                  <a:pt x="41" y="35"/>
                </a:cubicBezTo>
                <a:cubicBezTo>
                  <a:pt x="43" y="35"/>
                  <a:pt x="45" y="37"/>
                  <a:pt x="45" y="39"/>
                </a:cubicBezTo>
                <a:cubicBezTo>
                  <a:pt x="45" y="41"/>
                  <a:pt x="43" y="43"/>
                  <a:pt x="41" y="43"/>
                </a:cubicBezTo>
                <a:close/>
                <a:moveTo>
                  <a:pt x="162" y="43"/>
                </a:moveTo>
                <a:cubicBezTo>
                  <a:pt x="96" y="43"/>
                  <a:pt x="96" y="43"/>
                  <a:pt x="96" y="43"/>
                </a:cubicBezTo>
                <a:cubicBezTo>
                  <a:pt x="94" y="43"/>
                  <a:pt x="92" y="41"/>
                  <a:pt x="92" y="39"/>
                </a:cubicBezTo>
                <a:cubicBezTo>
                  <a:pt x="92" y="37"/>
                  <a:pt x="94" y="35"/>
                  <a:pt x="96" y="35"/>
                </a:cubicBezTo>
                <a:cubicBezTo>
                  <a:pt x="162" y="35"/>
                  <a:pt x="162" y="35"/>
                  <a:pt x="162" y="35"/>
                </a:cubicBezTo>
                <a:cubicBezTo>
                  <a:pt x="165" y="35"/>
                  <a:pt x="166" y="37"/>
                  <a:pt x="166" y="39"/>
                </a:cubicBezTo>
                <a:cubicBezTo>
                  <a:pt x="166" y="41"/>
                  <a:pt x="165" y="43"/>
                  <a:pt x="162" y="43"/>
                </a:cubicBezTo>
                <a:close/>
                <a:moveTo>
                  <a:pt x="171" y="110"/>
                </a:moveTo>
                <a:cubicBezTo>
                  <a:pt x="28" y="110"/>
                  <a:pt x="28" y="110"/>
                  <a:pt x="28" y="110"/>
                </a:cubicBezTo>
                <a:cubicBezTo>
                  <a:pt x="22" y="110"/>
                  <a:pt x="16" y="116"/>
                  <a:pt x="16" y="122"/>
                </a:cubicBezTo>
                <a:cubicBezTo>
                  <a:pt x="16" y="136"/>
                  <a:pt x="16" y="136"/>
                  <a:pt x="16" y="136"/>
                </a:cubicBezTo>
                <a:cubicBezTo>
                  <a:pt x="16" y="143"/>
                  <a:pt x="22" y="148"/>
                  <a:pt x="28" y="148"/>
                </a:cubicBezTo>
                <a:cubicBezTo>
                  <a:pt x="171" y="148"/>
                  <a:pt x="171" y="148"/>
                  <a:pt x="171" y="148"/>
                </a:cubicBezTo>
                <a:cubicBezTo>
                  <a:pt x="178" y="148"/>
                  <a:pt x="183" y="143"/>
                  <a:pt x="183" y="136"/>
                </a:cubicBezTo>
                <a:cubicBezTo>
                  <a:pt x="183" y="122"/>
                  <a:pt x="183" y="122"/>
                  <a:pt x="183" y="122"/>
                </a:cubicBezTo>
                <a:cubicBezTo>
                  <a:pt x="183" y="116"/>
                  <a:pt x="178" y="110"/>
                  <a:pt x="171" y="110"/>
                </a:cubicBezTo>
                <a:close/>
                <a:moveTo>
                  <a:pt x="41" y="133"/>
                </a:moveTo>
                <a:cubicBezTo>
                  <a:pt x="40" y="133"/>
                  <a:pt x="40" y="133"/>
                  <a:pt x="40" y="133"/>
                </a:cubicBezTo>
                <a:cubicBezTo>
                  <a:pt x="38" y="133"/>
                  <a:pt x="36" y="131"/>
                  <a:pt x="36" y="129"/>
                </a:cubicBezTo>
                <a:cubicBezTo>
                  <a:pt x="36" y="127"/>
                  <a:pt x="38" y="125"/>
                  <a:pt x="40" y="125"/>
                </a:cubicBezTo>
                <a:cubicBezTo>
                  <a:pt x="41" y="125"/>
                  <a:pt x="41" y="125"/>
                  <a:pt x="41" y="125"/>
                </a:cubicBezTo>
                <a:cubicBezTo>
                  <a:pt x="43" y="125"/>
                  <a:pt x="45" y="127"/>
                  <a:pt x="45" y="129"/>
                </a:cubicBezTo>
                <a:cubicBezTo>
                  <a:pt x="45" y="131"/>
                  <a:pt x="43" y="133"/>
                  <a:pt x="41" y="133"/>
                </a:cubicBezTo>
                <a:close/>
                <a:moveTo>
                  <a:pt x="162" y="133"/>
                </a:moveTo>
                <a:cubicBezTo>
                  <a:pt x="96" y="133"/>
                  <a:pt x="96" y="133"/>
                  <a:pt x="96" y="133"/>
                </a:cubicBezTo>
                <a:cubicBezTo>
                  <a:pt x="94" y="133"/>
                  <a:pt x="92" y="131"/>
                  <a:pt x="92" y="129"/>
                </a:cubicBezTo>
                <a:cubicBezTo>
                  <a:pt x="92" y="127"/>
                  <a:pt x="94" y="125"/>
                  <a:pt x="96" y="125"/>
                </a:cubicBezTo>
                <a:cubicBezTo>
                  <a:pt x="162" y="125"/>
                  <a:pt x="162" y="125"/>
                  <a:pt x="162" y="125"/>
                </a:cubicBezTo>
                <a:cubicBezTo>
                  <a:pt x="165" y="125"/>
                  <a:pt x="166" y="127"/>
                  <a:pt x="166" y="129"/>
                </a:cubicBezTo>
                <a:cubicBezTo>
                  <a:pt x="166" y="131"/>
                  <a:pt x="165" y="133"/>
                  <a:pt x="162" y="133"/>
                </a:cubicBezTo>
                <a:close/>
                <a:moveTo>
                  <a:pt x="171" y="155"/>
                </a:moveTo>
                <a:cubicBezTo>
                  <a:pt x="28" y="155"/>
                  <a:pt x="28" y="155"/>
                  <a:pt x="28" y="155"/>
                </a:cubicBezTo>
                <a:cubicBezTo>
                  <a:pt x="22" y="155"/>
                  <a:pt x="16" y="161"/>
                  <a:pt x="16" y="167"/>
                </a:cubicBezTo>
                <a:cubicBezTo>
                  <a:pt x="16" y="181"/>
                  <a:pt x="16" y="181"/>
                  <a:pt x="16" y="181"/>
                </a:cubicBezTo>
                <a:cubicBezTo>
                  <a:pt x="16" y="188"/>
                  <a:pt x="22" y="193"/>
                  <a:pt x="28" y="193"/>
                </a:cubicBezTo>
                <a:cubicBezTo>
                  <a:pt x="171" y="193"/>
                  <a:pt x="171" y="193"/>
                  <a:pt x="171" y="193"/>
                </a:cubicBezTo>
                <a:cubicBezTo>
                  <a:pt x="178" y="193"/>
                  <a:pt x="183" y="188"/>
                  <a:pt x="183" y="181"/>
                </a:cubicBezTo>
                <a:cubicBezTo>
                  <a:pt x="183" y="167"/>
                  <a:pt x="183" y="167"/>
                  <a:pt x="183" y="167"/>
                </a:cubicBezTo>
                <a:cubicBezTo>
                  <a:pt x="183" y="161"/>
                  <a:pt x="178" y="155"/>
                  <a:pt x="171" y="155"/>
                </a:cubicBezTo>
                <a:close/>
                <a:moveTo>
                  <a:pt x="41" y="178"/>
                </a:moveTo>
                <a:cubicBezTo>
                  <a:pt x="40" y="178"/>
                  <a:pt x="40" y="178"/>
                  <a:pt x="40" y="178"/>
                </a:cubicBezTo>
                <a:cubicBezTo>
                  <a:pt x="38" y="178"/>
                  <a:pt x="36" y="176"/>
                  <a:pt x="36" y="174"/>
                </a:cubicBezTo>
                <a:cubicBezTo>
                  <a:pt x="36" y="172"/>
                  <a:pt x="38" y="170"/>
                  <a:pt x="40" y="170"/>
                </a:cubicBezTo>
                <a:cubicBezTo>
                  <a:pt x="41" y="170"/>
                  <a:pt x="41" y="170"/>
                  <a:pt x="41" y="170"/>
                </a:cubicBezTo>
                <a:cubicBezTo>
                  <a:pt x="43" y="170"/>
                  <a:pt x="45" y="172"/>
                  <a:pt x="45" y="174"/>
                </a:cubicBezTo>
                <a:cubicBezTo>
                  <a:pt x="45" y="176"/>
                  <a:pt x="43" y="178"/>
                  <a:pt x="41" y="178"/>
                </a:cubicBezTo>
                <a:close/>
                <a:moveTo>
                  <a:pt x="162" y="178"/>
                </a:moveTo>
                <a:cubicBezTo>
                  <a:pt x="96" y="178"/>
                  <a:pt x="96" y="178"/>
                  <a:pt x="96" y="178"/>
                </a:cubicBezTo>
                <a:cubicBezTo>
                  <a:pt x="94" y="178"/>
                  <a:pt x="92" y="176"/>
                  <a:pt x="92" y="174"/>
                </a:cubicBezTo>
                <a:cubicBezTo>
                  <a:pt x="92" y="172"/>
                  <a:pt x="94" y="170"/>
                  <a:pt x="96" y="170"/>
                </a:cubicBezTo>
                <a:cubicBezTo>
                  <a:pt x="162" y="170"/>
                  <a:pt x="162" y="170"/>
                  <a:pt x="162" y="170"/>
                </a:cubicBezTo>
                <a:cubicBezTo>
                  <a:pt x="165" y="170"/>
                  <a:pt x="166" y="172"/>
                  <a:pt x="166" y="174"/>
                </a:cubicBezTo>
                <a:cubicBezTo>
                  <a:pt x="166" y="176"/>
                  <a:pt x="165" y="178"/>
                  <a:pt x="162" y="178"/>
                </a:cubicBezTo>
                <a:close/>
              </a:path>
            </a:pathLst>
          </a:custGeom>
          <a:solidFill>
            <a:schemeClr val="bg1"/>
          </a:solidFill>
          <a:ln>
            <a:noFill/>
          </a:ln>
        </p:spPr>
        <p:txBody>
          <a:bodyPr vert="horz" wrap="square" lIns="121867" tIns="60933" rIns="121867" bIns="60933" numCol="1" anchor="t" anchorCtr="0" compatLnSpc="1">
            <a:prstTxWarp prst="textNoShape">
              <a:avLst/>
            </a:prstTxWarp>
          </a:bodyPr>
          <a:lstStyle/>
          <a:p>
            <a:pPr defTabSz="914126"/>
            <a:endParaRPr lang="en-US" sz="1799" kern="0">
              <a:solidFill>
                <a:sysClr val="windowText" lastClr="000000"/>
              </a:solidFill>
            </a:endParaRPr>
          </a:p>
        </p:txBody>
      </p:sp>
      <p:sp>
        <p:nvSpPr>
          <p:cNvPr id="33" name="Freeform 17"/>
          <p:cNvSpPr>
            <a:spLocks noEditPoints="1"/>
          </p:cNvSpPr>
          <p:nvPr/>
        </p:nvSpPr>
        <p:spPr bwMode="auto">
          <a:xfrm>
            <a:off x="5224080" y="2726051"/>
            <a:ext cx="866813" cy="874545"/>
          </a:xfrm>
          <a:custGeom>
            <a:avLst/>
            <a:gdLst>
              <a:gd name="T0" fmla="*/ 57 w 293"/>
              <a:gd name="T1" fmla="*/ 195 h 296"/>
              <a:gd name="T2" fmla="*/ 112 w 293"/>
              <a:gd name="T3" fmla="*/ 187 h 296"/>
              <a:gd name="T4" fmla="*/ 229 w 293"/>
              <a:gd name="T5" fmla="*/ 213 h 296"/>
              <a:gd name="T6" fmla="*/ 44 w 293"/>
              <a:gd name="T7" fmla="*/ 120 h 296"/>
              <a:gd name="T8" fmla="*/ 61 w 293"/>
              <a:gd name="T9" fmla="*/ 101 h 296"/>
              <a:gd name="T10" fmla="*/ 44 w 293"/>
              <a:gd name="T11" fmla="*/ 217 h 296"/>
              <a:gd name="T12" fmla="*/ 52 w 293"/>
              <a:gd name="T13" fmla="*/ 236 h 296"/>
              <a:gd name="T14" fmla="*/ 183 w 293"/>
              <a:gd name="T15" fmla="*/ 236 h 296"/>
              <a:gd name="T16" fmla="*/ 223 w 293"/>
              <a:gd name="T17" fmla="*/ 244 h 296"/>
              <a:gd name="T18" fmla="*/ 229 w 293"/>
              <a:gd name="T19" fmla="*/ 179 h 296"/>
              <a:gd name="T20" fmla="*/ 223 w 293"/>
              <a:gd name="T21" fmla="*/ 143 h 296"/>
              <a:gd name="T22" fmla="*/ 32 w 293"/>
              <a:gd name="T23" fmla="*/ 139 h 296"/>
              <a:gd name="T24" fmla="*/ 56 w 293"/>
              <a:gd name="T25" fmla="*/ 142 h 296"/>
              <a:gd name="T26" fmla="*/ 179 w 293"/>
              <a:gd name="T27" fmla="*/ 150 h 296"/>
              <a:gd name="T28" fmla="*/ 57 w 293"/>
              <a:gd name="T29" fmla="*/ 60 h 296"/>
              <a:gd name="T30" fmla="*/ 112 w 293"/>
              <a:gd name="T31" fmla="*/ 52 h 296"/>
              <a:gd name="T32" fmla="*/ 261 w 293"/>
              <a:gd name="T33" fmla="*/ 194 h 296"/>
              <a:gd name="T34" fmla="*/ 277 w 293"/>
              <a:gd name="T35" fmla="*/ 147 h 296"/>
              <a:gd name="T36" fmla="*/ 246 w 293"/>
              <a:gd name="T37" fmla="*/ 279 h 296"/>
              <a:gd name="T38" fmla="*/ 261 w 293"/>
              <a:gd name="T39" fmla="*/ 254 h 296"/>
              <a:gd name="T40" fmla="*/ 223 w 293"/>
              <a:gd name="T41" fmla="*/ 87 h 296"/>
              <a:gd name="T42" fmla="*/ 253 w 293"/>
              <a:gd name="T43" fmla="*/ 254 h 296"/>
              <a:gd name="T44" fmla="*/ 79 w 293"/>
              <a:gd name="T45" fmla="*/ 272 h 296"/>
              <a:gd name="T46" fmla="*/ 43 w 293"/>
              <a:gd name="T47" fmla="*/ 23 h 296"/>
              <a:gd name="T48" fmla="*/ 226 w 293"/>
              <a:gd name="T49" fmla="*/ 109 h 296"/>
              <a:gd name="T50" fmla="*/ 4 w 293"/>
              <a:gd name="T51" fmla="*/ 96 h 296"/>
              <a:gd name="T52" fmla="*/ 61 w 293"/>
              <a:gd name="T53" fmla="*/ 4 h 296"/>
              <a:gd name="T54" fmla="*/ 4 w 293"/>
              <a:gd name="T55" fmla="*/ 24 h 296"/>
              <a:gd name="T56" fmla="*/ 69 w 293"/>
              <a:gd name="T57" fmla="*/ 0 h 296"/>
              <a:gd name="T58" fmla="*/ 0 w 293"/>
              <a:gd name="T59" fmla="*/ 56 h 296"/>
              <a:gd name="T60" fmla="*/ 4 w 293"/>
              <a:gd name="T61" fmla="*/ 42 h 296"/>
              <a:gd name="T62" fmla="*/ 4 w 293"/>
              <a:gd name="T63" fmla="*/ 72 h 296"/>
              <a:gd name="T64" fmla="*/ 109 w 293"/>
              <a:gd name="T65" fmla="*/ 0 h 296"/>
              <a:gd name="T66" fmla="*/ 259 w 293"/>
              <a:gd name="T67" fmla="*/ 61 h 296"/>
              <a:gd name="T68" fmla="*/ 274 w 293"/>
              <a:gd name="T69" fmla="*/ 89 h 296"/>
              <a:gd name="T70" fmla="*/ 243 w 293"/>
              <a:gd name="T71" fmla="*/ 33 h 296"/>
              <a:gd name="T72" fmla="*/ 205 w 293"/>
              <a:gd name="T73" fmla="*/ 4 h 296"/>
              <a:gd name="T74" fmla="*/ 172 w 293"/>
              <a:gd name="T75" fmla="*/ 0 h 296"/>
              <a:gd name="T76" fmla="*/ 210 w 293"/>
              <a:gd name="T77" fmla="*/ 11 h 296"/>
              <a:gd name="T78" fmla="*/ 291 w 293"/>
              <a:gd name="T79" fmla="*/ 142 h 296"/>
              <a:gd name="T80" fmla="*/ 234 w 293"/>
              <a:gd name="T81" fmla="*/ 292 h 296"/>
              <a:gd name="T82" fmla="*/ 218 w 293"/>
              <a:gd name="T83" fmla="*/ 292 h 296"/>
              <a:gd name="T84" fmla="*/ 171 w 293"/>
              <a:gd name="T85" fmla="*/ 292 h 296"/>
              <a:gd name="T86" fmla="*/ 203 w 293"/>
              <a:gd name="T87" fmla="*/ 292 h 296"/>
              <a:gd name="T88" fmla="*/ 281 w 293"/>
              <a:gd name="T89" fmla="*/ 284 h 296"/>
              <a:gd name="T90" fmla="*/ 293 w 293"/>
              <a:gd name="T91" fmla="*/ 175 h 296"/>
              <a:gd name="T92" fmla="*/ 282 w 293"/>
              <a:gd name="T93" fmla="*/ 120 h 296"/>
              <a:gd name="T94" fmla="*/ 283 w 293"/>
              <a:gd name="T95" fmla="*/ 276 h 296"/>
              <a:gd name="T96" fmla="*/ 288 w 293"/>
              <a:gd name="T97" fmla="*/ 262 h 296"/>
              <a:gd name="T98" fmla="*/ 289 w 293"/>
              <a:gd name="T99" fmla="*/ 246 h 296"/>
              <a:gd name="T100" fmla="*/ 4 w 293"/>
              <a:gd name="T101" fmla="*/ 215 h 296"/>
              <a:gd name="T102" fmla="*/ 4 w 293"/>
              <a:gd name="T103" fmla="*/ 247 h 296"/>
              <a:gd name="T104" fmla="*/ 4 w 293"/>
              <a:gd name="T105" fmla="*/ 183 h 296"/>
              <a:gd name="T106" fmla="*/ 4 w 293"/>
              <a:gd name="T107" fmla="*/ 104 h 296"/>
              <a:gd name="T108" fmla="*/ 4 w 293"/>
              <a:gd name="T109" fmla="*/ 151 h 296"/>
              <a:gd name="T110" fmla="*/ 51 w 293"/>
              <a:gd name="T111" fmla="*/ 296 h 296"/>
              <a:gd name="T112" fmla="*/ 67 w 293"/>
              <a:gd name="T113" fmla="*/ 296 h 296"/>
              <a:gd name="T114" fmla="*/ 20 w 293"/>
              <a:gd name="T115" fmla="*/ 290 h 296"/>
              <a:gd name="T116" fmla="*/ 43 w 293"/>
              <a:gd name="T117" fmla="*/ 292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3" h="296">
                <a:moveTo>
                  <a:pt x="187" y="172"/>
                </a:moveTo>
                <a:cubicBezTo>
                  <a:pt x="44" y="172"/>
                  <a:pt x="44" y="172"/>
                  <a:pt x="44" y="172"/>
                </a:cubicBezTo>
                <a:cubicBezTo>
                  <a:pt x="38" y="172"/>
                  <a:pt x="32" y="178"/>
                  <a:pt x="32" y="184"/>
                </a:cubicBezTo>
                <a:cubicBezTo>
                  <a:pt x="32" y="198"/>
                  <a:pt x="32" y="198"/>
                  <a:pt x="32" y="198"/>
                </a:cubicBezTo>
                <a:cubicBezTo>
                  <a:pt x="32" y="205"/>
                  <a:pt x="38" y="210"/>
                  <a:pt x="44" y="210"/>
                </a:cubicBezTo>
                <a:cubicBezTo>
                  <a:pt x="187" y="210"/>
                  <a:pt x="187" y="210"/>
                  <a:pt x="187" y="210"/>
                </a:cubicBezTo>
                <a:cubicBezTo>
                  <a:pt x="194" y="210"/>
                  <a:pt x="199" y="205"/>
                  <a:pt x="199" y="198"/>
                </a:cubicBezTo>
                <a:cubicBezTo>
                  <a:pt x="199" y="184"/>
                  <a:pt x="199" y="184"/>
                  <a:pt x="199" y="184"/>
                </a:cubicBezTo>
                <a:cubicBezTo>
                  <a:pt x="199" y="178"/>
                  <a:pt x="194" y="172"/>
                  <a:pt x="187" y="172"/>
                </a:cubicBezTo>
                <a:close/>
                <a:moveTo>
                  <a:pt x="57" y="195"/>
                </a:moveTo>
                <a:cubicBezTo>
                  <a:pt x="56" y="195"/>
                  <a:pt x="56" y="195"/>
                  <a:pt x="56" y="195"/>
                </a:cubicBezTo>
                <a:cubicBezTo>
                  <a:pt x="54" y="195"/>
                  <a:pt x="52" y="193"/>
                  <a:pt x="52" y="191"/>
                </a:cubicBezTo>
                <a:cubicBezTo>
                  <a:pt x="52" y="189"/>
                  <a:pt x="54" y="187"/>
                  <a:pt x="56" y="187"/>
                </a:cubicBezTo>
                <a:cubicBezTo>
                  <a:pt x="57" y="187"/>
                  <a:pt x="57" y="187"/>
                  <a:pt x="57" y="187"/>
                </a:cubicBezTo>
                <a:cubicBezTo>
                  <a:pt x="59" y="187"/>
                  <a:pt x="61" y="189"/>
                  <a:pt x="61" y="191"/>
                </a:cubicBezTo>
                <a:cubicBezTo>
                  <a:pt x="61" y="193"/>
                  <a:pt x="59" y="195"/>
                  <a:pt x="57" y="195"/>
                </a:cubicBezTo>
                <a:close/>
                <a:moveTo>
                  <a:pt x="179" y="195"/>
                </a:moveTo>
                <a:cubicBezTo>
                  <a:pt x="112" y="195"/>
                  <a:pt x="112" y="195"/>
                  <a:pt x="112" y="195"/>
                </a:cubicBezTo>
                <a:cubicBezTo>
                  <a:pt x="110" y="195"/>
                  <a:pt x="108" y="193"/>
                  <a:pt x="108" y="191"/>
                </a:cubicBezTo>
                <a:cubicBezTo>
                  <a:pt x="108" y="189"/>
                  <a:pt x="110" y="187"/>
                  <a:pt x="112" y="187"/>
                </a:cubicBezTo>
                <a:cubicBezTo>
                  <a:pt x="179" y="187"/>
                  <a:pt x="179" y="187"/>
                  <a:pt x="179" y="187"/>
                </a:cubicBezTo>
                <a:cubicBezTo>
                  <a:pt x="181" y="187"/>
                  <a:pt x="183" y="189"/>
                  <a:pt x="183" y="191"/>
                </a:cubicBezTo>
                <a:cubicBezTo>
                  <a:pt x="183" y="193"/>
                  <a:pt x="181" y="195"/>
                  <a:pt x="179" y="195"/>
                </a:cubicBezTo>
                <a:close/>
                <a:moveTo>
                  <a:pt x="241" y="218"/>
                </a:moveTo>
                <a:cubicBezTo>
                  <a:pt x="241" y="208"/>
                  <a:pt x="241" y="208"/>
                  <a:pt x="241" y="208"/>
                </a:cubicBezTo>
                <a:cubicBezTo>
                  <a:pt x="241" y="203"/>
                  <a:pt x="237" y="199"/>
                  <a:pt x="232" y="199"/>
                </a:cubicBezTo>
                <a:cubicBezTo>
                  <a:pt x="223" y="199"/>
                  <a:pt x="223" y="199"/>
                  <a:pt x="223" y="199"/>
                </a:cubicBezTo>
                <a:cubicBezTo>
                  <a:pt x="223" y="210"/>
                  <a:pt x="223" y="210"/>
                  <a:pt x="223" y="210"/>
                </a:cubicBezTo>
                <a:cubicBezTo>
                  <a:pt x="226" y="210"/>
                  <a:pt x="226" y="210"/>
                  <a:pt x="226" y="210"/>
                </a:cubicBezTo>
                <a:cubicBezTo>
                  <a:pt x="228" y="210"/>
                  <a:pt x="229" y="212"/>
                  <a:pt x="229" y="213"/>
                </a:cubicBezTo>
                <a:cubicBezTo>
                  <a:pt x="229" y="215"/>
                  <a:pt x="228" y="216"/>
                  <a:pt x="226" y="216"/>
                </a:cubicBezTo>
                <a:cubicBezTo>
                  <a:pt x="223" y="216"/>
                  <a:pt x="223" y="216"/>
                  <a:pt x="223" y="216"/>
                </a:cubicBezTo>
                <a:cubicBezTo>
                  <a:pt x="223" y="227"/>
                  <a:pt x="223" y="227"/>
                  <a:pt x="223" y="227"/>
                </a:cubicBezTo>
                <a:cubicBezTo>
                  <a:pt x="232" y="227"/>
                  <a:pt x="232" y="227"/>
                  <a:pt x="232" y="227"/>
                </a:cubicBezTo>
                <a:cubicBezTo>
                  <a:pt x="237" y="227"/>
                  <a:pt x="241" y="223"/>
                  <a:pt x="241" y="218"/>
                </a:cubicBezTo>
                <a:close/>
                <a:moveTo>
                  <a:pt x="187" y="82"/>
                </a:moveTo>
                <a:cubicBezTo>
                  <a:pt x="44" y="82"/>
                  <a:pt x="44" y="82"/>
                  <a:pt x="44" y="82"/>
                </a:cubicBezTo>
                <a:cubicBezTo>
                  <a:pt x="38" y="82"/>
                  <a:pt x="32" y="88"/>
                  <a:pt x="32" y="94"/>
                </a:cubicBezTo>
                <a:cubicBezTo>
                  <a:pt x="32" y="108"/>
                  <a:pt x="32" y="108"/>
                  <a:pt x="32" y="108"/>
                </a:cubicBezTo>
                <a:cubicBezTo>
                  <a:pt x="32" y="115"/>
                  <a:pt x="38" y="120"/>
                  <a:pt x="44" y="120"/>
                </a:cubicBezTo>
                <a:cubicBezTo>
                  <a:pt x="187" y="120"/>
                  <a:pt x="187" y="120"/>
                  <a:pt x="187" y="120"/>
                </a:cubicBezTo>
                <a:cubicBezTo>
                  <a:pt x="194" y="120"/>
                  <a:pt x="199" y="115"/>
                  <a:pt x="199" y="108"/>
                </a:cubicBezTo>
                <a:cubicBezTo>
                  <a:pt x="199" y="94"/>
                  <a:pt x="199" y="94"/>
                  <a:pt x="199" y="94"/>
                </a:cubicBezTo>
                <a:cubicBezTo>
                  <a:pt x="199" y="88"/>
                  <a:pt x="194" y="82"/>
                  <a:pt x="187" y="82"/>
                </a:cubicBezTo>
                <a:close/>
                <a:moveTo>
                  <a:pt x="57" y="105"/>
                </a:moveTo>
                <a:cubicBezTo>
                  <a:pt x="56" y="105"/>
                  <a:pt x="56" y="105"/>
                  <a:pt x="56" y="105"/>
                </a:cubicBezTo>
                <a:cubicBezTo>
                  <a:pt x="54" y="105"/>
                  <a:pt x="52" y="103"/>
                  <a:pt x="52" y="101"/>
                </a:cubicBezTo>
                <a:cubicBezTo>
                  <a:pt x="52" y="99"/>
                  <a:pt x="54" y="97"/>
                  <a:pt x="56" y="97"/>
                </a:cubicBezTo>
                <a:cubicBezTo>
                  <a:pt x="57" y="97"/>
                  <a:pt x="57" y="97"/>
                  <a:pt x="57" y="97"/>
                </a:cubicBezTo>
                <a:cubicBezTo>
                  <a:pt x="59" y="97"/>
                  <a:pt x="61" y="99"/>
                  <a:pt x="61" y="101"/>
                </a:cubicBezTo>
                <a:cubicBezTo>
                  <a:pt x="61" y="103"/>
                  <a:pt x="59" y="105"/>
                  <a:pt x="57" y="105"/>
                </a:cubicBezTo>
                <a:close/>
                <a:moveTo>
                  <a:pt x="179" y="105"/>
                </a:moveTo>
                <a:cubicBezTo>
                  <a:pt x="112" y="105"/>
                  <a:pt x="112" y="105"/>
                  <a:pt x="112" y="105"/>
                </a:cubicBezTo>
                <a:cubicBezTo>
                  <a:pt x="110" y="105"/>
                  <a:pt x="108" y="103"/>
                  <a:pt x="108" y="101"/>
                </a:cubicBezTo>
                <a:cubicBezTo>
                  <a:pt x="108" y="99"/>
                  <a:pt x="110" y="97"/>
                  <a:pt x="112" y="97"/>
                </a:cubicBezTo>
                <a:cubicBezTo>
                  <a:pt x="179" y="97"/>
                  <a:pt x="179" y="97"/>
                  <a:pt x="179" y="97"/>
                </a:cubicBezTo>
                <a:cubicBezTo>
                  <a:pt x="181" y="97"/>
                  <a:pt x="183" y="99"/>
                  <a:pt x="183" y="101"/>
                </a:cubicBezTo>
                <a:cubicBezTo>
                  <a:pt x="183" y="103"/>
                  <a:pt x="181" y="105"/>
                  <a:pt x="179" y="105"/>
                </a:cubicBezTo>
                <a:close/>
                <a:moveTo>
                  <a:pt x="187" y="217"/>
                </a:moveTo>
                <a:cubicBezTo>
                  <a:pt x="44" y="217"/>
                  <a:pt x="44" y="217"/>
                  <a:pt x="44" y="217"/>
                </a:cubicBezTo>
                <a:cubicBezTo>
                  <a:pt x="38" y="217"/>
                  <a:pt x="32" y="223"/>
                  <a:pt x="32" y="229"/>
                </a:cubicBezTo>
                <a:cubicBezTo>
                  <a:pt x="32" y="243"/>
                  <a:pt x="32" y="243"/>
                  <a:pt x="32" y="243"/>
                </a:cubicBezTo>
                <a:cubicBezTo>
                  <a:pt x="32" y="250"/>
                  <a:pt x="38" y="255"/>
                  <a:pt x="44" y="255"/>
                </a:cubicBezTo>
                <a:cubicBezTo>
                  <a:pt x="187" y="255"/>
                  <a:pt x="187" y="255"/>
                  <a:pt x="187" y="255"/>
                </a:cubicBezTo>
                <a:cubicBezTo>
                  <a:pt x="194" y="255"/>
                  <a:pt x="199" y="250"/>
                  <a:pt x="199" y="243"/>
                </a:cubicBezTo>
                <a:cubicBezTo>
                  <a:pt x="199" y="229"/>
                  <a:pt x="199" y="229"/>
                  <a:pt x="199" y="229"/>
                </a:cubicBezTo>
                <a:cubicBezTo>
                  <a:pt x="199" y="223"/>
                  <a:pt x="194" y="217"/>
                  <a:pt x="187" y="217"/>
                </a:cubicBezTo>
                <a:close/>
                <a:moveTo>
                  <a:pt x="57" y="240"/>
                </a:moveTo>
                <a:cubicBezTo>
                  <a:pt x="56" y="240"/>
                  <a:pt x="56" y="240"/>
                  <a:pt x="56" y="240"/>
                </a:cubicBezTo>
                <a:cubicBezTo>
                  <a:pt x="54" y="240"/>
                  <a:pt x="52" y="238"/>
                  <a:pt x="52" y="236"/>
                </a:cubicBezTo>
                <a:cubicBezTo>
                  <a:pt x="52" y="234"/>
                  <a:pt x="54" y="232"/>
                  <a:pt x="56" y="232"/>
                </a:cubicBezTo>
                <a:cubicBezTo>
                  <a:pt x="57" y="232"/>
                  <a:pt x="57" y="232"/>
                  <a:pt x="57" y="232"/>
                </a:cubicBezTo>
                <a:cubicBezTo>
                  <a:pt x="59" y="232"/>
                  <a:pt x="61" y="234"/>
                  <a:pt x="61" y="236"/>
                </a:cubicBezTo>
                <a:cubicBezTo>
                  <a:pt x="61" y="238"/>
                  <a:pt x="59" y="240"/>
                  <a:pt x="57" y="240"/>
                </a:cubicBezTo>
                <a:close/>
                <a:moveTo>
                  <a:pt x="179" y="240"/>
                </a:moveTo>
                <a:cubicBezTo>
                  <a:pt x="112" y="240"/>
                  <a:pt x="112" y="240"/>
                  <a:pt x="112" y="240"/>
                </a:cubicBezTo>
                <a:cubicBezTo>
                  <a:pt x="110" y="240"/>
                  <a:pt x="108" y="238"/>
                  <a:pt x="108" y="236"/>
                </a:cubicBezTo>
                <a:cubicBezTo>
                  <a:pt x="108" y="234"/>
                  <a:pt x="110" y="232"/>
                  <a:pt x="112" y="232"/>
                </a:cubicBezTo>
                <a:cubicBezTo>
                  <a:pt x="179" y="232"/>
                  <a:pt x="179" y="232"/>
                  <a:pt x="179" y="232"/>
                </a:cubicBezTo>
                <a:cubicBezTo>
                  <a:pt x="181" y="232"/>
                  <a:pt x="183" y="234"/>
                  <a:pt x="183" y="236"/>
                </a:cubicBezTo>
                <a:cubicBezTo>
                  <a:pt x="183" y="238"/>
                  <a:pt x="181" y="240"/>
                  <a:pt x="179" y="240"/>
                </a:cubicBezTo>
                <a:close/>
                <a:moveTo>
                  <a:pt x="226" y="250"/>
                </a:moveTo>
                <a:cubicBezTo>
                  <a:pt x="223" y="250"/>
                  <a:pt x="223" y="250"/>
                  <a:pt x="223" y="250"/>
                </a:cubicBezTo>
                <a:cubicBezTo>
                  <a:pt x="222" y="254"/>
                  <a:pt x="221" y="258"/>
                  <a:pt x="219" y="261"/>
                </a:cubicBezTo>
                <a:cubicBezTo>
                  <a:pt x="232" y="261"/>
                  <a:pt x="232" y="261"/>
                  <a:pt x="232" y="261"/>
                </a:cubicBezTo>
                <a:cubicBezTo>
                  <a:pt x="237" y="261"/>
                  <a:pt x="241" y="257"/>
                  <a:pt x="241" y="252"/>
                </a:cubicBezTo>
                <a:cubicBezTo>
                  <a:pt x="241" y="242"/>
                  <a:pt x="241" y="242"/>
                  <a:pt x="241" y="242"/>
                </a:cubicBezTo>
                <a:cubicBezTo>
                  <a:pt x="241" y="237"/>
                  <a:pt x="237" y="233"/>
                  <a:pt x="232" y="233"/>
                </a:cubicBezTo>
                <a:cubicBezTo>
                  <a:pt x="223" y="233"/>
                  <a:pt x="223" y="233"/>
                  <a:pt x="223" y="233"/>
                </a:cubicBezTo>
                <a:cubicBezTo>
                  <a:pt x="223" y="244"/>
                  <a:pt x="223" y="244"/>
                  <a:pt x="223" y="244"/>
                </a:cubicBezTo>
                <a:cubicBezTo>
                  <a:pt x="226" y="244"/>
                  <a:pt x="226" y="244"/>
                  <a:pt x="226" y="244"/>
                </a:cubicBezTo>
                <a:cubicBezTo>
                  <a:pt x="228" y="244"/>
                  <a:pt x="229" y="245"/>
                  <a:pt x="229" y="247"/>
                </a:cubicBezTo>
                <a:cubicBezTo>
                  <a:pt x="229" y="249"/>
                  <a:pt x="228" y="250"/>
                  <a:pt x="226" y="250"/>
                </a:cubicBezTo>
                <a:close/>
                <a:moveTo>
                  <a:pt x="241" y="185"/>
                </a:moveTo>
                <a:cubicBezTo>
                  <a:pt x="241" y="174"/>
                  <a:pt x="241" y="174"/>
                  <a:pt x="241" y="174"/>
                </a:cubicBezTo>
                <a:cubicBezTo>
                  <a:pt x="241" y="169"/>
                  <a:pt x="237" y="165"/>
                  <a:pt x="232" y="165"/>
                </a:cubicBezTo>
                <a:cubicBezTo>
                  <a:pt x="223" y="165"/>
                  <a:pt x="223" y="165"/>
                  <a:pt x="223" y="165"/>
                </a:cubicBezTo>
                <a:cubicBezTo>
                  <a:pt x="223" y="176"/>
                  <a:pt x="223" y="176"/>
                  <a:pt x="223" y="176"/>
                </a:cubicBezTo>
                <a:cubicBezTo>
                  <a:pt x="226" y="176"/>
                  <a:pt x="226" y="176"/>
                  <a:pt x="226" y="176"/>
                </a:cubicBezTo>
                <a:cubicBezTo>
                  <a:pt x="228" y="176"/>
                  <a:pt x="229" y="178"/>
                  <a:pt x="229" y="179"/>
                </a:cubicBezTo>
                <a:cubicBezTo>
                  <a:pt x="229" y="181"/>
                  <a:pt x="228" y="182"/>
                  <a:pt x="226" y="182"/>
                </a:cubicBezTo>
                <a:cubicBezTo>
                  <a:pt x="223" y="182"/>
                  <a:pt x="223" y="182"/>
                  <a:pt x="223" y="182"/>
                </a:cubicBezTo>
                <a:cubicBezTo>
                  <a:pt x="223" y="194"/>
                  <a:pt x="223" y="194"/>
                  <a:pt x="223" y="194"/>
                </a:cubicBezTo>
                <a:cubicBezTo>
                  <a:pt x="232" y="194"/>
                  <a:pt x="232" y="194"/>
                  <a:pt x="232" y="194"/>
                </a:cubicBezTo>
                <a:cubicBezTo>
                  <a:pt x="237" y="194"/>
                  <a:pt x="241" y="190"/>
                  <a:pt x="241" y="185"/>
                </a:cubicBezTo>
                <a:close/>
                <a:moveTo>
                  <a:pt x="241" y="151"/>
                </a:moveTo>
                <a:cubicBezTo>
                  <a:pt x="241" y="141"/>
                  <a:pt x="241" y="141"/>
                  <a:pt x="241" y="141"/>
                </a:cubicBezTo>
                <a:cubicBezTo>
                  <a:pt x="241" y="136"/>
                  <a:pt x="237" y="132"/>
                  <a:pt x="232" y="132"/>
                </a:cubicBezTo>
                <a:cubicBezTo>
                  <a:pt x="223" y="132"/>
                  <a:pt x="223" y="132"/>
                  <a:pt x="223" y="132"/>
                </a:cubicBezTo>
                <a:cubicBezTo>
                  <a:pt x="223" y="143"/>
                  <a:pt x="223" y="143"/>
                  <a:pt x="223" y="143"/>
                </a:cubicBezTo>
                <a:cubicBezTo>
                  <a:pt x="226" y="143"/>
                  <a:pt x="226" y="143"/>
                  <a:pt x="226" y="143"/>
                </a:cubicBezTo>
                <a:cubicBezTo>
                  <a:pt x="228" y="143"/>
                  <a:pt x="229" y="144"/>
                  <a:pt x="229" y="146"/>
                </a:cubicBezTo>
                <a:cubicBezTo>
                  <a:pt x="229" y="147"/>
                  <a:pt x="228" y="149"/>
                  <a:pt x="226" y="149"/>
                </a:cubicBezTo>
                <a:cubicBezTo>
                  <a:pt x="223" y="149"/>
                  <a:pt x="223" y="149"/>
                  <a:pt x="223" y="149"/>
                </a:cubicBezTo>
                <a:cubicBezTo>
                  <a:pt x="223" y="160"/>
                  <a:pt x="223" y="160"/>
                  <a:pt x="223" y="160"/>
                </a:cubicBezTo>
                <a:cubicBezTo>
                  <a:pt x="232" y="160"/>
                  <a:pt x="232" y="160"/>
                  <a:pt x="232" y="160"/>
                </a:cubicBezTo>
                <a:cubicBezTo>
                  <a:pt x="237" y="160"/>
                  <a:pt x="241" y="156"/>
                  <a:pt x="241" y="151"/>
                </a:cubicBezTo>
                <a:close/>
                <a:moveTo>
                  <a:pt x="187" y="127"/>
                </a:moveTo>
                <a:cubicBezTo>
                  <a:pt x="44" y="127"/>
                  <a:pt x="44" y="127"/>
                  <a:pt x="44" y="127"/>
                </a:cubicBezTo>
                <a:cubicBezTo>
                  <a:pt x="38" y="127"/>
                  <a:pt x="32" y="133"/>
                  <a:pt x="32" y="139"/>
                </a:cubicBezTo>
                <a:cubicBezTo>
                  <a:pt x="32" y="153"/>
                  <a:pt x="32" y="153"/>
                  <a:pt x="32" y="153"/>
                </a:cubicBezTo>
                <a:cubicBezTo>
                  <a:pt x="32" y="160"/>
                  <a:pt x="38" y="165"/>
                  <a:pt x="44" y="165"/>
                </a:cubicBezTo>
                <a:cubicBezTo>
                  <a:pt x="187" y="165"/>
                  <a:pt x="187" y="165"/>
                  <a:pt x="187" y="165"/>
                </a:cubicBezTo>
                <a:cubicBezTo>
                  <a:pt x="194" y="165"/>
                  <a:pt x="199" y="160"/>
                  <a:pt x="199" y="153"/>
                </a:cubicBezTo>
                <a:cubicBezTo>
                  <a:pt x="199" y="139"/>
                  <a:pt x="199" y="139"/>
                  <a:pt x="199" y="139"/>
                </a:cubicBezTo>
                <a:cubicBezTo>
                  <a:pt x="199" y="133"/>
                  <a:pt x="194" y="127"/>
                  <a:pt x="187" y="127"/>
                </a:cubicBezTo>
                <a:close/>
                <a:moveTo>
                  <a:pt x="57" y="150"/>
                </a:moveTo>
                <a:cubicBezTo>
                  <a:pt x="56" y="150"/>
                  <a:pt x="56" y="150"/>
                  <a:pt x="56" y="150"/>
                </a:cubicBezTo>
                <a:cubicBezTo>
                  <a:pt x="54" y="150"/>
                  <a:pt x="52" y="148"/>
                  <a:pt x="52" y="146"/>
                </a:cubicBezTo>
                <a:cubicBezTo>
                  <a:pt x="52" y="144"/>
                  <a:pt x="54" y="142"/>
                  <a:pt x="56" y="142"/>
                </a:cubicBezTo>
                <a:cubicBezTo>
                  <a:pt x="57" y="142"/>
                  <a:pt x="57" y="142"/>
                  <a:pt x="57" y="142"/>
                </a:cubicBezTo>
                <a:cubicBezTo>
                  <a:pt x="59" y="142"/>
                  <a:pt x="61" y="144"/>
                  <a:pt x="61" y="146"/>
                </a:cubicBezTo>
                <a:cubicBezTo>
                  <a:pt x="61" y="148"/>
                  <a:pt x="59" y="150"/>
                  <a:pt x="57" y="150"/>
                </a:cubicBezTo>
                <a:close/>
                <a:moveTo>
                  <a:pt x="179" y="150"/>
                </a:moveTo>
                <a:cubicBezTo>
                  <a:pt x="112" y="150"/>
                  <a:pt x="112" y="150"/>
                  <a:pt x="112" y="150"/>
                </a:cubicBezTo>
                <a:cubicBezTo>
                  <a:pt x="110" y="150"/>
                  <a:pt x="108" y="148"/>
                  <a:pt x="108" y="146"/>
                </a:cubicBezTo>
                <a:cubicBezTo>
                  <a:pt x="108" y="144"/>
                  <a:pt x="110" y="142"/>
                  <a:pt x="112" y="142"/>
                </a:cubicBezTo>
                <a:cubicBezTo>
                  <a:pt x="179" y="142"/>
                  <a:pt x="179" y="142"/>
                  <a:pt x="179" y="142"/>
                </a:cubicBezTo>
                <a:cubicBezTo>
                  <a:pt x="181" y="142"/>
                  <a:pt x="183" y="144"/>
                  <a:pt x="183" y="146"/>
                </a:cubicBezTo>
                <a:cubicBezTo>
                  <a:pt x="183" y="148"/>
                  <a:pt x="181" y="150"/>
                  <a:pt x="179" y="150"/>
                </a:cubicBezTo>
                <a:close/>
                <a:moveTo>
                  <a:pt x="187" y="37"/>
                </a:moveTo>
                <a:cubicBezTo>
                  <a:pt x="44" y="37"/>
                  <a:pt x="44" y="37"/>
                  <a:pt x="44" y="37"/>
                </a:cubicBezTo>
                <a:cubicBezTo>
                  <a:pt x="38" y="37"/>
                  <a:pt x="32" y="43"/>
                  <a:pt x="32" y="49"/>
                </a:cubicBezTo>
                <a:cubicBezTo>
                  <a:pt x="32" y="63"/>
                  <a:pt x="32" y="63"/>
                  <a:pt x="32" y="63"/>
                </a:cubicBezTo>
                <a:cubicBezTo>
                  <a:pt x="32" y="70"/>
                  <a:pt x="38" y="75"/>
                  <a:pt x="44" y="75"/>
                </a:cubicBezTo>
                <a:cubicBezTo>
                  <a:pt x="187" y="75"/>
                  <a:pt x="187" y="75"/>
                  <a:pt x="187" y="75"/>
                </a:cubicBezTo>
                <a:cubicBezTo>
                  <a:pt x="194" y="75"/>
                  <a:pt x="199" y="70"/>
                  <a:pt x="199" y="63"/>
                </a:cubicBezTo>
                <a:cubicBezTo>
                  <a:pt x="199" y="49"/>
                  <a:pt x="199" y="49"/>
                  <a:pt x="199" y="49"/>
                </a:cubicBezTo>
                <a:cubicBezTo>
                  <a:pt x="199" y="43"/>
                  <a:pt x="194" y="37"/>
                  <a:pt x="187" y="37"/>
                </a:cubicBezTo>
                <a:close/>
                <a:moveTo>
                  <a:pt x="57" y="60"/>
                </a:moveTo>
                <a:cubicBezTo>
                  <a:pt x="56" y="60"/>
                  <a:pt x="56" y="60"/>
                  <a:pt x="56" y="60"/>
                </a:cubicBezTo>
                <a:cubicBezTo>
                  <a:pt x="54" y="60"/>
                  <a:pt x="52" y="58"/>
                  <a:pt x="52" y="56"/>
                </a:cubicBezTo>
                <a:cubicBezTo>
                  <a:pt x="52" y="54"/>
                  <a:pt x="54" y="52"/>
                  <a:pt x="56" y="52"/>
                </a:cubicBezTo>
                <a:cubicBezTo>
                  <a:pt x="57" y="52"/>
                  <a:pt x="57" y="52"/>
                  <a:pt x="57" y="52"/>
                </a:cubicBezTo>
                <a:cubicBezTo>
                  <a:pt x="59" y="52"/>
                  <a:pt x="61" y="54"/>
                  <a:pt x="61" y="56"/>
                </a:cubicBezTo>
                <a:cubicBezTo>
                  <a:pt x="61" y="58"/>
                  <a:pt x="59" y="60"/>
                  <a:pt x="57" y="60"/>
                </a:cubicBezTo>
                <a:close/>
                <a:moveTo>
                  <a:pt x="179" y="60"/>
                </a:moveTo>
                <a:cubicBezTo>
                  <a:pt x="112" y="60"/>
                  <a:pt x="112" y="60"/>
                  <a:pt x="112" y="60"/>
                </a:cubicBezTo>
                <a:cubicBezTo>
                  <a:pt x="110" y="60"/>
                  <a:pt x="108" y="58"/>
                  <a:pt x="108" y="56"/>
                </a:cubicBezTo>
                <a:cubicBezTo>
                  <a:pt x="108" y="54"/>
                  <a:pt x="110" y="52"/>
                  <a:pt x="112" y="52"/>
                </a:cubicBezTo>
                <a:cubicBezTo>
                  <a:pt x="179" y="52"/>
                  <a:pt x="179" y="52"/>
                  <a:pt x="179" y="52"/>
                </a:cubicBezTo>
                <a:cubicBezTo>
                  <a:pt x="181" y="52"/>
                  <a:pt x="183" y="54"/>
                  <a:pt x="183" y="56"/>
                </a:cubicBezTo>
                <a:cubicBezTo>
                  <a:pt x="183" y="58"/>
                  <a:pt x="181" y="60"/>
                  <a:pt x="179" y="60"/>
                </a:cubicBezTo>
                <a:close/>
                <a:moveTo>
                  <a:pt x="268" y="175"/>
                </a:moveTo>
                <a:cubicBezTo>
                  <a:pt x="268" y="172"/>
                  <a:pt x="265" y="169"/>
                  <a:pt x="261" y="169"/>
                </a:cubicBezTo>
                <a:cubicBezTo>
                  <a:pt x="261" y="190"/>
                  <a:pt x="261" y="190"/>
                  <a:pt x="261" y="190"/>
                </a:cubicBezTo>
                <a:cubicBezTo>
                  <a:pt x="265" y="189"/>
                  <a:pt x="268" y="187"/>
                  <a:pt x="268" y="183"/>
                </a:cubicBezTo>
                <a:lnTo>
                  <a:pt x="268" y="175"/>
                </a:lnTo>
                <a:close/>
                <a:moveTo>
                  <a:pt x="268" y="201"/>
                </a:moveTo>
                <a:cubicBezTo>
                  <a:pt x="268" y="197"/>
                  <a:pt x="265" y="194"/>
                  <a:pt x="261" y="194"/>
                </a:cubicBezTo>
                <a:cubicBezTo>
                  <a:pt x="261" y="215"/>
                  <a:pt x="261" y="215"/>
                  <a:pt x="261" y="215"/>
                </a:cubicBezTo>
                <a:cubicBezTo>
                  <a:pt x="265" y="215"/>
                  <a:pt x="268" y="212"/>
                  <a:pt x="268" y="208"/>
                </a:cubicBezTo>
                <a:lnTo>
                  <a:pt x="268" y="201"/>
                </a:lnTo>
                <a:close/>
                <a:moveTo>
                  <a:pt x="268" y="150"/>
                </a:moveTo>
                <a:cubicBezTo>
                  <a:pt x="268" y="146"/>
                  <a:pt x="265" y="143"/>
                  <a:pt x="261" y="143"/>
                </a:cubicBezTo>
                <a:cubicBezTo>
                  <a:pt x="261" y="164"/>
                  <a:pt x="261" y="164"/>
                  <a:pt x="261" y="164"/>
                </a:cubicBezTo>
                <a:cubicBezTo>
                  <a:pt x="265" y="164"/>
                  <a:pt x="268" y="161"/>
                  <a:pt x="268" y="158"/>
                </a:cubicBezTo>
                <a:lnTo>
                  <a:pt x="268" y="150"/>
                </a:lnTo>
                <a:close/>
                <a:moveTo>
                  <a:pt x="277" y="260"/>
                </a:moveTo>
                <a:cubicBezTo>
                  <a:pt x="277" y="147"/>
                  <a:pt x="277" y="147"/>
                  <a:pt x="277" y="147"/>
                </a:cubicBezTo>
                <a:cubicBezTo>
                  <a:pt x="277" y="139"/>
                  <a:pt x="270" y="132"/>
                  <a:pt x="261" y="132"/>
                </a:cubicBezTo>
                <a:cubicBezTo>
                  <a:pt x="261" y="132"/>
                  <a:pt x="261" y="132"/>
                  <a:pt x="261" y="132"/>
                </a:cubicBezTo>
                <a:cubicBezTo>
                  <a:pt x="261" y="135"/>
                  <a:pt x="261" y="135"/>
                  <a:pt x="261" y="135"/>
                </a:cubicBezTo>
                <a:cubicBezTo>
                  <a:pt x="261" y="135"/>
                  <a:pt x="261" y="135"/>
                  <a:pt x="261" y="135"/>
                </a:cubicBezTo>
                <a:cubicBezTo>
                  <a:pt x="268" y="135"/>
                  <a:pt x="273" y="141"/>
                  <a:pt x="273" y="147"/>
                </a:cubicBezTo>
                <a:cubicBezTo>
                  <a:pt x="273" y="260"/>
                  <a:pt x="273" y="260"/>
                  <a:pt x="273" y="260"/>
                </a:cubicBezTo>
                <a:cubicBezTo>
                  <a:pt x="273" y="267"/>
                  <a:pt x="268" y="272"/>
                  <a:pt x="261" y="272"/>
                </a:cubicBezTo>
                <a:cubicBezTo>
                  <a:pt x="254" y="272"/>
                  <a:pt x="254" y="272"/>
                  <a:pt x="254" y="272"/>
                </a:cubicBezTo>
                <a:cubicBezTo>
                  <a:pt x="252" y="275"/>
                  <a:pt x="249" y="277"/>
                  <a:pt x="246" y="279"/>
                </a:cubicBezTo>
                <a:cubicBezTo>
                  <a:pt x="246" y="279"/>
                  <a:pt x="246" y="279"/>
                  <a:pt x="246" y="279"/>
                </a:cubicBezTo>
                <a:cubicBezTo>
                  <a:pt x="264" y="279"/>
                  <a:pt x="264" y="279"/>
                  <a:pt x="264" y="279"/>
                </a:cubicBezTo>
                <a:cubicBezTo>
                  <a:pt x="267" y="274"/>
                  <a:pt x="267" y="274"/>
                  <a:pt x="267" y="274"/>
                </a:cubicBezTo>
                <a:cubicBezTo>
                  <a:pt x="273" y="272"/>
                  <a:pt x="277" y="267"/>
                  <a:pt x="277" y="260"/>
                </a:cubicBezTo>
                <a:close/>
                <a:moveTo>
                  <a:pt x="268" y="226"/>
                </a:moveTo>
                <a:cubicBezTo>
                  <a:pt x="268" y="222"/>
                  <a:pt x="265" y="219"/>
                  <a:pt x="261" y="219"/>
                </a:cubicBezTo>
                <a:cubicBezTo>
                  <a:pt x="261" y="240"/>
                  <a:pt x="261" y="240"/>
                  <a:pt x="261" y="240"/>
                </a:cubicBezTo>
                <a:cubicBezTo>
                  <a:pt x="265" y="240"/>
                  <a:pt x="268" y="237"/>
                  <a:pt x="268" y="234"/>
                </a:cubicBezTo>
                <a:lnTo>
                  <a:pt x="268" y="226"/>
                </a:lnTo>
                <a:close/>
                <a:moveTo>
                  <a:pt x="261" y="245"/>
                </a:moveTo>
                <a:cubicBezTo>
                  <a:pt x="261" y="254"/>
                  <a:pt x="261" y="254"/>
                  <a:pt x="261" y="254"/>
                </a:cubicBezTo>
                <a:cubicBezTo>
                  <a:pt x="261" y="258"/>
                  <a:pt x="260" y="262"/>
                  <a:pt x="259" y="266"/>
                </a:cubicBezTo>
                <a:cubicBezTo>
                  <a:pt x="261" y="266"/>
                  <a:pt x="261" y="266"/>
                  <a:pt x="261" y="266"/>
                </a:cubicBezTo>
                <a:cubicBezTo>
                  <a:pt x="265" y="266"/>
                  <a:pt x="268" y="263"/>
                  <a:pt x="268" y="259"/>
                </a:cubicBezTo>
                <a:cubicBezTo>
                  <a:pt x="268" y="251"/>
                  <a:pt x="268" y="251"/>
                  <a:pt x="268" y="251"/>
                </a:cubicBezTo>
                <a:cubicBezTo>
                  <a:pt x="268" y="248"/>
                  <a:pt x="265" y="245"/>
                  <a:pt x="261" y="245"/>
                </a:cubicBezTo>
                <a:close/>
                <a:moveTo>
                  <a:pt x="253" y="254"/>
                </a:moveTo>
                <a:cubicBezTo>
                  <a:pt x="253" y="103"/>
                  <a:pt x="253" y="103"/>
                  <a:pt x="253" y="103"/>
                </a:cubicBezTo>
                <a:cubicBezTo>
                  <a:pt x="253" y="92"/>
                  <a:pt x="244" y="83"/>
                  <a:pt x="233" y="83"/>
                </a:cubicBezTo>
                <a:cubicBezTo>
                  <a:pt x="223" y="83"/>
                  <a:pt x="223" y="83"/>
                  <a:pt x="223" y="83"/>
                </a:cubicBezTo>
                <a:cubicBezTo>
                  <a:pt x="223" y="87"/>
                  <a:pt x="223" y="87"/>
                  <a:pt x="223" y="87"/>
                </a:cubicBezTo>
                <a:cubicBezTo>
                  <a:pt x="233" y="87"/>
                  <a:pt x="233" y="87"/>
                  <a:pt x="233" y="87"/>
                </a:cubicBezTo>
                <a:cubicBezTo>
                  <a:pt x="242" y="87"/>
                  <a:pt x="249" y="94"/>
                  <a:pt x="249" y="103"/>
                </a:cubicBezTo>
                <a:cubicBezTo>
                  <a:pt x="249" y="254"/>
                  <a:pt x="249" y="254"/>
                  <a:pt x="249" y="254"/>
                </a:cubicBezTo>
                <a:cubicBezTo>
                  <a:pt x="249" y="262"/>
                  <a:pt x="242" y="269"/>
                  <a:pt x="233" y="269"/>
                </a:cubicBezTo>
                <a:cubicBezTo>
                  <a:pt x="213" y="269"/>
                  <a:pt x="213" y="269"/>
                  <a:pt x="213" y="269"/>
                </a:cubicBezTo>
                <a:cubicBezTo>
                  <a:pt x="211" y="271"/>
                  <a:pt x="209" y="273"/>
                  <a:pt x="207" y="275"/>
                </a:cubicBezTo>
                <a:cubicBezTo>
                  <a:pt x="209" y="279"/>
                  <a:pt x="209" y="279"/>
                  <a:pt x="209" y="279"/>
                </a:cubicBezTo>
                <a:cubicBezTo>
                  <a:pt x="237" y="279"/>
                  <a:pt x="237" y="279"/>
                  <a:pt x="237" y="279"/>
                </a:cubicBezTo>
                <a:cubicBezTo>
                  <a:pt x="240" y="273"/>
                  <a:pt x="240" y="273"/>
                  <a:pt x="240" y="273"/>
                </a:cubicBezTo>
                <a:cubicBezTo>
                  <a:pt x="248" y="270"/>
                  <a:pt x="253" y="262"/>
                  <a:pt x="253" y="254"/>
                </a:cubicBezTo>
                <a:close/>
                <a:moveTo>
                  <a:pt x="215" y="245"/>
                </a:moveTo>
                <a:cubicBezTo>
                  <a:pt x="215" y="44"/>
                  <a:pt x="215" y="44"/>
                  <a:pt x="215" y="44"/>
                </a:cubicBezTo>
                <a:cubicBezTo>
                  <a:pt x="215" y="29"/>
                  <a:pt x="203" y="17"/>
                  <a:pt x="188" y="17"/>
                </a:cubicBezTo>
                <a:cubicBezTo>
                  <a:pt x="43" y="17"/>
                  <a:pt x="43" y="17"/>
                  <a:pt x="43" y="17"/>
                </a:cubicBezTo>
                <a:cubicBezTo>
                  <a:pt x="28" y="17"/>
                  <a:pt x="16" y="29"/>
                  <a:pt x="16" y="44"/>
                </a:cubicBezTo>
                <a:cubicBezTo>
                  <a:pt x="16" y="245"/>
                  <a:pt x="16" y="245"/>
                  <a:pt x="16" y="245"/>
                </a:cubicBezTo>
                <a:cubicBezTo>
                  <a:pt x="16" y="257"/>
                  <a:pt x="24" y="266"/>
                  <a:pt x="34" y="270"/>
                </a:cubicBezTo>
                <a:cubicBezTo>
                  <a:pt x="38" y="279"/>
                  <a:pt x="38" y="279"/>
                  <a:pt x="38" y="279"/>
                </a:cubicBezTo>
                <a:cubicBezTo>
                  <a:pt x="75" y="279"/>
                  <a:pt x="75" y="279"/>
                  <a:pt x="75" y="279"/>
                </a:cubicBezTo>
                <a:cubicBezTo>
                  <a:pt x="79" y="272"/>
                  <a:pt x="79" y="272"/>
                  <a:pt x="79" y="272"/>
                </a:cubicBezTo>
                <a:cubicBezTo>
                  <a:pt x="153" y="272"/>
                  <a:pt x="153" y="272"/>
                  <a:pt x="153" y="272"/>
                </a:cubicBezTo>
                <a:cubicBezTo>
                  <a:pt x="156" y="279"/>
                  <a:pt x="156" y="279"/>
                  <a:pt x="156" y="279"/>
                </a:cubicBezTo>
                <a:cubicBezTo>
                  <a:pt x="193" y="279"/>
                  <a:pt x="193" y="279"/>
                  <a:pt x="193" y="279"/>
                </a:cubicBezTo>
                <a:cubicBezTo>
                  <a:pt x="198" y="270"/>
                  <a:pt x="198" y="270"/>
                  <a:pt x="198" y="270"/>
                </a:cubicBezTo>
                <a:cubicBezTo>
                  <a:pt x="208" y="266"/>
                  <a:pt x="215" y="257"/>
                  <a:pt x="215" y="245"/>
                </a:cubicBezTo>
                <a:close/>
                <a:moveTo>
                  <a:pt x="188" y="266"/>
                </a:moveTo>
                <a:cubicBezTo>
                  <a:pt x="43" y="266"/>
                  <a:pt x="43" y="266"/>
                  <a:pt x="43" y="266"/>
                </a:cubicBezTo>
                <a:cubicBezTo>
                  <a:pt x="32" y="266"/>
                  <a:pt x="22" y="257"/>
                  <a:pt x="22" y="245"/>
                </a:cubicBezTo>
                <a:cubicBezTo>
                  <a:pt x="22" y="44"/>
                  <a:pt x="22" y="44"/>
                  <a:pt x="22" y="44"/>
                </a:cubicBezTo>
                <a:cubicBezTo>
                  <a:pt x="22" y="32"/>
                  <a:pt x="32" y="23"/>
                  <a:pt x="43" y="23"/>
                </a:cubicBezTo>
                <a:cubicBezTo>
                  <a:pt x="188" y="23"/>
                  <a:pt x="188" y="23"/>
                  <a:pt x="188" y="23"/>
                </a:cubicBezTo>
                <a:cubicBezTo>
                  <a:pt x="200" y="23"/>
                  <a:pt x="209" y="32"/>
                  <a:pt x="209" y="44"/>
                </a:cubicBezTo>
                <a:cubicBezTo>
                  <a:pt x="209" y="245"/>
                  <a:pt x="209" y="245"/>
                  <a:pt x="209" y="245"/>
                </a:cubicBezTo>
                <a:cubicBezTo>
                  <a:pt x="209" y="257"/>
                  <a:pt x="200" y="266"/>
                  <a:pt x="188" y="266"/>
                </a:cubicBezTo>
                <a:close/>
                <a:moveTo>
                  <a:pt x="241" y="117"/>
                </a:moveTo>
                <a:cubicBezTo>
                  <a:pt x="241" y="107"/>
                  <a:pt x="241" y="107"/>
                  <a:pt x="241" y="107"/>
                </a:cubicBezTo>
                <a:cubicBezTo>
                  <a:pt x="241" y="102"/>
                  <a:pt x="237" y="98"/>
                  <a:pt x="232" y="98"/>
                </a:cubicBezTo>
                <a:cubicBezTo>
                  <a:pt x="223" y="98"/>
                  <a:pt x="223" y="98"/>
                  <a:pt x="223" y="98"/>
                </a:cubicBezTo>
                <a:cubicBezTo>
                  <a:pt x="223" y="109"/>
                  <a:pt x="223" y="109"/>
                  <a:pt x="223" y="109"/>
                </a:cubicBezTo>
                <a:cubicBezTo>
                  <a:pt x="226" y="109"/>
                  <a:pt x="226" y="109"/>
                  <a:pt x="226" y="109"/>
                </a:cubicBezTo>
                <a:cubicBezTo>
                  <a:pt x="228" y="109"/>
                  <a:pt x="229" y="110"/>
                  <a:pt x="229" y="112"/>
                </a:cubicBezTo>
                <a:cubicBezTo>
                  <a:pt x="229" y="114"/>
                  <a:pt x="228" y="115"/>
                  <a:pt x="226" y="115"/>
                </a:cubicBezTo>
                <a:cubicBezTo>
                  <a:pt x="223" y="115"/>
                  <a:pt x="223" y="115"/>
                  <a:pt x="223" y="115"/>
                </a:cubicBezTo>
                <a:cubicBezTo>
                  <a:pt x="223" y="126"/>
                  <a:pt x="223" y="126"/>
                  <a:pt x="223" y="126"/>
                </a:cubicBezTo>
                <a:cubicBezTo>
                  <a:pt x="232" y="126"/>
                  <a:pt x="232" y="126"/>
                  <a:pt x="232" y="126"/>
                </a:cubicBezTo>
                <a:cubicBezTo>
                  <a:pt x="237" y="126"/>
                  <a:pt x="241" y="122"/>
                  <a:pt x="241" y="117"/>
                </a:cubicBezTo>
                <a:close/>
                <a:moveTo>
                  <a:pt x="4" y="88"/>
                </a:moveTo>
                <a:cubicBezTo>
                  <a:pt x="0" y="88"/>
                  <a:pt x="0" y="88"/>
                  <a:pt x="0" y="88"/>
                </a:cubicBezTo>
                <a:cubicBezTo>
                  <a:pt x="0" y="96"/>
                  <a:pt x="0" y="96"/>
                  <a:pt x="0" y="96"/>
                </a:cubicBezTo>
                <a:cubicBezTo>
                  <a:pt x="4" y="96"/>
                  <a:pt x="4" y="96"/>
                  <a:pt x="4" y="96"/>
                </a:cubicBezTo>
                <a:lnTo>
                  <a:pt x="4" y="88"/>
                </a:lnTo>
                <a:close/>
                <a:moveTo>
                  <a:pt x="125" y="0"/>
                </a:moveTo>
                <a:cubicBezTo>
                  <a:pt x="117" y="0"/>
                  <a:pt x="117" y="0"/>
                  <a:pt x="117" y="0"/>
                </a:cubicBezTo>
                <a:cubicBezTo>
                  <a:pt x="117" y="4"/>
                  <a:pt x="117" y="4"/>
                  <a:pt x="117" y="4"/>
                </a:cubicBezTo>
                <a:cubicBezTo>
                  <a:pt x="125" y="4"/>
                  <a:pt x="125" y="4"/>
                  <a:pt x="125" y="4"/>
                </a:cubicBezTo>
                <a:lnTo>
                  <a:pt x="125" y="0"/>
                </a:lnTo>
                <a:close/>
                <a:moveTo>
                  <a:pt x="61" y="0"/>
                </a:moveTo>
                <a:cubicBezTo>
                  <a:pt x="53" y="0"/>
                  <a:pt x="53" y="0"/>
                  <a:pt x="53" y="0"/>
                </a:cubicBezTo>
                <a:cubicBezTo>
                  <a:pt x="53" y="4"/>
                  <a:pt x="53" y="4"/>
                  <a:pt x="53" y="4"/>
                </a:cubicBezTo>
                <a:cubicBezTo>
                  <a:pt x="61" y="4"/>
                  <a:pt x="61" y="4"/>
                  <a:pt x="61" y="4"/>
                </a:cubicBezTo>
                <a:lnTo>
                  <a:pt x="61" y="0"/>
                </a:lnTo>
                <a:close/>
                <a:moveTo>
                  <a:pt x="42" y="4"/>
                </a:moveTo>
                <a:cubicBezTo>
                  <a:pt x="45" y="4"/>
                  <a:pt x="45" y="4"/>
                  <a:pt x="45" y="4"/>
                </a:cubicBezTo>
                <a:cubicBezTo>
                  <a:pt x="45" y="0"/>
                  <a:pt x="45" y="0"/>
                  <a:pt x="45" y="0"/>
                </a:cubicBezTo>
                <a:cubicBezTo>
                  <a:pt x="42" y="0"/>
                  <a:pt x="42" y="0"/>
                  <a:pt x="42" y="0"/>
                </a:cubicBezTo>
                <a:cubicBezTo>
                  <a:pt x="40" y="0"/>
                  <a:pt x="39" y="0"/>
                  <a:pt x="37" y="1"/>
                </a:cubicBezTo>
                <a:cubicBezTo>
                  <a:pt x="37" y="5"/>
                  <a:pt x="37" y="5"/>
                  <a:pt x="37" y="5"/>
                </a:cubicBezTo>
                <a:cubicBezTo>
                  <a:pt x="39" y="4"/>
                  <a:pt x="40" y="4"/>
                  <a:pt x="42" y="4"/>
                </a:cubicBezTo>
                <a:close/>
                <a:moveTo>
                  <a:pt x="8" y="25"/>
                </a:moveTo>
                <a:cubicBezTo>
                  <a:pt x="4" y="24"/>
                  <a:pt x="4" y="24"/>
                  <a:pt x="4" y="24"/>
                </a:cubicBezTo>
                <a:cubicBezTo>
                  <a:pt x="3" y="26"/>
                  <a:pt x="2" y="29"/>
                  <a:pt x="1" y="32"/>
                </a:cubicBezTo>
                <a:cubicBezTo>
                  <a:pt x="5" y="33"/>
                  <a:pt x="5" y="33"/>
                  <a:pt x="5" y="33"/>
                </a:cubicBezTo>
                <a:cubicBezTo>
                  <a:pt x="6" y="30"/>
                  <a:pt x="7" y="28"/>
                  <a:pt x="8" y="25"/>
                </a:cubicBezTo>
                <a:close/>
                <a:moveTo>
                  <a:pt x="93" y="0"/>
                </a:moveTo>
                <a:cubicBezTo>
                  <a:pt x="85" y="0"/>
                  <a:pt x="85" y="0"/>
                  <a:pt x="85" y="0"/>
                </a:cubicBezTo>
                <a:cubicBezTo>
                  <a:pt x="85" y="4"/>
                  <a:pt x="85" y="4"/>
                  <a:pt x="85" y="4"/>
                </a:cubicBezTo>
                <a:cubicBezTo>
                  <a:pt x="93" y="4"/>
                  <a:pt x="93" y="4"/>
                  <a:pt x="93" y="4"/>
                </a:cubicBezTo>
                <a:lnTo>
                  <a:pt x="93" y="0"/>
                </a:lnTo>
                <a:close/>
                <a:moveTo>
                  <a:pt x="77" y="0"/>
                </a:moveTo>
                <a:cubicBezTo>
                  <a:pt x="69" y="0"/>
                  <a:pt x="69" y="0"/>
                  <a:pt x="69" y="0"/>
                </a:cubicBezTo>
                <a:cubicBezTo>
                  <a:pt x="69" y="4"/>
                  <a:pt x="69" y="4"/>
                  <a:pt x="69" y="4"/>
                </a:cubicBezTo>
                <a:cubicBezTo>
                  <a:pt x="77" y="4"/>
                  <a:pt x="77" y="4"/>
                  <a:pt x="77" y="4"/>
                </a:cubicBezTo>
                <a:lnTo>
                  <a:pt x="77" y="0"/>
                </a:lnTo>
                <a:close/>
                <a:moveTo>
                  <a:pt x="141" y="0"/>
                </a:moveTo>
                <a:cubicBezTo>
                  <a:pt x="133" y="0"/>
                  <a:pt x="133" y="0"/>
                  <a:pt x="133" y="0"/>
                </a:cubicBezTo>
                <a:cubicBezTo>
                  <a:pt x="133" y="4"/>
                  <a:pt x="133" y="4"/>
                  <a:pt x="133" y="4"/>
                </a:cubicBezTo>
                <a:cubicBezTo>
                  <a:pt x="141" y="4"/>
                  <a:pt x="141" y="4"/>
                  <a:pt x="141" y="4"/>
                </a:cubicBezTo>
                <a:lnTo>
                  <a:pt x="141" y="0"/>
                </a:lnTo>
                <a:close/>
                <a:moveTo>
                  <a:pt x="4" y="56"/>
                </a:moveTo>
                <a:cubicBezTo>
                  <a:pt x="0" y="56"/>
                  <a:pt x="0" y="56"/>
                  <a:pt x="0" y="56"/>
                </a:cubicBezTo>
                <a:cubicBezTo>
                  <a:pt x="0" y="64"/>
                  <a:pt x="0" y="64"/>
                  <a:pt x="0" y="64"/>
                </a:cubicBezTo>
                <a:cubicBezTo>
                  <a:pt x="4" y="64"/>
                  <a:pt x="4" y="64"/>
                  <a:pt x="4" y="64"/>
                </a:cubicBezTo>
                <a:lnTo>
                  <a:pt x="4" y="56"/>
                </a:lnTo>
                <a:close/>
                <a:moveTo>
                  <a:pt x="4" y="42"/>
                </a:moveTo>
                <a:cubicBezTo>
                  <a:pt x="4" y="42"/>
                  <a:pt x="4" y="41"/>
                  <a:pt x="4" y="40"/>
                </a:cubicBezTo>
                <a:cubicBezTo>
                  <a:pt x="0" y="40"/>
                  <a:pt x="0" y="40"/>
                  <a:pt x="0" y="40"/>
                </a:cubicBezTo>
                <a:cubicBezTo>
                  <a:pt x="0" y="41"/>
                  <a:pt x="0" y="41"/>
                  <a:pt x="0" y="42"/>
                </a:cubicBezTo>
                <a:cubicBezTo>
                  <a:pt x="0" y="48"/>
                  <a:pt x="0" y="48"/>
                  <a:pt x="0" y="48"/>
                </a:cubicBezTo>
                <a:cubicBezTo>
                  <a:pt x="4" y="48"/>
                  <a:pt x="4" y="48"/>
                  <a:pt x="4" y="48"/>
                </a:cubicBezTo>
                <a:lnTo>
                  <a:pt x="4" y="42"/>
                </a:lnTo>
                <a:close/>
                <a:moveTo>
                  <a:pt x="17" y="14"/>
                </a:moveTo>
                <a:cubicBezTo>
                  <a:pt x="14" y="11"/>
                  <a:pt x="14" y="11"/>
                  <a:pt x="14" y="11"/>
                </a:cubicBezTo>
                <a:cubicBezTo>
                  <a:pt x="12" y="12"/>
                  <a:pt x="10" y="14"/>
                  <a:pt x="9" y="17"/>
                </a:cubicBezTo>
                <a:cubicBezTo>
                  <a:pt x="12" y="19"/>
                  <a:pt x="12" y="19"/>
                  <a:pt x="12" y="19"/>
                </a:cubicBezTo>
                <a:cubicBezTo>
                  <a:pt x="13" y="17"/>
                  <a:pt x="15" y="15"/>
                  <a:pt x="17" y="14"/>
                </a:cubicBezTo>
                <a:close/>
                <a:moveTo>
                  <a:pt x="4" y="72"/>
                </a:moveTo>
                <a:cubicBezTo>
                  <a:pt x="0" y="72"/>
                  <a:pt x="0" y="72"/>
                  <a:pt x="0" y="72"/>
                </a:cubicBezTo>
                <a:cubicBezTo>
                  <a:pt x="0" y="80"/>
                  <a:pt x="0" y="80"/>
                  <a:pt x="0" y="80"/>
                </a:cubicBezTo>
                <a:cubicBezTo>
                  <a:pt x="4" y="80"/>
                  <a:pt x="4" y="80"/>
                  <a:pt x="4" y="80"/>
                </a:cubicBezTo>
                <a:lnTo>
                  <a:pt x="4" y="72"/>
                </a:lnTo>
                <a:close/>
                <a:moveTo>
                  <a:pt x="30" y="6"/>
                </a:moveTo>
                <a:cubicBezTo>
                  <a:pt x="29" y="2"/>
                  <a:pt x="29" y="2"/>
                  <a:pt x="29" y="2"/>
                </a:cubicBezTo>
                <a:cubicBezTo>
                  <a:pt x="26" y="3"/>
                  <a:pt x="24" y="4"/>
                  <a:pt x="21" y="6"/>
                </a:cubicBezTo>
                <a:cubicBezTo>
                  <a:pt x="23" y="9"/>
                  <a:pt x="23" y="9"/>
                  <a:pt x="23" y="9"/>
                </a:cubicBezTo>
                <a:cubicBezTo>
                  <a:pt x="25" y="8"/>
                  <a:pt x="28" y="7"/>
                  <a:pt x="30" y="6"/>
                </a:cubicBezTo>
                <a:close/>
                <a:moveTo>
                  <a:pt x="109" y="0"/>
                </a:moveTo>
                <a:cubicBezTo>
                  <a:pt x="101" y="0"/>
                  <a:pt x="101" y="0"/>
                  <a:pt x="101" y="0"/>
                </a:cubicBezTo>
                <a:cubicBezTo>
                  <a:pt x="101" y="4"/>
                  <a:pt x="101" y="4"/>
                  <a:pt x="101" y="4"/>
                </a:cubicBezTo>
                <a:cubicBezTo>
                  <a:pt x="109" y="4"/>
                  <a:pt x="109" y="4"/>
                  <a:pt x="109" y="4"/>
                </a:cubicBezTo>
                <a:lnTo>
                  <a:pt x="109" y="0"/>
                </a:lnTo>
                <a:close/>
                <a:moveTo>
                  <a:pt x="251" y="47"/>
                </a:moveTo>
                <a:cubicBezTo>
                  <a:pt x="247" y="40"/>
                  <a:pt x="247" y="40"/>
                  <a:pt x="247" y="40"/>
                </a:cubicBezTo>
                <a:cubicBezTo>
                  <a:pt x="244" y="42"/>
                  <a:pt x="244" y="42"/>
                  <a:pt x="244" y="42"/>
                </a:cubicBezTo>
                <a:cubicBezTo>
                  <a:pt x="247" y="49"/>
                  <a:pt x="247" y="49"/>
                  <a:pt x="247" y="49"/>
                </a:cubicBezTo>
                <a:lnTo>
                  <a:pt x="251" y="47"/>
                </a:lnTo>
                <a:close/>
                <a:moveTo>
                  <a:pt x="259" y="61"/>
                </a:moveTo>
                <a:cubicBezTo>
                  <a:pt x="255" y="54"/>
                  <a:pt x="255" y="54"/>
                  <a:pt x="255" y="54"/>
                </a:cubicBezTo>
                <a:cubicBezTo>
                  <a:pt x="251" y="56"/>
                  <a:pt x="251" y="56"/>
                  <a:pt x="251" y="56"/>
                </a:cubicBezTo>
                <a:cubicBezTo>
                  <a:pt x="255" y="63"/>
                  <a:pt x="255" y="63"/>
                  <a:pt x="255" y="63"/>
                </a:cubicBezTo>
                <a:lnTo>
                  <a:pt x="259" y="61"/>
                </a:lnTo>
                <a:close/>
                <a:moveTo>
                  <a:pt x="266" y="75"/>
                </a:moveTo>
                <a:cubicBezTo>
                  <a:pt x="262" y="68"/>
                  <a:pt x="262" y="68"/>
                  <a:pt x="262" y="68"/>
                </a:cubicBezTo>
                <a:cubicBezTo>
                  <a:pt x="259" y="70"/>
                  <a:pt x="259" y="70"/>
                  <a:pt x="259" y="70"/>
                </a:cubicBezTo>
                <a:cubicBezTo>
                  <a:pt x="263" y="77"/>
                  <a:pt x="263" y="77"/>
                  <a:pt x="263" y="77"/>
                </a:cubicBezTo>
                <a:lnTo>
                  <a:pt x="266" y="75"/>
                </a:lnTo>
                <a:close/>
                <a:moveTo>
                  <a:pt x="274" y="89"/>
                </a:moveTo>
                <a:cubicBezTo>
                  <a:pt x="270" y="82"/>
                  <a:pt x="270" y="82"/>
                  <a:pt x="270" y="82"/>
                </a:cubicBezTo>
                <a:cubicBezTo>
                  <a:pt x="266" y="84"/>
                  <a:pt x="266" y="84"/>
                  <a:pt x="266" y="84"/>
                </a:cubicBezTo>
                <a:cubicBezTo>
                  <a:pt x="270" y="91"/>
                  <a:pt x="270" y="91"/>
                  <a:pt x="270" y="91"/>
                </a:cubicBezTo>
                <a:lnTo>
                  <a:pt x="274" y="89"/>
                </a:lnTo>
                <a:close/>
                <a:moveTo>
                  <a:pt x="232" y="20"/>
                </a:moveTo>
                <a:cubicBezTo>
                  <a:pt x="231" y="19"/>
                  <a:pt x="228" y="17"/>
                  <a:pt x="226" y="15"/>
                </a:cubicBezTo>
                <a:cubicBezTo>
                  <a:pt x="224" y="19"/>
                  <a:pt x="224" y="19"/>
                  <a:pt x="224" y="19"/>
                </a:cubicBezTo>
                <a:cubicBezTo>
                  <a:pt x="226" y="20"/>
                  <a:pt x="228" y="22"/>
                  <a:pt x="230" y="23"/>
                </a:cubicBezTo>
                <a:lnTo>
                  <a:pt x="232" y="20"/>
                </a:lnTo>
                <a:close/>
                <a:moveTo>
                  <a:pt x="243" y="33"/>
                </a:moveTo>
                <a:cubicBezTo>
                  <a:pt x="242" y="31"/>
                  <a:pt x="240" y="28"/>
                  <a:pt x="238" y="26"/>
                </a:cubicBezTo>
                <a:cubicBezTo>
                  <a:pt x="235" y="29"/>
                  <a:pt x="235" y="29"/>
                  <a:pt x="235" y="29"/>
                </a:cubicBezTo>
                <a:cubicBezTo>
                  <a:pt x="237" y="31"/>
                  <a:pt x="239" y="33"/>
                  <a:pt x="240" y="35"/>
                </a:cubicBezTo>
                <a:lnTo>
                  <a:pt x="243" y="33"/>
                </a:lnTo>
                <a:close/>
                <a:moveTo>
                  <a:pt x="277" y="105"/>
                </a:moveTo>
                <a:cubicBezTo>
                  <a:pt x="280" y="104"/>
                  <a:pt x="280" y="104"/>
                  <a:pt x="280" y="104"/>
                </a:cubicBezTo>
                <a:cubicBezTo>
                  <a:pt x="279" y="101"/>
                  <a:pt x="278" y="99"/>
                  <a:pt x="277" y="96"/>
                </a:cubicBezTo>
                <a:cubicBezTo>
                  <a:pt x="274" y="98"/>
                  <a:pt x="274" y="98"/>
                  <a:pt x="274" y="98"/>
                </a:cubicBezTo>
                <a:cubicBezTo>
                  <a:pt x="275" y="100"/>
                  <a:pt x="276" y="103"/>
                  <a:pt x="277" y="105"/>
                </a:cubicBezTo>
                <a:close/>
                <a:moveTo>
                  <a:pt x="205" y="4"/>
                </a:moveTo>
                <a:cubicBezTo>
                  <a:pt x="202" y="3"/>
                  <a:pt x="199" y="2"/>
                  <a:pt x="197" y="2"/>
                </a:cubicBezTo>
                <a:cubicBezTo>
                  <a:pt x="196" y="6"/>
                  <a:pt x="196" y="6"/>
                  <a:pt x="196" y="6"/>
                </a:cubicBezTo>
                <a:cubicBezTo>
                  <a:pt x="198" y="6"/>
                  <a:pt x="201" y="7"/>
                  <a:pt x="203" y="8"/>
                </a:cubicBezTo>
                <a:lnTo>
                  <a:pt x="205" y="4"/>
                </a:lnTo>
                <a:close/>
                <a:moveTo>
                  <a:pt x="157" y="0"/>
                </a:moveTo>
                <a:cubicBezTo>
                  <a:pt x="149" y="0"/>
                  <a:pt x="149" y="0"/>
                  <a:pt x="149" y="0"/>
                </a:cubicBezTo>
                <a:cubicBezTo>
                  <a:pt x="149" y="4"/>
                  <a:pt x="149" y="4"/>
                  <a:pt x="149" y="4"/>
                </a:cubicBezTo>
                <a:cubicBezTo>
                  <a:pt x="157" y="4"/>
                  <a:pt x="157" y="4"/>
                  <a:pt x="157" y="4"/>
                </a:cubicBezTo>
                <a:lnTo>
                  <a:pt x="157" y="0"/>
                </a:lnTo>
                <a:close/>
                <a:moveTo>
                  <a:pt x="172" y="0"/>
                </a:moveTo>
                <a:cubicBezTo>
                  <a:pt x="165" y="0"/>
                  <a:pt x="165" y="0"/>
                  <a:pt x="165" y="0"/>
                </a:cubicBezTo>
                <a:cubicBezTo>
                  <a:pt x="165" y="4"/>
                  <a:pt x="165" y="4"/>
                  <a:pt x="165" y="4"/>
                </a:cubicBezTo>
                <a:cubicBezTo>
                  <a:pt x="172" y="4"/>
                  <a:pt x="172" y="4"/>
                  <a:pt x="172" y="4"/>
                </a:cubicBezTo>
                <a:lnTo>
                  <a:pt x="172" y="0"/>
                </a:lnTo>
                <a:close/>
                <a:moveTo>
                  <a:pt x="188" y="4"/>
                </a:moveTo>
                <a:cubicBezTo>
                  <a:pt x="189" y="0"/>
                  <a:pt x="189" y="0"/>
                  <a:pt x="189" y="0"/>
                </a:cubicBezTo>
                <a:cubicBezTo>
                  <a:pt x="187" y="0"/>
                  <a:pt x="186" y="0"/>
                  <a:pt x="185" y="0"/>
                </a:cubicBezTo>
                <a:cubicBezTo>
                  <a:pt x="180" y="0"/>
                  <a:pt x="180" y="0"/>
                  <a:pt x="180" y="0"/>
                </a:cubicBezTo>
                <a:cubicBezTo>
                  <a:pt x="180" y="4"/>
                  <a:pt x="180" y="4"/>
                  <a:pt x="180" y="4"/>
                </a:cubicBezTo>
                <a:cubicBezTo>
                  <a:pt x="185" y="4"/>
                  <a:pt x="185" y="4"/>
                  <a:pt x="185" y="4"/>
                </a:cubicBezTo>
                <a:cubicBezTo>
                  <a:pt x="186" y="4"/>
                  <a:pt x="187" y="4"/>
                  <a:pt x="188" y="4"/>
                </a:cubicBezTo>
                <a:close/>
                <a:moveTo>
                  <a:pt x="219" y="11"/>
                </a:moveTo>
                <a:cubicBezTo>
                  <a:pt x="217" y="9"/>
                  <a:pt x="215" y="8"/>
                  <a:pt x="212" y="7"/>
                </a:cubicBezTo>
                <a:cubicBezTo>
                  <a:pt x="210" y="11"/>
                  <a:pt x="210" y="11"/>
                  <a:pt x="210" y="11"/>
                </a:cubicBezTo>
                <a:cubicBezTo>
                  <a:pt x="213" y="12"/>
                  <a:pt x="215" y="13"/>
                  <a:pt x="217" y="14"/>
                </a:cubicBezTo>
                <a:lnTo>
                  <a:pt x="219" y="11"/>
                </a:lnTo>
                <a:close/>
                <a:moveTo>
                  <a:pt x="285" y="135"/>
                </a:moveTo>
                <a:cubicBezTo>
                  <a:pt x="289" y="135"/>
                  <a:pt x="289" y="135"/>
                  <a:pt x="289" y="135"/>
                </a:cubicBezTo>
                <a:cubicBezTo>
                  <a:pt x="289" y="132"/>
                  <a:pt x="288" y="129"/>
                  <a:pt x="288" y="127"/>
                </a:cubicBezTo>
                <a:cubicBezTo>
                  <a:pt x="284" y="128"/>
                  <a:pt x="284" y="128"/>
                  <a:pt x="284" y="128"/>
                </a:cubicBezTo>
                <a:cubicBezTo>
                  <a:pt x="284" y="130"/>
                  <a:pt x="285" y="133"/>
                  <a:pt x="285" y="135"/>
                </a:cubicBezTo>
                <a:close/>
                <a:moveTo>
                  <a:pt x="288" y="151"/>
                </a:moveTo>
                <a:cubicBezTo>
                  <a:pt x="292" y="150"/>
                  <a:pt x="292" y="150"/>
                  <a:pt x="292" y="150"/>
                </a:cubicBezTo>
                <a:cubicBezTo>
                  <a:pt x="292" y="148"/>
                  <a:pt x="291" y="145"/>
                  <a:pt x="291" y="142"/>
                </a:cubicBezTo>
                <a:cubicBezTo>
                  <a:pt x="287" y="143"/>
                  <a:pt x="287" y="143"/>
                  <a:pt x="287" y="143"/>
                </a:cubicBezTo>
                <a:cubicBezTo>
                  <a:pt x="287" y="146"/>
                  <a:pt x="288" y="148"/>
                  <a:pt x="288" y="151"/>
                </a:cubicBezTo>
                <a:close/>
                <a:moveTo>
                  <a:pt x="242" y="296"/>
                </a:moveTo>
                <a:cubicBezTo>
                  <a:pt x="250" y="296"/>
                  <a:pt x="250" y="296"/>
                  <a:pt x="250" y="296"/>
                </a:cubicBezTo>
                <a:cubicBezTo>
                  <a:pt x="250" y="292"/>
                  <a:pt x="250" y="292"/>
                  <a:pt x="250" y="292"/>
                </a:cubicBezTo>
                <a:cubicBezTo>
                  <a:pt x="242" y="292"/>
                  <a:pt x="242" y="292"/>
                  <a:pt x="242" y="292"/>
                </a:cubicBezTo>
                <a:lnTo>
                  <a:pt x="242" y="296"/>
                </a:lnTo>
                <a:close/>
                <a:moveTo>
                  <a:pt x="226" y="296"/>
                </a:moveTo>
                <a:cubicBezTo>
                  <a:pt x="234" y="296"/>
                  <a:pt x="234" y="296"/>
                  <a:pt x="234" y="296"/>
                </a:cubicBezTo>
                <a:cubicBezTo>
                  <a:pt x="234" y="292"/>
                  <a:pt x="234" y="292"/>
                  <a:pt x="234" y="292"/>
                </a:cubicBezTo>
                <a:cubicBezTo>
                  <a:pt x="226" y="292"/>
                  <a:pt x="226" y="292"/>
                  <a:pt x="226" y="292"/>
                </a:cubicBezTo>
                <a:lnTo>
                  <a:pt x="226" y="296"/>
                </a:lnTo>
                <a:close/>
                <a:moveTo>
                  <a:pt x="258" y="292"/>
                </a:moveTo>
                <a:cubicBezTo>
                  <a:pt x="259" y="296"/>
                  <a:pt x="259" y="296"/>
                  <a:pt x="259" y="296"/>
                </a:cubicBezTo>
                <a:cubicBezTo>
                  <a:pt x="261" y="295"/>
                  <a:pt x="264" y="294"/>
                  <a:pt x="267" y="293"/>
                </a:cubicBezTo>
                <a:cubicBezTo>
                  <a:pt x="265" y="290"/>
                  <a:pt x="265" y="290"/>
                  <a:pt x="265" y="290"/>
                </a:cubicBezTo>
                <a:cubicBezTo>
                  <a:pt x="263" y="291"/>
                  <a:pt x="260" y="291"/>
                  <a:pt x="258" y="292"/>
                </a:cubicBezTo>
                <a:close/>
                <a:moveTo>
                  <a:pt x="210" y="296"/>
                </a:moveTo>
                <a:cubicBezTo>
                  <a:pt x="218" y="296"/>
                  <a:pt x="218" y="296"/>
                  <a:pt x="218" y="296"/>
                </a:cubicBezTo>
                <a:cubicBezTo>
                  <a:pt x="218" y="292"/>
                  <a:pt x="218" y="292"/>
                  <a:pt x="218" y="292"/>
                </a:cubicBezTo>
                <a:cubicBezTo>
                  <a:pt x="210" y="292"/>
                  <a:pt x="210" y="292"/>
                  <a:pt x="210" y="292"/>
                </a:cubicBezTo>
                <a:lnTo>
                  <a:pt x="210" y="296"/>
                </a:lnTo>
                <a:close/>
                <a:moveTo>
                  <a:pt x="179" y="296"/>
                </a:moveTo>
                <a:cubicBezTo>
                  <a:pt x="187" y="296"/>
                  <a:pt x="187" y="296"/>
                  <a:pt x="187" y="296"/>
                </a:cubicBezTo>
                <a:cubicBezTo>
                  <a:pt x="187" y="292"/>
                  <a:pt x="187" y="292"/>
                  <a:pt x="187" y="292"/>
                </a:cubicBezTo>
                <a:cubicBezTo>
                  <a:pt x="179" y="292"/>
                  <a:pt x="179" y="292"/>
                  <a:pt x="179" y="292"/>
                </a:cubicBezTo>
                <a:lnTo>
                  <a:pt x="179" y="296"/>
                </a:lnTo>
                <a:close/>
                <a:moveTo>
                  <a:pt x="163" y="296"/>
                </a:moveTo>
                <a:cubicBezTo>
                  <a:pt x="171" y="296"/>
                  <a:pt x="171" y="296"/>
                  <a:pt x="171" y="296"/>
                </a:cubicBezTo>
                <a:cubicBezTo>
                  <a:pt x="171" y="292"/>
                  <a:pt x="171" y="292"/>
                  <a:pt x="171" y="292"/>
                </a:cubicBezTo>
                <a:cubicBezTo>
                  <a:pt x="163" y="292"/>
                  <a:pt x="163" y="292"/>
                  <a:pt x="163" y="292"/>
                </a:cubicBezTo>
                <a:lnTo>
                  <a:pt x="163" y="296"/>
                </a:lnTo>
                <a:close/>
                <a:moveTo>
                  <a:pt x="147" y="296"/>
                </a:moveTo>
                <a:cubicBezTo>
                  <a:pt x="155" y="296"/>
                  <a:pt x="155" y="296"/>
                  <a:pt x="155" y="296"/>
                </a:cubicBezTo>
                <a:cubicBezTo>
                  <a:pt x="155" y="292"/>
                  <a:pt x="155" y="292"/>
                  <a:pt x="155" y="292"/>
                </a:cubicBezTo>
                <a:cubicBezTo>
                  <a:pt x="147" y="292"/>
                  <a:pt x="147" y="292"/>
                  <a:pt x="147" y="292"/>
                </a:cubicBezTo>
                <a:lnTo>
                  <a:pt x="147" y="296"/>
                </a:lnTo>
                <a:close/>
                <a:moveTo>
                  <a:pt x="195" y="296"/>
                </a:moveTo>
                <a:cubicBezTo>
                  <a:pt x="203" y="296"/>
                  <a:pt x="203" y="296"/>
                  <a:pt x="203" y="296"/>
                </a:cubicBezTo>
                <a:cubicBezTo>
                  <a:pt x="203" y="292"/>
                  <a:pt x="203" y="292"/>
                  <a:pt x="203" y="292"/>
                </a:cubicBezTo>
                <a:cubicBezTo>
                  <a:pt x="195" y="292"/>
                  <a:pt x="195" y="292"/>
                  <a:pt x="195" y="292"/>
                </a:cubicBezTo>
                <a:lnTo>
                  <a:pt x="195" y="296"/>
                </a:lnTo>
                <a:close/>
                <a:moveTo>
                  <a:pt x="131" y="296"/>
                </a:moveTo>
                <a:cubicBezTo>
                  <a:pt x="139" y="296"/>
                  <a:pt x="139" y="296"/>
                  <a:pt x="139" y="296"/>
                </a:cubicBezTo>
                <a:cubicBezTo>
                  <a:pt x="139" y="292"/>
                  <a:pt x="139" y="292"/>
                  <a:pt x="139" y="292"/>
                </a:cubicBezTo>
                <a:cubicBezTo>
                  <a:pt x="131" y="292"/>
                  <a:pt x="131" y="292"/>
                  <a:pt x="131" y="292"/>
                </a:cubicBezTo>
                <a:lnTo>
                  <a:pt x="131" y="296"/>
                </a:lnTo>
                <a:close/>
                <a:moveTo>
                  <a:pt x="272" y="286"/>
                </a:moveTo>
                <a:cubicBezTo>
                  <a:pt x="274" y="289"/>
                  <a:pt x="274" y="289"/>
                  <a:pt x="274" y="289"/>
                </a:cubicBezTo>
                <a:cubicBezTo>
                  <a:pt x="276" y="288"/>
                  <a:pt x="279" y="286"/>
                  <a:pt x="281" y="284"/>
                </a:cubicBezTo>
                <a:cubicBezTo>
                  <a:pt x="278" y="281"/>
                  <a:pt x="278" y="281"/>
                  <a:pt x="278" y="281"/>
                </a:cubicBezTo>
                <a:cubicBezTo>
                  <a:pt x="276" y="283"/>
                  <a:pt x="274" y="285"/>
                  <a:pt x="272" y="286"/>
                </a:cubicBezTo>
                <a:close/>
                <a:moveTo>
                  <a:pt x="289" y="214"/>
                </a:moveTo>
                <a:cubicBezTo>
                  <a:pt x="293" y="214"/>
                  <a:pt x="293" y="214"/>
                  <a:pt x="293" y="214"/>
                </a:cubicBezTo>
                <a:cubicBezTo>
                  <a:pt x="293" y="206"/>
                  <a:pt x="293" y="206"/>
                  <a:pt x="293" y="206"/>
                </a:cubicBezTo>
                <a:cubicBezTo>
                  <a:pt x="289" y="206"/>
                  <a:pt x="289" y="206"/>
                  <a:pt x="289" y="206"/>
                </a:cubicBezTo>
                <a:lnTo>
                  <a:pt x="289" y="214"/>
                </a:lnTo>
                <a:close/>
                <a:moveTo>
                  <a:pt x="289" y="182"/>
                </a:moveTo>
                <a:cubicBezTo>
                  <a:pt x="293" y="182"/>
                  <a:pt x="293" y="182"/>
                  <a:pt x="293" y="182"/>
                </a:cubicBezTo>
                <a:cubicBezTo>
                  <a:pt x="293" y="175"/>
                  <a:pt x="293" y="175"/>
                  <a:pt x="293" y="175"/>
                </a:cubicBezTo>
                <a:cubicBezTo>
                  <a:pt x="289" y="175"/>
                  <a:pt x="289" y="175"/>
                  <a:pt x="289" y="175"/>
                </a:cubicBezTo>
                <a:lnTo>
                  <a:pt x="289" y="182"/>
                </a:lnTo>
                <a:close/>
                <a:moveTo>
                  <a:pt x="289" y="198"/>
                </a:moveTo>
                <a:cubicBezTo>
                  <a:pt x="293" y="198"/>
                  <a:pt x="293" y="198"/>
                  <a:pt x="293" y="198"/>
                </a:cubicBezTo>
                <a:cubicBezTo>
                  <a:pt x="293" y="190"/>
                  <a:pt x="293" y="190"/>
                  <a:pt x="293" y="190"/>
                </a:cubicBezTo>
                <a:cubicBezTo>
                  <a:pt x="289" y="190"/>
                  <a:pt x="289" y="190"/>
                  <a:pt x="289" y="190"/>
                </a:cubicBezTo>
                <a:lnTo>
                  <a:pt x="289" y="198"/>
                </a:lnTo>
                <a:close/>
                <a:moveTo>
                  <a:pt x="283" y="111"/>
                </a:moveTo>
                <a:cubicBezTo>
                  <a:pt x="279" y="113"/>
                  <a:pt x="279" y="113"/>
                  <a:pt x="279" y="113"/>
                </a:cubicBezTo>
                <a:cubicBezTo>
                  <a:pt x="280" y="115"/>
                  <a:pt x="281" y="118"/>
                  <a:pt x="282" y="120"/>
                </a:cubicBezTo>
                <a:cubicBezTo>
                  <a:pt x="285" y="119"/>
                  <a:pt x="285" y="119"/>
                  <a:pt x="285" y="119"/>
                </a:cubicBezTo>
                <a:cubicBezTo>
                  <a:pt x="285" y="116"/>
                  <a:pt x="284" y="114"/>
                  <a:pt x="283" y="111"/>
                </a:cubicBezTo>
                <a:close/>
                <a:moveTo>
                  <a:pt x="293" y="158"/>
                </a:moveTo>
                <a:cubicBezTo>
                  <a:pt x="289" y="159"/>
                  <a:pt x="289" y="159"/>
                  <a:pt x="289" y="159"/>
                </a:cubicBezTo>
                <a:cubicBezTo>
                  <a:pt x="289" y="161"/>
                  <a:pt x="289" y="163"/>
                  <a:pt x="289" y="166"/>
                </a:cubicBezTo>
                <a:cubicBezTo>
                  <a:pt x="289" y="167"/>
                  <a:pt x="289" y="167"/>
                  <a:pt x="289" y="167"/>
                </a:cubicBezTo>
                <a:cubicBezTo>
                  <a:pt x="293" y="167"/>
                  <a:pt x="293" y="167"/>
                  <a:pt x="293" y="167"/>
                </a:cubicBezTo>
                <a:cubicBezTo>
                  <a:pt x="293" y="166"/>
                  <a:pt x="293" y="166"/>
                  <a:pt x="293" y="166"/>
                </a:cubicBezTo>
                <a:cubicBezTo>
                  <a:pt x="293" y="163"/>
                  <a:pt x="293" y="161"/>
                  <a:pt x="293" y="158"/>
                </a:cubicBezTo>
                <a:close/>
                <a:moveTo>
                  <a:pt x="283" y="276"/>
                </a:moveTo>
                <a:cubicBezTo>
                  <a:pt x="286" y="278"/>
                  <a:pt x="286" y="278"/>
                  <a:pt x="286" y="278"/>
                </a:cubicBezTo>
                <a:cubicBezTo>
                  <a:pt x="287" y="276"/>
                  <a:pt x="289" y="273"/>
                  <a:pt x="290" y="271"/>
                </a:cubicBezTo>
                <a:cubicBezTo>
                  <a:pt x="286" y="269"/>
                  <a:pt x="286" y="269"/>
                  <a:pt x="286" y="269"/>
                </a:cubicBezTo>
                <a:cubicBezTo>
                  <a:pt x="285" y="271"/>
                  <a:pt x="284" y="274"/>
                  <a:pt x="283" y="276"/>
                </a:cubicBezTo>
                <a:close/>
                <a:moveTo>
                  <a:pt x="288" y="262"/>
                </a:moveTo>
                <a:cubicBezTo>
                  <a:pt x="292" y="263"/>
                  <a:pt x="292" y="263"/>
                  <a:pt x="292" y="263"/>
                </a:cubicBezTo>
                <a:cubicBezTo>
                  <a:pt x="293" y="260"/>
                  <a:pt x="293" y="257"/>
                  <a:pt x="293" y="254"/>
                </a:cubicBezTo>
                <a:cubicBezTo>
                  <a:pt x="293" y="254"/>
                  <a:pt x="293" y="254"/>
                  <a:pt x="293" y="254"/>
                </a:cubicBezTo>
                <a:cubicBezTo>
                  <a:pt x="289" y="254"/>
                  <a:pt x="289" y="254"/>
                  <a:pt x="289" y="254"/>
                </a:cubicBezTo>
                <a:cubicBezTo>
                  <a:pt x="289" y="257"/>
                  <a:pt x="289" y="259"/>
                  <a:pt x="288" y="262"/>
                </a:cubicBezTo>
                <a:close/>
                <a:moveTo>
                  <a:pt x="289" y="230"/>
                </a:moveTo>
                <a:cubicBezTo>
                  <a:pt x="293" y="230"/>
                  <a:pt x="293" y="230"/>
                  <a:pt x="293" y="230"/>
                </a:cubicBezTo>
                <a:cubicBezTo>
                  <a:pt x="293" y="222"/>
                  <a:pt x="293" y="222"/>
                  <a:pt x="293" y="222"/>
                </a:cubicBezTo>
                <a:cubicBezTo>
                  <a:pt x="289" y="222"/>
                  <a:pt x="289" y="222"/>
                  <a:pt x="289" y="222"/>
                </a:cubicBezTo>
                <a:lnTo>
                  <a:pt x="289" y="230"/>
                </a:lnTo>
                <a:close/>
                <a:moveTo>
                  <a:pt x="289" y="246"/>
                </a:moveTo>
                <a:cubicBezTo>
                  <a:pt x="293" y="246"/>
                  <a:pt x="293" y="246"/>
                  <a:pt x="293" y="246"/>
                </a:cubicBezTo>
                <a:cubicBezTo>
                  <a:pt x="293" y="238"/>
                  <a:pt x="293" y="238"/>
                  <a:pt x="293" y="238"/>
                </a:cubicBezTo>
                <a:cubicBezTo>
                  <a:pt x="289" y="238"/>
                  <a:pt x="289" y="238"/>
                  <a:pt x="289" y="238"/>
                </a:cubicBezTo>
                <a:lnTo>
                  <a:pt x="289" y="246"/>
                </a:lnTo>
                <a:close/>
                <a:moveTo>
                  <a:pt x="4" y="119"/>
                </a:moveTo>
                <a:cubicBezTo>
                  <a:pt x="0" y="119"/>
                  <a:pt x="0" y="119"/>
                  <a:pt x="0" y="119"/>
                </a:cubicBezTo>
                <a:cubicBezTo>
                  <a:pt x="0" y="127"/>
                  <a:pt x="0" y="127"/>
                  <a:pt x="0" y="127"/>
                </a:cubicBezTo>
                <a:cubicBezTo>
                  <a:pt x="4" y="127"/>
                  <a:pt x="4" y="127"/>
                  <a:pt x="4" y="127"/>
                </a:cubicBezTo>
                <a:lnTo>
                  <a:pt x="4" y="119"/>
                </a:lnTo>
                <a:close/>
                <a:moveTo>
                  <a:pt x="4" y="215"/>
                </a:moveTo>
                <a:cubicBezTo>
                  <a:pt x="0" y="215"/>
                  <a:pt x="0" y="215"/>
                  <a:pt x="0" y="215"/>
                </a:cubicBezTo>
                <a:cubicBezTo>
                  <a:pt x="0" y="223"/>
                  <a:pt x="0" y="223"/>
                  <a:pt x="0" y="223"/>
                </a:cubicBezTo>
                <a:cubicBezTo>
                  <a:pt x="4" y="223"/>
                  <a:pt x="4" y="223"/>
                  <a:pt x="4" y="223"/>
                </a:cubicBezTo>
                <a:lnTo>
                  <a:pt x="4" y="215"/>
                </a:lnTo>
                <a:close/>
                <a:moveTo>
                  <a:pt x="115" y="296"/>
                </a:moveTo>
                <a:cubicBezTo>
                  <a:pt x="123" y="296"/>
                  <a:pt x="123" y="296"/>
                  <a:pt x="123" y="296"/>
                </a:cubicBezTo>
                <a:cubicBezTo>
                  <a:pt x="123" y="292"/>
                  <a:pt x="123" y="292"/>
                  <a:pt x="123" y="292"/>
                </a:cubicBezTo>
                <a:cubicBezTo>
                  <a:pt x="115" y="292"/>
                  <a:pt x="115" y="292"/>
                  <a:pt x="115" y="292"/>
                </a:cubicBezTo>
                <a:lnTo>
                  <a:pt x="115" y="296"/>
                </a:lnTo>
                <a:close/>
                <a:moveTo>
                  <a:pt x="4" y="247"/>
                </a:moveTo>
                <a:cubicBezTo>
                  <a:pt x="0" y="247"/>
                  <a:pt x="0" y="247"/>
                  <a:pt x="0" y="247"/>
                </a:cubicBezTo>
                <a:cubicBezTo>
                  <a:pt x="0" y="255"/>
                  <a:pt x="0" y="255"/>
                  <a:pt x="0" y="255"/>
                </a:cubicBezTo>
                <a:cubicBezTo>
                  <a:pt x="4" y="255"/>
                  <a:pt x="4" y="255"/>
                  <a:pt x="4" y="255"/>
                </a:cubicBezTo>
                <a:lnTo>
                  <a:pt x="4" y="247"/>
                </a:lnTo>
                <a:close/>
                <a:moveTo>
                  <a:pt x="4" y="231"/>
                </a:moveTo>
                <a:cubicBezTo>
                  <a:pt x="0" y="231"/>
                  <a:pt x="0" y="231"/>
                  <a:pt x="0" y="231"/>
                </a:cubicBezTo>
                <a:cubicBezTo>
                  <a:pt x="0" y="239"/>
                  <a:pt x="0" y="239"/>
                  <a:pt x="0" y="239"/>
                </a:cubicBezTo>
                <a:cubicBezTo>
                  <a:pt x="4" y="239"/>
                  <a:pt x="4" y="239"/>
                  <a:pt x="4" y="239"/>
                </a:cubicBezTo>
                <a:lnTo>
                  <a:pt x="4" y="231"/>
                </a:lnTo>
                <a:close/>
                <a:moveTo>
                  <a:pt x="4" y="183"/>
                </a:moveTo>
                <a:cubicBezTo>
                  <a:pt x="0" y="183"/>
                  <a:pt x="0" y="183"/>
                  <a:pt x="0" y="183"/>
                </a:cubicBezTo>
                <a:cubicBezTo>
                  <a:pt x="0" y="191"/>
                  <a:pt x="0" y="191"/>
                  <a:pt x="0" y="191"/>
                </a:cubicBezTo>
                <a:cubicBezTo>
                  <a:pt x="4" y="191"/>
                  <a:pt x="4" y="191"/>
                  <a:pt x="4" y="191"/>
                </a:cubicBezTo>
                <a:lnTo>
                  <a:pt x="4" y="183"/>
                </a:lnTo>
                <a:close/>
                <a:moveTo>
                  <a:pt x="4" y="135"/>
                </a:moveTo>
                <a:cubicBezTo>
                  <a:pt x="0" y="135"/>
                  <a:pt x="0" y="135"/>
                  <a:pt x="0" y="135"/>
                </a:cubicBezTo>
                <a:cubicBezTo>
                  <a:pt x="0" y="143"/>
                  <a:pt x="0" y="143"/>
                  <a:pt x="0" y="143"/>
                </a:cubicBezTo>
                <a:cubicBezTo>
                  <a:pt x="4" y="143"/>
                  <a:pt x="4" y="143"/>
                  <a:pt x="4" y="143"/>
                </a:cubicBezTo>
                <a:lnTo>
                  <a:pt x="4" y="135"/>
                </a:lnTo>
                <a:close/>
                <a:moveTo>
                  <a:pt x="4" y="104"/>
                </a:moveTo>
                <a:cubicBezTo>
                  <a:pt x="0" y="104"/>
                  <a:pt x="0" y="104"/>
                  <a:pt x="0" y="104"/>
                </a:cubicBezTo>
                <a:cubicBezTo>
                  <a:pt x="0" y="112"/>
                  <a:pt x="0" y="112"/>
                  <a:pt x="0" y="112"/>
                </a:cubicBezTo>
                <a:cubicBezTo>
                  <a:pt x="4" y="112"/>
                  <a:pt x="4" y="112"/>
                  <a:pt x="4" y="112"/>
                </a:cubicBezTo>
                <a:lnTo>
                  <a:pt x="4" y="104"/>
                </a:lnTo>
                <a:close/>
                <a:moveTo>
                  <a:pt x="4" y="167"/>
                </a:moveTo>
                <a:cubicBezTo>
                  <a:pt x="0" y="167"/>
                  <a:pt x="0" y="167"/>
                  <a:pt x="0" y="167"/>
                </a:cubicBezTo>
                <a:cubicBezTo>
                  <a:pt x="0" y="175"/>
                  <a:pt x="0" y="175"/>
                  <a:pt x="0" y="175"/>
                </a:cubicBezTo>
                <a:cubicBezTo>
                  <a:pt x="4" y="175"/>
                  <a:pt x="4" y="175"/>
                  <a:pt x="4" y="175"/>
                </a:cubicBezTo>
                <a:lnTo>
                  <a:pt x="4" y="167"/>
                </a:lnTo>
                <a:close/>
                <a:moveTo>
                  <a:pt x="4" y="151"/>
                </a:moveTo>
                <a:cubicBezTo>
                  <a:pt x="0" y="151"/>
                  <a:pt x="0" y="151"/>
                  <a:pt x="0" y="151"/>
                </a:cubicBezTo>
                <a:cubicBezTo>
                  <a:pt x="0" y="159"/>
                  <a:pt x="0" y="159"/>
                  <a:pt x="0" y="159"/>
                </a:cubicBezTo>
                <a:cubicBezTo>
                  <a:pt x="4" y="159"/>
                  <a:pt x="4" y="159"/>
                  <a:pt x="4" y="159"/>
                </a:cubicBezTo>
                <a:lnTo>
                  <a:pt x="4" y="151"/>
                </a:lnTo>
                <a:close/>
                <a:moveTo>
                  <a:pt x="4" y="199"/>
                </a:moveTo>
                <a:cubicBezTo>
                  <a:pt x="0" y="199"/>
                  <a:pt x="0" y="199"/>
                  <a:pt x="0" y="199"/>
                </a:cubicBezTo>
                <a:cubicBezTo>
                  <a:pt x="0" y="207"/>
                  <a:pt x="0" y="207"/>
                  <a:pt x="0" y="207"/>
                </a:cubicBezTo>
                <a:cubicBezTo>
                  <a:pt x="4" y="207"/>
                  <a:pt x="4" y="207"/>
                  <a:pt x="4" y="207"/>
                </a:cubicBezTo>
                <a:lnTo>
                  <a:pt x="4" y="199"/>
                </a:lnTo>
                <a:close/>
                <a:moveTo>
                  <a:pt x="51" y="296"/>
                </a:moveTo>
                <a:cubicBezTo>
                  <a:pt x="59" y="296"/>
                  <a:pt x="59" y="296"/>
                  <a:pt x="59" y="296"/>
                </a:cubicBezTo>
                <a:cubicBezTo>
                  <a:pt x="59" y="292"/>
                  <a:pt x="59" y="292"/>
                  <a:pt x="59" y="292"/>
                </a:cubicBezTo>
                <a:cubicBezTo>
                  <a:pt x="51" y="292"/>
                  <a:pt x="51" y="292"/>
                  <a:pt x="51" y="292"/>
                </a:cubicBezTo>
                <a:lnTo>
                  <a:pt x="51" y="296"/>
                </a:lnTo>
                <a:close/>
                <a:moveTo>
                  <a:pt x="83" y="296"/>
                </a:moveTo>
                <a:cubicBezTo>
                  <a:pt x="91" y="296"/>
                  <a:pt x="91" y="296"/>
                  <a:pt x="91" y="296"/>
                </a:cubicBezTo>
                <a:cubicBezTo>
                  <a:pt x="91" y="292"/>
                  <a:pt x="91" y="292"/>
                  <a:pt x="91" y="292"/>
                </a:cubicBezTo>
                <a:cubicBezTo>
                  <a:pt x="83" y="292"/>
                  <a:pt x="83" y="292"/>
                  <a:pt x="83" y="292"/>
                </a:cubicBezTo>
                <a:lnTo>
                  <a:pt x="83" y="296"/>
                </a:lnTo>
                <a:close/>
                <a:moveTo>
                  <a:pt x="67" y="296"/>
                </a:moveTo>
                <a:cubicBezTo>
                  <a:pt x="75" y="296"/>
                  <a:pt x="75" y="296"/>
                  <a:pt x="75" y="296"/>
                </a:cubicBezTo>
                <a:cubicBezTo>
                  <a:pt x="75" y="292"/>
                  <a:pt x="75" y="292"/>
                  <a:pt x="75" y="292"/>
                </a:cubicBezTo>
                <a:cubicBezTo>
                  <a:pt x="67" y="292"/>
                  <a:pt x="67" y="292"/>
                  <a:pt x="67" y="292"/>
                </a:cubicBezTo>
                <a:lnTo>
                  <a:pt x="67" y="296"/>
                </a:lnTo>
                <a:close/>
                <a:moveTo>
                  <a:pt x="99" y="296"/>
                </a:moveTo>
                <a:cubicBezTo>
                  <a:pt x="107" y="296"/>
                  <a:pt x="107" y="296"/>
                  <a:pt x="107" y="296"/>
                </a:cubicBezTo>
                <a:cubicBezTo>
                  <a:pt x="107" y="292"/>
                  <a:pt x="107" y="292"/>
                  <a:pt x="107" y="292"/>
                </a:cubicBezTo>
                <a:cubicBezTo>
                  <a:pt x="99" y="292"/>
                  <a:pt x="99" y="292"/>
                  <a:pt x="99" y="292"/>
                </a:cubicBezTo>
                <a:lnTo>
                  <a:pt x="99" y="296"/>
                </a:lnTo>
                <a:close/>
                <a:moveTo>
                  <a:pt x="20" y="290"/>
                </a:moveTo>
                <a:cubicBezTo>
                  <a:pt x="22" y="291"/>
                  <a:pt x="24" y="293"/>
                  <a:pt x="27" y="294"/>
                </a:cubicBezTo>
                <a:cubicBezTo>
                  <a:pt x="28" y="290"/>
                  <a:pt x="28" y="290"/>
                  <a:pt x="28" y="290"/>
                </a:cubicBezTo>
                <a:cubicBezTo>
                  <a:pt x="26" y="289"/>
                  <a:pt x="24" y="288"/>
                  <a:pt x="22" y="286"/>
                </a:cubicBezTo>
                <a:lnTo>
                  <a:pt x="20" y="290"/>
                </a:lnTo>
                <a:close/>
                <a:moveTo>
                  <a:pt x="7" y="278"/>
                </a:moveTo>
                <a:cubicBezTo>
                  <a:pt x="9" y="281"/>
                  <a:pt x="11" y="283"/>
                  <a:pt x="13" y="285"/>
                </a:cubicBezTo>
                <a:cubicBezTo>
                  <a:pt x="16" y="282"/>
                  <a:pt x="16" y="282"/>
                  <a:pt x="16" y="282"/>
                </a:cubicBezTo>
                <a:cubicBezTo>
                  <a:pt x="14" y="280"/>
                  <a:pt x="12" y="278"/>
                  <a:pt x="11" y="276"/>
                </a:cubicBezTo>
                <a:lnTo>
                  <a:pt x="7" y="278"/>
                </a:lnTo>
                <a:close/>
                <a:moveTo>
                  <a:pt x="36" y="292"/>
                </a:moveTo>
                <a:cubicBezTo>
                  <a:pt x="35" y="296"/>
                  <a:pt x="35" y="296"/>
                  <a:pt x="35" y="296"/>
                </a:cubicBezTo>
                <a:cubicBezTo>
                  <a:pt x="37" y="296"/>
                  <a:pt x="40" y="296"/>
                  <a:pt x="42" y="296"/>
                </a:cubicBezTo>
                <a:cubicBezTo>
                  <a:pt x="43" y="296"/>
                  <a:pt x="43" y="296"/>
                  <a:pt x="43" y="296"/>
                </a:cubicBezTo>
                <a:cubicBezTo>
                  <a:pt x="43" y="292"/>
                  <a:pt x="43" y="292"/>
                  <a:pt x="43" y="292"/>
                </a:cubicBezTo>
                <a:cubicBezTo>
                  <a:pt x="42" y="292"/>
                  <a:pt x="42" y="292"/>
                  <a:pt x="42" y="292"/>
                </a:cubicBezTo>
                <a:cubicBezTo>
                  <a:pt x="40" y="292"/>
                  <a:pt x="38" y="292"/>
                  <a:pt x="36" y="292"/>
                </a:cubicBezTo>
                <a:close/>
                <a:moveTo>
                  <a:pt x="1" y="263"/>
                </a:moveTo>
                <a:cubicBezTo>
                  <a:pt x="1" y="266"/>
                  <a:pt x="2" y="269"/>
                  <a:pt x="3" y="271"/>
                </a:cubicBezTo>
                <a:cubicBezTo>
                  <a:pt x="7" y="269"/>
                  <a:pt x="7" y="269"/>
                  <a:pt x="7" y="269"/>
                </a:cubicBezTo>
                <a:cubicBezTo>
                  <a:pt x="6" y="267"/>
                  <a:pt x="5" y="265"/>
                  <a:pt x="5" y="262"/>
                </a:cubicBezTo>
                <a:lnTo>
                  <a:pt x="1" y="263"/>
                </a:lnTo>
                <a:close/>
              </a:path>
            </a:pathLst>
          </a:custGeom>
          <a:solidFill>
            <a:schemeClr val="bg1"/>
          </a:solidFill>
          <a:ln>
            <a:noFill/>
          </a:ln>
        </p:spPr>
        <p:txBody>
          <a:bodyPr vert="horz" wrap="square" lIns="121867" tIns="60933" rIns="121867" bIns="60933" numCol="1" anchor="t" anchorCtr="0" compatLnSpc="1">
            <a:prstTxWarp prst="textNoShape">
              <a:avLst/>
            </a:prstTxWarp>
          </a:bodyPr>
          <a:lstStyle/>
          <a:p>
            <a:pPr defTabSz="914126"/>
            <a:endParaRPr lang="en-US" sz="1799" kern="0">
              <a:solidFill>
                <a:sysClr val="windowText" lastClr="000000"/>
              </a:solidFill>
            </a:endParaRPr>
          </a:p>
        </p:txBody>
      </p:sp>
      <p:grpSp>
        <p:nvGrpSpPr>
          <p:cNvPr id="4" name="Group 3"/>
          <p:cNvGrpSpPr/>
          <p:nvPr/>
        </p:nvGrpSpPr>
        <p:grpSpPr>
          <a:xfrm>
            <a:off x="6728621" y="2579416"/>
            <a:ext cx="1045171" cy="1167817"/>
            <a:chOff x="6705443" y="2579193"/>
            <a:chExt cx="1045443" cy="1168121"/>
          </a:xfrm>
        </p:grpSpPr>
        <p:sp>
          <p:nvSpPr>
            <p:cNvPr id="35" name="Freeform 6"/>
            <p:cNvSpPr>
              <a:spLocks noChangeAspect="1" noEditPoints="1"/>
            </p:cNvSpPr>
            <p:nvPr/>
          </p:nvSpPr>
          <p:spPr bwMode="auto">
            <a:xfrm>
              <a:off x="6705443" y="2579193"/>
              <a:ext cx="442311" cy="581451"/>
            </a:xfrm>
            <a:custGeom>
              <a:avLst/>
              <a:gdLst>
                <a:gd name="T0" fmla="*/ 16 w 199"/>
                <a:gd name="T1" fmla="*/ 212 h 262"/>
                <a:gd name="T2" fmla="*/ 171 w 199"/>
                <a:gd name="T3" fmla="*/ 238 h 262"/>
                <a:gd name="T4" fmla="*/ 171 w 199"/>
                <a:gd name="T5" fmla="*/ 200 h 262"/>
                <a:gd name="T6" fmla="*/ 36 w 199"/>
                <a:gd name="T7" fmla="*/ 219 h 262"/>
                <a:gd name="T8" fmla="*/ 45 w 199"/>
                <a:gd name="T9" fmla="*/ 219 h 262"/>
                <a:gd name="T10" fmla="*/ 96 w 199"/>
                <a:gd name="T11" fmla="*/ 223 h 262"/>
                <a:gd name="T12" fmla="*/ 162 w 199"/>
                <a:gd name="T13" fmla="*/ 215 h 262"/>
                <a:gd name="T14" fmla="*/ 171 w 199"/>
                <a:gd name="T15" fmla="*/ 65 h 262"/>
                <a:gd name="T16" fmla="*/ 16 w 199"/>
                <a:gd name="T17" fmla="*/ 91 h 262"/>
                <a:gd name="T18" fmla="*/ 183 w 199"/>
                <a:gd name="T19" fmla="*/ 91 h 262"/>
                <a:gd name="T20" fmla="*/ 41 w 199"/>
                <a:gd name="T21" fmla="*/ 88 h 262"/>
                <a:gd name="T22" fmla="*/ 40 w 199"/>
                <a:gd name="T23" fmla="*/ 80 h 262"/>
                <a:gd name="T24" fmla="*/ 41 w 199"/>
                <a:gd name="T25" fmla="*/ 88 h 262"/>
                <a:gd name="T26" fmla="*/ 92 w 199"/>
                <a:gd name="T27" fmla="*/ 84 h 262"/>
                <a:gd name="T28" fmla="*/ 166 w 199"/>
                <a:gd name="T29" fmla="*/ 84 h 262"/>
                <a:gd name="T30" fmla="*/ 27 w 199"/>
                <a:gd name="T31" fmla="*/ 0 h 262"/>
                <a:gd name="T32" fmla="*/ 18 w 199"/>
                <a:gd name="T33" fmla="*/ 253 h 262"/>
                <a:gd name="T34" fmla="*/ 63 w 199"/>
                <a:gd name="T35" fmla="*/ 255 h 262"/>
                <a:gd name="T36" fmla="*/ 177 w 199"/>
                <a:gd name="T37" fmla="*/ 262 h 262"/>
                <a:gd name="T38" fmla="*/ 199 w 199"/>
                <a:gd name="T39" fmla="*/ 27 h 262"/>
                <a:gd name="T40" fmla="*/ 172 w 199"/>
                <a:gd name="T41" fmla="*/ 249 h 262"/>
                <a:gd name="T42" fmla="*/ 6 w 199"/>
                <a:gd name="T43" fmla="*/ 27 h 262"/>
                <a:gd name="T44" fmla="*/ 193 w 199"/>
                <a:gd name="T45" fmla="*/ 27 h 262"/>
                <a:gd name="T46" fmla="*/ 28 w 199"/>
                <a:gd name="T47" fmla="*/ 20 h 262"/>
                <a:gd name="T48" fmla="*/ 28 w 199"/>
                <a:gd name="T49" fmla="*/ 58 h 262"/>
                <a:gd name="T50" fmla="*/ 183 w 199"/>
                <a:gd name="T51" fmla="*/ 32 h 262"/>
                <a:gd name="T52" fmla="*/ 40 w 199"/>
                <a:gd name="T53" fmla="*/ 43 h 262"/>
                <a:gd name="T54" fmla="*/ 41 w 199"/>
                <a:gd name="T55" fmla="*/ 35 h 262"/>
                <a:gd name="T56" fmla="*/ 162 w 199"/>
                <a:gd name="T57" fmla="*/ 43 h 262"/>
                <a:gd name="T58" fmla="*/ 96 w 199"/>
                <a:gd name="T59" fmla="*/ 35 h 262"/>
                <a:gd name="T60" fmla="*/ 162 w 199"/>
                <a:gd name="T61" fmla="*/ 43 h 262"/>
                <a:gd name="T62" fmla="*/ 16 w 199"/>
                <a:gd name="T63" fmla="*/ 122 h 262"/>
                <a:gd name="T64" fmla="*/ 171 w 199"/>
                <a:gd name="T65" fmla="*/ 148 h 262"/>
                <a:gd name="T66" fmla="*/ 171 w 199"/>
                <a:gd name="T67" fmla="*/ 110 h 262"/>
                <a:gd name="T68" fmla="*/ 36 w 199"/>
                <a:gd name="T69" fmla="*/ 129 h 262"/>
                <a:gd name="T70" fmla="*/ 45 w 199"/>
                <a:gd name="T71" fmla="*/ 129 h 262"/>
                <a:gd name="T72" fmla="*/ 96 w 199"/>
                <a:gd name="T73" fmla="*/ 133 h 262"/>
                <a:gd name="T74" fmla="*/ 162 w 199"/>
                <a:gd name="T75" fmla="*/ 125 h 262"/>
                <a:gd name="T76" fmla="*/ 171 w 199"/>
                <a:gd name="T77" fmla="*/ 155 h 262"/>
                <a:gd name="T78" fmla="*/ 16 w 199"/>
                <a:gd name="T79" fmla="*/ 181 h 262"/>
                <a:gd name="T80" fmla="*/ 183 w 199"/>
                <a:gd name="T81" fmla="*/ 181 h 262"/>
                <a:gd name="T82" fmla="*/ 41 w 199"/>
                <a:gd name="T83" fmla="*/ 178 h 262"/>
                <a:gd name="T84" fmla="*/ 40 w 199"/>
                <a:gd name="T85" fmla="*/ 170 h 262"/>
                <a:gd name="T86" fmla="*/ 41 w 199"/>
                <a:gd name="T87" fmla="*/ 178 h 262"/>
                <a:gd name="T88" fmla="*/ 92 w 199"/>
                <a:gd name="T89" fmla="*/ 174 h 262"/>
                <a:gd name="T90" fmla="*/ 166 w 199"/>
                <a:gd name="T91" fmla="*/ 174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9" h="262">
                  <a:moveTo>
                    <a:pt x="171" y="200"/>
                  </a:moveTo>
                  <a:cubicBezTo>
                    <a:pt x="28" y="200"/>
                    <a:pt x="28" y="200"/>
                    <a:pt x="28" y="200"/>
                  </a:cubicBezTo>
                  <a:cubicBezTo>
                    <a:pt x="22" y="200"/>
                    <a:pt x="16" y="206"/>
                    <a:pt x="16" y="212"/>
                  </a:cubicBezTo>
                  <a:cubicBezTo>
                    <a:pt x="16" y="226"/>
                    <a:pt x="16" y="226"/>
                    <a:pt x="16" y="226"/>
                  </a:cubicBezTo>
                  <a:cubicBezTo>
                    <a:pt x="16" y="233"/>
                    <a:pt x="22" y="238"/>
                    <a:pt x="28" y="238"/>
                  </a:cubicBezTo>
                  <a:cubicBezTo>
                    <a:pt x="171" y="238"/>
                    <a:pt x="171" y="238"/>
                    <a:pt x="171" y="238"/>
                  </a:cubicBezTo>
                  <a:cubicBezTo>
                    <a:pt x="178" y="238"/>
                    <a:pt x="183" y="233"/>
                    <a:pt x="183" y="226"/>
                  </a:cubicBezTo>
                  <a:cubicBezTo>
                    <a:pt x="183" y="212"/>
                    <a:pt x="183" y="212"/>
                    <a:pt x="183" y="212"/>
                  </a:cubicBezTo>
                  <a:cubicBezTo>
                    <a:pt x="183" y="206"/>
                    <a:pt x="178" y="200"/>
                    <a:pt x="171" y="200"/>
                  </a:cubicBezTo>
                  <a:close/>
                  <a:moveTo>
                    <a:pt x="41" y="223"/>
                  </a:moveTo>
                  <a:cubicBezTo>
                    <a:pt x="40" y="223"/>
                    <a:pt x="40" y="223"/>
                    <a:pt x="40" y="223"/>
                  </a:cubicBezTo>
                  <a:cubicBezTo>
                    <a:pt x="38" y="223"/>
                    <a:pt x="36" y="221"/>
                    <a:pt x="36" y="219"/>
                  </a:cubicBezTo>
                  <a:cubicBezTo>
                    <a:pt x="36" y="217"/>
                    <a:pt x="38" y="215"/>
                    <a:pt x="40" y="215"/>
                  </a:cubicBezTo>
                  <a:cubicBezTo>
                    <a:pt x="41" y="215"/>
                    <a:pt x="41" y="215"/>
                    <a:pt x="41" y="215"/>
                  </a:cubicBezTo>
                  <a:cubicBezTo>
                    <a:pt x="43" y="215"/>
                    <a:pt x="45" y="217"/>
                    <a:pt x="45" y="219"/>
                  </a:cubicBezTo>
                  <a:cubicBezTo>
                    <a:pt x="45" y="221"/>
                    <a:pt x="43" y="223"/>
                    <a:pt x="41" y="223"/>
                  </a:cubicBezTo>
                  <a:close/>
                  <a:moveTo>
                    <a:pt x="162" y="223"/>
                  </a:moveTo>
                  <a:cubicBezTo>
                    <a:pt x="96" y="223"/>
                    <a:pt x="96" y="223"/>
                    <a:pt x="96" y="223"/>
                  </a:cubicBezTo>
                  <a:cubicBezTo>
                    <a:pt x="94" y="223"/>
                    <a:pt x="92" y="221"/>
                    <a:pt x="92" y="219"/>
                  </a:cubicBezTo>
                  <a:cubicBezTo>
                    <a:pt x="92" y="217"/>
                    <a:pt x="94" y="215"/>
                    <a:pt x="96" y="215"/>
                  </a:cubicBezTo>
                  <a:cubicBezTo>
                    <a:pt x="162" y="215"/>
                    <a:pt x="162" y="215"/>
                    <a:pt x="162" y="215"/>
                  </a:cubicBezTo>
                  <a:cubicBezTo>
                    <a:pt x="165" y="215"/>
                    <a:pt x="166" y="217"/>
                    <a:pt x="166" y="219"/>
                  </a:cubicBezTo>
                  <a:cubicBezTo>
                    <a:pt x="166" y="221"/>
                    <a:pt x="165" y="223"/>
                    <a:pt x="162" y="223"/>
                  </a:cubicBezTo>
                  <a:close/>
                  <a:moveTo>
                    <a:pt x="171" y="65"/>
                  </a:moveTo>
                  <a:cubicBezTo>
                    <a:pt x="28" y="65"/>
                    <a:pt x="28" y="65"/>
                    <a:pt x="28" y="65"/>
                  </a:cubicBezTo>
                  <a:cubicBezTo>
                    <a:pt x="22" y="65"/>
                    <a:pt x="16" y="71"/>
                    <a:pt x="16" y="77"/>
                  </a:cubicBezTo>
                  <a:cubicBezTo>
                    <a:pt x="16" y="91"/>
                    <a:pt x="16" y="91"/>
                    <a:pt x="16" y="91"/>
                  </a:cubicBezTo>
                  <a:cubicBezTo>
                    <a:pt x="16" y="98"/>
                    <a:pt x="22" y="103"/>
                    <a:pt x="28" y="103"/>
                  </a:cubicBezTo>
                  <a:cubicBezTo>
                    <a:pt x="171" y="103"/>
                    <a:pt x="171" y="103"/>
                    <a:pt x="171" y="103"/>
                  </a:cubicBezTo>
                  <a:cubicBezTo>
                    <a:pt x="178" y="103"/>
                    <a:pt x="183" y="98"/>
                    <a:pt x="183" y="91"/>
                  </a:cubicBezTo>
                  <a:cubicBezTo>
                    <a:pt x="183" y="77"/>
                    <a:pt x="183" y="77"/>
                    <a:pt x="183" y="77"/>
                  </a:cubicBezTo>
                  <a:cubicBezTo>
                    <a:pt x="183" y="71"/>
                    <a:pt x="178" y="65"/>
                    <a:pt x="171" y="65"/>
                  </a:cubicBezTo>
                  <a:close/>
                  <a:moveTo>
                    <a:pt x="41" y="88"/>
                  </a:moveTo>
                  <a:cubicBezTo>
                    <a:pt x="40" y="88"/>
                    <a:pt x="40" y="88"/>
                    <a:pt x="40" y="88"/>
                  </a:cubicBezTo>
                  <a:cubicBezTo>
                    <a:pt x="38" y="88"/>
                    <a:pt x="36" y="86"/>
                    <a:pt x="36" y="84"/>
                  </a:cubicBezTo>
                  <a:cubicBezTo>
                    <a:pt x="36" y="82"/>
                    <a:pt x="38" y="80"/>
                    <a:pt x="40" y="80"/>
                  </a:cubicBezTo>
                  <a:cubicBezTo>
                    <a:pt x="41" y="80"/>
                    <a:pt x="41" y="80"/>
                    <a:pt x="41" y="80"/>
                  </a:cubicBezTo>
                  <a:cubicBezTo>
                    <a:pt x="43" y="80"/>
                    <a:pt x="45" y="82"/>
                    <a:pt x="45" y="84"/>
                  </a:cubicBezTo>
                  <a:cubicBezTo>
                    <a:pt x="45" y="86"/>
                    <a:pt x="43" y="88"/>
                    <a:pt x="41" y="88"/>
                  </a:cubicBezTo>
                  <a:close/>
                  <a:moveTo>
                    <a:pt x="162" y="88"/>
                  </a:moveTo>
                  <a:cubicBezTo>
                    <a:pt x="96" y="88"/>
                    <a:pt x="96" y="88"/>
                    <a:pt x="96" y="88"/>
                  </a:cubicBezTo>
                  <a:cubicBezTo>
                    <a:pt x="94" y="88"/>
                    <a:pt x="92" y="86"/>
                    <a:pt x="92" y="84"/>
                  </a:cubicBezTo>
                  <a:cubicBezTo>
                    <a:pt x="92" y="82"/>
                    <a:pt x="94" y="80"/>
                    <a:pt x="96" y="80"/>
                  </a:cubicBezTo>
                  <a:cubicBezTo>
                    <a:pt x="162" y="80"/>
                    <a:pt x="162" y="80"/>
                    <a:pt x="162" y="80"/>
                  </a:cubicBezTo>
                  <a:cubicBezTo>
                    <a:pt x="165" y="80"/>
                    <a:pt x="166" y="82"/>
                    <a:pt x="166" y="84"/>
                  </a:cubicBezTo>
                  <a:cubicBezTo>
                    <a:pt x="166" y="86"/>
                    <a:pt x="165" y="88"/>
                    <a:pt x="162" y="88"/>
                  </a:cubicBezTo>
                  <a:close/>
                  <a:moveTo>
                    <a:pt x="172" y="0"/>
                  </a:moveTo>
                  <a:cubicBezTo>
                    <a:pt x="27" y="0"/>
                    <a:pt x="27" y="0"/>
                    <a:pt x="27" y="0"/>
                  </a:cubicBezTo>
                  <a:cubicBezTo>
                    <a:pt x="12" y="0"/>
                    <a:pt x="0" y="12"/>
                    <a:pt x="0" y="27"/>
                  </a:cubicBezTo>
                  <a:cubicBezTo>
                    <a:pt x="0" y="228"/>
                    <a:pt x="0" y="228"/>
                    <a:pt x="0" y="228"/>
                  </a:cubicBezTo>
                  <a:cubicBezTo>
                    <a:pt x="0" y="240"/>
                    <a:pt x="7" y="249"/>
                    <a:pt x="18" y="253"/>
                  </a:cubicBezTo>
                  <a:cubicBezTo>
                    <a:pt x="22" y="262"/>
                    <a:pt x="22" y="262"/>
                    <a:pt x="22" y="262"/>
                  </a:cubicBezTo>
                  <a:cubicBezTo>
                    <a:pt x="59" y="262"/>
                    <a:pt x="59" y="262"/>
                    <a:pt x="59" y="262"/>
                  </a:cubicBezTo>
                  <a:cubicBezTo>
                    <a:pt x="63" y="255"/>
                    <a:pt x="63" y="255"/>
                    <a:pt x="63" y="255"/>
                  </a:cubicBezTo>
                  <a:cubicBezTo>
                    <a:pt x="137" y="255"/>
                    <a:pt x="137" y="255"/>
                    <a:pt x="137" y="255"/>
                  </a:cubicBezTo>
                  <a:cubicBezTo>
                    <a:pt x="140" y="262"/>
                    <a:pt x="140" y="262"/>
                    <a:pt x="140" y="262"/>
                  </a:cubicBezTo>
                  <a:cubicBezTo>
                    <a:pt x="177" y="262"/>
                    <a:pt x="177" y="262"/>
                    <a:pt x="177" y="262"/>
                  </a:cubicBezTo>
                  <a:cubicBezTo>
                    <a:pt x="182" y="253"/>
                    <a:pt x="182" y="253"/>
                    <a:pt x="182" y="253"/>
                  </a:cubicBezTo>
                  <a:cubicBezTo>
                    <a:pt x="192" y="249"/>
                    <a:pt x="199" y="240"/>
                    <a:pt x="199" y="228"/>
                  </a:cubicBezTo>
                  <a:cubicBezTo>
                    <a:pt x="199" y="27"/>
                    <a:pt x="199" y="27"/>
                    <a:pt x="199" y="27"/>
                  </a:cubicBezTo>
                  <a:cubicBezTo>
                    <a:pt x="199" y="12"/>
                    <a:pt x="187" y="0"/>
                    <a:pt x="172" y="0"/>
                  </a:cubicBezTo>
                  <a:close/>
                  <a:moveTo>
                    <a:pt x="193" y="228"/>
                  </a:moveTo>
                  <a:cubicBezTo>
                    <a:pt x="193" y="240"/>
                    <a:pt x="184" y="249"/>
                    <a:pt x="172" y="249"/>
                  </a:cubicBezTo>
                  <a:cubicBezTo>
                    <a:pt x="27" y="249"/>
                    <a:pt x="27" y="249"/>
                    <a:pt x="27" y="249"/>
                  </a:cubicBezTo>
                  <a:cubicBezTo>
                    <a:pt x="16" y="249"/>
                    <a:pt x="6" y="240"/>
                    <a:pt x="6" y="228"/>
                  </a:cubicBezTo>
                  <a:cubicBezTo>
                    <a:pt x="6" y="27"/>
                    <a:pt x="6" y="27"/>
                    <a:pt x="6" y="27"/>
                  </a:cubicBezTo>
                  <a:cubicBezTo>
                    <a:pt x="6" y="15"/>
                    <a:pt x="16" y="6"/>
                    <a:pt x="27" y="6"/>
                  </a:cubicBezTo>
                  <a:cubicBezTo>
                    <a:pt x="172" y="6"/>
                    <a:pt x="172" y="6"/>
                    <a:pt x="172" y="6"/>
                  </a:cubicBezTo>
                  <a:cubicBezTo>
                    <a:pt x="184" y="6"/>
                    <a:pt x="193" y="15"/>
                    <a:pt x="193" y="27"/>
                  </a:cubicBezTo>
                  <a:lnTo>
                    <a:pt x="193" y="228"/>
                  </a:lnTo>
                  <a:close/>
                  <a:moveTo>
                    <a:pt x="171" y="20"/>
                  </a:moveTo>
                  <a:cubicBezTo>
                    <a:pt x="28" y="20"/>
                    <a:pt x="28" y="20"/>
                    <a:pt x="28" y="20"/>
                  </a:cubicBezTo>
                  <a:cubicBezTo>
                    <a:pt x="22" y="20"/>
                    <a:pt x="16" y="26"/>
                    <a:pt x="16" y="32"/>
                  </a:cubicBezTo>
                  <a:cubicBezTo>
                    <a:pt x="16" y="46"/>
                    <a:pt x="16" y="46"/>
                    <a:pt x="16" y="46"/>
                  </a:cubicBezTo>
                  <a:cubicBezTo>
                    <a:pt x="16" y="53"/>
                    <a:pt x="22" y="58"/>
                    <a:pt x="28" y="58"/>
                  </a:cubicBezTo>
                  <a:cubicBezTo>
                    <a:pt x="171" y="58"/>
                    <a:pt x="171" y="58"/>
                    <a:pt x="171" y="58"/>
                  </a:cubicBezTo>
                  <a:cubicBezTo>
                    <a:pt x="178" y="58"/>
                    <a:pt x="183" y="53"/>
                    <a:pt x="183" y="46"/>
                  </a:cubicBezTo>
                  <a:cubicBezTo>
                    <a:pt x="183" y="32"/>
                    <a:pt x="183" y="32"/>
                    <a:pt x="183" y="32"/>
                  </a:cubicBezTo>
                  <a:cubicBezTo>
                    <a:pt x="183" y="26"/>
                    <a:pt x="178" y="20"/>
                    <a:pt x="171" y="20"/>
                  </a:cubicBezTo>
                  <a:close/>
                  <a:moveTo>
                    <a:pt x="41" y="43"/>
                  </a:moveTo>
                  <a:cubicBezTo>
                    <a:pt x="40" y="43"/>
                    <a:pt x="40" y="43"/>
                    <a:pt x="40" y="43"/>
                  </a:cubicBezTo>
                  <a:cubicBezTo>
                    <a:pt x="38" y="43"/>
                    <a:pt x="36" y="41"/>
                    <a:pt x="36" y="39"/>
                  </a:cubicBezTo>
                  <a:cubicBezTo>
                    <a:pt x="36" y="37"/>
                    <a:pt x="38" y="35"/>
                    <a:pt x="40" y="35"/>
                  </a:cubicBezTo>
                  <a:cubicBezTo>
                    <a:pt x="41" y="35"/>
                    <a:pt x="41" y="35"/>
                    <a:pt x="41" y="35"/>
                  </a:cubicBezTo>
                  <a:cubicBezTo>
                    <a:pt x="43" y="35"/>
                    <a:pt x="45" y="37"/>
                    <a:pt x="45" y="39"/>
                  </a:cubicBezTo>
                  <a:cubicBezTo>
                    <a:pt x="45" y="41"/>
                    <a:pt x="43" y="43"/>
                    <a:pt x="41" y="43"/>
                  </a:cubicBezTo>
                  <a:close/>
                  <a:moveTo>
                    <a:pt x="162" y="43"/>
                  </a:moveTo>
                  <a:cubicBezTo>
                    <a:pt x="96" y="43"/>
                    <a:pt x="96" y="43"/>
                    <a:pt x="96" y="43"/>
                  </a:cubicBezTo>
                  <a:cubicBezTo>
                    <a:pt x="94" y="43"/>
                    <a:pt x="92" y="41"/>
                    <a:pt x="92" y="39"/>
                  </a:cubicBezTo>
                  <a:cubicBezTo>
                    <a:pt x="92" y="37"/>
                    <a:pt x="94" y="35"/>
                    <a:pt x="96" y="35"/>
                  </a:cubicBezTo>
                  <a:cubicBezTo>
                    <a:pt x="162" y="35"/>
                    <a:pt x="162" y="35"/>
                    <a:pt x="162" y="35"/>
                  </a:cubicBezTo>
                  <a:cubicBezTo>
                    <a:pt x="165" y="35"/>
                    <a:pt x="166" y="37"/>
                    <a:pt x="166" y="39"/>
                  </a:cubicBezTo>
                  <a:cubicBezTo>
                    <a:pt x="166" y="41"/>
                    <a:pt x="165" y="43"/>
                    <a:pt x="162" y="43"/>
                  </a:cubicBezTo>
                  <a:close/>
                  <a:moveTo>
                    <a:pt x="171" y="110"/>
                  </a:moveTo>
                  <a:cubicBezTo>
                    <a:pt x="28" y="110"/>
                    <a:pt x="28" y="110"/>
                    <a:pt x="28" y="110"/>
                  </a:cubicBezTo>
                  <a:cubicBezTo>
                    <a:pt x="22" y="110"/>
                    <a:pt x="16" y="116"/>
                    <a:pt x="16" y="122"/>
                  </a:cubicBezTo>
                  <a:cubicBezTo>
                    <a:pt x="16" y="136"/>
                    <a:pt x="16" y="136"/>
                    <a:pt x="16" y="136"/>
                  </a:cubicBezTo>
                  <a:cubicBezTo>
                    <a:pt x="16" y="143"/>
                    <a:pt x="22" y="148"/>
                    <a:pt x="28" y="148"/>
                  </a:cubicBezTo>
                  <a:cubicBezTo>
                    <a:pt x="171" y="148"/>
                    <a:pt x="171" y="148"/>
                    <a:pt x="171" y="148"/>
                  </a:cubicBezTo>
                  <a:cubicBezTo>
                    <a:pt x="178" y="148"/>
                    <a:pt x="183" y="143"/>
                    <a:pt x="183" y="136"/>
                  </a:cubicBezTo>
                  <a:cubicBezTo>
                    <a:pt x="183" y="122"/>
                    <a:pt x="183" y="122"/>
                    <a:pt x="183" y="122"/>
                  </a:cubicBezTo>
                  <a:cubicBezTo>
                    <a:pt x="183" y="116"/>
                    <a:pt x="178" y="110"/>
                    <a:pt x="171" y="110"/>
                  </a:cubicBezTo>
                  <a:close/>
                  <a:moveTo>
                    <a:pt x="41" y="133"/>
                  </a:moveTo>
                  <a:cubicBezTo>
                    <a:pt x="40" y="133"/>
                    <a:pt x="40" y="133"/>
                    <a:pt x="40" y="133"/>
                  </a:cubicBezTo>
                  <a:cubicBezTo>
                    <a:pt x="38" y="133"/>
                    <a:pt x="36" y="131"/>
                    <a:pt x="36" y="129"/>
                  </a:cubicBezTo>
                  <a:cubicBezTo>
                    <a:pt x="36" y="127"/>
                    <a:pt x="38" y="125"/>
                    <a:pt x="40" y="125"/>
                  </a:cubicBezTo>
                  <a:cubicBezTo>
                    <a:pt x="41" y="125"/>
                    <a:pt x="41" y="125"/>
                    <a:pt x="41" y="125"/>
                  </a:cubicBezTo>
                  <a:cubicBezTo>
                    <a:pt x="43" y="125"/>
                    <a:pt x="45" y="127"/>
                    <a:pt x="45" y="129"/>
                  </a:cubicBezTo>
                  <a:cubicBezTo>
                    <a:pt x="45" y="131"/>
                    <a:pt x="43" y="133"/>
                    <a:pt x="41" y="133"/>
                  </a:cubicBezTo>
                  <a:close/>
                  <a:moveTo>
                    <a:pt x="162" y="133"/>
                  </a:moveTo>
                  <a:cubicBezTo>
                    <a:pt x="96" y="133"/>
                    <a:pt x="96" y="133"/>
                    <a:pt x="96" y="133"/>
                  </a:cubicBezTo>
                  <a:cubicBezTo>
                    <a:pt x="94" y="133"/>
                    <a:pt x="92" y="131"/>
                    <a:pt x="92" y="129"/>
                  </a:cubicBezTo>
                  <a:cubicBezTo>
                    <a:pt x="92" y="127"/>
                    <a:pt x="94" y="125"/>
                    <a:pt x="96" y="125"/>
                  </a:cubicBezTo>
                  <a:cubicBezTo>
                    <a:pt x="162" y="125"/>
                    <a:pt x="162" y="125"/>
                    <a:pt x="162" y="125"/>
                  </a:cubicBezTo>
                  <a:cubicBezTo>
                    <a:pt x="165" y="125"/>
                    <a:pt x="166" y="127"/>
                    <a:pt x="166" y="129"/>
                  </a:cubicBezTo>
                  <a:cubicBezTo>
                    <a:pt x="166" y="131"/>
                    <a:pt x="165" y="133"/>
                    <a:pt x="162" y="133"/>
                  </a:cubicBezTo>
                  <a:close/>
                  <a:moveTo>
                    <a:pt x="171" y="155"/>
                  </a:moveTo>
                  <a:cubicBezTo>
                    <a:pt x="28" y="155"/>
                    <a:pt x="28" y="155"/>
                    <a:pt x="28" y="155"/>
                  </a:cubicBezTo>
                  <a:cubicBezTo>
                    <a:pt x="22" y="155"/>
                    <a:pt x="16" y="161"/>
                    <a:pt x="16" y="167"/>
                  </a:cubicBezTo>
                  <a:cubicBezTo>
                    <a:pt x="16" y="181"/>
                    <a:pt x="16" y="181"/>
                    <a:pt x="16" y="181"/>
                  </a:cubicBezTo>
                  <a:cubicBezTo>
                    <a:pt x="16" y="188"/>
                    <a:pt x="22" y="193"/>
                    <a:pt x="28" y="193"/>
                  </a:cubicBezTo>
                  <a:cubicBezTo>
                    <a:pt x="171" y="193"/>
                    <a:pt x="171" y="193"/>
                    <a:pt x="171" y="193"/>
                  </a:cubicBezTo>
                  <a:cubicBezTo>
                    <a:pt x="178" y="193"/>
                    <a:pt x="183" y="188"/>
                    <a:pt x="183" y="181"/>
                  </a:cubicBezTo>
                  <a:cubicBezTo>
                    <a:pt x="183" y="167"/>
                    <a:pt x="183" y="167"/>
                    <a:pt x="183" y="167"/>
                  </a:cubicBezTo>
                  <a:cubicBezTo>
                    <a:pt x="183" y="161"/>
                    <a:pt x="178" y="155"/>
                    <a:pt x="171" y="155"/>
                  </a:cubicBezTo>
                  <a:close/>
                  <a:moveTo>
                    <a:pt x="41" y="178"/>
                  </a:moveTo>
                  <a:cubicBezTo>
                    <a:pt x="40" y="178"/>
                    <a:pt x="40" y="178"/>
                    <a:pt x="40" y="178"/>
                  </a:cubicBezTo>
                  <a:cubicBezTo>
                    <a:pt x="38" y="178"/>
                    <a:pt x="36" y="176"/>
                    <a:pt x="36" y="174"/>
                  </a:cubicBezTo>
                  <a:cubicBezTo>
                    <a:pt x="36" y="172"/>
                    <a:pt x="38" y="170"/>
                    <a:pt x="40" y="170"/>
                  </a:cubicBezTo>
                  <a:cubicBezTo>
                    <a:pt x="41" y="170"/>
                    <a:pt x="41" y="170"/>
                    <a:pt x="41" y="170"/>
                  </a:cubicBezTo>
                  <a:cubicBezTo>
                    <a:pt x="43" y="170"/>
                    <a:pt x="45" y="172"/>
                    <a:pt x="45" y="174"/>
                  </a:cubicBezTo>
                  <a:cubicBezTo>
                    <a:pt x="45" y="176"/>
                    <a:pt x="43" y="178"/>
                    <a:pt x="41" y="178"/>
                  </a:cubicBezTo>
                  <a:close/>
                  <a:moveTo>
                    <a:pt x="162" y="178"/>
                  </a:moveTo>
                  <a:cubicBezTo>
                    <a:pt x="96" y="178"/>
                    <a:pt x="96" y="178"/>
                    <a:pt x="96" y="178"/>
                  </a:cubicBezTo>
                  <a:cubicBezTo>
                    <a:pt x="94" y="178"/>
                    <a:pt x="92" y="176"/>
                    <a:pt x="92" y="174"/>
                  </a:cubicBezTo>
                  <a:cubicBezTo>
                    <a:pt x="92" y="172"/>
                    <a:pt x="94" y="170"/>
                    <a:pt x="96" y="170"/>
                  </a:cubicBezTo>
                  <a:cubicBezTo>
                    <a:pt x="162" y="170"/>
                    <a:pt x="162" y="170"/>
                    <a:pt x="162" y="170"/>
                  </a:cubicBezTo>
                  <a:cubicBezTo>
                    <a:pt x="165" y="170"/>
                    <a:pt x="166" y="172"/>
                    <a:pt x="166" y="174"/>
                  </a:cubicBezTo>
                  <a:cubicBezTo>
                    <a:pt x="166" y="176"/>
                    <a:pt x="165" y="178"/>
                    <a:pt x="162" y="178"/>
                  </a:cubicBezTo>
                  <a:close/>
                </a:path>
              </a:pathLst>
            </a:custGeom>
            <a:solidFill>
              <a:schemeClr val="bg1"/>
            </a:solidFill>
            <a:ln>
              <a:noFill/>
            </a:ln>
          </p:spPr>
          <p:txBody>
            <a:bodyPr vert="horz" wrap="square" lIns="121867" tIns="60933" rIns="121867" bIns="60933" numCol="1" anchor="t" anchorCtr="0" compatLnSpc="1">
              <a:prstTxWarp prst="textNoShape">
                <a:avLst/>
              </a:prstTxWarp>
            </a:bodyPr>
            <a:lstStyle/>
            <a:p>
              <a:pPr defTabSz="914126"/>
              <a:endParaRPr lang="en-US" sz="1799" kern="0">
                <a:solidFill>
                  <a:sysClr val="windowText" lastClr="000000"/>
                </a:solidFill>
              </a:endParaRPr>
            </a:p>
          </p:txBody>
        </p:sp>
        <p:sp>
          <p:nvSpPr>
            <p:cNvPr id="24" name="Freeform 128"/>
            <p:cNvSpPr>
              <a:spLocks noChangeAspect="1"/>
            </p:cNvSpPr>
            <p:nvPr/>
          </p:nvSpPr>
          <p:spPr bwMode="black">
            <a:xfrm>
              <a:off x="7097892" y="3386591"/>
              <a:ext cx="652994" cy="36072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16" tIns="45708" rIns="91416" bIns="45708" numCol="1" anchor="t" anchorCtr="0" compatLnSpc="1">
              <a:prstTxWarp prst="textNoShape">
                <a:avLst/>
              </a:prstTxWarp>
            </a:bodyPr>
            <a:lstStyle/>
            <a:p>
              <a:pPr defTabSz="914126"/>
              <a:endParaRPr lang="en-US" sz="1799" kern="0">
                <a:solidFill>
                  <a:sysClr val="windowText" lastClr="000000"/>
                </a:solidFill>
              </a:endParaRPr>
            </a:p>
          </p:txBody>
        </p:sp>
        <p:sp>
          <p:nvSpPr>
            <p:cNvPr id="2" name="Trapezoid 1"/>
            <p:cNvSpPr/>
            <p:nvPr/>
          </p:nvSpPr>
          <p:spPr bwMode="auto">
            <a:xfrm rot="8419041">
              <a:off x="6915480" y="2911222"/>
              <a:ext cx="549101" cy="678034"/>
            </a:xfrm>
            <a:custGeom>
              <a:avLst/>
              <a:gdLst>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0 w 575519"/>
                <a:gd name="connsiteY4" fmla="*/ 638732 h 638732"/>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293050 w 575519"/>
                <a:gd name="connsiteY4" fmla="*/ 636375 h 638732"/>
                <a:gd name="connsiteX5" fmla="*/ 0 w 575519"/>
                <a:gd name="connsiteY5" fmla="*/ 638732 h 638732"/>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251543 w 575519"/>
                <a:gd name="connsiteY4" fmla="*/ 389765 h 638732"/>
                <a:gd name="connsiteX5" fmla="*/ 0 w 575519"/>
                <a:gd name="connsiteY5" fmla="*/ 638732 h 638732"/>
                <a:gd name="connsiteX0" fmla="*/ 0 w 574179"/>
                <a:gd name="connsiteY0" fmla="*/ 678034 h 678034"/>
                <a:gd name="connsiteX1" fmla="*/ 142540 w 574179"/>
                <a:gd name="connsiteY1" fmla="*/ 0 h 678034"/>
                <a:gd name="connsiteX2" fmla="*/ 430299 w 574179"/>
                <a:gd name="connsiteY2" fmla="*/ 0 h 678034"/>
                <a:gd name="connsiteX3" fmla="*/ 574179 w 574179"/>
                <a:gd name="connsiteY3" fmla="*/ 638732 h 678034"/>
                <a:gd name="connsiteX4" fmla="*/ 250203 w 574179"/>
                <a:gd name="connsiteY4" fmla="*/ 389765 h 678034"/>
                <a:gd name="connsiteX5" fmla="*/ 0 w 574179"/>
                <a:gd name="connsiteY5" fmla="*/ 678034 h 678034"/>
                <a:gd name="connsiteX0" fmla="*/ 0 w 549101"/>
                <a:gd name="connsiteY0" fmla="*/ 678034 h 678034"/>
                <a:gd name="connsiteX1" fmla="*/ 142540 w 549101"/>
                <a:gd name="connsiteY1" fmla="*/ 0 h 678034"/>
                <a:gd name="connsiteX2" fmla="*/ 430299 w 549101"/>
                <a:gd name="connsiteY2" fmla="*/ 0 h 678034"/>
                <a:gd name="connsiteX3" fmla="*/ 549101 w 549101"/>
                <a:gd name="connsiteY3" fmla="*/ 643388 h 678034"/>
                <a:gd name="connsiteX4" fmla="*/ 250203 w 549101"/>
                <a:gd name="connsiteY4" fmla="*/ 389765 h 678034"/>
                <a:gd name="connsiteX5" fmla="*/ 0 w 549101"/>
                <a:gd name="connsiteY5" fmla="*/ 678034 h 678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9101" h="678034">
                  <a:moveTo>
                    <a:pt x="0" y="678034"/>
                  </a:moveTo>
                  <a:lnTo>
                    <a:pt x="142540" y="0"/>
                  </a:lnTo>
                  <a:lnTo>
                    <a:pt x="430299" y="0"/>
                  </a:lnTo>
                  <a:lnTo>
                    <a:pt x="549101" y="643388"/>
                  </a:lnTo>
                  <a:lnTo>
                    <a:pt x="250203" y="389765"/>
                  </a:lnTo>
                  <a:lnTo>
                    <a:pt x="0" y="678034"/>
                  </a:lnTo>
                  <a:close/>
                </a:path>
              </a:pathLst>
            </a:custGeom>
            <a:gradFill>
              <a:gsLst>
                <a:gs pos="0">
                  <a:schemeClr val="bg1"/>
                </a:gs>
                <a:gs pos="100000">
                  <a:schemeClr val="bg1">
                    <a:alpha val="0"/>
                  </a:schemeClr>
                </a:gs>
              </a:gsLst>
              <a:lin ang="162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algn="ctr" defTabSz="913825" fontAlgn="base">
                <a:spcBef>
                  <a:spcPct val="0"/>
                </a:spcBef>
                <a:spcAft>
                  <a:spcPct val="0"/>
                </a:spcAft>
              </a:pPr>
              <a:endParaRPr lang="en-US" sz="1799" kern="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36" name="Rectangle 35"/>
          <p:cNvSpPr/>
          <p:nvPr/>
        </p:nvSpPr>
        <p:spPr>
          <a:xfrm>
            <a:off x="8478278" y="4241455"/>
            <a:ext cx="733301" cy="372290"/>
          </a:xfrm>
          <a:prstGeom prst="rect">
            <a:avLst/>
          </a:prstGeom>
        </p:spPr>
        <p:txBody>
          <a:bodyPr wrap="none" lIns="121867" tIns="60933" rIns="121867" bIns="60933">
            <a:spAutoFit/>
          </a:bodyPr>
          <a:lstStyle/>
          <a:p>
            <a:pPr defTabSz="913935">
              <a:lnSpc>
                <a:spcPct val="90000"/>
              </a:lnSpc>
              <a:buSzPct val="90000"/>
              <a:defRPr/>
            </a:pPr>
            <a:r>
              <a:rPr lang="en-US" sz="1799" kern="0" dirty="0">
                <a:gradFill>
                  <a:gsLst>
                    <a:gs pos="85000">
                      <a:srgbClr val="FFFFFF"/>
                    </a:gs>
                    <a:gs pos="0">
                      <a:srgbClr val="FFFFFF"/>
                    </a:gs>
                  </a:gsLst>
                  <a:lin ang="5400000" scaled="0"/>
                </a:gradFill>
              </a:rPr>
              <a:t>PaaS</a:t>
            </a:r>
          </a:p>
        </p:txBody>
      </p:sp>
      <p:grpSp>
        <p:nvGrpSpPr>
          <p:cNvPr id="6" name="Group 5"/>
          <p:cNvGrpSpPr/>
          <p:nvPr/>
        </p:nvGrpSpPr>
        <p:grpSpPr>
          <a:xfrm>
            <a:off x="8330920" y="2557520"/>
            <a:ext cx="1028018" cy="1211609"/>
            <a:chOff x="8237852" y="2535042"/>
            <a:chExt cx="1028286" cy="1211925"/>
          </a:xfrm>
        </p:grpSpPr>
        <p:pic>
          <p:nvPicPr>
            <p:cNvPr id="72" name="Picture 2" descr="\\MAGNUM\Projects\Microsoft\Cloud Power FY12\Design\Icons\PNGs\Web.png"/>
            <p:cNvPicPr>
              <a:picLocks noChangeAspect="1" noChangeArrowheads="1"/>
            </p:cNvPicPr>
            <p:nvPr/>
          </p:nvPicPr>
          <p:blipFill rotWithShape="1">
            <a:blip r:embed="rId3" cstate="print">
              <a:lum bright="100000"/>
            </a:blip>
            <a:srcRect t="1" b="-1316"/>
            <a:stretch/>
          </p:blipFill>
          <p:spPr bwMode="auto">
            <a:xfrm>
              <a:off x="8237852" y="2535042"/>
              <a:ext cx="676969" cy="685872"/>
            </a:xfrm>
            <a:prstGeom prst="rect">
              <a:avLst/>
            </a:prstGeom>
            <a:noFill/>
          </p:spPr>
        </p:pic>
        <p:sp>
          <p:nvSpPr>
            <p:cNvPr id="30" name="Freeform 128"/>
            <p:cNvSpPr>
              <a:spLocks noChangeAspect="1"/>
            </p:cNvSpPr>
            <p:nvPr/>
          </p:nvSpPr>
          <p:spPr bwMode="black">
            <a:xfrm>
              <a:off x="8613144" y="3386244"/>
              <a:ext cx="652994" cy="36072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16" tIns="45708" rIns="91416" bIns="45708" numCol="1" anchor="t" anchorCtr="0" compatLnSpc="1">
              <a:prstTxWarp prst="textNoShape">
                <a:avLst/>
              </a:prstTxWarp>
            </a:bodyPr>
            <a:lstStyle/>
            <a:p>
              <a:pPr defTabSz="914126"/>
              <a:endParaRPr lang="en-US" sz="1799" kern="0">
                <a:solidFill>
                  <a:sysClr val="windowText" lastClr="000000"/>
                </a:solidFill>
              </a:endParaRPr>
            </a:p>
          </p:txBody>
        </p:sp>
        <p:sp>
          <p:nvSpPr>
            <p:cNvPr id="32" name="Trapezoid 1"/>
            <p:cNvSpPr/>
            <p:nvPr/>
          </p:nvSpPr>
          <p:spPr bwMode="auto">
            <a:xfrm rot="9184644">
              <a:off x="8512224" y="2917660"/>
              <a:ext cx="575091" cy="661425"/>
            </a:xfrm>
            <a:custGeom>
              <a:avLst/>
              <a:gdLst>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0 w 575519"/>
                <a:gd name="connsiteY4" fmla="*/ 638732 h 638732"/>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293050 w 575519"/>
                <a:gd name="connsiteY4" fmla="*/ 636375 h 638732"/>
                <a:gd name="connsiteX5" fmla="*/ 0 w 575519"/>
                <a:gd name="connsiteY5" fmla="*/ 638732 h 638732"/>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251543 w 575519"/>
                <a:gd name="connsiteY4" fmla="*/ 389765 h 638732"/>
                <a:gd name="connsiteX5" fmla="*/ 0 w 575519"/>
                <a:gd name="connsiteY5" fmla="*/ 638732 h 638732"/>
                <a:gd name="connsiteX0" fmla="*/ 0 w 574179"/>
                <a:gd name="connsiteY0" fmla="*/ 678034 h 678034"/>
                <a:gd name="connsiteX1" fmla="*/ 142540 w 574179"/>
                <a:gd name="connsiteY1" fmla="*/ 0 h 678034"/>
                <a:gd name="connsiteX2" fmla="*/ 430299 w 574179"/>
                <a:gd name="connsiteY2" fmla="*/ 0 h 678034"/>
                <a:gd name="connsiteX3" fmla="*/ 574179 w 574179"/>
                <a:gd name="connsiteY3" fmla="*/ 638732 h 678034"/>
                <a:gd name="connsiteX4" fmla="*/ 250203 w 574179"/>
                <a:gd name="connsiteY4" fmla="*/ 389765 h 678034"/>
                <a:gd name="connsiteX5" fmla="*/ 0 w 574179"/>
                <a:gd name="connsiteY5" fmla="*/ 678034 h 678034"/>
                <a:gd name="connsiteX0" fmla="*/ 0 w 549101"/>
                <a:gd name="connsiteY0" fmla="*/ 678034 h 678034"/>
                <a:gd name="connsiteX1" fmla="*/ 142540 w 549101"/>
                <a:gd name="connsiteY1" fmla="*/ 0 h 678034"/>
                <a:gd name="connsiteX2" fmla="*/ 430299 w 549101"/>
                <a:gd name="connsiteY2" fmla="*/ 0 h 678034"/>
                <a:gd name="connsiteX3" fmla="*/ 549101 w 549101"/>
                <a:gd name="connsiteY3" fmla="*/ 643388 h 678034"/>
                <a:gd name="connsiteX4" fmla="*/ 250203 w 549101"/>
                <a:gd name="connsiteY4" fmla="*/ 389765 h 678034"/>
                <a:gd name="connsiteX5" fmla="*/ 0 w 549101"/>
                <a:gd name="connsiteY5" fmla="*/ 678034 h 678034"/>
                <a:gd name="connsiteX0" fmla="*/ 0 w 581807"/>
                <a:gd name="connsiteY0" fmla="*/ 661425 h 661425"/>
                <a:gd name="connsiteX1" fmla="*/ 175246 w 581807"/>
                <a:gd name="connsiteY1" fmla="*/ 0 h 661425"/>
                <a:gd name="connsiteX2" fmla="*/ 463005 w 581807"/>
                <a:gd name="connsiteY2" fmla="*/ 0 h 661425"/>
                <a:gd name="connsiteX3" fmla="*/ 581807 w 581807"/>
                <a:gd name="connsiteY3" fmla="*/ 643388 h 661425"/>
                <a:gd name="connsiteX4" fmla="*/ 282909 w 581807"/>
                <a:gd name="connsiteY4" fmla="*/ 389765 h 661425"/>
                <a:gd name="connsiteX5" fmla="*/ 0 w 581807"/>
                <a:gd name="connsiteY5" fmla="*/ 661425 h 661425"/>
                <a:gd name="connsiteX0" fmla="*/ 0 w 581807"/>
                <a:gd name="connsiteY0" fmla="*/ 661425 h 661425"/>
                <a:gd name="connsiteX1" fmla="*/ 175246 w 581807"/>
                <a:gd name="connsiteY1" fmla="*/ 0 h 661425"/>
                <a:gd name="connsiteX2" fmla="*/ 463005 w 581807"/>
                <a:gd name="connsiteY2" fmla="*/ 0 h 661425"/>
                <a:gd name="connsiteX3" fmla="*/ 581807 w 581807"/>
                <a:gd name="connsiteY3" fmla="*/ 643388 h 661425"/>
                <a:gd name="connsiteX4" fmla="*/ 151795 w 581807"/>
                <a:gd name="connsiteY4" fmla="*/ 370198 h 661425"/>
                <a:gd name="connsiteX5" fmla="*/ 0 w 581807"/>
                <a:gd name="connsiteY5" fmla="*/ 661425 h 661425"/>
                <a:gd name="connsiteX0" fmla="*/ 0 w 575091"/>
                <a:gd name="connsiteY0" fmla="*/ 661425 h 661425"/>
                <a:gd name="connsiteX1" fmla="*/ 175246 w 575091"/>
                <a:gd name="connsiteY1" fmla="*/ 0 h 661425"/>
                <a:gd name="connsiteX2" fmla="*/ 463005 w 575091"/>
                <a:gd name="connsiteY2" fmla="*/ 0 h 661425"/>
                <a:gd name="connsiteX3" fmla="*/ 575091 w 575091"/>
                <a:gd name="connsiteY3" fmla="*/ 592961 h 661425"/>
                <a:gd name="connsiteX4" fmla="*/ 151795 w 575091"/>
                <a:gd name="connsiteY4" fmla="*/ 370198 h 661425"/>
                <a:gd name="connsiteX5" fmla="*/ 0 w 575091"/>
                <a:gd name="connsiteY5" fmla="*/ 661425 h 661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5091" h="661425">
                  <a:moveTo>
                    <a:pt x="0" y="661425"/>
                  </a:moveTo>
                  <a:lnTo>
                    <a:pt x="175246" y="0"/>
                  </a:lnTo>
                  <a:lnTo>
                    <a:pt x="463005" y="0"/>
                  </a:lnTo>
                  <a:lnTo>
                    <a:pt x="575091" y="592961"/>
                  </a:lnTo>
                  <a:lnTo>
                    <a:pt x="151795" y="370198"/>
                  </a:lnTo>
                  <a:lnTo>
                    <a:pt x="0" y="661425"/>
                  </a:lnTo>
                  <a:close/>
                </a:path>
              </a:pathLst>
            </a:custGeom>
            <a:gradFill>
              <a:gsLst>
                <a:gs pos="0">
                  <a:schemeClr val="bg1"/>
                </a:gs>
                <a:gs pos="100000">
                  <a:schemeClr val="bg1">
                    <a:alpha val="0"/>
                  </a:schemeClr>
                </a:gs>
              </a:gsLst>
              <a:lin ang="162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algn="ctr" defTabSz="913825" fontAlgn="base">
                <a:spcBef>
                  <a:spcPct val="0"/>
                </a:spcBef>
                <a:spcAft>
                  <a:spcPct val="0"/>
                </a:spcAft>
              </a:pPr>
              <a:endParaRPr lang="en-US" sz="1799" kern="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3" name="Rectangle 2"/>
          <p:cNvSpPr/>
          <p:nvPr/>
        </p:nvSpPr>
        <p:spPr>
          <a:xfrm>
            <a:off x="1061608" y="4686986"/>
            <a:ext cx="7008603" cy="2170121"/>
          </a:xfrm>
          <a:prstGeom prst="rect">
            <a:avLst/>
          </a:prstGeom>
        </p:spPr>
        <p:txBody>
          <a:bodyPr wrap="square" anchor="ctr">
            <a:noAutofit/>
          </a:bodyPr>
          <a:lstStyle/>
          <a:p>
            <a:pPr algn="r" defTabSz="914126"/>
            <a:r>
              <a:rPr lang="en-US" sz="4399" kern="0" dirty="0">
                <a:solidFill>
                  <a:schemeClr val="bg1"/>
                </a:solidFill>
                <a:latin typeface="+mj-lt"/>
                <a:ea typeface="+mj-ea"/>
                <a:cs typeface="+mj-cs"/>
              </a:rPr>
              <a:t>From private to public Cloud</a:t>
            </a:r>
            <a:endParaRPr lang="sv-SE" sz="4399" kern="0" dirty="0">
              <a:solidFill>
                <a:schemeClr val="bg1"/>
              </a:solidFill>
              <a:latin typeface="+mj-lt"/>
              <a:ea typeface="+mj-ea"/>
              <a:cs typeface="+mj-cs"/>
            </a:endParaRPr>
          </a:p>
        </p:txBody>
      </p:sp>
      <p:sp>
        <p:nvSpPr>
          <p:cNvPr id="37" name="Title 1"/>
          <p:cNvSpPr txBox="1">
            <a:spLocks/>
          </p:cNvSpPr>
          <p:nvPr/>
        </p:nvSpPr>
        <p:spPr>
          <a:xfrm>
            <a:off x="-1" y="893"/>
            <a:ext cx="12198241" cy="812588"/>
          </a:xfrm>
          <a:prstGeom prst="rect">
            <a:avLst/>
          </a:prstGeom>
        </p:spPr>
        <p:txBody>
          <a:bodyPr vert="horz" lIns="91416" tIns="45708" rIns="91416" bIns="45708"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251924" defTabSz="914126"/>
            <a:r>
              <a:rPr lang="en-US" sz="2799" dirty="0"/>
              <a:t>Microsoft Relational Storage Options</a:t>
            </a:r>
          </a:p>
        </p:txBody>
      </p:sp>
      <p:sp>
        <p:nvSpPr>
          <p:cNvPr id="38" name="Rectangle 37"/>
          <p:cNvSpPr/>
          <p:nvPr/>
        </p:nvSpPr>
        <p:spPr>
          <a:xfrm>
            <a:off x="1061607" y="549537"/>
            <a:ext cx="7008604" cy="1659772"/>
          </a:xfrm>
          <a:prstGeom prst="rect">
            <a:avLst/>
          </a:prstGeom>
        </p:spPr>
        <p:txBody>
          <a:bodyPr wrap="square" anchor="ctr">
            <a:noAutofit/>
          </a:bodyPr>
          <a:lstStyle/>
          <a:p>
            <a:pPr algn="r" defTabSz="914126"/>
            <a:r>
              <a:rPr lang="en-US" sz="4399" kern="0" dirty="0">
                <a:solidFill>
                  <a:schemeClr val="bg1"/>
                </a:solidFill>
                <a:latin typeface="+mj-lt"/>
                <a:ea typeface="+mj-ea"/>
                <a:cs typeface="+mj-cs"/>
              </a:rPr>
              <a:t>A Continuous offering</a:t>
            </a:r>
            <a:endParaRPr lang="sv-SE" sz="4399" kern="0" dirty="0">
              <a:solidFill>
                <a:schemeClr val="bg1"/>
              </a:solidFill>
              <a:latin typeface="+mj-lt"/>
              <a:ea typeface="+mj-ea"/>
              <a:cs typeface="+mj-cs"/>
            </a:endParaRPr>
          </a:p>
        </p:txBody>
      </p:sp>
      <p:pic>
        <p:nvPicPr>
          <p:cNvPr id="26" name="Picture 25"/>
          <p:cNvPicPr>
            <a:picLocks noChangeAspect="1"/>
          </p:cNvPicPr>
          <p:nvPr/>
        </p:nvPicPr>
        <p:blipFill>
          <a:blip r:embed="rId4">
            <a:biLevel thresh="25000"/>
          </a:blip>
          <a:stretch>
            <a:fillRect/>
          </a:stretch>
        </p:blipFill>
        <p:spPr>
          <a:xfrm>
            <a:off x="11284973" y="73444"/>
            <a:ext cx="816789" cy="859590"/>
          </a:xfrm>
          <a:prstGeom prst="rect">
            <a:avLst/>
          </a:prstGeom>
        </p:spPr>
      </p:pic>
    </p:spTree>
    <p:extLst>
      <p:ext uri="{BB962C8B-B14F-4D97-AF65-F5344CB8AC3E}">
        <p14:creationId xmlns:p14="http://schemas.microsoft.com/office/powerpoint/2010/main" val="1267296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wipe(up)">
                                      <p:cBhvr>
                                        <p:cTn id="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oud Computing</a:t>
            </a:r>
            <a:endParaRPr lang="en-US" dirty="0">
              <a:solidFill>
                <a:schemeClr val="accent2">
                  <a:alpha val="99000"/>
                </a:schemeClr>
              </a:solidFill>
            </a:endParaRPr>
          </a:p>
        </p:txBody>
      </p:sp>
      <p:grpSp>
        <p:nvGrpSpPr>
          <p:cNvPr id="12" name="Group 11"/>
          <p:cNvGrpSpPr/>
          <p:nvPr/>
        </p:nvGrpSpPr>
        <p:grpSpPr>
          <a:xfrm>
            <a:off x="8114777" y="1446729"/>
            <a:ext cx="3559833" cy="3985986"/>
            <a:chOff x="8115303" y="1446213"/>
            <a:chExt cx="3560760" cy="3987024"/>
          </a:xfrm>
        </p:grpSpPr>
        <p:sp>
          <p:nvSpPr>
            <p:cNvPr id="43" name="Rectangle 42"/>
            <p:cNvSpPr/>
            <p:nvPr/>
          </p:nvSpPr>
          <p:spPr bwMode="auto">
            <a:xfrm>
              <a:off x="8115303" y="4752940"/>
              <a:ext cx="3560760" cy="6802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marL="0" marR="0" lvl="0" indent="0" algn="ctr" defTabSz="913514" eaLnBrk="1" fontAlgn="base" latinLnBrk="0" hangingPunct="1">
                <a:lnSpc>
                  <a:spcPct val="100000"/>
                </a:lnSpc>
                <a:spcBef>
                  <a:spcPct val="0"/>
                </a:spcBef>
                <a:spcAft>
                  <a:spcPct val="0"/>
                </a:spcAft>
                <a:buClrTx/>
                <a:buSzTx/>
                <a:buFontTx/>
                <a:buNone/>
                <a:tabLst/>
                <a:defRPr/>
              </a:pPr>
              <a:endParaRPr kumimoji="0" lang="en-US" sz="2199"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42" name="Rectangle 41"/>
            <p:cNvSpPr/>
            <p:nvPr/>
          </p:nvSpPr>
          <p:spPr bwMode="auto">
            <a:xfrm>
              <a:off x="8115303" y="1446213"/>
              <a:ext cx="3560760" cy="32002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marL="0" marR="0" lvl="0" indent="0" algn="ctr" defTabSz="913514" eaLnBrk="1" fontAlgn="base" latinLnBrk="0" hangingPunct="1">
                <a:lnSpc>
                  <a:spcPct val="100000"/>
                </a:lnSpc>
                <a:spcBef>
                  <a:spcPct val="0"/>
                </a:spcBef>
                <a:spcAft>
                  <a:spcPct val="0"/>
                </a:spcAft>
                <a:buClrTx/>
                <a:buSzTx/>
                <a:buFontTx/>
                <a:buNone/>
                <a:tabLst/>
                <a:defRPr/>
              </a:pPr>
              <a:endParaRPr kumimoji="0" lang="en-US" sz="2199"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pic>
          <p:nvPicPr>
            <p:cNvPr id="25" name="Picture 24"/>
            <p:cNvPicPr>
              <a:picLocks noChangeAspect="1"/>
            </p:cNvPicPr>
            <p:nvPr/>
          </p:nvPicPr>
          <p:blipFill>
            <a:blip r:embed="rId3" cstate="screen">
              <a:extLst>
                <a:ext uri="{BEBA8EAE-BF5A-486C-A8C5-ECC9F3942E4B}">
                  <a14:imgProps xmlns:a14="http://schemas.microsoft.com/office/drawing/2010/main">
                    <a14:imgLayer r:embed="rId4">
                      <a14:imgEffect>
                        <a14:brightnessContrast bright="-40000"/>
                      </a14:imgEffect>
                    </a14:imgLayer>
                  </a14:imgProps>
                </a:ext>
                <a:ext uri="{28A0092B-C50C-407E-A947-70E740481C1C}">
                  <a14:useLocalDpi xmlns:a14="http://schemas.microsoft.com/office/drawing/2010/main"/>
                </a:ext>
              </a:extLst>
            </a:blip>
            <a:stretch>
              <a:fillRect/>
            </a:stretch>
          </p:blipFill>
          <p:spPr>
            <a:xfrm>
              <a:off x="9399946" y="1817607"/>
              <a:ext cx="899686" cy="1416484"/>
            </a:xfrm>
            <a:prstGeom prst="rect">
              <a:avLst/>
            </a:prstGeom>
            <a:effectLst/>
          </p:spPr>
        </p:pic>
        <p:sp>
          <p:nvSpPr>
            <p:cNvPr id="26" name="Rectangle 25"/>
            <p:cNvSpPr/>
            <p:nvPr/>
          </p:nvSpPr>
          <p:spPr>
            <a:xfrm>
              <a:off x="8234184" y="4158734"/>
              <a:ext cx="3322998" cy="369332"/>
            </a:xfrm>
            <a:prstGeom prst="rect">
              <a:avLst/>
            </a:prstGeom>
          </p:spPr>
          <p:txBody>
            <a:bodyPr wrap="square">
              <a:spAutoFit/>
            </a:bodyPr>
            <a:lstStyle/>
            <a:p>
              <a:pPr marL="0" marR="0" lvl="0" indent="0" algn="ctr" defTabSz="1218307" eaLnBrk="1" fontAlgn="auto" latinLnBrk="0" hangingPunct="1">
                <a:lnSpc>
                  <a:spcPct val="90000"/>
                </a:lnSpc>
                <a:spcBef>
                  <a:spcPts val="0"/>
                </a:spcBef>
                <a:spcAft>
                  <a:spcPts val="0"/>
                </a:spcAft>
                <a:buClrTx/>
                <a:buSzTx/>
                <a:buFontTx/>
                <a:buNone/>
                <a:tabLst/>
                <a:defRPr/>
              </a:pPr>
              <a:r>
                <a:rPr kumimoji="0" lang="en-US" sz="1999" b="0" i="0" u="none" strike="noStrike" kern="0" cap="none" spc="0" normalizeH="0" baseline="0" noProof="0" dirty="0">
                  <a:ln>
                    <a:noFill/>
                  </a:ln>
                  <a:solidFill>
                    <a:srgbClr val="FFFFFF">
                      <a:lumMod val="50000"/>
                      <a:alpha val="99000"/>
                    </a:srgbClr>
                  </a:solidFill>
                  <a:effectLst/>
                  <a:uLnTx/>
                  <a:uFillTx/>
                </a:rPr>
                <a:t>Software-as-a-Service</a:t>
              </a:r>
            </a:p>
          </p:txBody>
        </p:sp>
        <p:sp>
          <p:nvSpPr>
            <p:cNvPr id="23" name="TextBox 22"/>
            <p:cNvSpPr txBox="1"/>
            <p:nvPr/>
          </p:nvSpPr>
          <p:spPr>
            <a:xfrm>
              <a:off x="8152004" y="4715157"/>
              <a:ext cx="3487358" cy="692475"/>
            </a:xfrm>
            <a:prstGeom prst="rect">
              <a:avLst/>
            </a:prstGeom>
            <a:noFill/>
            <a:ln>
              <a:noFill/>
            </a:ln>
            <a:effectLst>
              <a:reflection stA="50000" endPos="32000" dist="63500" dir="5400000" sy="-100000" algn="bl" rotWithShape="0"/>
            </a:effectLst>
          </p:spPr>
          <p:txBody>
            <a:bodyPr wrap="square" lIns="0" tIns="0" rIns="0" bIns="0" rtlCol="0" anchor="ctr" anchorCtr="0">
              <a:noAutofit/>
            </a:bodyPr>
            <a:lstStyle>
              <a:defPPr>
                <a:defRPr lang="en-US"/>
              </a:defPPr>
              <a:lvl1pPr algn="ctr">
                <a:defRPr sz="3600">
                  <a:solidFill>
                    <a:schemeClr val="bg2">
                      <a:lumMod val="50000"/>
                      <a:alpha val="99000"/>
                    </a:schemeClr>
                  </a:solidFill>
                </a:defRPr>
              </a:lvl1pP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en-US" sz="3599" b="0" i="0" u="none" strike="noStrike" kern="0" cap="none" spc="0" normalizeH="0" baseline="0" noProof="0" dirty="0">
                  <a:ln>
                    <a:noFill/>
                  </a:ln>
                  <a:solidFill>
                    <a:srgbClr val="FFFFFF">
                      <a:alpha val="99000"/>
                    </a:srgbClr>
                  </a:solidFill>
                  <a:effectLst/>
                  <a:uLnTx/>
                  <a:uFillTx/>
                </a:rPr>
                <a:t>consume</a:t>
              </a:r>
            </a:p>
          </p:txBody>
        </p:sp>
        <p:sp>
          <p:nvSpPr>
            <p:cNvPr id="24" name="TextBox 23"/>
            <p:cNvSpPr txBox="1"/>
            <p:nvPr/>
          </p:nvSpPr>
          <p:spPr>
            <a:xfrm>
              <a:off x="9035797" y="3364369"/>
              <a:ext cx="1595907" cy="938696"/>
            </a:xfrm>
            <a:prstGeom prst="rect">
              <a:avLst/>
            </a:prstGeom>
            <a:noFill/>
          </p:spPr>
          <p:txBody>
            <a:bodyPr wrap="none" lIns="121867" tIns="60933" rIns="121867" bIns="60933" rtlCol="0">
              <a:spAutoFit/>
            </a:bodyPr>
            <a:lstStyle>
              <a:defPPr>
                <a:defRPr lang="en-US"/>
              </a:defPPr>
              <a:lvl1pPr>
                <a:defRPr sz="5300">
                  <a:solidFill>
                    <a:schemeClr val="accent2">
                      <a:alpha val="99000"/>
                    </a:schemeClr>
                  </a:solidFill>
                  <a:latin typeface="Segoe" pitchFamily="34" charset="0"/>
                </a:defRPr>
              </a:lvl1pP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5298" b="0" i="0" u="none" strike="noStrike" kern="0" cap="none" spc="0" normalizeH="0" baseline="0" noProof="0" dirty="0" err="1">
                  <a:ln>
                    <a:noFill/>
                  </a:ln>
                  <a:solidFill>
                    <a:srgbClr val="ED7D31">
                      <a:alpha val="99000"/>
                    </a:srgbClr>
                  </a:solidFill>
                  <a:effectLst/>
                  <a:uLnTx/>
                  <a:uFillTx/>
                  <a:latin typeface="Segoe UI Light" pitchFamily="34" charset="0"/>
                </a:rPr>
                <a:t>SaaS</a:t>
              </a:r>
              <a:endParaRPr kumimoji="0" lang="en-US" sz="5298" b="0" i="0" u="none" strike="noStrike" kern="0" cap="none" spc="0" normalizeH="0" baseline="0" noProof="0" dirty="0">
                <a:ln>
                  <a:noFill/>
                </a:ln>
                <a:solidFill>
                  <a:srgbClr val="ED7D31">
                    <a:alpha val="99000"/>
                  </a:srgbClr>
                </a:solidFill>
                <a:effectLst/>
                <a:uLnTx/>
                <a:uFillTx/>
                <a:latin typeface="Segoe UI Light" pitchFamily="34" charset="0"/>
              </a:endParaRPr>
            </a:p>
          </p:txBody>
        </p:sp>
      </p:grpSp>
      <p:grpSp>
        <p:nvGrpSpPr>
          <p:cNvPr id="11" name="Group 10"/>
          <p:cNvGrpSpPr/>
          <p:nvPr/>
        </p:nvGrpSpPr>
        <p:grpSpPr>
          <a:xfrm>
            <a:off x="4316877" y="1446729"/>
            <a:ext cx="3559833" cy="3985986"/>
            <a:chOff x="4316414" y="1446213"/>
            <a:chExt cx="3560760" cy="3987024"/>
          </a:xfrm>
        </p:grpSpPr>
        <p:sp>
          <p:nvSpPr>
            <p:cNvPr id="44" name="Rectangle 43"/>
            <p:cNvSpPr/>
            <p:nvPr/>
          </p:nvSpPr>
          <p:spPr bwMode="auto">
            <a:xfrm>
              <a:off x="4316414" y="4752940"/>
              <a:ext cx="3560760" cy="6802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marL="0" marR="0" lvl="0" indent="0" algn="ctr" defTabSz="913514" eaLnBrk="1" fontAlgn="base" latinLnBrk="0" hangingPunct="1">
                <a:lnSpc>
                  <a:spcPct val="100000"/>
                </a:lnSpc>
                <a:spcBef>
                  <a:spcPct val="0"/>
                </a:spcBef>
                <a:spcAft>
                  <a:spcPct val="0"/>
                </a:spcAft>
                <a:buClrTx/>
                <a:buSzTx/>
                <a:buFontTx/>
                <a:buNone/>
                <a:tabLst/>
                <a:defRPr/>
              </a:pPr>
              <a:endParaRPr kumimoji="0" lang="en-US" sz="2199"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41" name="Rectangle 40"/>
            <p:cNvSpPr/>
            <p:nvPr/>
          </p:nvSpPr>
          <p:spPr bwMode="auto">
            <a:xfrm>
              <a:off x="4316414" y="1446213"/>
              <a:ext cx="3560760" cy="32002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marL="0" marR="0" lvl="0" indent="0" algn="ctr" defTabSz="913514" eaLnBrk="1" fontAlgn="base" latinLnBrk="0" hangingPunct="1">
                <a:lnSpc>
                  <a:spcPct val="100000"/>
                </a:lnSpc>
                <a:spcBef>
                  <a:spcPct val="0"/>
                </a:spcBef>
                <a:spcAft>
                  <a:spcPct val="0"/>
                </a:spcAft>
                <a:buClrTx/>
                <a:buSzTx/>
                <a:buFontTx/>
                <a:buNone/>
                <a:tabLst/>
                <a:defRPr/>
              </a:pPr>
              <a:endParaRPr kumimoji="0" lang="en-US" sz="2199"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pic>
          <p:nvPicPr>
            <p:cNvPr id="31" name="Picture 30"/>
            <p:cNvPicPr>
              <a:picLocks noChangeAspect="1"/>
            </p:cNvPicPr>
            <p:nvPr/>
          </p:nvPicPr>
          <p:blipFill>
            <a:blip r:embed="rId5" cstate="screen">
              <a:extLst>
                <a:ext uri="{BEBA8EAE-BF5A-486C-A8C5-ECC9F3942E4B}">
                  <a14:imgProps xmlns:a14="http://schemas.microsoft.com/office/drawing/2010/main">
                    <a14:imgLayer r:embed="rId6">
                      <a14:imgEffect>
                        <a14:brightnessContrast bright="-40000"/>
                      </a14:imgEffect>
                    </a14:imgLayer>
                  </a14:imgProps>
                </a:ext>
                <a:ext uri="{28A0092B-C50C-407E-A947-70E740481C1C}">
                  <a14:useLocalDpi xmlns:a14="http://schemas.microsoft.com/office/drawing/2010/main"/>
                </a:ext>
              </a:extLst>
            </a:blip>
            <a:stretch>
              <a:fillRect/>
            </a:stretch>
          </p:blipFill>
          <p:spPr>
            <a:xfrm>
              <a:off x="5418160" y="2019752"/>
              <a:ext cx="1284299" cy="1176630"/>
            </a:xfrm>
            <a:prstGeom prst="rect">
              <a:avLst/>
            </a:prstGeom>
          </p:spPr>
        </p:pic>
        <p:sp>
          <p:nvSpPr>
            <p:cNvPr id="32" name="Rectangle 31"/>
            <p:cNvSpPr/>
            <p:nvPr/>
          </p:nvSpPr>
          <p:spPr>
            <a:xfrm>
              <a:off x="4430163" y="4158734"/>
              <a:ext cx="3333264" cy="369332"/>
            </a:xfrm>
            <a:prstGeom prst="rect">
              <a:avLst/>
            </a:prstGeom>
          </p:spPr>
          <p:txBody>
            <a:bodyPr wrap="square">
              <a:spAutoFit/>
            </a:bodyPr>
            <a:lstStyle/>
            <a:p>
              <a:pPr marL="0" marR="0" lvl="0" indent="0" algn="ctr" defTabSz="1218307" eaLnBrk="1" fontAlgn="auto" latinLnBrk="0" hangingPunct="1">
                <a:lnSpc>
                  <a:spcPct val="90000"/>
                </a:lnSpc>
                <a:spcBef>
                  <a:spcPts val="0"/>
                </a:spcBef>
                <a:spcAft>
                  <a:spcPts val="0"/>
                </a:spcAft>
                <a:buClrTx/>
                <a:buSzTx/>
                <a:buFontTx/>
                <a:buNone/>
                <a:tabLst/>
                <a:defRPr/>
              </a:pPr>
              <a:r>
                <a:rPr kumimoji="0" lang="en-US" sz="1999" b="0" i="0" u="none" strike="noStrike" kern="0" cap="none" spc="0" normalizeH="0" baseline="0" noProof="0" dirty="0">
                  <a:ln>
                    <a:noFill/>
                  </a:ln>
                  <a:solidFill>
                    <a:srgbClr val="FFFFFF">
                      <a:lumMod val="50000"/>
                      <a:alpha val="99000"/>
                    </a:srgbClr>
                  </a:solidFill>
                  <a:effectLst/>
                  <a:uLnTx/>
                  <a:uFillTx/>
                </a:rPr>
                <a:t>Platform-as-a-Service</a:t>
              </a:r>
            </a:p>
          </p:txBody>
        </p:sp>
        <p:sp>
          <p:nvSpPr>
            <p:cNvPr id="29" name="TextBox 28"/>
            <p:cNvSpPr txBox="1"/>
            <p:nvPr/>
          </p:nvSpPr>
          <p:spPr>
            <a:xfrm>
              <a:off x="4353116" y="4715157"/>
              <a:ext cx="3487356" cy="692475"/>
            </a:xfrm>
            <a:prstGeom prst="rect">
              <a:avLst/>
            </a:prstGeom>
            <a:noFill/>
            <a:ln>
              <a:noFill/>
            </a:ln>
            <a:effectLst>
              <a:reflection stA="50000" endPos="32000" dist="63500" dir="5400000" sy="-100000" algn="bl" rotWithShape="0"/>
            </a:effectLst>
          </p:spPr>
          <p:txBody>
            <a:bodyPr wrap="square" lIns="0" tIns="0" rIns="0" bIns="0" rtlCol="0" anchor="ctr" anchorCtr="0">
              <a:noAutofit/>
            </a:bodyPr>
            <a:lstStyle>
              <a:defPPr>
                <a:defRPr lang="en-US"/>
              </a:defPPr>
              <a:lvl1pPr algn="ctr">
                <a:defRPr sz="3600">
                  <a:solidFill>
                    <a:schemeClr val="bg2">
                      <a:lumMod val="50000"/>
                      <a:alpha val="99000"/>
                    </a:schemeClr>
                  </a:solidFill>
                </a:defRPr>
              </a:lvl1pP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en-US" sz="3599" b="0" i="0" u="none" strike="noStrike" kern="0" cap="none" spc="0" normalizeH="0" baseline="0" noProof="0" dirty="0">
                  <a:ln>
                    <a:noFill/>
                  </a:ln>
                  <a:solidFill>
                    <a:srgbClr val="FFFFFF">
                      <a:alpha val="99000"/>
                    </a:srgbClr>
                  </a:solidFill>
                  <a:effectLst/>
                  <a:uLnTx/>
                  <a:uFillTx/>
                </a:rPr>
                <a:t>build</a:t>
              </a:r>
            </a:p>
          </p:txBody>
        </p:sp>
        <p:sp>
          <p:nvSpPr>
            <p:cNvPr id="30" name="TextBox 29"/>
            <p:cNvSpPr txBox="1"/>
            <p:nvPr/>
          </p:nvSpPr>
          <p:spPr>
            <a:xfrm>
              <a:off x="5267226" y="3350719"/>
              <a:ext cx="1594753" cy="938696"/>
            </a:xfrm>
            <a:prstGeom prst="rect">
              <a:avLst/>
            </a:prstGeom>
            <a:noFill/>
          </p:spPr>
          <p:txBody>
            <a:bodyPr wrap="none" lIns="121867" tIns="60933" rIns="121867" bIns="60933" rtlCol="0">
              <a:spAutoFit/>
            </a:bodyPr>
            <a:lstStyle>
              <a:defPPr>
                <a:defRPr lang="en-US"/>
              </a:defPPr>
              <a:lvl1pPr>
                <a:defRPr sz="5300">
                  <a:solidFill>
                    <a:schemeClr val="accent2">
                      <a:alpha val="99000"/>
                    </a:schemeClr>
                  </a:solidFill>
                  <a:latin typeface="Segoe" pitchFamily="34" charset="0"/>
                </a:defRPr>
              </a:lvl1pP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5298" b="0" i="0" u="none" strike="noStrike" kern="0" cap="none" spc="0" normalizeH="0" baseline="0" noProof="0" dirty="0" err="1">
                  <a:ln>
                    <a:noFill/>
                  </a:ln>
                  <a:solidFill>
                    <a:srgbClr val="ED7D31">
                      <a:alpha val="99000"/>
                    </a:srgbClr>
                  </a:solidFill>
                  <a:effectLst/>
                  <a:uLnTx/>
                  <a:uFillTx/>
                  <a:latin typeface="Segoe UI Light" pitchFamily="34" charset="0"/>
                </a:rPr>
                <a:t>PaaS</a:t>
              </a:r>
              <a:endParaRPr kumimoji="0" lang="en-US" sz="5298" b="0" i="0" u="none" strike="noStrike" kern="0" cap="none" spc="0" normalizeH="0" baseline="0" noProof="0" dirty="0">
                <a:ln>
                  <a:noFill/>
                </a:ln>
                <a:solidFill>
                  <a:srgbClr val="ED7D31">
                    <a:alpha val="99000"/>
                  </a:srgbClr>
                </a:solidFill>
                <a:effectLst/>
                <a:uLnTx/>
                <a:uFillTx/>
                <a:latin typeface="Segoe UI Light" pitchFamily="34" charset="0"/>
              </a:endParaRPr>
            </a:p>
          </p:txBody>
        </p:sp>
      </p:grpSp>
      <p:grpSp>
        <p:nvGrpSpPr>
          <p:cNvPr id="10" name="Group 9"/>
          <p:cNvGrpSpPr/>
          <p:nvPr/>
        </p:nvGrpSpPr>
        <p:grpSpPr>
          <a:xfrm>
            <a:off x="518977" y="1446729"/>
            <a:ext cx="3559833" cy="3985986"/>
            <a:chOff x="517525" y="1446213"/>
            <a:chExt cx="3560760" cy="3987024"/>
          </a:xfrm>
        </p:grpSpPr>
        <p:sp>
          <p:nvSpPr>
            <p:cNvPr id="45" name="Rectangle 44"/>
            <p:cNvSpPr/>
            <p:nvPr/>
          </p:nvSpPr>
          <p:spPr bwMode="auto">
            <a:xfrm>
              <a:off x="517525" y="4752940"/>
              <a:ext cx="3560760" cy="6802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marL="0" marR="0" lvl="0" indent="0" algn="ctr" defTabSz="913514" eaLnBrk="1" fontAlgn="base" latinLnBrk="0" hangingPunct="1">
                <a:lnSpc>
                  <a:spcPct val="100000"/>
                </a:lnSpc>
                <a:spcBef>
                  <a:spcPct val="0"/>
                </a:spcBef>
                <a:spcAft>
                  <a:spcPct val="0"/>
                </a:spcAft>
                <a:buClrTx/>
                <a:buSzTx/>
                <a:buFontTx/>
                <a:buNone/>
                <a:tabLst/>
                <a:defRPr/>
              </a:pPr>
              <a:endParaRPr kumimoji="0" lang="en-US" sz="2199"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39" name="Rectangle 38"/>
            <p:cNvSpPr/>
            <p:nvPr/>
          </p:nvSpPr>
          <p:spPr bwMode="auto">
            <a:xfrm>
              <a:off x="517525" y="1446213"/>
              <a:ext cx="3560760" cy="32002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marL="0" marR="0" lvl="0" indent="0" algn="ctr" defTabSz="913514" eaLnBrk="1" fontAlgn="base" latinLnBrk="0" hangingPunct="1">
                <a:lnSpc>
                  <a:spcPct val="100000"/>
                </a:lnSpc>
                <a:spcBef>
                  <a:spcPct val="0"/>
                </a:spcBef>
                <a:spcAft>
                  <a:spcPct val="0"/>
                </a:spcAft>
                <a:buClrTx/>
                <a:buSzTx/>
                <a:buFontTx/>
                <a:buNone/>
                <a:tabLst/>
                <a:defRPr/>
              </a:pPr>
              <a:endParaRPr kumimoji="0" lang="en-US" sz="2199"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pic>
          <p:nvPicPr>
            <p:cNvPr id="37" name="Picture 36"/>
            <p:cNvPicPr>
              <a:picLocks noChangeAspect="1"/>
            </p:cNvPicPr>
            <p:nvPr/>
          </p:nvPicPr>
          <p:blipFill>
            <a:blip r:embed="rId7" cstate="screen">
              <a:extLst>
                <a:ext uri="{BEBA8EAE-BF5A-486C-A8C5-ECC9F3942E4B}">
                  <a14:imgProps xmlns:a14="http://schemas.microsoft.com/office/drawing/2010/main">
                    <a14:imgLayer r:embed="rId8">
                      <a14:imgEffect>
                        <a14:brightnessContrast bright="-40000"/>
                      </a14:imgEffect>
                    </a14:imgLayer>
                  </a14:imgProps>
                </a:ext>
                <a:ext uri="{28A0092B-C50C-407E-A947-70E740481C1C}">
                  <a14:useLocalDpi xmlns:a14="http://schemas.microsoft.com/office/drawing/2010/main"/>
                </a:ext>
              </a:extLst>
            </a:blip>
            <a:stretch>
              <a:fillRect/>
            </a:stretch>
          </p:blipFill>
          <p:spPr>
            <a:xfrm>
              <a:off x="1368089" y="2184050"/>
              <a:ext cx="1859633" cy="1027297"/>
            </a:xfrm>
            <a:prstGeom prst="rect">
              <a:avLst/>
            </a:prstGeom>
            <a:noFill/>
            <a:ln>
              <a:noFill/>
            </a:ln>
          </p:spPr>
        </p:pic>
        <p:sp>
          <p:nvSpPr>
            <p:cNvPr id="38" name="Rectangle 37"/>
            <p:cNvSpPr/>
            <p:nvPr/>
          </p:nvSpPr>
          <p:spPr>
            <a:xfrm>
              <a:off x="675858" y="4158734"/>
              <a:ext cx="3244094" cy="369332"/>
            </a:xfrm>
            <a:prstGeom prst="rect">
              <a:avLst/>
            </a:prstGeom>
          </p:spPr>
          <p:txBody>
            <a:bodyPr wrap="square">
              <a:spAutoFit/>
            </a:bodyPr>
            <a:lstStyle/>
            <a:p>
              <a:pPr marL="0" marR="0" lvl="0" indent="0" algn="ctr" defTabSz="1218307" eaLnBrk="1" fontAlgn="auto" latinLnBrk="0" hangingPunct="1">
                <a:lnSpc>
                  <a:spcPct val="90000"/>
                </a:lnSpc>
                <a:spcBef>
                  <a:spcPts val="0"/>
                </a:spcBef>
                <a:spcAft>
                  <a:spcPts val="0"/>
                </a:spcAft>
                <a:buClrTx/>
                <a:buSzTx/>
                <a:buFontTx/>
                <a:buNone/>
                <a:tabLst/>
                <a:defRPr/>
              </a:pPr>
              <a:r>
                <a:rPr kumimoji="0" lang="en-US" sz="1999" b="0" i="0" u="none" strike="noStrike" kern="0" cap="none" spc="0" normalizeH="0" baseline="0" noProof="0" dirty="0">
                  <a:ln>
                    <a:noFill/>
                  </a:ln>
                  <a:solidFill>
                    <a:srgbClr val="FFFFFF">
                      <a:lumMod val="50000"/>
                      <a:alpha val="99000"/>
                    </a:srgbClr>
                  </a:solidFill>
                  <a:effectLst/>
                  <a:uLnTx/>
                  <a:uFillTx/>
                </a:rPr>
                <a:t>Infrastructure-as-a-Service</a:t>
              </a:r>
            </a:p>
          </p:txBody>
        </p:sp>
        <p:sp>
          <p:nvSpPr>
            <p:cNvPr id="35" name="TextBox 34"/>
            <p:cNvSpPr txBox="1"/>
            <p:nvPr/>
          </p:nvSpPr>
          <p:spPr>
            <a:xfrm>
              <a:off x="554226" y="4784395"/>
              <a:ext cx="3487358" cy="553998"/>
            </a:xfrm>
            <a:prstGeom prst="rect">
              <a:avLst/>
            </a:prstGeom>
            <a:noFill/>
            <a:ln>
              <a:noFill/>
            </a:ln>
            <a:effectLst>
              <a:reflection stA="50000" endPos="32000" dist="63500" dir="5400000" sy="-100000" algn="bl" rotWithShape="0"/>
            </a:effectLst>
          </p:spPr>
          <p:txBody>
            <a:bodyPr wrap="square" lIns="0" tIns="0" rIns="0" bIns="0" rtlCol="0" anchor="ctr" anchorCtr="0">
              <a:noAutofit/>
            </a:bodyP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en-US" sz="3599" b="0" i="0" u="none" strike="noStrike" kern="0" cap="none" spc="0" normalizeH="0" baseline="0" noProof="0" dirty="0">
                  <a:ln>
                    <a:noFill/>
                  </a:ln>
                  <a:solidFill>
                    <a:srgbClr val="FFFFFF">
                      <a:alpha val="99000"/>
                    </a:srgbClr>
                  </a:solidFill>
                  <a:effectLst/>
                  <a:uLnTx/>
                  <a:uFillTx/>
                </a:rPr>
                <a:t>host</a:t>
              </a:r>
              <a:endParaRPr kumimoji="0" lang="en-US" sz="1600" b="0" i="0" u="none" strike="noStrike" kern="0" cap="none" spc="0" normalizeH="0" baseline="0" noProof="0" dirty="0">
                <a:ln>
                  <a:noFill/>
                </a:ln>
                <a:solidFill>
                  <a:srgbClr val="FFFFFF">
                    <a:alpha val="99000"/>
                  </a:srgbClr>
                </a:solidFill>
                <a:effectLst/>
                <a:uLnTx/>
                <a:uFillTx/>
              </a:endParaRPr>
            </a:p>
          </p:txBody>
        </p:sp>
        <p:sp>
          <p:nvSpPr>
            <p:cNvPr id="36" name="TextBox 35"/>
            <p:cNvSpPr txBox="1"/>
            <p:nvPr/>
          </p:nvSpPr>
          <p:spPr>
            <a:xfrm>
              <a:off x="1566806" y="3337070"/>
              <a:ext cx="1411562" cy="938696"/>
            </a:xfrm>
            <a:prstGeom prst="rect">
              <a:avLst/>
            </a:prstGeom>
            <a:noFill/>
          </p:spPr>
          <p:txBody>
            <a:bodyPr wrap="none" lIns="121867" tIns="60933" rIns="121867" bIns="60933" rtlCol="0">
              <a:spAutoFit/>
            </a:bodyP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5298" b="0" i="0" u="none" strike="noStrike" kern="0" cap="none" spc="0" normalizeH="0" baseline="0" noProof="0" dirty="0" err="1">
                  <a:ln>
                    <a:noFill/>
                  </a:ln>
                  <a:solidFill>
                    <a:srgbClr val="ED7D31">
                      <a:alpha val="99000"/>
                    </a:srgbClr>
                  </a:solidFill>
                  <a:effectLst/>
                  <a:uLnTx/>
                  <a:uFillTx/>
                  <a:latin typeface="Segoe UI Light" pitchFamily="34" charset="0"/>
                </a:rPr>
                <a:t>IaaS</a:t>
              </a:r>
              <a:endParaRPr kumimoji="0" lang="en-US" sz="5298" b="0" i="0" u="none" strike="noStrike" kern="0" cap="none" spc="0" normalizeH="0" baseline="0" noProof="0" dirty="0">
                <a:ln>
                  <a:noFill/>
                </a:ln>
                <a:solidFill>
                  <a:srgbClr val="ED7D31">
                    <a:alpha val="99000"/>
                  </a:srgbClr>
                </a:solidFill>
                <a:effectLst/>
                <a:uLnTx/>
                <a:uFillTx/>
                <a:latin typeface="Segoe UI Light" pitchFamily="34" charset="0"/>
              </a:endParaRPr>
            </a:p>
          </p:txBody>
        </p:sp>
      </p:grpSp>
    </p:spTree>
    <p:extLst>
      <p:ext uri="{BB962C8B-B14F-4D97-AF65-F5344CB8AC3E}">
        <p14:creationId xmlns:p14="http://schemas.microsoft.com/office/powerpoint/2010/main" val="460211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nodeType="withEffect">
                                  <p:stCondLst>
                                    <p:cond delay="25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par>
                                <p:cTn id="11" presetID="10" presetClass="entr" presetSubtype="0" fill="hold" nodeType="withEffect">
                                  <p:stCondLst>
                                    <p:cond delay="500"/>
                                  </p:stCondLst>
                                  <p:childTnLst>
                                    <p:set>
                                      <p:cBhvr>
                                        <p:cTn id="12" dur="1" fill="hold">
                                          <p:stCondLst>
                                            <p:cond delay="0"/>
                                          </p:stCondLst>
                                        </p:cTn>
                                        <p:tgtEl>
                                          <p:spTgt spid="12"/>
                                        </p:tgtEl>
                                        <p:attrNameLst>
                                          <p:attrName>style.visibility</p:attrName>
                                        </p:attrNameLst>
                                      </p:cBhvr>
                                      <p:to>
                                        <p:strVal val="visible"/>
                                      </p:to>
                                    </p:set>
                                    <p:animEffect transition="in" filter="fade">
                                      <p:cBhvr>
                                        <p:cTn id="13"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body" sz="quarter" idx="12"/>
          </p:nvPr>
        </p:nvSpPr>
        <p:spPr>
          <a:prstGeom prst="rect">
            <a:avLst/>
          </a:prstGeom>
        </p:spPr>
        <p:txBody>
          <a:bodyPr/>
          <a:lstStyle/>
          <a:p>
            <a:pPr>
              <a:lnSpc>
                <a:spcPct val="100000"/>
              </a:lnSpc>
              <a:spcBef>
                <a:spcPts val="0"/>
              </a:spcBef>
            </a:pPr>
            <a:r>
              <a:rPr lang="en-US" dirty="0"/>
              <a:t>Starting with the basics</a:t>
            </a:r>
          </a:p>
        </p:txBody>
      </p:sp>
      <p:sp>
        <p:nvSpPr>
          <p:cNvPr id="3" name="Title 2"/>
          <p:cNvSpPr>
            <a:spLocks noGrp="1"/>
          </p:cNvSpPr>
          <p:nvPr>
            <p:ph type="title"/>
          </p:nvPr>
        </p:nvSpPr>
        <p:spPr>
          <a:prstGeom prst="rect">
            <a:avLst/>
          </a:prstGeom>
        </p:spPr>
        <p:txBody>
          <a:bodyPr/>
          <a:lstStyle/>
          <a:p>
            <a:r>
              <a:rPr lang="en-US" dirty="0">
                <a:solidFill>
                  <a:schemeClr val="bg1"/>
                </a:solidFill>
              </a:rPr>
              <a:t>Architecture</a:t>
            </a:r>
          </a:p>
        </p:txBody>
      </p:sp>
    </p:spTree>
    <p:extLst>
      <p:ext uri="{BB962C8B-B14F-4D97-AF65-F5344CB8AC3E}">
        <p14:creationId xmlns:p14="http://schemas.microsoft.com/office/powerpoint/2010/main" val="1842702031"/>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prstGeom prst="rect">
            <a:avLst/>
          </a:prstGeom>
        </p:spPr>
        <p:txBody>
          <a:bodyPr/>
          <a:lstStyle/>
          <a:p>
            <a:r>
              <a:rPr lang="en-US" dirty="0"/>
              <a:t>A Server is not a machine</a:t>
            </a:r>
          </a:p>
        </p:txBody>
      </p:sp>
      <p:grpSp>
        <p:nvGrpSpPr>
          <p:cNvPr id="24" name="Group 23"/>
          <p:cNvGrpSpPr/>
          <p:nvPr/>
        </p:nvGrpSpPr>
        <p:grpSpPr>
          <a:xfrm>
            <a:off x="3083005" y="1867194"/>
            <a:ext cx="6022816" cy="4320763"/>
            <a:chOff x="2617694" y="1866787"/>
            <a:chExt cx="6024385" cy="4321888"/>
          </a:xfrm>
        </p:grpSpPr>
        <p:grpSp>
          <p:nvGrpSpPr>
            <p:cNvPr id="15" name="Group 14"/>
            <p:cNvGrpSpPr/>
            <p:nvPr/>
          </p:nvGrpSpPr>
          <p:grpSpPr>
            <a:xfrm>
              <a:off x="2617694" y="1866787"/>
              <a:ext cx="5749661" cy="4321888"/>
              <a:chOff x="2413000" y="1055545"/>
              <a:chExt cx="7352849" cy="5526968"/>
            </a:xfrm>
          </p:grpSpPr>
          <p:grpSp>
            <p:nvGrpSpPr>
              <p:cNvPr id="16" name="Group 15"/>
              <p:cNvGrpSpPr/>
              <p:nvPr/>
            </p:nvGrpSpPr>
            <p:grpSpPr>
              <a:xfrm>
                <a:off x="2413000" y="1055545"/>
                <a:ext cx="7352849" cy="2520000"/>
                <a:chOff x="2413000" y="1055545"/>
                <a:chExt cx="7352849" cy="2520000"/>
              </a:xfrm>
            </p:grpSpPr>
            <p:sp>
              <p:nvSpPr>
                <p:cNvPr id="21" name="Chevron 20"/>
                <p:cNvSpPr/>
                <p:nvPr/>
              </p:nvSpPr>
              <p:spPr bwMode="auto">
                <a:xfrm>
                  <a:off x="5375039" y="1594584"/>
                  <a:ext cx="1441922" cy="1441922"/>
                </a:xfrm>
                <a:prstGeom prst="chevron">
                  <a:avLst/>
                </a:prstGeom>
                <a:solidFill>
                  <a:schemeClr val="accent5"/>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913825"/>
                  <a:endParaRPr lang="en-US" sz="2399" kern="0" dirty="0">
                    <a:gradFill>
                      <a:gsLst>
                        <a:gs pos="0">
                          <a:srgbClr val="FFFFFF"/>
                        </a:gs>
                        <a:gs pos="100000">
                          <a:srgbClr val="FFFFFF"/>
                        </a:gs>
                      </a:gsLst>
                      <a:lin ang="5400000" scaled="0"/>
                    </a:gradFill>
                  </a:endParaRPr>
                </a:p>
              </p:txBody>
            </p:sp>
            <p:sp>
              <p:nvSpPr>
                <p:cNvPr id="22" name="Rectangle 21"/>
                <p:cNvSpPr/>
                <p:nvPr/>
              </p:nvSpPr>
              <p:spPr bwMode="auto">
                <a:xfrm>
                  <a:off x="2413000" y="1055545"/>
                  <a:ext cx="2520000" cy="2520000"/>
                </a:xfrm>
                <a:prstGeom prst="rect">
                  <a:avLst/>
                </a:prstGeom>
                <a:solidFill>
                  <a:schemeClr val="accent5"/>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913825"/>
                  <a:r>
                    <a:rPr lang="en-US" sz="3199" b="1" kern="0" dirty="0">
                      <a:gradFill>
                        <a:gsLst>
                          <a:gs pos="0">
                            <a:srgbClr val="FFFFFF"/>
                          </a:gs>
                          <a:gs pos="100000">
                            <a:srgbClr val="FFFFFF"/>
                          </a:gs>
                        </a:gsLst>
                        <a:lin ang="5400000" scaled="0"/>
                      </a:gradFill>
                      <a:latin typeface="+mj-lt"/>
                    </a:rPr>
                    <a:t>SQL</a:t>
                  </a:r>
                  <a:r>
                    <a:rPr lang="en-US" sz="3599" b="1" kern="0" dirty="0">
                      <a:gradFill>
                        <a:gsLst>
                          <a:gs pos="0">
                            <a:srgbClr val="FFFFFF"/>
                          </a:gs>
                          <a:gs pos="100000">
                            <a:srgbClr val="FFFFFF"/>
                          </a:gs>
                        </a:gsLst>
                        <a:lin ang="5400000" scaled="0"/>
                      </a:gradFill>
                      <a:latin typeface="+mj-lt"/>
                    </a:rPr>
                    <a:t> Server</a:t>
                  </a:r>
                </a:p>
              </p:txBody>
            </p:sp>
            <p:sp>
              <p:nvSpPr>
                <p:cNvPr id="23" name="Rectangle 22"/>
                <p:cNvSpPr/>
                <p:nvPr/>
              </p:nvSpPr>
              <p:spPr bwMode="auto">
                <a:xfrm>
                  <a:off x="7245849" y="1055545"/>
                  <a:ext cx="2520000" cy="2520000"/>
                </a:xfrm>
                <a:prstGeom prst="rect">
                  <a:avLst/>
                </a:prstGeom>
                <a:solidFill>
                  <a:schemeClr val="accent5"/>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913825"/>
                  <a:r>
                    <a:rPr lang="en-US" sz="3199" b="1" kern="0" dirty="0">
                      <a:gradFill>
                        <a:gsLst>
                          <a:gs pos="0">
                            <a:srgbClr val="FFFFFF"/>
                          </a:gs>
                          <a:gs pos="100000">
                            <a:srgbClr val="FFFFFF"/>
                          </a:gs>
                        </a:gsLst>
                        <a:lin ang="5400000" scaled="0"/>
                      </a:gradFill>
                      <a:latin typeface="+mj-lt"/>
                    </a:rPr>
                    <a:t>Machine</a:t>
                  </a:r>
                </a:p>
              </p:txBody>
            </p:sp>
          </p:grpSp>
          <p:grpSp>
            <p:nvGrpSpPr>
              <p:cNvPr id="17" name="Group 16"/>
              <p:cNvGrpSpPr/>
              <p:nvPr/>
            </p:nvGrpSpPr>
            <p:grpSpPr>
              <a:xfrm>
                <a:off x="2415552" y="4062513"/>
                <a:ext cx="7350295" cy="2520000"/>
                <a:chOff x="2415552" y="3539999"/>
                <a:chExt cx="7350295" cy="2520000"/>
              </a:xfrm>
            </p:grpSpPr>
            <p:sp>
              <p:nvSpPr>
                <p:cNvPr id="18" name="Chevron 17"/>
                <p:cNvSpPr/>
                <p:nvPr/>
              </p:nvSpPr>
              <p:spPr bwMode="auto">
                <a:xfrm>
                  <a:off x="5375039" y="4079038"/>
                  <a:ext cx="1441922" cy="1441922"/>
                </a:xfrm>
                <a:prstGeom prst="chevron">
                  <a:avLst/>
                </a:prstGeom>
                <a:solidFill>
                  <a:schemeClr val="accent2"/>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913825"/>
                  <a:endParaRPr lang="en-US" sz="2399" kern="0" dirty="0">
                    <a:gradFill>
                      <a:gsLst>
                        <a:gs pos="0">
                          <a:srgbClr val="FFFFFF"/>
                        </a:gs>
                        <a:gs pos="100000">
                          <a:srgbClr val="FFFFFF"/>
                        </a:gs>
                      </a:gsLst>
                      <a:lin ang="5400000" scaled="0"/>
                    </a:gradFill>
                  </a:endParaRPr>
                </a:p>
              </p:txBody>
            </p:sp>
            <p:sp>
              <p:nvSpPr>
                <p:cNvPr id="19" name="Rectangle 18"/>
                <p:cNvSpPr/>
                <p:nvPr/>
              </p:nvSpPr>
              <p:spPr bwMode="auto">
                <a:xfrm>
                  <a:off x="2415552" y="3539999"/>
                  <a:ext cx="2520000" cy="2520000"/>
                </a:xfrm>
                <a:prstGeom prst="rect">
                  <a:avLst/>
                </a:prstGeom>
                <a:solidFill>
                  <a:schemeClr val="accent2"/>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913825"/>
                  <a:r>
                    <a:rPr lang="en-US" sz="3199" b="1" kern="0" dirty="0">
                      <a:gradFill>
                        <a:gsLst>
                          <a:gs pos="0">
                            <a:srgbClr val="FFFFFF"/>
                          </a:gs>
                          <a:gs pos="100000">
                            <a:srgbClr val="FFFFFF"/>
                          </a:gs>
                        </a:gsLst>
                        <a:lin ang="5400000" scaled="0"/>
                      </a:gradFill>
                      <a:latin typeface="+mj-lt"/>
                    </a:rPr>
                    <a:t>Azure</a:t>
                  </a:r>
                </a:p>
                <a:p>
                  <a:pPr algn="ctr" defTabSz="913825"/>
                  <a:r>
                    <a:rPr lang="en-US" sz="3199" b="1" kern="0" dirty="0">
                      <a:gradFill>
                        <a:gsLst>
                          <a:gs pos="0">
                            <a:srgbClr val="FFFFFF"/>
                          </a:gs>
                          <a:gs pos="100000">
                            <a:srgbClr val="FFFFFF"/>
                          </a:gs>
                        </a:gsLst>
                        <a:lin ang="5400000" scaled="0"/>
                      </a:gradFill>
                      <a:latin typeface="+mj-lt"/>
                    </a:rPr>
                    <a:t>SQL Database Server</a:t>
                  </a:r>
                </a:p>
              </p:txBody>
            </p:sp>
            <p:sp>
              <p:nvSpPr>
                <p:cNvPr id="20" name="Rectangle 19"/>
                <p:cNvSpPr/>
                <p:nvPr/>
              </p:nvSpPr>
              <p:spPr bwMode="auto">
                <a:xfrm>
                  <a:off x="7245847" y="3539999"/>
                  <a:ext cx="2520000" cy="2520000"/>
                </a:xfrm>
                <a:prstGeom prst="rect">
                  <a:avLst/>
                </a:prstGeom>
                <a:solidFill>
                  <a:schemeClr val="accent2"/>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913825"/>
                  <a:r>
                    <a:rPr lang="en-US" sz="3199" b="1" kern="0" dirty="0">
                      <a:gradFill>
                        <a:gsLst>
                          <a:gs pos="0">
                            <a:srgbClr val="FFFFFF"/>
                          </a:gs>
                          <a:gs pos="100000">
                            <a:srgbClr val="FFFFFF"/>
                          </a:gs>
                        </a:gsLst>
                        <a:lin ang="5400000" scaled="0"/>
                      </a:gradFill>
                      <a:latin typeface="+mj-lt"/>
                    </a:rPr>
                    <a:t>TDS Endpoint</a:t>
                  </a:r>
                </a:p>
              </p:txBody>
            </p:sp>
          </p:grpSp>
        </p:grpSp>
        <p:sp>
          <p:nvSpPr>
            <p:cNvPr id="3" name="Rectangle 2"/>
            <p:cNvSpPr/>
            <p:nvPr/>
          </p:nvSpPr>
          <p:spPr>
            <a:xfrm>
              <a:off x="6122079" y="3407134"/>
              <a:ext cx="2520000" cy="369332"/>
            </a:xfrm>
            <a:prstGeom prst="rect">
              <a:avLst/>
            </a:prstGeom>
          </p:spPr>
          <p:txBody>
            <a:bodyPr wrap="square">
              <a:spAutoFit/>
            </a:bodyPr>
            <a:lstStyle/>
            <a:p>
              <a:pPr algn="ctr" defTabSz="914126"/>
              <a:r>
                <a:rPr lang="en-US" sz="1799" b="1" kern="0" dirty="0">
                  <a:gradFill>
                    <a:gsLst>
                      <a:gs pos="0">
                        <a:srgbClr val="FFFFFF"/>
                      </a:gs>
                      <a:gs pos="100000">
                        <a:srgbClr val="FFFFFF"/>
                      </a:gs>
                    </a:gsLst>
                    <a:lin ang="5400000" scaled="0"/>
                  </a:gradFill>
                  <a:latin typeface="+mj-lt"/>
                </a:rPr>
                <a:t>(Physical/VM)</a:t>
              </a:r>
            </a:p>
          </p:txBody>
        </p:sp>
      </p:grpSp>
    </p:spTree>
    <p:extLst>
      <p:ext uri="{BB962C8B-B14F-4D97-AF65-F5344CB8AC3E}">
        <p14:creationId xmlns:p14="http://schemas.microsoft.com/office/powerpoint/2010/main" val="249771322"/>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599" dirty="0"/>
              <a:t>SQL Database The Basics</a:t>
            </a:r>
            <a:br>
              <a:rPr lang="en-US" sz="3599" dirty="0"/>
            </a:br>
            <a:endParaRPr lang="en-US" sz="3599" dirty="0"/>
          </a:p>
        </p:txBody>
      </p:sp>
      <p:sp>
        <p:nvSpPr>
          <p:cNvPr id="3" name="Content Placeholder 2"/>
          <p:cNvSpPr>
            <a:spLocks noGrp="1"/>
          </p:cNvSpPr>
          <p:nvPr>
            <p:ph sz="quarter" idx="10"/>
          </p:nvPr>
        </p:nvSpPr>
        <p:spPr/>
        <p:txBody>
          <a:bodyPr/>
          <a:lstStyle/>
          <a:p>
            <a:r>
              <a:rPr lang="en-US" sz="3999" dirty="0"/>
              <a:t>SQL Server database technology “as a Service”</a:t>
            </a:r>
          </a:p>
          <a:p>
            <a:r>
              <a:rPr lang="en-US" sz="3999" dirty="0"/>
              <a:t>Fully Managed</a:t>
            </a:r>
          </a:p>
          <a:p>
            <a:r>
              <a:rPr lang="en-US" sz="3999" dirty="0"/>
              <a:t>Enterprise-ready with automatic support for HA, DR, Backups, replication and more</a:t>
            </a:r>
          </a:p>
          <a:p>
            <a:endParaRPr lang="en-US" sz="3999" dirty="0"/>
          </a:p>
        </p:txBody>
      </p:sp>
    </p:spTree>
    <p:extLst>
      <p:ext uri="{BB962C8B-B14F-4D97-AF65-F5344CB8AC3E}">
        <p14:creationId xmlns:p14="http://schemas.microsoft.com/office/powerpoint/2010/main" val="1651444786"/>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599" dirty="0">
                <a:solidFill>
                  <a:srgbClr val="0072C6"/>
                </a:solidFill>
              </a:rPr>
              <a:t>SQL Database The Basics</a:t>
            </a:r>
            <a:endParaRPr lang="en-US" dirty="0"/>
          </a:p>
        </p:txBody>
      </p:sp>
      <p:sp>
        <p:nvSpPr>
          <p:cNvPr id="3" name="Content Placeholder 2"/>
          <p:cNvSpPr>
            <a:spLocks noGrp="1"/>
          </p:cNvSpPr>
          <p:nvPr>
            <p:ph sz="quarter" idx="10"/>
          </p:nvPr>
        </p:nvSpPr>
        <p:spPr/>
        <p:txBody>
          <a:bodyPr/>
          <a:lstStyle/>
          <a:p>
            <a:r>
              <a:rPr lang="en-US" sz="3999" dirty="0"/>
              <a:t>Scale out with </a:t>
            </a:r>
            <a:r>
              <a:rPr lang="en-US" sz="3999" dirty="0" err="1"/>
              <a:t>ElasticScale</a:t>
            </a:r>
            <a:endParaRPr lang="en-US" sz="3999" dirty="0"/>
          </a:p>
          <a:p>
            <a:r>
              <a:rPr lang="en-US" sz="3999" dirty="0"/>
              <a:t>Built-in regional database replicas for additional protection</a:t>
            </a:r>
          </a:p>
          <a:p>
            <a:r>
              <a:rPr lang="en-US" sz="3999" dirty="0"/>
              <a:t>Uptime SLA of 99.99%</a:t>
            </a:r>
          </a:p>
          <a:p>
            <a:endParaRPr lang="en-US" sz="3999" dirty="0"/>
          </a:p>
        </p:txBody>
      </p:sp>
    </p:spTree>
    <p:extLst>
      <p:ext uri="{BB962C8B-B14F-4D97-AF65-F5344CB8AC3E}">
        <p14:creationId xmlns:p14="http://schemas.microsoft.com/office/powerpoint/2010/main" val="1138276274"/>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a:stretch>
            <a:fillRect/>
          </a:stretch>
        </p:blipFill>
        <p:spPr>
          <a:xfrm>
            <a:off x="10320757" y="4627538"/>
            <a:ext cx="1032916" cy="1371243"/>
          </a:xfrm>
          <a:prstGeom prst="rect">
            <a:avLst/>
          </a:prstGeom>
        </p:spPr>
      </p:pic>
      <p:sp>
        <p:nvSpPr>
          <p:cNvPr id="2" name="Title 1"/>
          <p:cNvSpPr>
            <a:spLocks noGrp="1"/>
          </p:cNvSpPr>
          <p:nvPr>
            <p:ph type="ctrTitle"/>
          </p:nvPr>
        </p:nvSpPr>
        <p:spPr/>
        <p:txBody>
          <a:bodyPr/>
          <a:lstStyle/>
          <a:p>
            <a:r>
              <a:rPr lang="en-US" dirty="0" err="1"/>
              <a:t>DocumentDB</a:t>
            </a:r>
            <a:endParaRPr lang="en-US" dirty="0"/>
          </a:p>
        </p:txBody>
      </p:sp>
    </p:spTree>
    <p:extLst>
      <p:ext uri="{BB962C8B-B14F-4D97-AF65-F5344CB8AC3E}">
        <p14:creationId xmlns:p14="http://schemas.microsoft.com/office/powerpoint/2010/main" val="526364033"/>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prstGeom prst="rect">
            <a:avLst/>
          </a:prstGeom>
        </p:spPr>
        <p:txBody>
          <a:bodyPr>
            <a:noAutofit/>
          </a:bodyPr>
          <a:lstStyle/>
          <a:p>
            <a:r>
              <a:rPr lang="en-US" sz="5998" dirty="0"/>
              <a:t>Fully managed, scalable JSON document database service</a:t>
            </a:r>
          </a:p>
        </p:txBody>
      </p:sp>
    </p:spTree>
    <p:extLst>
      <p:ext uri="{BB962C8B-B14F-4D97-AF65-F5344CB8AC3E}">
        <p14:creationId xmlns:p14="http://schemas.microsoft.com/office/powerpoint/2010/main" val="3336794722"/>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394109" y="340516"/>
            <a:ext cx="12198348" cy="812588"/>
          </a:xfrm>
          <a:prstGeom prst="rect">
            <a:avLst/>
          </a:prstGeom>
        </p:spPr>
        <p:txBody>
          <a:bodyPr/>
          <a:lstStyle/>
          <a:p>
            <a:r>
              <a:rPr lang="en-US" sz="3199" spc="-75" dirty="0">
                <a:solidFill>
                  <a:srgbClr val="505050"/>
                </a:solidFill>
                <a:latin typeface="Segoe UI Light"/>
                <a:cs typeface="Segoe UI Light"/>
              </a:rPr>
              <a:t>Microsoft Azure Data Services</a:t>
            </a:r>
          </a:p>
        </p:txBody>
      </p:sp>
      <p:sp>
        <p:nvSpPr>
          <p:cNvPr id="52" name="Rectangle 51"/>
          <p:cNvSpPr/>
          <p:nvPr/>
        </p:nvSpPr>
        <p:spPr bwMode="auto">
          <a:xfrm>
            <a:off x="394109" y="2249010"/>
            <a:ext cx="2222850" cy="4094431"/>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03" tIns="45701" rIns="45701" bIns="91403" numCol="1" spcCol="0" rtlCol="0" fromWordArt="0" anchor="b" anchorCtr="0" forceAA="0" compatLnSpc="1">
            <a:prstTxWarp prst="textNoShape">
              <a:avLst/>
            </a:prstTxWarp>
            <a:noAutofit/>
          </a:bodyPr>
          <a:lstStyle/>
          <a:p>
            <a:pPr algn="ctr" defTabSz="913650" fontAlgn="base">
              <a:spcBef>
                <a:spcPct val="0"/>
              </a:spcBef>
              <a:spcAft>
                <a:spcPct val="0"/>
              </a:spcAft>
              <a:defRPr/>
            </a:pPr>
            <a:endParaRPr lang="en-US" sz="1799"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3" name="Rectangle 52"/>
          <p:cNvSpPr/>
          <p:nvPr/>
        </p:nvSpPr>
        <p:spPr bwMode="auto">
          <a:xfrm>
            <a:off x="2703977" y="2249010"/>
            <a:ext cx="2222850" cy="4094431"/>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03" tIns="45701" rIns="45701" bIns="91403" numCol="1" spcCol="0" rtlCol="0" fromWordArt="0" anchor="b" anchorCtr="0" forceAA="0" compatLnSpc="1">
            <a:prstTxWarp prst="textNoShape">
              <a:avLst/>
            </a:prstTxWarp>
            <a:noAutofit/>
          </a:bodyPr>
          <a:lstStyle/>
          <a:p>
            <a:pPr algn="ctr" defTabSz="913650" fontAlgn="base">
              <a:spcBef>
                <a:spcPct val="0"/>
              </a:spcBef>
              <a:spcAft>
                <a:spcPct val="0"/>
              </a:spcAft>
              <a:defRPr/>
            </a:pPr>
            <a:endParaRPr lang="en-US" sz="1799"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4" name="Rectangle 53"/>
          <p:cNvSpPr/>
          <p:nvPr/>
        </p:nvSpPr>
        <p:spPr bwMode="auto">
          <a:xfrm>
            <a:off x="5013846" y="2249010"/>
            <a:ext cx="2222850" cy="4094431"/>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03" tIns="45701" rIns="45701" bIns="91403" numCol="1" spcCol="0" rtlCol="0" fromWordArt="0" anchor="b" anchorCtr="0" forceAA="0" compatLnSpc="1">
            <a:prstTxWarp prst="textNoShape">
              <a:avLst/>
            </a:prstTxWarp>
            <a:noAutofit/>
          </a:bodyPr>
          <a:lstStyle/>
          <a:p>
            <a:pPr algn="ctr" defTabSz="913650" fontAlgn="base">
              <a:spcBef>
                <a:spcPct val="0"/>
              </a:spcBef>
              <a:spcAft>
                <a:spcPct val="0"/>
              </a:spcAft>
              <a:defRPr/>
            </a:pPr>
            <a:endParaRPr lang="en-US" sz="1799"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5" name="Rectangle 54"/>
          <p:cNvSpPr/>
          <p:nvPr/>
        </p:nvSpPr>
        <p:spPr bwMode="auto">
          <a:xfrm>
            <a:off x="7316985" y="2249010"/>
            <a:ext cx="2222850" cy="4094431"/>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03" tIns="45701" rIns="45701" bIns="91403" numCol="1" spcCol="0" rtlCol="0" fromWordArt="0" anchor="b" anchorCtr="0" forceAA="0" compatLnSpc="1">
            <a:prstTxWarp prst="textNoShape">
              <a:avLst/>
            </a:prstTxWarp>
            <a:noAutofit/>
          </a:bodyPr>
          <a:lstStyle/>
          <a:p>
            <a:pPr algn="ctr" defTabSz="913650" fontAlgn="base">
              <a:spcBef>
                <a:spcPct val="0"/>
              </a:spcBef>
              <a:spcAft>
                <a:spcPct val="0"/>
              </a:spcAft>
              <a:defRPr/>
            </a:pPr>
            <a:endParaRPr lang="en-US" sz="1799"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6" name="Rectangle 55"/>
          <p:cNvSpPr/>
          <p:nvPr/>
        </p:nvSpPr>
        <p:spPr bwMode="auto">
          <a:xfrm>
            <a:off x="9620128" y="2249010"/>
            <a:ext cx="2222850" cy="4094431"/>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03" tIns="45701" rIns="45701" bIns="91403" numCol="1" spcCol="0" rtlCol="0" fromWordArt="0" anchor="b" anchorCtr="0" forceAA="0" compatLnSpc="1">
            <a:prstTxWarp prst="textNoShape">
              <a:avLst/>
            </a:prstTxWarp>
            <a:noAutofit/>
          </a:bodyPr>
          <a:lstStyle/>
          <a:p>
            <a:pPr algn="ctr" defTabSz="913650" fontAlgn="base">
              <a:spcBef>
                <a:spcPct val="0"/>
              </a:spcBef>
              <a:spcAft>
                <a:spcPct val="0"/>
              </a:spcAft>
              <a:defRPr/>
            </a:pPr>
            <a:endParaRPr lang="en-US" sz="1799"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7" name="Rectangle 56"/>
          <p:cNvSpPr/>
          <p:nvPr/>
        </p:nvSpPr>
        <p:spPr bwMode="auto">
          <a:xfrm>
            <a:off x="2704663" y="1175809"/>
            <a:ext cx="2222164" cy="1074619"/>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89571" tIns="44784" rIns="89571" bIns="44784" numCol="1" spcCol="0" rtlCol="0" fromWordArt="0" anchor="t" anchorCtr="0" forceAA="0" compatLnSpc="1">
            <a:prstTxWarp prst="textNoShape">
              <a:avLst/>
            </a:prstTxWarp>
            <a:noAutofit/>
          </a:bodyPr>
          <a:lstStyle/>
          <a:p>
            <a:pPr defTabSz="1590801" fontAlgn="base">
              <a:defRPr/>
            </a:pPr>
            <a:r>
              <a:rPr lang="en-US" sz="1999" kern="0" dirty="0">
                <a:ln>
                  <a:solidFill>
                    <a:srgbClr val="FFFFFF">
                      <a:alpha val="0"/>
                    </a:srgbClr>
                  </a:solidFill>
                </a:ln>
                <a:solidFill>
                  <a:srgbClr val="FFFFFF"/>
                </a:solidFill>
                <a:latin typeface="Segoe UI Light"/>
              </a:rPr>
              <a:t>SQL Database</a:t>
            </a:r>
          </a:p>
        </p:txBody>
      </p:sp>
      <p:sp>
        <p:nvSpPr>
          <p:cNvPr id="58" name="Rectangle 57"/>
          <p:cNvSpPr/>
          <p:nvPr/>
        </p:nvSpPr>
        <p:spPr bwMode="auto">
          <a:xfrm>
            <a:off x="7310943" y="1174389"/>
            <a:ext cx="2228891" cy="1074619"/>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89571" tIns="44784" rIns="89571" bIns="44784" numCol="1" spcCol="0" rtlCol="0" fromWordArt="0" anchor="t" anchorCtr="0" forceAA="0" compatLnSpc="1">
            <a:prstTxWarp prst="textNoShape">
              <a:avLst/>
            </a:prstTxWarp>
            <a:noAutofit/>
          </a:bodyPr>
          <a:lstStyle/>
          <a:p>
            <a:pPr defTabSz="1590801" fontAlgn="base">
              <a:defRPr/>
            </a:pPr>
            <a:r>
              <a:rPr lang="en-US" sz="1999" kern="0" dirty="0">
                <a:ln>
                  <a:solidFill>
                    <a:srgbClr val="FFFFFF">
                      <a:alpha val="0"/>
                    </a:srgbClr>
                  </a:solidFill>
                </a:ln>
                <a:solidFill>
                  <a:srgbClr val="FFFFFF"/>
                </a:solidFill>
                <a:latin typeface="Segoe UI Light"/>
              </a:rPr>
              <a:t>Tables</a:t>
            </a:r>
          </a:p>
        </p:txBody>
      </p:sp>
      <p:sp>
        <p:nvSpPr>
          <p:cNvPr id="59" name="Rectangle 58"/>
          <p:cNvSpPr/>
          <p:nvPr/>
        </p:nvSpPr>
        <p:spPr bwMode="auto">
          <a:xfrm>
            <a:off x="9620814" y="1175809"/>
            <a:ext cx="2222164" cy="1074619"/>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89571" tIns="44784" rIns="89571" bIns="44784" numCol="1" spcCol="0" rtlCol="0" fromWordArt="0" anchor="t" anchorCtr="0" forceAA="0" compatLnSpc="1">
            <a:prstTxWarp prst="textNoShape">
              <a:avLst/>
            </a:prstTxWarp>
            <a:noAutofit/>
          </a:bodyPr>
          <a:lstStyle/>
          <a:p>
            <a:pPr defTabSz="1590801" fontAlgn="base">
              <a:defRPr/>
            </a:pPr>
            <a:r>
              <a:rPr lang="en-US" sz="1999" kern="0" dirty="0">
                <a:ln>
                  <a:solidFill>
                    <a:srgbClr val="FFFFFF">
                      <a:alpha val="0"/>
                    </a:srgbClr>
                  </a:solidFill>
                </a:ln>
                <a:solidFill>
                  <a:srgbClr val="FFFFFF"/>
                </a:solidFill>
                <a:latin typeface="Segoe UI Light"/>
              </a:rPr>
              <a:t>Blobs</a:t>
            </a:r>
          </a:p>
        </p:txBody>
      </p:sp>
      <p:sp>
        <p:nvSpPr>
          <p:cNvPr id="60" name="Rectangle 59"/>
          <p:cNvSpPr/>
          <p:nvPr/>
        </p:nvSpPr>
        <p:spPr bwMode="auto">
          <a:xfrm>
            <a:off x="394110" y="1175809"/>
            <a:ext cx="2222851" cy="1074619"/>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89571" tIns="44784" rIns="89571" bIns="44784" numCol="1" spcCol="0" rtlCol="0" fromWordArt="0" anchor="t" anchorCtr="0" forceAA="0" compatLnSpc="1">
            <a:prstTxWarp prst="textNoShape">
              <a:avLst/>
            </a:prstTxWarp>
            <a:noAutofit/>
          </a:bodyPr>
          <a:lstStyle/>
          <a:p>
            <a:pPr defTabSz="1590801" fontAlgn="base">
              <a:defRPr/>
            </a:pPr>
            <a:r>
              <a:rPr lang="en-US" sz="1999" kern="0" dirty="0">
                <a:ln>
                  <a:solidFill>
                    <a:srgbClr val="FFFFFF">
                      <a:alpha val="0"/>
                    </a:srgbClr>
                  </a:solidFill>
                </a:ln>
                <a:solidFill>
                  <a:srgbClr val="FFFFFF"/>
                </a:solidFill>
                <a:latin typeface="Segoe UI Light"/>
              </a:rPr>
              <a:t>SQL Server </a:t>
            </a:r>
            <a:br>
              <a:rPr lang="en-US" sz="1999" kern="0" dirty="0">
                <a:ln>
                  <a:solidFill>
                    <a:srgbClr val="FFFFFF">
                      <a:alpha val="0"/>
                    </a:srgbClr>
                  </a:solidFill>
                </a:ln>
                <a:solidFill>
                  <a:srgbClr val="FFFFFF"/>
                </a:solidFill>
                <a:latin typeface="Segoe UI Light"/>
              </a:rPr>
            </a:br>
            <a:r>
              <a:rPr lang="en-US" sz="1999" kern="0" dirty="0">
                <a:ln>
                  <a:solidFill>
                    <a:srgbClr val="FFFFFF">
                      <a:alpha val="0"/>
                    </a:srgbClr>
                  </a:solidFill>
                </a:ln>
                <a:solidFill>
                  <a:srgbClr val="FFFFFF"/>
                </a:solidFill>
                <a:latin typeface="Segoe UI Light"/>
              </a:rPr>
              <a:t>in a VM</a:t>
            </a:r>
          </a:p>
        </p:txBody>
      </p:sp>
      <p:sp>
        <p:nvSpPr>
          <p:cNvPr id="61" name="Rectangle 60"/>
          <p:cNvSpPr/>
          <p:nvPr/>
        </p:nvSpPr>
        <p:spPr bwMode="auto">
          <a:xfrm>
            <a:off x="5014532" y="1175116"/>
            <a:ext cx="2222164" cy="1074619"/>
          </a:xfrm>
          <a:prstGeom prst="rect">
            <a:avLst/>
          </a:prstGeom>
          <a:solidFill>
            <a:srgbClr val="2687CE"/>
          </a:solidFill>
          <a:ln w="6350" cap="flat" cmpd="sng" algn="ctr">
            <a:solidFill>
              <a:srgbClr val="2687CE"/>
            </a:solidFill>
            <a:prstDash val="solid"/>
            <a:miter lim="800000"/>
            <a:headEnd type="none" w="med" len="med"/>
            <a:tailEnd type="none" w="med" len="med"/>
          </a:ln>
          <a:effectLst/>
        </p:spPr>
        <p:txBody>
          <a:bodyPr rot="0" spcFirstLastPara="0" vertOverflow="overflow" horzOverflow="overflow" vert="horz" wrap="square" lIns="89594" tIns="44796" rIns="89594" bIns="44796" numCol="1" spcCol="0" rtlCol="0" fromWordArt="0" anchor="t" anchorCtr="0" forceAA="0" compatLnSpc="1">
            <a:prstTxWarp prst="textNoShape">
              <a:avLst/>
            </a:prstTxWarp>
            <a:noAutofit/>
          </a:bodyPr>
          <a:lstStyle/>
          <a:p>
            <a:pPr defTabSz="1591277" fontAlgn="base">
              <a:defRPr/>
            </a:pPr>
            <a:r>
              <a:rPr lang="en-US" sz="1960" kern="0" dirty="0">
                <a:ln>
                  <a:solidFill>
                    <a:srgbClr val="FFFFFF">
                      <a:alpha val="0"/>
                    </a:srgbClr>
                  </a:solidFill>
                </a:ln>
                <a:solidFill>
                  <a:srgbClr val="FFFFFF"/>
                </a:solidFill>
                <a:latin typeface="Segoe UI Light"/>
              </a:rPr>
              <a:t>DocumentDB</a:t>
            </a:r>
          </a:p>
        </p:txBody>
      </p:sp>
      <p:graphicFrame>
        <p:nvGraphicFramePr>
          <p:cNvPr id="62" name="Table 61"/>
          <p:cNvGraphicFramePr>
            <a:graphicFrameLocks noGrp="1"/>
          </p:cNvGraphicFramePr>
          <p:nvPr>
            <p:extLst/>
          </p:nvPr>
        </p:nvGraphicFramePr>
        <p:xfrm>
          <a:off x="9023410" y="1785597"/>
          <a:ext cx="354790" cy="306140"/>
        </p:xfrm>
        <a:graphic>
          <a:graphicData uri="http://schemas.openxmlformats.org/drawingml/2006/table">
            <a:tbl>
              <a:tblPr firstRow="1" bandRow="1"/>
              <a:tblGrid>
                <a:gridCol w="70958">
                  <a:extLst>
                    <a:ext uri="{9D8B030D-6E8A-4147-A177-3AD203B41FA5}">
                      <a16:colId xmlns:a16="http://schemas.microsoft.com/office/drawing/2014/main" val="20000"/>
                    </a:ext>
                  </a:extLst>
                </a:gridCol>
                <a:gridCol w="70958">
                  <a:extLst>
                    <a:ext uri="{9D8B030D-6E8A-4147-A177-3AD203B41FA5}">
                      <a16:colId xmlns:a16="http://schemas.microsoft.com/office/drawing/2014/main" val="20001"/>
                    </a:ext>
                  </a:extLst>
                </a:gridCol>
                <a:gridCol w="70958">
                  <a:extLst>
                    <a:ext uri="{9D8B030D-6E8A-4147-A177-3AD203B41FA5}">
                      <a16:colId xmlns:a16="http://schemas.microsoft.com/office/drawing/2014/main" val="20002"/>
                    </a:ext>
                  </a:extLst>
                </a:gridCol>
                <a:gridCol w="70958">
                  <a:extLst>
                    <a:ext uri="{9D8B030D-6E8A-4147-A177-3AD203B41FA5}">
                      <a16:colId xmlns:a16="http://schemas.microsoft.com/office/drawing/2014/main" val="20003"/>
                    </a:ext>
                  </a:extLst>
                </a:gridCol>
                <a:gridCol w="70958">
                  <a:extLst>
                    <a:ext uri="{9D8B030D-6E8A-4147-A177-3AD203B41FA5}">
                      <a16:colId xmlns:a16="http://schemas.microsoft.com/office/drawing/2014/main" val="20004"/>
                    </a:ext>
                  </a:extLst>
                </a:gridCol>
              </a:tblGrid>
              <a:tr h="0">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4" marR="17914" marT="17914" marB="17914">
                    <a:lnL w="6350" cap="flat" cmpd="sng" algn="ctr">
                      <a:solidFill>
                        <a:sysClr val="window" lastClr="FFFFFF"/>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4" marR="17914" marT="17914" marB="17914">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4" marR="17914" marT="17914" marB="17914">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4" marR="17914" marT="17914" marB="17914">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4" marR="17914" marT="17914" marB="17914">
                    <a:lnL w="6350" cap="flat" cmpd="sng" algn="ctr">
                      <a:no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0"/>
                  </a:ext>
                </a:extLst>
              </a:tr>
              <a:tr h="0">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4" marR="17914" marT="17914" marB="17914">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4" marR="17914" marT="17914" marB="17914">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4" marR="17914" marT="17914" marB="17914">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4" marR="17914" marT="17914" marB="17914">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4" marR="17914" marT="17914" marB="17914">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0">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4" marR="17914" marT="17914" marB="17914">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4" marR="17914" marT="17914" marB="17914">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4" marR="17914" marT="17914" marB="17914">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4" marR="17914" marT="17914" marB="17914">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4" marR="17914" marT="17914" marB="17914">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0">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4" marR="17914" marT="17914" marB="17914">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4" marR="17914" marT="17914" marB="17914">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4" marR="17914" marT="17914" marB="17914">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4" marR="17914" marT="17914" marB="17914">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4" marR="17914" marT="17914" marB="17914">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0">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4" marR="17914" marT="17914" marB="17914">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4" marR="17914" marT="17914" marB="17914">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4" marR="17914" marT="17914" marB="17914">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4" marR="17914" marT="17914" marB="17914">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4" marR="17914" marT="17914" marB="17914">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pic>
        <p:nvPicPr>
          <p:cNvPr id="63" name="Picture 40"/>
          <p:cNvPicPr>
            <a:picLocks noChangeAspect="1" noChangeArrowheads="1"/>
          </p:cNvPicPr>
          <p:nvPr/>
        </p:nvPicPr>
        <p:blipFill rotWithShape="1">
          <a:blip r:embed="rId2" cstate="print">
            <a:extLst>
              <a:ext uri="{28A0092B-C50C-407E-A947-70E740481C1C}">
                <a14:useLocalDpi xmlns:a14="http://schemas.microsoft.com/office/drawing/2010/main"/>
              </a:ext>
            </a:extLst>
          </a:blip>
          <a:srcRect l="8875" t="13653" r="7587" b="13715"/>
          <a:stretch/>
        </p:blipFill>
        <p:spPr bwMode="auto">
          <a:xfrm>
            <a:off x="11279954" y="1762439"/>
            <a:ext cx="497648" cy="3519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4" name="Picture 63"/>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1901951" y="1776375"/>
            <a:ext cx="592585" cy="351648"/>
          </a:xfrm>
          <a:prstGeom prst="rect">
            <a:avLst/>
          </a:prstGeom>
        </p:spPr>
      </p:pic>
      <p:pic>
        <p:nvPicPr>
          <p:cNvPr id="65" name="Picture 64"/>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a:xfrm>
            <a:off x="4245552" y="1780911"/>
            <a:ext cx="569193" cy="342575"/>
          </a:xfrm>
          <a:prstGeom prst="rect">
            <a:avLst/>
          </a:prstGeom>
        </p:spPr>
      </p:pic>
      <p:grpSp>
        <p:nvGrpSpPr>
          <p:cNvPr id="66" name="Group 43"/>
          <p:cNvGrpSpPr/>
          <p:nvPr/>
        </p:nvGrpSpPr>
        <p:grpSpPr>
          <a:xfrm>
            <a:off x="6600832" y="1791102"/>
            <a:ext cx="445701" cy="298955"/>
            <a:chOff x="4374833" y="1810640"/>
            <a:chExt cx="1828800" cy="1426464"/>
          </a:xfrm>
        </p:grpSpPr>
        <p:sp>
          <p:nvSpPr>
            <p:cNvPr id="67" name="Rectangle 66"/>
            <p:cNvSpPr/>
            <p:nvPr/>
          </p:nvSpPr>
          <p:spPr bwMode="auto">
            <a:xfrm>
              <a:off x="5021379" y="1810640"/>
              <a:ext cx="535709" cy="365823"/>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40" tIns="143313" rIns="179140" bIns="143313" numCol="1" spcCol="0" rtlCol="0" fromWordArt="0" anchor="t" anchorCtr="0" forceAA="0" compatLnSpc="1">
              <a:prstTxWarp prst="textNoShape">
                <a:avLst/>
              </a:prstTxWarp>
              <a:noAutofit/>
            </a:bodyPr>
            <a:lstStyle/>
            <a:p>
              <a:pPr algn="ctr" defTabSz="913204" fontAlgn="base">
                <a:spcBef>
                  <a:spcPct val="0"/>
                </a:spcBef>
                <a:spcAft>
                  <a:spcPct val="0"/>
                </a:spcAft>
                <a:defRPr/>
              </a:pPr>
              <a:endParaRPr lang="en-US" sz="2351" kern="0" dirty="0">
                <a:ln>
                  <a:solidFill>
                    <a:srgbClr val="FFFFFF">
                      <a:alpha val="0"/>
                    </a:srgbClr>
                  </a:solidFill>
                </a:ln>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68" name="Rectangle 67"/>
            <p:cNvSpPr/>
            <p:nvPr/>
          </p:nvSpPr>
          <p:spPr bwMode="auto">
            <a:xfrm>
              <a:off x="4374833" y="2961769"/>
              <a:ext cx="438912" cy="275335"/>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40" tIns="143313" rIns="179140" bIns="143313" numCol="1" spcCol="0" rtlCol="0" fromWordArt="0" anchor="t" anchorCtr="0" forceAA="0" compatLnSpc="1">
              <a:prstTxWarp prst="textNoShape">
                <a:avLst/>
              </a:prstTxWarp>
              <a:noAutofit/>
            </a:bodyPr>
            <a:lstStyle/>
            <a:p>
              <a:pPr algn="ctr" defTabSz="913204" fontAlgn="base">
                <a:spcBef>
                  <a:spcPct val="0"/>
                </a:spcBef>
                <a:spcAft>
                  <a:spcPct val="0"/>
                </a:spcAft>
                <a:defRPr/>
              </a:pPr>
              <a:endParaRPr lang="en-US" sz="2351" kern="0" dirty="0">
                <a:ln>
                  <a:solidFill>
                    <a:srgbClr val="FFFFFF">
                      <a:alpha val="0"/>
                    </a:srgbClr>
                  </a:solidFill>
                </a:ln>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69" name="Rectangle 68"/>
            <p:cNvSpPr/>
            <p:nvPr/>
          </p:nvSpPr>
          <p:spPr bwMode="auto">
            <a:xfrm>
              <a:off x="5764721" y="2961769"/>
              <a:ext cx="438912" cy="275335"/>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40" tIns="143313" rIns="179140" bIns="143313" numCol="1" spcCol="0" rtlCol="0" fromWordArt="0" anchor="t" anchorCtr="0" forceAA="0" compatLnSpc="1">
              <a:prstTxWarp prst="textNoShape">
                <a:avLst/>
              </a:prstTxWarp>
              <a:noAutofit/>
            </a:bodyPr>
            <a:lstStyle/>
            <a:p>
              <a:pPr algn="ctr" defTabSz="913204" fontAlgn="base">
                <a:spcBef>
                  <a:spcPct val="0"/>
                </a:spcBef>
                <a:spcAft>
                  <a:spcPct val="0"/>
                </a:spcAft>
                <a:defRPr/>
              </a:pPr>
              <a:endParaRPr lang="en-US" sz="2351" kern="0" dirty="0">
                <a:ln>
                  <a:solidFill>
                    <a:srgbClr val="FFFFFF">
                      <a:alpha val="0"/>
                    </a:srgbClr>
                  </a:solidFill>
                </a:ln>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70" name="Rectangle 69"/>
            <p:cNvSpPr/>
            <p:nvPr/>
          </p:nvSpPr>
          <p:spPr bwMode="auto">
            <a:xfrm>
              <a:off x="5301425" y="2961769"/>
              <a:ext cx="438912" cy="275335"/>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40" tIns="143313" rIns="179140" bIns="143313" numCol="1" spcCol="0" rtlCol="0" fromWordArt="0" anchor="t" anchorCtr="0" forceAA="0" compatLnSpc="1">
              <a:prstTxWarp prst="textNoShape">
                <a:avLst/>
              </a:prstTxWarp>
              <a:noAutofit/>
            </a:bodyPr>
            <a:lstStyle/>
            <a:p>
              <a:pPr algn="ctr" defTabSz="913204" fontAlgn="base">
                <a:spcBef>
                  <a:spcPct val="0"/>
                </a:spcBef>
                <a:spcAft>
                  <a:spcPct val="0"/>
                </a:spcAft>
                <a:defRPr/>
              </a:pPr>
              <a:endParaRPr lang="en-US" sz="2351" kern="0" dirty="0">
                <a:ln>
                  <a:solidFill>
                    <a:srgbClr val="FFFFFF">
                      <a:alpha val="0"/>
                    </a:srgbClr>
                  </a:solidFill>
                </a:ln>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71" name="Rectangle 70"/>
            <p:cNvSpPr/>
            <p:nvPr/>
          </p:nvSpPr>
          <p:spPr bwMode="auto">
            <a:xfrm>
              <a:off x="4838129" y="2961769"/>
              <a:ext cx="438912" cy="275335"/>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40" tIns="143313" rIns="179140" bIns="143313" numCol="1" spcCol="0" rtlCol="0" fromWordArt="0" anchor="t" anchorCtr="0" forceAA="0" compatLnSpc="1">
              <a:prstTxWarp prst="textNoShape">
                <a:avLst/>
              </a:prstTxWarp>
              <a:noAutofit/>
            </a:bodyPr>
            <a:lstStyle/>
            <a:p>
              <a:pPr algn="ctr" defTabSz="913204" fontAlgn="base">
                <a:spcBef>
                  <a:spcPct val="0"/>
                </a:spcBef>
                <a:spcAft>
                  <a:spcPct val="0"/>
                </a:spcAft>
                <a:defRPr/>
              </a:pPr>
              <a:endParaRPr lang="en-US" sz="2351" kern="0" dirty="0">
                <a:ln>
                  <a:solidFill>
                    <a:srgbClr val="FFFFFF">
                      <a:alpha val="0"/>
                    </a:srgbClr>
                  </a:solidFill>
                </a:ln>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72" name="Rectangle 71"/>
            <p:cNvSpPr/>
            <p:nvPr/>
          </p:nvSpPr>
          <p:spPr bwMode="auto">
            <a:xfrm>
              <a:off x="4594289" y="2411789"/>
              <a:ext cx="463296" cy="314654"/>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40" tIns="143313" rIns="179140" bIns="143313" numCol="1" spcCol="0" rtlCol="0" fromWordArt="0" anchor="t" anchorCtr="0" forceAA="0" compatLnSpc="1">
              <a:prstTxWarp prst="textNoShape">
                <a:avLst/>
              </a:prstTxWarp>
              <a:noAutofit/>
            </a:bodyPr>
            <a:lstStyle/>
            <a:p>
              <a:pPr algn="ctr" defTabSz="913204" fontAlgn="base">
                <a:spcBef>
                  <a:spcPct val="0"/>
                </a:spcBef>
                <a:spcAft>
                  <a:spcPct val="0"/>
                </a:spcAft>
                <a:defRPr/>
              </a:pPr>
              <a:endParaRPr lang="en-US" sz="2351" kern="0" dirty="0">
                <a:ln>
                  <a:solidFill>
                    <a:srgbClr val="FFFFFF">
                      <a:alpha val="0"/>
                    </a:srgbClr>
                  </a:solidFill>
                </a:ln>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73" name="Rectangle 72"/>
            <p:cNvSpPr/>
            <p:nvPr/>
          </p:nvSpPr>
          <p:spPr bwMode="auto">
            <a:xfrm>
              <a:off x="5520881" y="2411789"/>
              <a:ext cx="463296" cy="314654"/>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40" tIns="143313" rIns="179140" bIns="143313" numCol="1" spcCol="0" rtlCol="0" fromWordArt="0" anchor="t" anchorCtr="0" forceAA="0" compatLnSpc="1">
              <a:prstTxWarp prst="textNoShape">
                <a:avLst/>
              </a:prstTxWarp>
              <a:noAutofit/>
            </a:bodyPr>
            <a:lstStyle/>
            <a:p>
              <a:pPr algn="ctr" defTabSz="913204" fontAlgn="base">
                <a:spcBef>
                  <a:spcPct val="0"/>
                </a:spcBef>
                <a:spcAft>
                  <a:spcPct val="0"/>
                </a:spcAft>
                <a:defRPr/>
              </a:pPr>
              <a:endParaRPr lang="en-US" sz="2351" kern="0" dirty="0">
                <a:ln>
                  <a:solidFill>
                    <a:srgbClr val="FFFFFF">
                      <a:alpha val="0"/>
                    </a:srgbClr>
                  </a:solidFill>
                </a:ln>
                <a:gradFill>
                  <a:gsLst>
                    <a:gs pos="0">
                      <a:srgbClr val="FFFFFF"/>
                    </a:gs>
                    <a:gs pos="100000">
                      <a:srgbClr val="FFFFFF"/>
                    </a:gs>
                  </a:gsLst>
                  <a:lin ang="5400000" scaled="0"/>
                </a:gradFill>
                <a:latin typeface="Segoe UI Light"/>
                <a:ea typeface="Segoe UI" pitchFamily="34" charset="0"/>
                <a:cs typeface="Segoe UI" pitchFamily="34" charset="0"/>
              </a:endParaRPr>
            </a:p>
          </p:txBody>
        </p:sp>
        <p:cxnSp>
          <p:nvCxnSpPr>
            <p:cNvPr id="74" name="Elbow Connector 73"/>
            <p:cNvCxnSpPr>
              <a:stCxn id="67" idx="2"/>
              <a:endCxn id="73" idx="0"/>
            </p:cNvCxnSpPr>
            <p:nvPr/>
          </p:nvCxnSpPr>
          <p:spPr>
            <a:xfrm rot="16200000" flipH="1">
              <a:off x="5403218" y="2062478"/>
              <a:ext cx="235326" cy="463295"/>
            </a:xfrm>
            <a:prstGeom prst="bentConnector3">
              <a:avLst/>
            </a:prstGeom>
            <a:noFill/>
            <a:ln w="9525" cap="flat" cmpd="sng" algn="ctr">
              <a:solidFill>
                <a:sysClr val="window" lastClr="FFFFFF"/>
              </a:solidFill>
              <a:prstDash val="solid"/>
              <a:miter lim="800000"/>
              <a:headEnd type="none"/>
              <a:tailEnd type="none"/>
            </a:ln>
            <a:effectLst/>
          </p:spPr>
        </p:cxnSp>
        <p:cxnSp>
          <p:nvCxnSpPr>
            <p:cNvPr id="75" name="Straight Connector 31"/>
            <p:cNvCxnSpPr>
              <a:stCxn id="67" idx="2"/>
              <a:endCxn id="72" idx="0"/>
            </p:cNvCxnSpPr>
            <p:nvPr/>
          </p:nvCxnSpPr>
          <p:spPr>
            <a:xfrm rot="5400000">
              <a:off x="4939923" y="2062478"/>
              <a:ext cx="235326" cy="463297"/>
            </a:xfrm>
            <a:prstGeom prst="bentConnector3">
              <a:avLst>
                <a:gd name="adj1" fmla="val 50000"/>
              </a:avLst>
            </a:prstGeom>
            <a:noFill/>
            <a:ln w="9525" cap="flat" cmpd="sng" algn="ctr">
              <a:solidFill>
                <a:sysClr val="window" lastClr="FFFFFF"/>
              </a:solidFill>
              <a:prstDash val="solid"/>
              <a:miter lim="800000"/>
              <a:headEnd type="none"/>
              <a:tailEnd type="none"/>
            </a:ln>
            <a:effectLst/>
          </p:spPr>
        </p:cxnSp>
        <p:cxnSp>
          <p:nvCxnSpPr>
            <p:cNvPr id="76" name="Elbow Connector 75"/>
            <p:cNvCxnSpPr>
              <a:stCxn id="73" idx="2"/>
              <a:endCxn id="69" idx="0"/>
            </p:cNvCxnSpPr>
            <p:nvPr/>
          </p:nvCxnSpPr>
          <p:spPr>
            <a:xfrm rot="16200000" flipH="1">
              <a:off x="5750690" y="2728282"/>
              <a:ext cx="235326" cy="231648"/>
            </a:xfrm>
            <a:prstGeom prst="bentConnector3">
              <a:avLst/>
            </a:prstGeom>
            <a:noFill/>
            <a:ln w="9525" cap="flat" cmpd="sng" algn="ctr">
              <a:solidFill>
                <a:sysClr val="window" lastClr="FFFFFF"/>
              </a:solidFill>
              <a:prstDash val="solid"/>
              <a:miter lim="800000"/>
              <a:headEnd type="none"/>
              <a:tailEnd type="none"/>
            </a:ln>
            <a:effectLst/>
          </p:spPr>
        </p:cxnSp>
        <p:cxnSp>
          <p:nvCxnSpPr>
            <p:cNvPr id="77" name="Elbow Connector 76"/>
            <p:cNvCxnSpPr>
              <a:stCxn id="73" idx="2"/>
              <a:endCxn id="70" idx="0"/>
            </p:cNvCxnSpPr>
            <p:nvPr/>
          </p:nvCxnSpPr>
          <p:spPr>
            <a:xfrm rot="5400000">
              <a:off x="5519042" y="2728282"/>
              <a:ext cx="235326" cy="231648"/>
            </a:xfrm>
            <a:prstGeom prst="bentConnector3">
              <a:avLst/>
            </a:prstGeom>
            <a:noFill/>
            <a:ln w="9525" cap="flat" cmpd="sng" algn="ctr">
              <a:solidFill>
                <a:sysClr val="window" lastClr="FFFFFF"/>
              </a:solidFill>
              <a:prstDash val="solid"/>
              <a:miter lim="800000"/>
              <a:headEnd type="none"/>
              <a:tailEnd type="none"/>
            </a:ln>
            <a:effectLst/>
          </p:spPr>
        </p:cxnSp>
        <p:cxnSp>
          <p:nvCxnSpPr>
            <p:cNvPr id="78" name="Elbow Connector 77"/>
            <p:cNvCxnSpPr>
              <a:stCxn id="72" idx="2"/>
              <a:endCxn id="71" idx="0"/>
            </p:cNvCxnSpPr>
            <p:nvPr/>
          </p:nvCxnSpPr>
          <p:spPr>
            <a:xfrm rot="16200000" flipH="1">
              <a:off x="4824098" y="2728282"/>
              <a:ext cx="235326" cy="231648"/>
            </a:xfrm>
            <a:prstGeom prst="bentConnector3">
              <a:avLst/>
            </a:prstGeom>
            <a:noFill/>
            <a:ln w="9525" cap="flat" cmpd="sng" algn="ctr">
              <a:solidFill>
                <a:sysClr val="window" lastClr="FFFFFF"/>
              </a:solidFill>
              <a:prstDash val="solid"/>
              <a:miter lim="800000"/>
              <a:headEnd type="none"/>
              <a:tailEnd type="none"/>
            </a:ln>
            <a:effectLst/>
          </p:spPr>
        </p:cxnSp>
        <p:cxnSp>
          <p:nvCxnSpPr>
            <p:cNvPr id="79" name="Elbow Connector 78"/>
            <p:cNvCxnSpPr>
              <a:stCxn id="72" idx="2"/>
              <a:endCxn id="68" idx="0"/>
            </p:cNvCxnSpPr>
            <p:nvPr/>
          </p:nvCxnSpPr>
          <p:spPr>
            <a:xfrm rot="5400000">
              <a:off x="4592450" y="2728282"/>
              <a:ext cx="235326" cy="231648"/>
            </a:xfrm>
            <a:prstGeom prst="bentConnector3">
              <a:avLst/>
            </a:prstGeom>
            <a:noFill/>
            <a:ln w="9525" cap="flat" cmpd="sng" algn="ctr">
              <a:solidFill>
                <a:sysClr val="window" lastClr="FFFFFF"/>
              </a:solidFill>
              <a:prstDash val="solid"/>
              <a:miter lim="800000"/>
              <a:headEnd type="none"/>
              <a:tailEnd type="none"/>
            </a:ln>
            <a:effectLst/>
          </p:spPr>
        </p:cxnSp>
      </p:grpSp>
      <p:sp>
        <p:nvSpPr>
          <p:cNvPr id="80" name="Rectangle 79"/>
          <p:cNvSpPr/>
          <p:nvPr/>
        </p:nvSpPr>
        <p:spPr>
          <a:xfrm>
            <a:off x="5064990" y="2417242"/>
            <a:ext cx="6160739" cy="798359"/>
          </a:xfrm>
          <a:prstGeom prst="rect">
            <a:avLst/>
          </a:prstGeom>
        </p:spPr>
        <p:txBody>
          <a:bodyPr wrap="square">
            <a:spAutoFit/>
          </a:bodyPr>
          <a:lstStyle/>
          <a:p>
            <a:pPr defTabSz="913326" fontAlgn="base">
              <a:lnSpc>
                <a:spcPct val="125000"/>
              </a:lnSpc>
              <a:spcBef>
                <a:spcPct val="0"/>
              </a:spcBef>
              <a:spcAft>
                <a:spcPct val="0"/>
              </a:spcAft>
            </a:pPr>
            <a:r>
              <a:rPr lang="en-US" sz="1799" kern="0" dirty="0">
                <a:solidFill>
                  <a:srgbClr val="5B9BD5"/>
                </a:solidFill>
                <a:latin typeface="Segoe UI Light"/>
              </a:rPr>
              <a:t>fully managed, scalable, queryable, schemafree JSON document database service for modern applications</a:t>
            </a:r>
          </a:p>
        </p:txBody>
      </p:sp>
      <p:sp>
        <p:nvSpPr>
          <p:cNvPr id="81" name="Isosceles Triangle 80"/>
          <p:cNvSpPr/>
          <p:nvPr/>
        </p:nvSpPr>
        <p:spPr bwMode="auto">
          <a:xfrm>
            <a:off x="5143470" y="2311557"/>
            <a:ext cx="238890" cy="114311"/>
          </a:xfrm>
          <a:prstGeom prst="triangle">
            <a:avLst/>
          </a:prstGeom>
          <a:solidFill>
            <a:srgbClr val="5B9BD5"/>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4" tIns="44796" rIns="89594" bIns="44796" numCol="1" spcCol="0" rtlCol="0" fromWordArt="0" anchor="t" anchorCtr="0" forceAA="0" compatLnSpc="1">
            <a:prstTxWarp prst="textNoShape">
              <a:avLst/>
            </a:prstTxWarp>
            <a:noAutofit/>
          </a:bodyPr>
          <a:lstStyle/>
          <a:p>
            <a:pPr defTabSz="1591277" fontAlgn="base">
              <a:defRPr/>
            </a:pPr>
            <a:endParaRPr lang="en-US" sz="1960" kern="0" dirty="0" err="1">
              <a:ln>
                <a:solidFill>
                  <a:srgbClr val="FFFFFF">
                    <a:alpha val="0"/>
                  </a:srgbClr>
                </a:solidFill>
              </a:ln>
              <a:solidFill>
                <a:srgbClr val="FFFFFF"/>
              </a:solidFill>
              <a:latin typeface="Segoe UI Light"/>
            </a:endParaRPr>
          </a:p>
        </p:txBody>
      </p:sp>
      <p:sp>
        <p:nvSpPr>
          <p:cNvPr id="82" name="Rectangle 81"/>
          <p:cNvSpPr/>
          <p:nvPr/>
        </p:nvSpPr>
        <p:spPr bwMode="auto">
          <a:xfrm>
            <a:off x="394738" y="3683760"/>
            <a:ext cx="6841958" cy="326607"/>
          </a:xfrm>
          <a:prstGeom prst="rect">
            <a:avLst/>
          </a:prstGeom>
          <a:solidFill>
            <a:srgbClr val="2687CE"/>
          </a:solidFill>
          <a:ln w="6350" cap="flat" cmpd="sng" algn="ctr">
            <a:solidFill>
              <a:srgbClr val="2687CE"/>
            </a:solidFill>
            <a:prstDash val="solid"/>
            <a:miter lim="800000"/>
            <a:headEnd type="none" w="med" len="med"/>
            <a:tailEnd type="none" w="med" len="med"/>
          </a:ln>
          <a:effectLst/>
        </p:spPr>
        <p:txBody>
          <a:bodyPr rot="0" spcFirstLastPara="0" vertOverflow="overflow" horzOverflow="overflow" vert="horz" wrap="square" lIns="89594" tIns="44796" rIns="89594" bIns="44796" numCol="1" spcCol="0" rtlCol="0" fromWordArt="0" anchor="t" anchorCtr="0" forceAA="0" compatLnSpc="1">
            <a:prstTxWarp prst="textNoShape">
              <a:avLst/>
            </a:prstTxWarp>
            <a:noAutofit/>
          </a:bodyPr>
          <a:lstStyle/>
          <a:p>
            <a:pPr defTabSz="1591277" fontAlgn="base">
              <a:defRPr/>
            </a:pPr>
            <a:endParaRPr lang="en-US" sz="1960" kern="0" dirty="0" err="1">
              <a:ln>
                <a:solidFill>
                  <a:srgbClr val="FFFFFF">
                    <a:alpha val="0"/>
                  </a:srgbClr>
                </a:solidFill>
              </a:ln>
              <a:solidFill>
                <a:srgbClr val="FFFFFF"/>
              </a:solidFill>
              <a:latin typeface="Segoe UI Light"/>
            </a:endParaRPr>
          </a:p>
        </p:txBody>
      </p:sp>
      <p:sp>
        <p:nvSpPr>
          <p:cNvPr id="83" name="Rectangle 82"/>
          <p:cNvSpPr/>
          <p:nvPr/>
        </p:nvSpPr>
        <p:spPr bwMode="auto">
          <a:xfrm>
            <a:off x="394738" y="3217146"/>
            <a:ext cx="6841958" cy="326607"/>
          </a:xfrm>
          <a:prstGeom prst="rect">
            <a:avLst/>
          </a:prstGeom>
          <a:solidFill>
            <a:srgbClr val="2687CE"/>
          </a:solidFill>
          <a:ln w="6350" cap="flat" cmpd="sng" algn="ctr">
            <a:solidFill>
              <a:srgbClr val="2687CE"/>
            </a:solidFill>
            <a:prstDash val="solid"/>
            <a:miter lim="800000"/>
            <a:headEnd type="none" w="med" len="med"/>
            <a:tailEnd type="none" w="med" len="med"/>
          </a:ln>
          <a:effectLst/>
        </p:spPr>
        <p:txBody>
          <a:bodyPr rot="0" spcFirstLastPara="0" vertOverflow="overflow" horzOverflow="overflow" vert="horz" wrap="square" lIns="89594" tIns="44796" rIns="89594" bIns="44796" numCol="1" spcCol="0" rtlCol="0" fromWordArt="0" anchor="t" anchorCtr="0" forceAA="0" compatLnSpc="1">
            <a:prstTxWarp prst="textNoShape">
              <a:avLst/>
            </a:prstTxWarp>
            <a:noAutofit/>
          </a:bodyPr>
          <a:lstStyle/>
          <a:p>
            <a:pPr defTabSz="1591277" fontAlgn="base">
              <a:defRPr/>
            </a:pPr>
            <a:endParaRPr lang="en-US" sz="1960" kern="0" dirty="0" err="1">
              <a:ln>
                <a:solidFill>
                  <a:srgbClr val="FFFFFF">
                    <a:alpha val="0"/>
                  </a:srgbClr>
                </a:solidFill>
              </a:ln>
              <a:solidFill>
                <a:srgbClr val="FFFFFF"/>
              </a:solidFill>
              <a:latin typeface="Segoe UI Light"/>
            </a:endParaRPr>
          </a:p>
        </p:txBody>
      </p:sp>
      <p:sp>
        <p:nvSpPr>
          <p:cNvPr id="84" name="Rectangle 83"/>
          <p:cNvSpPr/>
          <p:nvPr/>
        </p:nvSpPr>
        <p:spPr bwMode="auto">
          <a:xfrm>
            <a:off x="394736" y="2750532"/>
            <a:ext cx="4559615" cy="326607"/>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65" tIns="143334" rIns="179165" bIns="143334" numCol="1" spcCol="0" rtlCol="0" fromWordArt="0" anchor="t" anchorCtr="0" forceAA="0" compatLnSpc="1">
            <a:prstTxWarp prst="textNoShape">
              <a:avLst/>
            </a:prstTxWarp>
            <a:noAutofit/>
          </a:bodyPr>
          <a:lstStyle/>
          <a:p>
            <a:pPr algn="ctr" defTabSz="913378" fontAlgn="base">
              <a:lnSpc>
                <a:spcPct val="90000"/>
              </a:lnSpc>
              <a:spcBef>
                <a:spcPct val="0"/>
              </a:spcBef>
              <a:spcAft>
                <a:spcPct val="0"/>
              </a:spcAft>
              <a:defRPr/>
            </a:pPr>
            <a:endParaRPr lang="en-US" sz="2351" kern="0" dirty="0" err="1">
              <a:solidFill>
                <a:srgbClr val="FFFFFF">
                  <a:lumMod val="85000"/>
                </a:srgbClr>
              </a:solidFill>
              <a:latin typeface="Segoe UI Light"/>
              <a:ea typeface="Segoe UI" pitchFamily="34" charset="0"/>
              <a:cs typeface="Segoe UI" pitchFamily="34" charset="0"/>
            </a:endParaRPr>
          </a:p>
        </p:txBody>
      </p:sp>
      <p:sp>
        <p:nvSpPr>
          <p:cNvPr id="85" name="TextBox 84"/>
          <p:cNvSpPr txBox="1"/>
          <p:nvPr/>
        </p:nvSpPr>
        <p:spPr>
          <a:xfrm>
            <a:off x="288208" y="2637843"/>
            <a:ext cx="2436949" cy="543600"/>
          </a:xfrm>
          <a:prstGeom prst="rect">
            <a:avLst/>
          </a:prstGeom>
          <a:noFill/>
        </p:spPr>
        <p:txBody>
          <a:bodyPr wrap="none" lIns="179165" tIns="143334" rIns="179165" bIns="143334" rtlCol="0">
            <a:spAutoFit/>
          </a:bodyPr>
          <a:lstStyle/>
          <a:p>
            <a:pPr defTabSz="913643">
              <a:lnSpc>
                <a:spcPct val="90000"/>
              </a:lnSpc>
            </a:pPr>
            <a:r>
              <a:rPr lang="en-US" sz="1799" kern="0" dirty="0">
                <a:gradFill>
                  <a:gsLst>
                    <a:gs pos="0">
                      <a:prstClr val="white"/>
                    </a:gs>
                    <a:gs pos="100000">
                      <a:prstClr val="white"/>
                    </a:gs>
                  </a:gsLst>
                  <a:lin ang="5400000" scaled="1"/>
                </a:gradFill>
                <a:latin typeface="Segoe UI Light"/>
              </a:rPr>
              <a:t>fully featured RDBMS</a:t>
            </a:r>
          </a:p>
        </p:txBody>
      </p:sp>
      <p:sp>
        <p:nvSpPr>
          <p:cNvPr id="86" name="TextBox 85"/>
          <p:cNvSpPr txBox="1"/>
          <p:nvPr/>
        </p:nvSpPr>
        <p:spPr>
          <a:xfrm>
            <a:off x="288206" y="3111884"/>
            <a:ext cx="2717362" cy="543600"/>
          </a:xfrm>
          <a:prstGeom prst="rect">
            <a:avLst/>
          </a:prstGeom>
          <a:noFill/>
        </p:spPr>
        <p:txBody>
          <a:bodyPr wrap="none" lIns="179165" tIns="143334" rIns="179165" bIns="143334" rtlCol="0">
            <a:spAutoFit/>
          </a:bodyPr>
          <a:lstStyle/>
          <a:p>
            <a:pPr defTabSz="913643">
              <a:lnSpc>
                <a:spcPct val="90000"/>
              </a:lnSpc>
            </a:pPr>
            <a:r>
              <a:rPr lang="en-US" sz="1799" kern="0" dirty="0">
                <a:solidFill>
                  <a:prstClr val="white"/>
                </a:solidFill>
                <a:latin typeface="Segoe UI Light"/>
              </a:rPr>
              <a:t>transactional processing</a:t>
            </a:r>
          </a:p>
        </p:txBody>
      </p:sp>
      <p:sp>
        <p:nvSpPr>
          <p:cNvPr id="87" name="TextBox 86"/>
          <p:cNvSpPr txBox="1"/>
          <p:nvPr/>
        </p:nvSpPr>
        <p:spPr>
          <a:xfrm>
            <a:off x="288206" y="3599248"/>
            <a:ext cx="1403190" cy="538701"/>
          </a:xfrm>
          <a:prstGeom prst="rect">
            <a:avLst/>
          </a:prstGeom>
          <a:noFill/>
        </p:spPr>
        <p:txBody>
          <a:bodyPr wrap="none" lIns="179165" tIns="143334" rIns="179165" bIns="143334" rtlCol="0">
            <a:spAutoFit/>
          </a:bodyPr>
          <a:lstStyle/>
          <a:p>
            <a:pPr defTabSz="913643">
              <a:lnSpc>
                <a:spcPct val="90000"/>
              </a:lnSpc>
            </a:pPr>
            <a:r>
              <a:rPr lang="en-US" sz="1799" kern="0" dirty="0">
                <a:solidFill>
                  <a:prstClr val="white"/>
                </a:solidFill>
                <a:latin typeface="Segoe UI Light"/>
              </a:rPr>
              <a:t>rich query </a:t>
            </a:r>
          </a:p>
        </p:txBody>
      </p:sp>
      <p:sp>
        <p:nvSpPr>
          <p:cNvPr id="88" name="Rectangle 87"/>
          <p:cNvSpPr/>
          <p:nvPr/>
        </p:nvSpPr>
        <p:spPr bwMode="auto">
          <a:xfrm>
            <a:off x="2704662" y="4616989"/>
            <a:ext cx="9138314" cy="326607"/>
          </a:xfrm>
          <a:prstGeom prst="rect">
            <a:avLst/>
          </a:prstGeom>
          <a:solidFill>
            <a:srgbClr val="2687CE"/>
          </a:solidFill>
          <a:ln w="6350" cap="flat" cmpd="sng" algn="ctr">
            <a:solidFill>
              <a:srgbClr val="2687CE"/>
            </a:solidFill>
            <a:prstDash val="solid"/>
            <a:miter lim="800000"/>
            <a:headEnd type="none" w="med" len="med"/>
            <a:tailEnd type="none" w="med" len="med"/>
          </a:ln>
          <a:effectLst/>
        </p:spPr>
        <p:txBody>
          <a:bodyPr rot="0" spcFirstLastPara="0" vertOverflow="overflow" horzOverflow="overflow" vert="horz" wrap="square" lIns="89594" tIns="44796" rIns="89594" bIns="44796" numCol="1" spcCol="0" rtlCol="0" fromWordArt="0" anchor="t" anchorCtr="0" forceAA="0" compatLnSpc="1">
            <a:prstTxWarp prst="textNoShape">
              <a:avLst/>
            </a:prstTxWarp>
            <a:noAutofit/>
          </a:bodyPr>
          <a:lstStyle/>
          <a:p>
            <a:pPr defTabSz="1591277" fontAlgn="base">
              <a:defRPr/>
            </a:pPr>
            <a:endParaRPr lang="en-US" sz="1960" kern="0" dirty="0" err="1">
              <a:ln>
                <a:solidFill>
                  <a:srgbClr val="FFFFFF">
                    <a:alpha val="0"/>
                  </a:srgbClr>
                </a:solidFill>
              </a:ln>
              <a:solidFill>
                <a:srgbClr val="FFFFFF"/>
              </a:solidFill>
              <a:latin typeface="Segoe UI Light"/>
            </a:endParaRPr>
          </a:p>
        </p:txBody>
      </p:sp>
      <p:sp>
        <p:nvSpPr>
          <p:cNvPr id="89" name="Rectangle 88"/>
          <p:cNvSpPr/>
          <p:nvPr/>
        </p:nvSpPr>
        <p:spPr bwMode="auto">
          <a:xfrm>
            <a:off x="2704663" y="4150374"/>
            <a:ext cx="9138313" cy="326607"/>
          </a:xfrm>
          <a:prstGeom prst="rect">
            <a:avLst/>
          </a:prstGeom>
          <a:solidFill>
            <a:srgbClr val="2687CE"/>
          </a:solidFill>
          <a:ln w="6350" cap="flat" cmpd="sng" algn="ctr">
            <a:solidFill>
              <a:srgbClr val="2687CE"/>
            </a:solidFill>
            <a:prstDash val="solid"/>
            <a:miter lim="800000"/>
            <a:headEnd type="none" w="med" len="med"/>
            <a:tailEnd type="none" w="med" len="med"/>
          </a:ln>
          <a:effectLst/>
        </p:spPr>
        <p:txBody>
          <a:bodyPr rot="0" spcFirstLastPara="0" vertOverflow="overflow" horzOverflow="overflow" vert="horz" wrap="square" lIns="89594" tIns="44796" rIns="89594" bIns="44796" numCol="1" spcCol="0" rtlCol="0" fromWordArt="0" anchor="t" anchorCtr="0" forceAA="0" compatLnSpc="1">
            <a:prstTxWarp prst="textNoShape">
              <a:avLst/>
            </a:prstTxWarp>
            <a:noAutofit/>
          </a:bodyPr>
          <a:lstStyle/>
          <a:p>
            <a:pPr defTabSz="1591277" fontAlgn="base">
              <a:defRPr/>
            </a:pPr>
            <a:endParaRPr lang="en-US" sz="1960" kern="0" dirty="0" err="1">
              <a:ln>
                <a:solidFill>
                  <a:srgbClr val="FFFFFF">
                    <a:alpha val="0"/>
                  </a:srgbClr>
                </a:solidFill>
              </a:ln>
              <a:solidFill>
                <a:srgbClr val="FFFFFF"/>
              </a:solidFill>
              <a:latin typeface="Segoe UI Light"/>
            </a:endParaRPr>
          </a:p>
        </p:txBody>
      </p:sp>
      <p:sp>
        <p:nvSpPr>
          <p:cNvPr id="90" name="TextBox 89"/>
          <p:cNvSpPr txBox="1"/>
          <p:nvPr/>
        </p:nvSpPr>
        <p:spPr>
          <a:xfrm>
            <a:off x="6558638" y="4062873"/>
            <a:ext cx="5284337" cy="543600"/>
          </a:xfrm>
          <a:prstGeom prst="rect">
            <a:avLst/>
          </a:prstGeom>
          <a:noFill/>
        </p:spPr>
        <p:txBody>
          <a:bodyPr wrap="square" lIns="179165" tIns="143334" rIns="179165" bIns="143334" rtlCol="0">
            <a:spAutoFit/>
          </a:bodyPr>
          <a:lstStyle/>
          <a:p>
            <a:pPr algn="r" defTabSz="913643">
              <a:lnSpc>
                <a:spcPct val="90000"/>
              </a:lnSpc>
            </a:pPr>
            <a:r>
              <a:rPr lang="en-US" sz="1799" kern="0" dirty="0">
                <a:solidFill>
                  <a:prstClr val="white"/>
                </a:solidFill>
                <a:latin typeface="Segoe UI Light"/>
              </a:rPr>
              <a:t>managed as a service</a:t>
            </a:r>
          </a:p>
        </p:txBody>
      </p:sp>
      <p:sp>
        <p:nvSpPr>
          <p:cNvPr id="91" name="TextBox 90"/>
          <p:cNvSpPr txBox="1"/>
          <p:nvPr/>
        </p:nvSpPr>
        <p:spPr>
          <a:xfrm>
            <a:off x="8530603" y="4503368"/>
            <a:ext cx="3312371" cy="543600"/>
          </a:xfrm>
          <a:prstGeom prst="rect">
            <a:avLst/>
          </a:prstGeom>
          <a:noFill/>
        </p:spPr>
        <p:txBody>
          <a:bodyPr wrap="square" lIns="179165" tIns="143334" rIns="179165" bIns="143334" rtlCol="0">
            <a:spAutoFit/>
          </a:bodyPr>
          <a:lstStyle/>
          <a:p>
            <a:pPr algn="r" defTabSz="913643">
              <a:lnSpc>
                <a:spcPct val="90000"/>
              </a:lnSpc>
            </a:pPr>
            <a:r>
              <a:rPr lang="en-US" sz="1799" kern="0" dirty="0">
                <a:solidFill>
                  <a:prstClr val="white"/>
                </a:solidFill>
                <a:latin typeface="Segoe UI Light"/>
              </a:rPr>
              <a:t>elastic scale</a:t>
            </a:r>
          </a:p>
        </p:txBody>
      </p:sp>
      <p:sp>
        <p:nvSpPr>
          <p:cNvPr id="92" name="Rectangle 91"/>
          <p:cNvSpPr/>
          <p:nvPr/>
        </p:nvSpPr>
        <p:spPr bwMode="auto">
          <a:xfrm>
            <a:off x="5013846" y="5550217"/>
            <a:ext cx="6829133" cy="326607"/>
          </a:xfrm>
          <a:prstGeom prst="rect">
            <a:avLst/>
          </a:prstGeom>
          <a:solidFill>
            <a:srgbClr val="2687CE"/>
          </a:solidFill>
          <a:ln w="6350" cap="flat" cmpd="sng" algn="ctr">
            <a:solidFill>
              <a:srgbClr val="2687CE"/>
            </a:solidFill>
            <a:prstDash val="solid"/>
            <a:miter lim="800000"/>
            <a:headEnd type="none" w="med" len="med"/>
            <a:tailEnd type="none" w="med" len="med"/>
          </a:ln>
          <a:effectLst/>
        </p:spPr>
        <p:txBody>
          <a:bodyPr rot="0" spcFirstLastPara="0" vertOverflow="overflow" horzOverflow="overflow" vert="horz" wrap="square" lIns="89594" tIns="44796" rIns="89594" bIns="44796" numCol="1" spcCol="0" rtlCol="0" fromWordArt="0" anchor="t" anchorCtr="0" forceAA="0" compatLnSpc="1">
            <a:prstTxWarp prst="textNoShape">
              <a:avLst/>
            </a:prstTxWarp>
            <a:noAutofit/>
          </a:bodyPr>
          <a:lstStyle/>
          <a:p>
            <a:pPr defTabSz="1591277" fontAlgn="base">
              <a:defRPr/>
            </a:pPr>
            <a:endParaRPr lang="en-US" sz="1960" kern="0" dirty="0" err="1">
              <a:ln>
                <a:solidFill>
                  <a:srgbClr val="FFFFFF">
                    <a:alpha val="0"/>
                  </a:srgbClr>
                </a:solidFill>
              </a:ln>
              <a:solidFill>
                <a:srgbClr val="FFFFFF"/>
              </a:solidFill>
              <a:latin typeface="Segoe UI Light"/>
            </a:endParaRPr>
          </a:p>
        </p:txBody>
      </p:sp>
      <p:sp>
        <p:nvSpPr>
          <p:cNvPr id="93" name="Rectangle 92"/>
          <p:cNvSpPr/>
          <p:nvPr/>
        </p:nvSpPr>
        <p:spPr bwMode="auto">
          <a:xfrm>
            <a:off x="5013846" y="5083943"/>
            <a:ext cx="6829133" cy="326607"/>
          </a:xfrm>
          <a:prstGeom prst="rect">
            <a:avLst/>
          </a:prstGeom>
          <a:solidFill>
            <a:srgbClr val="2687CE"/>
          </a:solidFill>
          <a:ln w="6350" cap="flat" cmpd="sng" algn="ctr">
            <a:solidFill>
              <a:srgbClr val="2687CE"/>
            </a:solidFill>
            <a:prstDash val="solid"/>
            <a:miter lim="800000"/>
            <a:headEnd type="none" w="med" len="med"/>
            <a:tailEnd type="none" w="med" len="med"/>
          </a:ln>
          <a:effectLst/>
        </p:spPr>
        <p:txBody>
          <a:bodyPr rot="0" spcFirstLastPara="0" vertOverflow="overflow" horzOverflow="overflow" vert="horz" wrap="square" lIns="89594" tIns="44796" rIns="89594" bIns="44796" numCol="1" spcCol="0" rtlCol="0" fromWordArt="0" anchor="t" anchorCtr="0" forceAA="0" compatLnSpc="1">
            <a:prstTxWarp prst="textNoShape">
              <a:avLst/>
            </a:prstTxWarp>
            <a:noAutofit/>
          </a:bodyPr>
          <a:lstStyle/>
          <a:p>
            <a:pPr defTabSz="1591277" fontAlgn="base">
              <a:defRPr/>
            </a:pPr>
            <a:endParaRPr lang="en-US" sz="1960" kern="0" dirty="0" err="1">
              <a:ln>
                <a:solidFill>
                  <a:srgbClr val="FFFFFF">
                    <a:alpha val="0"/>
                  </a:srgbClr>
                </a:solidFill>
              </a:ln>
              <a:solidFill>
                <a:srgbClr val="FFFFFF"/>
              </a:solidFill>
              <a:latin typeface="Segoe UI Light"/>
            </a:endParaRPr>
          </a:p>
        </p:txBody>
      </p:sp>
      <p:sp>
        <p:nvSpPr>
          <p:cNvPr id="94" name="TextBox 93"/>
          <p:cNvSpPr txBox="1"/>
          <p:nvPr/>
        </p:nvSpPr>
        <p:spPr>
          <a:xfrm>
            <a:off x="7092659" y="5467280"/>
            <a:ext cx="4750317" cy="543600"/>
          </a:xfrm>
          <a:prstGeom prst="rect">
            <a:avLst/>
          </a:prstGeom>
          <a:noFill/>
        </p:spPr>
        <p:txBody>
          <a:bodyPr wrap="square" lIns="179165" tIns="143334" rIns="179165" bIns="143334" rtlCol="0">
            <a:spAutoFit/>
          </a:bodyPr>
          <a:lstStyle/>
          <a:p>
            <a:pPr algn="r" defTabSz="913643">
              <a:lnSpc>
                <a:spcPct val="90000"/>
              </a:lnSpc>
            </a:pPr>
            <a:r>
              <a:rPr lang="en-US" sz="1799" kern="0" dirty="0">
                <a:solidFill>
                  <a:prstClr val="white"/>
                </a:solidFill>
                <a:latin typeface="Segoe UI Light"/>
              </a:rPr>
              <a:t>internet accessible http/rest</a:t>
            </a:r>
          </a:p>
        </p:txBody>
      </p:sp>
      <p:sp>
        <p:nvSpPr>
          <p:cNvPr id="95" name="TextBox 94"/>
          <p:cNvSpPr txBox="1"/>
          <p:nvPr/>
        </p:nvSpPr>
        <p:spPr>
          <a:xfrm>
            <a:off x="7732475" y="4980397"/>
            <a:ext cx="4110494" cy="543600"/>
          </a:xfrm>
          <a:prstGeom prst="rect">
            <a:avLst/>
          </a:prstGeom>
          <a:noFill/>
        </p:spPr>
        <p:txBody>
          <a:bodyPr wrap="square" lIns="179165" tIns="143334" rIns="179165" bIns="143334" rtlCol="0">
            <a:spAutoFit/>
          </a:bodyPr>
          <a:lstStyle/>
          <a:p>
            <a:pPr algn="r" defTabSz="913643">
              <a:lnSpc>
                <a:spcPct val="90000"/>
              </a:lnSpc>
            </a:pPr>
            <a:r>
              <a:rPr lang="en-US" sz="1799" kern="0" dirty="0">
                <a:solidFill>
                  <a:prstClr val="white"/>
                </a:solidFill>
                <a:latin typeface="Segoe UI Light"/>
              </a:rPr>
              <a:t>schema-free data model</a:t>
            </a:r>
          </a:p>
        </p:txBody>
      </p:sp>
      <p:sp>
        <p:nvSpPr>
          <p:cNvPr id="96" name="Rectangle 95"/>
          <p:cNvSpPr/>
          <p:nvPr/>
        </p:nvSpPr>
        <p:spPr bwMode="auto">
          <a:xfrm>
            <a:off x="7406115" y="6016833"/>
            <a:ext cx="4436863" cy="326607"/>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65" tIns="143334" rIns="179165" bIns="143334" numCol="1" spcCol="0" rtlCol="0" fromWordArt="0" anchor="t" anchorCtr="0" forceAA="0" compatLnSpc="1">
            <a:prstTxWarp prst="textNoShape">
              <a:avLst/>
            </a:prstTxWarp>
            <a:noAutofit/>
          </a:bodyPr>
          <a:lstStyle/>
          <a:p>
            <a:pPr algn="ctr" defTabSz="913378" fontAlgn="base">
              <a:lnSpc>
                <a:spcPct val="90000"/>
              </a:lnSpc>
              <a:spcBef>
                <a:spcPct val="0"/>
              </a:spcBef>
              <a:spcAft>
                <a:spcPct val="0"/>
              </a:spcAft>
              <a:defRPr/>
            </a:pPr>
            <a:endParaRPr lang="en-US" sz="2351" kern="0" dirty="0" err="1">
              <a:solidFill>
                <a:srgbClr val="FFFFFF">
                  <a:lumMod val="85000"/>
                </a:srgbClr>
              </a:solidFill>
              <a:latin typeface="Segoe UI Light"/>
              <a:ea typeface="Segoe UI" pitchFamily="34" charset="0"/>
              <a:cs typeface="Segoe UI" pitchFamily="34" charset="0"/>
            </a:endParaRPr>
          </a:p>
        </p:txBody>
      </p:sp>
      <p:sp>
        <p:nvSpPr>
          <p:cNvPr id="97" name="TextBox 96"/>
          <p:cNvSpPr txBox="1"/>
          <p:nvPr/>
        </p:nvSpPr>
        <p:spPr>
          <a:xfrm>
            <a:off x="8490040" y="5913285"/>
            <a:ext cx="3352929" cy="543600"/>
          </a:xfrm>
          <a:prstGeom prst="rect">
            <a:avLst/>
          </a:prstGeom>
          <a:noFill/>
        </p:spPr>
        <p:txBody>
          <a:bodyPr wrap="square" lIns="179165" tIns="143334" rIns="179165" bIns="143334" rtlCol="0">
            <a:spAutoFit/>
          </a:bodyPr>
          <a:lstStyle>
            <a:defPPr>
              <a:defRPr lang="en-US"/>
            </a:defPPr>
            <a:lvl1pPr>
              <a:lnSpc>
                <a:spcPct val="90000"/>
              </a:lnSpc>
              <a:defRPr>
                <a:solidFill>
                  <a:schemeClr val="bg2">
                    <a:lumMod val="75000"/>
                  </a:schemeClr>
                </a:solidFill>
              </a:defRPr>
            </a:lvl1pPr>
          </a:lstStyle>
          <a:p>
            <a:pPr algn="r" defTabSz="913643"/>
            <a:r>
              <a:rPr lang="en-US" sz="1799" kern="0" dirty="0">
                <a:solidFill>
                  <a:prstClr val="white"/>
                </a:solidFill>
                <a:latin typeface="Segoe UI Light"/>
              </a:rPr>
              <a:t>arbitrary data formats</a:t>
            </a:r>
          </a:p>
        </p:txBody>
      </p:sp>
    </p:spTree>
    <p:extLst>
      <p:ext uri="{BB962C8B-B14F-4D97-AF65-F5344CB8AC3E}">
        <p14:creationId xmlns:p14="http://schemas.microsoft.com/office/powerpoint/2010/main" val="1024058369"/>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864" y="3366177"/>
            <a:ext cx="6275625" cy="3490445"/>
          </a:xfrm>
          <a:prstGeom prst="rect">
            <a:avLst/>
          </a:prstGeom>
          <a:solidFill>
            <a:schemeClr val="accent1">
              <a:alpha val="8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itle 5"/>
          <p:cNvSpPr>
            <a:spLocks noGrp="1"/>
          </p:cNvSpPr>
          <p:nvPr>
            <p:ph type="title"/>
          </p:nvPr>
        </p:nvSpPr>
        <p:spPr>
          <a:xfrm>
            <a:off x="335280" y="3496749"/>
            <a:ext cx="5301108" cy="1792383"/>
          </a:xfrm>
        </p:spPr>
        <p:txBody>
          <a:bodyPr/>
          <a:lstStyle/>
          <a:p>
            <a:r>
              <a:rPr lang="en-US" dirty="0"/>
              <a:t>Cortana </a:t>
            </a:r>
            <a:br>
              <a:rPr lang="en-US" dirty="0"/>
            </a:br>
            <a:r>
              <a:rPr lang="en-US" dirty="0"/>
              <a:t>Intelligence Suite</a:t>
            </a:r>
          </a:p>
        </p:txBody>
      </p:sp>
    </p:spTree>
    <p:extLst>
      <p:ext uri="{BB962C8B-B14F-4D97-AF65-F5344CB8AC3E}">
        <p14:creationId xmlns:p14="http://schemas.microsoft.com/office/powerpoint/2010/main" val="296146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09" name="Group 508"/>
          <p:cNvGrpSpPr/>
          <p:nvPr/>
        </p:nvGrpSpPr>
        <p:grpSpPr>
          <a:xfrm>
            <a:off x="1882359" y="1367783"/>
            <a:ext cx="8643753" cy="4672851"/>
            <a:chOff x="-237987" y="6999"/>
            <a:chExt cx="12912447" cy="6980525"/>
          </a:xfrm>
        </p:grpSpPr>
        <p:pic>
          <p:nvPicPr>
            <p:cNvPr id="508" name="Picture 507"/>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37987" y="6999"/>
              <a:ext cx="12912447" cy="6980525"/>
            </a:xfrm>
            <a:prstGeom prst="rect">
              <a:avLst/>
            </a:prstGeom>
          </p:spPr>
        </p:pic>
        <p:sp>
          <p:nvSpPr>
            <p:cNvPr id="2" name="Rounded Rectangle 1"/>
            <p:cNvSpPr/>
            <p:nvPr/>
          </p:nvSpPr>
          <p:spPr bwMode="auto">
            <a:xfrm>
              <a:off x="8816009" y="2062015"/>
              <a:ext cx="1586637" cy="939370"/>
            </a:xfrm>
            <a:prstGeom prst="roundRect">
              <a:avLst>
                <a:gd name="adj" fmla="val 0"/>
              </a:avLst>
            </a:prstGeom>
            <a:noFill/>
            <a:ln w="381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kern="0" dirty="0">
                <a:solidFill>
                  <a:srgbClr val="FFFFFF"/>
                </a:solidFill>
                <a:latin typeface="Segoe UI Light"/>
                <a:ea typeface="Segoe UI" pitchFamily="34" charset="0"/>
                <a:cs typeface="Segoe UI" pitchFamily="34" charset="0"/>
              </a:endParaRPr>
            </a:p>
          </p:txBody>
        </p:sp>
        <p:sp>
          <p:nvSpPr>
            <p:cNvPr id="3" name="Rounded Rectangle 2"/>
            <p:cNvSpPr/>
            <p:nvPr/>
          </p:nvSpPr>
          <p:spPr bwMode="auto">
            <a:xfrm>
              <a:off x="4717545" y="2062014"/>
              <a:ext cx="2769777" cy="1434222"/>
            </a:xfrm>
            <a:prstGeom prst="roundRect">
              <a:avLst>
                <a:gd name="adj" fmla="val 0"/>
              </a:avLst>
            </a:prstGeom>
            <a:noFill/>
            <a:ln w="381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kern="0" dirty="0">
                <a:solidFill>
                  <a:srgbClr val="FFFFFF"/>
                </a:solidFill>
                <a:latin typeface="Segoe UI Light"/>
                <a:ea typeface="Segoe UI" pitchFamily="34" charset="0"/>
                <a:cs typeface="Segoe UI" pitchFamily="34" charset="0"/>
              </a:endParaRPr>
            </a:p>
          </p:txBody>
        </p:sp>
        <p:sp>
          <p:nvSpPr>
            <p:cNvPr id="4" name="Rounded Rectangle 3"/>
            <p:cNvSpPr/>
            <p:nvPr/>
          </p:nvSpPr>
          <p:spPr bwMode="auto">
            <a:xfrm>
              <a:off x="4717545" y="3496236"/>
              <a:ext cx="1263707" cy="828338"/>
            </a:xfrm>
            <a:prstGeom prst="roundRect">
              <a:avLst>
                <a:gd name="adj" fmla="val 0"/>
              </a:avLst>
            </a:prstGeom>
            <a:noFill/>
            <a:ln w="381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kern="0" dirty="0">
                <a:solidFill>
                  <a:srgbClr val="FFFFFF"/>
                </a:solidFill>
                <a:latin typeface="Segoe UI Light"/>
                <a:ea typeface="Segoe UI" pitchFamily="34" charset="0"/>
                <a:cs typeface="Segoe UI" pitchFamily="34" charset="0"/>
              </a:endParaRPr>
            </a:p>
          </p:txBody>
        </p:sp>
        <p:sp>
          <p:nvSpPr>
            <p:cNvPr id="7" name="Rectangle 6"/>
            <p:cNvSpPr/>
            <p:nvPr/>
          </p:nvSpPr>
          <p:spPr bwMode="auto">
            <a:xfrm>
              <a:off x="4736596" y="3452495"/>
              <a:ext cx="1226054" cy="279698"/>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5" name="Title 4"/>
          <p:cNvSpPr>
            <a:spLocks noGrp="1"/>
          </p:cNvSpPr>
          <p:nvPr>
            <p:ph type="title"/>
          </p:nvPr>
        </p:nvSpPr>
        <p:spPr/>
        <p:txBody>
          <a:bodyPr/>
          <a:lstStyle/>
          <a:p>
            <a:r>
              <a:rPr lang="en-US" dirty="0"/>
              <a:t>Cortana Intelligence combines the services you already know</a:t>
            </a:r>
          </a:p>
        </p:txBody>
      </p:sp>
    </p:spTree>
    <p:extLst>
      <p:ext uri="{BB962C8B-B14F-4D97-AF65-F5344CB8AC3E}">
        <p14:creationId xmlns:p14="http://schemas.microsoft.com/office/powerpoint/2010/main" val="1506909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Business is being transformed by three trends</a:t>
            </a:r>
          </a:p>
        </p:txBody>
      </p:sp>
      <p:grpSp>
        <p:nvGrpSpPr>
          <p:cNvPr id="25" name="Group 24"/>
          <p:cNvGrpSpPr/>
          <p:nvPr/>
        </p:nvGrpSpPr>
        <p:grpSpPr>
          <a:xfrm>
            <a:off x="8798193" y="2314590"/>
            <a:ext cx="2083569" cy="2859137"/>
            <a:chOff x="8976952" y="2360210"/>
            <a:chExt cx="2125903" cy="2917228"/>
          </a:xfrm>
        </p:grpSpPr>
        <p:sp>
          <p:nvSpPr>
            <p:cNvPr id="26" name="Rectangle 25"/>
            <p:cNvSpPr/>
            <p:nvPr/>
          </p:nvSpPr>
          <p:spPr>
            <a:xfrm>
              <a:off x="8976952" y="4692663"/>
              <a:ext cx="2125903" cy="584775"/>
            </a:xfrm>
            <a:prstGeom prst="rect">
              <a:avLst/>
            </a:prstGeom>
          </p:spPr>
          <p:txBody>
            <a:bodyPr wrap="none" lIns="0" tIns="0" rIns="0" bIns="0">
              <a:noAutofit/>
            </a:bodyPr>
            <a:lstStyle/>
            <a:p>
              <a:pPr algn="ctr" defTabSz="896203"/>
              <a:r>
                <a:rPr lang="en-US" sz="3136" kern="0" dirty="0">
                  <a:solidFill>
                    <a:schemeClr val="bg1"/>
                  </a:solidFill>
                  <a:latin typeface="Segoe UI Light"/>
                </a:rPr>
                <a:t>Intelligence</a:t>
              </a:r>
            </a:p>
          </p:txBody>
        </p:sp>
        <p:grpSp>
          <p:nvGrpSpPr>
            <p:cNvPr id="27" name="Group 26"/>
            <p:cNvGrpSpPr/>
            <p:nvPr/>
          </p:nvGrpSpPr>
          <p:grpSpPr>
            <a:xfrm>
              <a:off x="9346084" y="2360210"/>
              <a:ext cx="1386591" cy="2042624"/>
              <a:chOff x="6692900" y="2905126"/>
              <a:chExt cx="2097088" cy="3089275"/>
            </a:xfrm>
          </p:grpSpPr>
          <p:sp>
            <p:nvSpPr>
              <p:cNvPr id="28" name="Freeform 7"/>
              <p:cNvSpPr>
                <a:spLocks/>
              </p:cNvSpPr>
              <p:nvPr/>
            </p:nvSpPr>
            <p:spPr bwMode="auto">
              <a:xfrm>
                <a:off x="6692900" y="2905126"/>
                <a:ext cx="2097088" cy="2198688"/>
              </a:xfrm>
              <a:custGeom>
                <a:avLst/>
                <a:gdLst>
                  <a:gd name="T0" fmla="*/ 44 w 186"/>
                  <a:gd name="T1" fmla="*/ 173 h 195"/>
                  <a:gd name="T2" fmla="*/ 44 w 186"/>
                  <a:gd name="T3" fmla="*/ 195 h 195"/>
                  <a:gd name="T4" fmla="*/ 142 w 186"/>
                  <a:gd name="T5" fmla="*/ 195 h 195"/>
                  <a:gd name="T6" fmla="*/ 142 w 186"/>
                  <a:gd name="T7" fmla="*/ 172 h 195"/>
                  <a:gd name="T8" fmla="*/ 186 w 186"/>
                  <a:gd name="T9" fmla="*/ 93 h 195"/>
                  <a:gd name="T10" fmla="*/ 93 w 186"/>
                  <a:gd name="T11" fmla="*/ 0 h 195"/>
                  <a:gd name="T12" fmla="*/ 0 w 186"/>
                  <a:gd name="T13" fmla="*/ 93 h 195"/>
                  <a:gd name="T14" fmla="*/ 44 w 186"/>
                  <a:gd name="T15" fmla="*/ 173 h 1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6" h="195">
                    <a:moveTo>
                      <a:pt x="44" y="173"/>
                    </a:moveTo>
                    <a:cubicBezTo>
                      <a:pt x="44" y="195"/>
                      <a:pt x="44" y="195"/>
                      <a:pt x="44" y="195"/>
                    </a:cubicBezTo>
                    <a:cubicBezTo>
                      <a:pt x="142" y="195"/>
                      <a:pt x="142" y="195"/>
                      <a:pt x="142" y="195"/>
                    </a:cubicBezTo>
                    <a:cubicBezTo>
                      <a:pt x="142" y="172"/>
                      <a:pt x="142" y="172"/>
                      <a:pt x="142" y="172"/>
                    </a:cubicBezTo>
                    <a:cubicBezTo>
                      <a:pt x="168" y="156"/>
                      <a:pt x="186" y="126"/>
                      <a:pt x="186" y="93"/>
                    </a:cubicBezTo>
                    <a:cubicBezTo>
                      <a:pt x="186" y="41"/>
                      <a:pt x="144" y="0"/>
                      <a:pt x="93" y="0"/>
                    </a:cubicBezTo>
                    <a:cubicBezTo>
                      <a:pt x="42" y="0"/>
                      <a:pt x="0" y="41"/>
                      <a:pt x="0" y="93"/>
                    </a:cubicBezTo>
                    <a:cubicBezTo>
                      <a:pt x="0" y="126"/>
                      <a:pt x="18" y="156"/>
                      <a:pt x="44" y="173"/>
                    </a:cubicBezTo>
                    <a:close/>
                  </a:path>
                </a:pathLst>
              </a:custGeom>
              <a:noFill/>
              <a:ln w="285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defTabSz="896203"/>
                <a:endParaRPr lang="en-US" sz="1764" kern="0">
                  <a:solidFill>
                    <a:srgbClr val="0078D7"/>
                  </a:solidFill>
                </a:endParaRPr>
              </a:p>
            </p:txBody>
          </p:sp>
          <p:sp>
            <p:nvSpPr>
              <p:cNvPr id="29" name="Line 8"/>
              <p:cNvSpPr>
                <a:spLocks noChangeShapeType="1"/>
              </p:cNvSpPr>
              <p:nvPr/>
            </p:nvSpPr>
            <p:spPr bwMode="auto">
              <a:xfrm flipH="1" flipV="1">
                <a:off x="7392988" y="4100513"/>
                <a:ext cx="146050" cy="1003300"/>
              </a:xfrm>
              <a:prstGeom prst="line">
                <a:avLst/>
              </a:prstGeom>
              <a:noFill/>
              <a:ln w="28575" cap="flat">
                <a:solidFill>
                  <a:srgbClr val="002050"/>
                </a:solidFill>
                <a:prstDash val="solid"/>
                <a:miter lim="800000"/>
                <a:headEnd/>
                <a:tailEnd/>
              </a:ln>
              <a:extLst>
                <a:ext uri="{909E8E84-426E-40DD-AFC4-6F175D3DCCD1}">
                  <a14:hiddenFill xmlns:a14="http://schemas.microsoft.com/office/drawing/2010/main">
                    <a:noFill/>
                  </a14:hiddenFill>
                </a:ext>
              </a:extLst>
            </p:spPr>
            <p:txBody>
              <a:bodyPr vert="horz" wrap="square" lIns="89619" tIns="44810" rIns="89619" bIns="44810" numCol="1" anchor="t" anchorCtr="0" compatLnSpc="1">
                <a:prstTxWarp prst="textNoShape">
                  <a:avLst/>
                </a:prstTxWarp>
              </a:bodyPr>
              <a:lstStyle/>
              <a:p>
                <a:pPr defTabSz="896203"/>
                <a:endParaRPr lang="en-US" sz="1764" kern="0">
                  <a:solidFill>
                    <a:srgbClr val="0078D7"/>
                  </a:solidFill>
                </a:endParaRPr>
              </a:p>
            </p:txBody>
          </p:sp>
          <p:sp>
            <p:nvSpPr>
              <p:cNvPr id="30" name="Line 9"/>
              <p:cNvSpPr>
                <a:spLocks noChangeShapeType="1"/>
              </p:cNvSpPr>
              <p:nvPr/>
            </p:nvSpPr>
            <p:spPr bwMode="auto">
              <a:xfrm flipV="1">
                <a:off x="7943850" y="4100513"/>
                <a:ext cx="147638" cy="1003300"/>
              </a:xfrm>
              <a:prstGeom prst="line">
                <a:avLst/>
              </a:prstGeom>
              <a:noFill/>
              <a:ln w="28575" cap="flat">
                <a:solidFill>
                  <a:srgbClr val="002050"/>
                </a:solidFill>
                <a:prstDash val="solid"/>
                <a:miter lim="800000"/>
                <a:headEnd/>
                <a:tailEnd/>
              </a:ln>
              <a:extLst>
                <a:ext uri="{909E8E84-426E-40DD-AFC4-6F175D3DCCD1}">
                  <a14:hiddenFill xmlns:a14="http://schemas.microsoft.com/office/drawing/2010/main">
                    <a:noFill/>
                  </a14:hiddenFill>
                </a:ext>
              </a:extLst>
            </p:spPr>
            <p:txBody>
              <a:bodyPr vert="horz" wrap="square" lIns="89619" tIns="44810" rIns="89619" bIns="44810" numCol="1" anchor="t" anchorCtr="0" compatLnSpc="1">
                <a:prstTxWarp prst="textNoShape">
                  <a:avLst/>
                </a:prstTxWarp>
              </a:bodyPr>
              <a:lstStyle/>
              <a:p>
                <a:pPr defTabSz="896203"/>
                <a:endParaRPr lang="en-US" sz="1764" kern="0">
                  <a:solidFill>
                    <a:srgbClr val="0078D7"/>
                  </a:solidFill>
                </a:endParaRPr>
              </a:p>
            </p:txBody>
          </p:sp>
          <p:sp>
            <p:nvSpPr>
              <p:cNvPr id="31" name="Rectangle 11"/>
              <p:cNvSpPr>
                <a:spLocks noChangeArrowheads="1"/>
              </p:cNvSpPr>
              <p:nvPr/>
            </p:nvSpPr>
            <p:spPr bwMode="auto">
              <a:xfrm>
                <a:off x="7189788" y="5103813"/>
                <a:ext cx="1104900" cy="292100"/>
              </a:xfrm>
              <a:prstGeom prst="rect">
                <a:avLst/>
              </a:prstGeom>
              <a:noFill/>
              <a:ln w="285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defTabSz="896203"/>
                <a:endParaRPr lang="en-US" sz="1764" kern="0">
                  <a:solidFill>
                    <a:srgbClr val="0078D7"/>
                  </a:solidFill>
                </a:endParaRPr>
              </a:p>
            </p:txBody>
          </p:sp>
          <p:sp>
            <p:nvSpPr>
              <p:cNvPr id="34" name="Rectangle 12"/>
              <p:cNvSpPr>
                <a:spLocks noChangeArrowheads="1"/>
              </p:cNvSpPr>
              <p:nvPr/>
            </p:nvSpPr>
            <p:spPr bwMode="auto">
              <a:xfrm>
                <a:off x="7291388" y="5395913"/>
                <a:ext cx="901700" cy="304800"/>
              </a:xfrm>
              <a:prstGeom prst="rect">
                <a:avLst/>
              </a:prstGeom>
              <a:noFill/>
              <a:ln w="285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defTabSz="896203"/>
                <a:endParaRPr lang="en-US" sz="1764" kern="0">
                  <a:solidFill>
                    <a:srgbClr val="0078D7"/>
                  </a:solidFill>
                </a:endParaRPr>
              </a:p>
            </p:txBody>
          </p:sp>
          <p:sp>
            <p:nvSpPr>
              <p:cNvPr id="35" name="Rectangle 13"/>
              <p:cNvSpPr>
                <a:spLocks noChangeArrowheads="1"/>
              </p:cNvSpPr>
              <p:nvPr/>
            </p:nvSpPr>
            <p:spPr bwMode="auto">
              <a:xfrm>
                <a:off x="7392988" y="5700713"/>
                <a:ext cx="698500" cy="293688"/>
              </a:xfrm>
              <a:prstGeom prst="rect">
                <a:avLst/>
              </a:prstGeom>
              <a:noFill/>
              <a:ln w="285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defTabSz="896203"/>
                <a:endParaRPr lang="en-US" sz="1764" kern="0">
                  <a:solidFill>
                    <a:srgbClr val="0078D7"/>
                  </a:solidFill>
                </a:endParaRPr>
              </a:p>
            </p:txBody>
          </p:sp>
          <p:sp>
            <p:nvSpPr>
              <p:cNvPr id="36" name="Freeform 10"/>
              <p:cNvSpPr>
                <a:spLocks/>
              </p:cNvSpPr>
              <p:nvPr/>
            </p:nvSpPr>
            <p:spPr bwMode="auto">
              <a:xfrm>
                <a:off x="7392988" y="4127264"/>
                <a:ext cx="698500" cy="146050"/>
              </a:xfrm>
              <a:custGeom>
                <a:avLst/>
                <a:gdLst>
                  <a:gd name="T0" fmla="*/ 0 w 440"/>
                  <a:gd name="T1" fmla="*/ 0 h 92"/>
                  <a:gd name="T2" fmla="*/ 127 w 440"/>
                  <a:gd name="T3" fmla="*/ 92 h 92"/>
                  <a:gd name="T4" fmla="*/ 220 w 440"/>
                  <a:gd name="T5" fmla="*/ 0 h 92"/>
                  <a:gd name="T6" fmla="*/ 312 w 440"/>
                  <a:gd name="T7" fmla="*/ 92 h 92"/>
                  <a:gd name="T8" fmla="*/ 440 w 440"/>
                  <a:gd name="T9" fmla="*/ 0 h 92"/>
                </a:gdLst>
                <a:ahLst/>
                <a:cxnLst>
                  <a:cxn ang="0">
                    <a:pos x="T0" y="T1"/>
                  </a:cxn>
                  <a:cxn ang="0">
                    <a:pos x="T2" y="T3"/>
                  </a:cxn>
                  <a:cxn ang="0">
                    <a:pos x="T4" y="T5"/>
                  </a:cxn>
                  <a:cxn ang="0">
                    <a:pos x="T6" y="T7"/>
                  </a:cxn>
                  <a:cxn ang="0">
                    <a:pos x="T8" y="T9"/>
                  </a:cxn>
                </a:cxnLst>
                <a:rect l="0" t="0" r="r" b="b"/>
                <a:pathLst>
                  <a:path w="440" h="92">
                    <a:moveTo>
                      <a:pt x="0" y="0"/>
                    </a:moveTo>
                    <a:lnTo>
                      <a:pt x="127" y="92"/>
                    </a:lnTo>
                    <a:lnTo>
                      <a:pt x="220" y="0"/>
                    </a:lnTo>
                    <a:lnTo>
                      <a:pt x="312" y="92"/>
                    </a:lnTo>
                    <a:lnTo>
                      <a:pt x="440" y="0"/>
                    </a:lnTo>
                  </a:path>
                </a:pathLst>
              </a:custGeom>
              <a:noFill/>
              <a:ln w="28575"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defTabSz="896203"/>
                <a:endParaRPr lang="en-US" sz="1764" kern="0">
                  <a:solidFill>
                    <a:srgbClr val="0078D7"/>
                  </a:solidFill>
                </a:endParaRPr>
              </a:p>
            </p:txBody>
          </p:sp>
        </p:grpSp>
      </p:grpSp>
      <p:grpSp>
        <p:nvGrpSpPr>
          <p:cNvPr id="37" name="Group 36"/>
          <p:cNvGrpSpPr/>
          <p:nvPr/>
        </p:nvGrpSpPr>
        <p:grpSpPr>
          <a:xfrm>
            <a:off x="4520353" y="2488777"/>
            <a:ext cx="3146004" cy="2684951"/>
            <a:chOff x="4612197" y="2537935"/>
            <a:chExt cx="3209924" cy="2739503"/>
          </a:xfrm>
        </p:grpSpPr>
        <p:sp>
          <p:nvSpPr>
            <p:cNvPr id="38" name="Rectangle 37"/>
            <p:cNvSpPr/>
            <p:nvPr/>
          </p:nvSpPr>
          <p:spPr>
            <a:xfrm>
              <a:off x="5587665" y="4692663"/>
              <a:ext cx="1204176" cy="584775"/>
            </a:xfrm>
            <a:prstGeom prst="rect">
              <a:avLst/>
            </a:prstGeom>
          </p:spPr>
          <p:txBody>
            <a:bodyPr wrap="none" lIns="0" tIns="0" rIns="0" bIns="0">
              <a:noAutofit/>
            </a:bodyPr>
            <a:lstStyle/>
            <a:p>
              <a:pPr algn="ctr" defTabSz="896203"/>
              <a:r>
                <a:rPr lang="en-US" sz="3136" kern="0" dirty="0">
                  <a:solidFill>
                    <a:schemeClr val="bg1"/>
                  </a:solidFill>
                  <a:latin typeface="Segoe UI Light"/>
                </a:rPr>
                <a:t>Cloud</a:t>
              </a:r>
            </a:p>
          </p:txBody>
        </p:sp>
        <p:grpSp>
          <p:nvGrpSpPr>
            <p:cNvPr id="39" name="Group 38"/>
            <p:cNvGrpSpPr/>
            <p:nvPr/>
          </p:nvGrpSpPr>
          <p:grpSpPr>
            <a:xfrm>
              <a:off x="4612197" y="2537935"/>
              <a:ext cx="3209924" cy="1864899"/>
              <a:chOff x="4410076" y="2328864"/>
              <a:chExt cx="3371850" cy="1958975"/>
            </a:xfrm>
          </p:grpSpPr>
          <p:sp>
            <p:nvSpPr>
              <p:cNvPr id="40" name="Freeform 30"/>
              <p:cNvSpPr>
                <a:spLocks/>
              </p:cNvSpPr>
              <p:nvPr/>
            </p:nvSpPr>
            <p:spPr bwMode="auto">
              <a:xfrm>
                <a:off x="4410076" y="2328864"/>
                <a:ext cx="3371850" cy="1958975"/>
              </a:xfrm>
              <a:custGeom>
                <a:avLst/>
                <a:gdLst>
                  <a:gd name="T0" fmla="*/ 270 w 419"/>
                  <a:gd name="T1" fmla="*/ 243 h 243"/>
                  <a:gd name="T2" fmla="*/ 365 w 419"/>
                  <a:gd name="T3" fmla="*/ 243 h 243"/>
                  <a:gd name="T4" fmla="*/ 419 w 419"/>
                  <a:gd name="T5" fmla="*/ 189 h 243"/>
                  <a:gd name="T6" fmla="*/ 365 w 419"/>
                  <a:gd name="T7" fmla="*/ 135 h 243"/>
                  <a:gd name="T8" fmla="*/ 224 w 419"/>
                  <a:gd name="T9" fmla="*/ 0 h 243"/>
                  <a:gd name="T10" fmla="*/ 81 w 419"/>
                  <a:gd name="T11" fmla="*/ 108 h 243"/>
                  <a:gd name="T12" fmla="*/ 70 w 419"/>
                  <a:gd name="T13" fmla="*/ 108 h 243"/>
                  <a:gd name="T14" fmla="*/ 0 w 419"/>
                  <a:gd name="T15" fmla="*/ 175 h 243"/>
                  <a:gd name="T16" fmla="*/ 68 w 419"/>
                  <a:gd name="T17" fmla="*/ 243 h 243"/>
                  <a:gd name="T18" fmla="*/ 270 w 419"/>
                  <a:gd name="T19"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9" h="243">
                    <a:moveTo>
                      <a:pt x="270" y="243"/>
                    </a:moveTo>
                    <a:cubicBezTo>
                      <a:pt x="365" y="243"/>
                      <a:pt x="365" y="243"/>
                      <a:pt x="365" y="243"/>
                    </a:cubicBezTo>
                    <a:cubicBezTo>
                      <a:pt x="396" y="243"/>
                      <a:pt x="419" y="218"/>
                      <a:pt x="419" y="189"/>
                    </a:cubicBezTo>
                    <a:cubicBezTo>
                      <a:pt x="419" y="159"/>
                      <a:pt x="396" y="135"/>
                      <a:pt x="365" y="135"/>
                    </a:cubicBezTo>
                    <a:cubicBezTo>
                      <a:pt x="365" y="60"/>
                      <a:pt x="301" y="0"/>
                      <a:pt x="224" y="0"/>
                    </a:cubicBezTo>
                    <a:cubicBezTo>
                      <a:pt x="155" y="0"/>
                      <a:pt x="94" y="45"/>
                      <a:pt x="81" y="108"/>
                    </a:cubicBezTo>
                    <a:cubicBezTo>
                      <a:pt x="81" y="108"/>
                      <a:pt x="76" y="108"/>
                      <a:pt x="70" y="108"/>
                    </a:cubicBezTo>
                    <a:cubicBezTo>
                      <a:pt x="32" y="108"/>
                      <a:pt x="0" y="138"/>
                      <a:pt x="0" y="175"/>
                    </a:cubicBezTo>
                    <a:cubicBezTo>
                      <a:pt x="0" y="212"/>
                      <a:pt x="29" y="243"/>
                      <a:pt x="68" y="243"/>
                    </a:cubicBezTo>
                    <a:cubicBezTo>
                      <a:pt x="270" y="243"/>
                      <a:pt x="270" y="243"/>
                      <a:pt x="270" y="243"/>
                    </a:cubicBezTo>
                  </a:path>
                </a:pathLst>
              </a:custGeom>
              <a:noFill/>
              <a:ln w="285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grpSp>
            <p:nvGrpSpPr>
              <p:cNvPr id="61" name="Group 60"/>
              <p:cNvGrpSpPr/>
              <p:nvPr/>
            </p:nvGrpSpPr>
            <p:grpSpPr>
              <a:xfrm>
                <a:off x="5665789" y="2981327"/>
                <a:ext cx="868363" cy="1089025"/>
                <a:chOff x="5665789" y="2981327"/>
                <a:chExt cx="868363" cy="1089025"/>
              </a:xfrm>
            </p:grpSpPr>
            <p:sp>
              <p:nvSpPr>
                <p:cNvPr id="62" name="Freeform 31"/>
                <p:cNvSpPr>
                  <a:spLocks/>
                </p:cNvSpPr>
                <p:nvPr/>
              </p:nvSpPr>
              <p:spPr bwMode="auto">
                <a:xfrm>
                  <a:off x="5665789" y="2981327"/>
                  <a:ext cx="868363" cy="436563"/>
                </a:xfrm>
                <a:custGeom>
                  <a:avLst/>
                  <a:gdLst>
                    <a:gd name="T0" fmla="*/ 0 w 547"/>
                    <a:gd name="T1" fmla="*/ 275 h 275"/>
                    <a:gd name="T2" fmla="*/ 273 w 547"/>
                    <a:gd name="T3" fmla="*/ 0 h 275"/>
                    <a:gd name="T4" fmla="*/ 547 w 547"/>
                    <a:gd name="T5" fmla="*/ 275 h 275"/>
                  </a:gdLst>
                  <a:ahLst/>
                  <a:cxnLst>
                    <a:cxn ang="0">
                      <a:pos x="T0" y="T1"/>
                    </a:cxn>
                    <a:cxn ang="0">
                      <a:pos x="T2" y="T3"/>
                    </a:cxn>
                    <a:cxn ang="0">
                      <a:pos x="T4" y="T5"/>
                    </a:cxn>
                  </a:cxnLst>
                  <a:rect l="0" t="0" r="r" b="b"/>
                  <a:pathLst>
                    <a:path w="547" h="275">
                      <a:moveTo>
                        <a:pt x="0" y="275"/>
                      </a:moveTo>
                      <a:lnTo>
                        <a:pt x="273" y="0"/>
                      </a:lnTo>
                      <a:lnTo>
                        <a:pt x="547" y="275"/>
                      </a:lnTo>
                    </a:path>
                  </a:pathLst>
                </a:custGeom>
                <a:noFill/>
                <a:ln w="28575" cap="flat">
                  <a:solidFill>
                    <a:srgbClr val="002050"/>
                  </a:solidFill>
                  <a:prstDash val="solid"/>
                  <a:bevel/>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63" name="Line 32"/>
                <p:cNvSpPr>
                  <a:spLocks noChangeShapeType="1"/>
                </p:cNvSpPr>
                <p:nvPr/>
              </p:nvSpPr>
              <p:spPr bwMode="auto">
                <a:xfrm>
                  <a:off x="6099176" y="2981327"/>
                  <a:ext cx="0" cy="1089025"/>
                </a:xfrm>
                <a:prstGeom prst="line">
                  <a:avLst/>
                </a:prstGeom>
                <a:noFill/>
                <a:ln w="28575" cap="flat">
                  <a:solidFill>
                    <a:srgbClr val="002050"/>
                  </a:solidFill>
                  <a:prstDash val="solid"/>
                  <a:miter lim="800000"/>
                  <a:headEnd/>
                  <a:tailEnd/>
                </a:ln>
                <a:extLst>
                  <a:ext uri="{909E8E84-426E-40DD-AFC4-6F175D3DCCD1}">
                    <a14:hiddenFill xmlns:a14="http://schemas.microsoft.com/office/drawing/2010/main">
                      <a:noFill/>
                    </a14:hiddenFill>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grpSp>
        </p:grpSp>
      </p:grpSp>
      <p:grpSp>
        <p:nvGrpSpPr>
          <p:cNvPr id="64" name="Group 63"/>
          <p:cNvGrpSpPr/>
          <p:nvPr/>
        </p:nvGrpSpPr>
        <p:grpSpPr>
          <a:xfrm>
            <a:off x="1067457" y="2385844"/>
            <a:ext cx="1924231" cy="2787883"/>
            <a:chOff x="1089145" y="2432911"/>
            <a:chExt cx="1963327" cy="2844527"/>
          </a:xfrm>
        </p:grpSpPr>
        <p:sp>
          <p:nvSpPr>
            <p:cNvPr id="65" name="Rectangle 64"/>
            <p:cNvSpPr/>
            <p:nvPr/>
          </p:nvSpPr>
          <p:spPr>
            <a:xfrm>
              <a:off x="1208754" y="4692663"/>
              <a:ext cx="1640193" cy="584775"/>
            </a:xfrm>
            <a:prstGeom prst="rect">
              <a:avLst/>
            </a:prstGeom>
          </p:spPr>
          <p:txBody>
            <a:bodyPr wrap="none" lIns="0" tIns="0" rIns="0" bIns="0">
              <a:noAutofit/>
            </a:bodyPr>
            <a:lstStyle/>
            <a:p>
              <a:pPr algn="ctr" defTabSz="896203"/>
              <a:r>
                <a:rPr lang="en-US" sz="3136" kern="0" dirty="0">
                  <a:solidFill>
                    <a:schemeClr val="bg1"/>
                  </a:solidFill>
                  <a:latin typeface="Segoe UI Light"/>
                </a:rPr>
                <a:t>Big Data</a:t>
              </a:r>
            </a:p>
          </p:txBody>
        </p:sp>
        <p:grpSp>
          <p:nvGrpSpPr>
            <p:cNvPr id="66" name="Group 16"/>
            <p:cNvGrpSpPr>
              <a:grpSpLocks noChangeAspect="1"/>
            </p:cNvGrpSpPr>
            <p:nvPr/>
          </p:nvGrpSpPr>
          <p:grpSpPr bwMode="auto">
            <a:xfrm>
              <a:off x="1089145" y="2432911"/>
              <a:ext cx="1963327" cy="1968500"/>
              <a:chOff x="409" y="817"/>
              <a:chExt cx="2657" cy="2664"/>
            </a:xfrm>
          </p:grpSpPr>
          <p:sp>
            <p:nvSpPr>
              <p:cNvPr id="80" name="Oval 17"/>
              <p:cNvSpPr>
                <a:spLocks noChangeArrowheads="1"/>
              </p:cNvSpPr>
              <p:nvPr/>
            </p:nvSpPr>
            <p:spPr bwMode="auto">
              <a:xfrm>
                <a:off x="2036" y="817"/>
                <a:ext cx="1030" cy="1030"/>
              </a:xfrm>
              <a:prstGeom prst="ellipse">
                <a:avLst/>
              </a:prstGeom>
              <a:noFill/>
              <a:ln w="28575"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defTabSz="896203"/>
                <a:endParaRPr lang="en-US" sz="1764" kern="0">
                  <a:solidFill>
                    <a:srgbClr val="0078D7"/>
                  </a:solidFill>
                </a:endParaRPr>
              </a:p>
            </p:txBody>
          </p:sp>
          <p:sp>
            <p:nvSpPr>
              <p:cNvPr id="81" name="Oval 18"/>
              <p:cNvSpPr>
                <a:spLocks noChangeArrowheads="1"/>
              </p:cNvSpPr>
              <p:nvPr/>
            </p:nvSpPr>
            <p:spPr bwMode="auto">
              <a:xfrm>
                <a:off x="409" y="2153"/>
                <a:ext cx="860" cy="859"/>
              </a:xfrm>
              <a:prstGeom prst="ellipse">
                <a:avLst/>
              </a:prstGeom>
              <a:noFill/>
              <a:ln w="285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defTabSz="896203"/>
                <a:endParaRPr lang="en-US" sz="1764" kern="0">
                  <a:solidFill>
                    <a:srgbClr val="0078D7"/>
                  </a:solidFill>
                </a:endParaRPr>
              </a:p>
            </p:txBody>
          </p:sp>
          <p:sp>
            <p:nvSpPr>
              <p:cNvPr id="82" name="Oval 19"/>
              <p:cNvSpPr>
                <a:spLocks noChangeArrowheads="1"/>
              </p:cNvSpPr>
              <p:nvPr/>
            </p:nvSpPr>
            <p:spPr bwMode="auto">
              <a:xfrm>
                <a:off x="2078" y="2792"/>
                <a:ext cx="689" cy="689"/>
              </a:xfrm>
              <a:prstGeom prst="ellipse">
                <a:avLst/>
              </a:prstGeom>
              <a:noFill/>
              <a:ln w="285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defTabSz="896203"/>
                <a:endParaRPr lang="en-US" sz="1764" kern="0">
                  <a:solidFill>
                    <a:srgbClr val="0078D7"/>
                  </a:solidFill>
                </a:endParaRPr>
              </a:p>
            </p:txBody>
          </p:sp>
          <p:sp>
            <p:nvSpPr>
              <p:cNvPr id="83" name="Line 20"/>
              <p:cNvSpPr>
                <a:spLocks noChangeShapeType="1"/>
              </p:cNvSpPr>
              <p:nvPr/>
            </p:nvSpPr>
            <p:spPr bwMode="auto">
              <a:xfrm flipH="1" flipV="1">
                <a:off x="1219" y="2749"/>
                <a:ext cx="859" cy="348"/>
              </a:xfrm>
              <a:prstGeom prst="line">
                <a:avLst/>
              </a:prstGeom>
              <a:noFill/>
              <a:ln w="28575"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89619" tIns="44810" rIns="89619" bIns="44810" numCol="1" anchor="t" anchorCtr="0" compatLnSpc="1">
                <a:prstTxWarp prst="textNoShape">
                  <a:avLst/>
                </a:prstTxWarp>
              </a:bodyPr>
              <a:lstStyle/>
              <a:p>
                <a:pPr defTabSz="896203"/>
                <a:endParaRPr lang="en-US" sz="1764" kern="0">
                  <a:solidFill>
                    <a:srgbClr val="0078D7"/>
                  </a:solidFill>
                </a:endParaRPr>
              </a:p>
            </p:txBody>
          </p:sp>
          <p:sp>
            <p:nvSpPr>
              <p:cNvPr id="84" name="Line 21"/>
              <p:cNvSpPr>
                <a:spLocks noChangeShapeType="1"/>
              </p:cNvSpPr>
              <p:nvPr/>
            </p:nvSpPr>
            <p:spPr bwMode="auto">
              <a:xfrm flipV="1">
                <a:off x="1176" y="1677"/>
                <a:ext cx="945" cy="603"/>
              </a:xfrm>
              <a:prstGeom prst="line">
                <a:avLst/>
              </a:prstGeom>
              <a:noFill/>
              <a:ln w="28575"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89619" tIns="44810" rIns="89619" bIns="44810" numCol="1" anchor="t" anchorCtr="0" compatLnSpc="1">
                <a:prstTxWarp prst="textNoShape">
                  <a:avLst/>
                </a:prstTxWarp>
              </a:bodyPr>
              <a:lstStyle/>
              <a:p>
                <a:pPr defTabSz="896203"/>
                <a:endParaRPr lang="en-US" sz="1764" kern="0">
                  <a:solidFill>
                    <a:srgbClr val="0078D7"/>
                  </a:solidFill>
                </a:endParaRPr>
              </a:p>
            </p:txBody>
          </p:sp>
        </p:grpSp>
        <p:grpSp>
          <p:nvGrpSpPr>
            <p:cNvPr id="67" name="Group 66"/>
            <p:cNvGrpSpPr/>
            <p:nvPr/>
          </p:nvGrpSpPr>
          <p:grpSpPr>
            <a:xfrm>
              <a:off x="2361582" y="2545600"/>
              <a:ext cx="607986" cy="522788"/>
              <a:chOff x="1809120" y="2381553"/>
              <a:chExt cx="726560" cy="624745"/>
            </a:xfrm>
            <a:solidFill>
              <a:schemeClr val="accent1"/>
            </a:solidFill>
          </p:grpSpPr>
          <p:sp>
            <p:nvSpPr>
              <p:cNvPr id="68" name="Freeform 49"/>
              <p:cNvSpPr>
                <a:spLocks/>
              </p:cNvSpPr>
              <p:nvPr/>
            </p:nvSpPr>
            <p:spPr bwMode="auto">
              <a:xfrm>
                <a:off x="1832467" y="2381553"/>
                <a:ext cx="52531" cy="116737"/>
              </a:xfrm>
              <a:custGeom>
                <a:avLst/>
                <a:gdLst>
                  <a:gd name="T0" fmla="*/ 36 w 36"/>
                  <a:gd name="T1" fmla="*/ 0 h 80"/>
                  <a:gd name="T2" fmla="*/ 24 w 36"/>
                  <a:gd name="T3" fmla="*/ 0 h 80"/>
                  <a:gd name="T4" fmla="*/ 24 w 36"/>
                  <a:gd name="T5" fmla="*/ 0 h 80"/>
                  <a:gd name="T6" fmla="*/ 20 w 36"/>
                  <a:gd name="T7" fmla="*/ 6 h 80"/>
                  <a:gd name="T8" fmla="*/ 14 w 36"/>
                  <a:gd name="T9" fmla="*/ 12 h 80"/>
                  <a:gd name="T10" fmla="*/ 14 w 36"/>
                  <a:gd name="T11" fmla="*/ 12 h 80"/>
                  <a:gd name="T12" fmla="*/ 8 w 36"/>
                  <a:gd name="T13" fmla="*/ 16 h 80"/>
                  <a:gd name="T14" fmla="*/ 0 w 36"/>
                  <a:gd name="T15" fmla="*/ 20 h 80"/>
                  <a:gd name="T16" fmla="*/ 0 w 36"/>
                  <a:gd name="T17" fmla="*/ 34 h 80"/>
                  <a:gd name="T18" fmla="*/ 0 w 36"/>
                  <a:gd name="T19" fmla="*/ 34 h 80"/>
                  <a:gd name="T20" fmla="*/ 12 w 36"/>
                  <a:gd name="T21" fmla="*/ 28 h 80"/>
                  <a:gd name="T22" fmla="*/ 20 w 36"/>
                  <a:gd name="T23" fmla="*/ 22 h 80"/>
                  <a:gd name="T24" fmla="*/ 20 w 36"/>
                  <a:gd name="T25" fmla="*/ 80 h 80"/>
                  <a:gd name="T26" fmla="*/ 36 w 36"/>
                  <a:gd name="T27" fmla="*/ 80 h 80"/>
                  <a:gd name="T28" fmla="*/ 36 w 36"/>
                  <a:gd name="T29" fmla="*/ 0 h 80"/>
                  <a:gd name="T30" fmla="*/ 36 w 36"/>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80">
                    <a:moveTo>
                      <a:pt x="36" y="0"/>
                    </a:moveTo>
                    <a:lnTo>
                      <a:pt x="24" y="0"/>
                    </a:lnTo>
                    <a:lnTo>
                      <a:pt x="24" y="0"/>
                    </a:lnTo>
                    <a:lnTo>
                      <a:pt x="20" y="6"/>
                    </a:lnTo>
                    <a:lnTo>
                      <a:pt x="14" y="12"/>
                    </a:lnTo>
                    <a:lnTo>
                      <a:pt x="14" y="12"/>
                    </a:lnTo>
                    <a:lnTo>
                      <a:pt x="8" y="16"/>
                    </a:lnTo>
                    <a:lnTo>
                      <a:pt x="0" y="20"/>
                    </a:lnTo>
                    <a:lnTo>
                      <a:pt x="0" y="34"/>
                    </a:lnTo>
                    <a:lnTo>
                      <a:pt x="0" y="34"/>
                    </a:lnTo>
                    <a:lnTo>
                      <a:pt x="12" y="28"/>
                    </a:lnTo>
                    <a:lnTo>
                      <a:pt x="20" y="22"/>
                    </a:lnTo>
                    <a:lnTo>
                      <a:pt x="20" y="80"/>
                    </a:lnTo>
                    <a:lnTo>
                      <a:pt x="36" y="80"/>
                    </a:lnTo>
                    <a:lnTo>
                      <a:pt x="36" y="0"/>
                    </a:lnTo>
                    <a:lnTo>
                      <a:pt x="36" y="0"/>
                    </a:lnTo>
                    <a:close/>
                  </a:path>
                </a:pathLst>
              </a:custGeom>
              <a:grpFill/>
              <a:ln>
                <a:noFill/>
              </a:ln>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69" name="Freeform 50"/>
              <p:cNvSpPr>
                <a:spLocks noEditPoints="1"/>
              </p:cNvSpPr>
              <p:nvPr/>
            </p:nvSpPr>
            <p:spPr bwMode="auto">
              <a:xfrm>
                <a:off x="2019117" y="2381553"/>
                <a:ext cx="75880" cy="119656"/>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2 w 52"/>
                  <a:gd name="T13" fmla="*/ 60 h 82"/>
                  <a:gd name="T14" fmla="*/ 4 w 52"/>
                  <a:gd name="T15" fmla="*/ 66 h 82"/>
                  <a:gd name="T16" fmla="*/ 8 w 52"/>
                  <a:gd name="T17" fmla="*/ 72 h 82"/>
                  <a:gd name="T18" fmla="*/ 8 w 52"/>
                  <a:gd name="T19" fmla="*/ 72 h 82"/>
                  <a:gd name="T20" fmla="*/ 10 w 52"/>
                  <a:gd name="T21" fmla="*/ 76 h 82"/>
                  <a:gd name="T22" fmla="*/ 16 w 52"/>
                  <a:gd name="T23" fmla="*/ 78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2 h 82"/>
                  <a:gd name="T36" fmla="*/ 44 w 52"/>
                  <a:gd name="T37" fmla="*/ 72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2 w 52"/>
                  <a:gd name="T73" fmla="*/ 14 h 82"/>
                  <a:gd name="T74" fmla="*/ 32 w 52"/>
                  <a:gd name="T75" fmla="*/ 14 h 82"/>
                  <a:gd name="T76" fmla="*/ 34 w 52"/>
                  <a:gd name="T77" fmla="*/ 20 h 82"/>
                  <a:gd name="T78" fmla="*/ 34 w 52"/>
                  <a:gd name="T79" fmla="*/ 20 h 82"/>
                  <a:gd name="T80" fmla="*/ 36 w 52"/>
                  <a:gd name="T81" fmla="*/ 40 h 82"/>
                  <a:gd name="T82" fmla="*/ 36 w 52"/>
                  <a:gd name="T83" fmla="*/ 40 h 82"/>
                  <a:gd name="T84" fmla="*/ 34 w 52"/>
                  <a:gd name="T85" fmla="*/ 60 h 82"/>
                  <a:gd name="T86" fmla="*/ 34 w 52"/>
                  <a:gd name="T87" fmla="*/ 60 h 82"/>
                  <a:gd name="T88" fmla="*/ 32 w 52"/>
                  <a:gd name="T89" fmla="*/ 66 h 82"/>
                  <a:gd name="T90" fmla="*/ 32 w 52"/>
                  <a:gd name="T91" fmla="*/ 66 h 82"/>
                  <a:gd name="T92" fmla="*/ 26 w 52"/>
                  <a:gd name="T93" fmla="*/ 68 h 82"/>
                  <a:gd name="T94" fmla="*/ 26 w 52"/>
                  <a:gd name="T95" fmla="*/ 68 h 82"/>
                  <a:gd name="T96" fmla="*/ 22 w 52"/>
                  <a:gd name="T97" fmla="*/ 66 h 82"/>
                  <a:gd name="T98" fmla="*/ 22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2 w 52"/>
                  <a:gd name="T113" fmla="*/ 14 h 82"/>
                  <a:gd name="T114" fmla="*/ 22 w 52"/>
                  <a:gd name="T115" fmla="*/ 14 h 82"/>
                  <a:gd name="T116" fmla="*/ 26 w 52"/>
                  <a:gd name="T117" fmla="*/ 12 h 82"/>
                  <a:gd name="T118" fmla="*/ 26 w 52"/>
                  <a:gd name="T119" fmla="*/ 12 h 82"/>
                  <a:gd name="T120" fmla="*/ 32 w 52"/>
                  <a:gd name="T121" fmla="*/ 14 h 82"/>
                  <a:gd name="T122" fmla="*/ 32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2" y="60"/>
                    </a:lnTo>
                    <a:lnTo>
                      <a:pt x="4" y="66"/>
                    </a:lnTo>
                    <a:lnTo>
                      <a:pt x="8" y="72"/>
                    </a:lnTo>
                    <a:lnTo>
                      <a:pt x="8" y="72"/>
                    </a:lnTo>
                    <a:lnTo>
                      <a:pt x="10" y="76"/>
                    </a:lnTo>
                    <a:lnTo>
                      <a:pt x="16" y="78"/>
                    </a:lnTo>
                    <a:lnTo>
                      <a:pt x="20" y="80"/>
                    </a:lnTo>
                    <a:lnTo>
                      <a:pt x="26" y="82"/>
                    </a:lnTo>
                    <a:lnTo>
                      <a:pt x="26" y="82"/>
                    </a:lnTo>
                    <a:lnTo>
                      <a:pt x="36" y="80"/>
                    </a:lnTo>
                    <a:lnTo>
                      <a:pt x="40" y="76"/>
                    </a:lnTo>
                    <a:lnTo>
                      <a:pt x="44" y="72"/>
                    </a:lnTo>
                    <a:lnTo>
                      <a:pt x="44" y="72"/>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6" y="2"/>
                    </a:lnTo>
                    <a:lnTo>
                      <a:pt x="12" y="4"/>
                    </a:lnTo>
                    <a:lnTo>
                      <a:pt x="8" y="8"/>
                    </a:lnTo>
                    <a:lnTo>
                      <a:pt x="8" y="8"/>
                    </a:lnTo>
                    <a:lnTo>
                      <a:pt x="8" y="8"/>
                    </a:lnTo>
                    <a:close/>
                    <a:moveTo>
                      <a:pt x="32" y="14"/>
                    </a:moveTo>
                    <a:lnTo>
                      <a:pt x="32" y="14"/>
                    </a:lnTo>
                    <a:lnTo>
                      <a:pt x="34" y="20"/>
                    </a:lnTo>
                    <a:lnTo>
                      <a:pt x="34" y="20"/>
                    </a:lnTo>
                    <a:lnTo>
                      <a:pt x="36" y="40"/>
                    </a:lnTo>
                    <a:lnTo>
                      <a:pt x="36" y="40"/>
                    </a:lnTo>
                    <a:lnTo>
                      <a:pt x="34" y="60"/>
                    </a:lnTo>
                    <a:lnTo>
                      <a:pt x="34" y="60"/>
                    </a:lnTo>
                    <a:lnTo>
                      <a:pt x="32" y="66"/>
                    </a:lnTo>
                    <a:lnTo>
                      <a:pt x="32" y="66"/>
                    </a:lnTo>
                    <a:lnTo>
                      <a:pt x="26" y="68"/>
                    </a:lnTo>
                    <a:lnTo>
                      <a:pt x="26" y="68"/>
                    </a:lnTo>
                    <a:lnTo>
                      <a:pt x="22" y="66"/>
                    </a:lnTo>
                    <a:lnTo>
                      <a:pt x="22" y="66"/>
                    </a:lnTo>
                    <a:lnTo>
                      <a:pt x="18" y="60"/>
                    </a:lnTo>
                    <a:lnTo>
                      <a:pt x="18" y="60"/>
                    </a:lnTo>
                    <a:lnTo>
                      <a:pt x="16" y="40"/>
                    </a:lnTo>
                    <a:lnTo>
                      <a:pt x="16" y="40"/>
                    </a:lnTo>
                    <a:lnTo>
                      <a:pt x="18" y="20"/>
                    </a:lnTo>
                    <a:lnTo>
                      <a:pt x="18" y="20"/>
                    </a:lnTo>
                    <a:lnTo>
                      <a:pt x="22" y="14"/>
                    </a:lnTo>
                    <a:lnTo>
                      <a:pt x="22" y="14"/>
                    </a:lnTo>
                    <a:lnTo>
                      <a:pt x="26" y="12"/>
                    </a:lnTo>
                    <a:lnTo>
                      <a:pt x="26" y="12"/>
                    </a:lnTo>
                    <a:lnTo>
                      <a:pt x="32" y="14"/>
                    </a:lnTo>
                    <a:lnTo>
                      <a:pt x="32" y="14"/>
                    </a:lnTo>
                    <a:close/>
                  </a:path>
                </a:pathLst>
              </a:custGeom>
              <a:solidFill>
                <a:schemeClr val="bg2"/>
              </a:solidFill>
              <a:ln>
                <a:noFill/>
              </a:ln>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70" name="Freeform 51"/>
              <p:cNvSpPr>
                <a:spLocks/>
              </p:cNvSpPr>
              <p:nvPr/>
            </p:nvSpPr>
            <p:spPr bwMode="auto">
              <a:xfrm>
                <a:off x="2246754" y="2381553"/>
                <a:ext cx="49613" cy="116737"/>
              </a:xfrm>
              <a:custGeom>
                <a:avLst/>
                <a:gdLst>
                  <a:gd name="T0" fmla="*/ 34 w 34"/>
                  <a:gd name="T1" fmla="*/ 0 h 80"/>
                  <a:gd name="T2" fmla="*/ 22 w 34"/>
                  <a:gd name="T3" fmla="*/ 0 h 80"/>
                  <a:gd name="T4" fmla="*/ 22 w 34"/>
                  <a:gd name="T5" fmla="*/ 0 h 80"/>
                  <a:gd name="T6" fmla="*/ 18 w 34"/>
                  <a:gd name="T7" fmla="*/ 6 h 80"/>
                  <a:gd name="T8" fmla="*/ 12 w 34"/>
                  <a:gd name="T9" fmla="*/ 12 h 80"/>
                  <a:gd name="T10" fmla="*/ 12 w 34"/>
                  <a:gd name="T11" fmla="*/ 12 h 80"/>
                  <a:gd name="T12" fmla="*/ 6 w 34"/>
                  <a:gd name="T13" fmla="*/ 16 h 80"/>
                  <a:gd name="T14" fmla="*/ 0 w 34"/>
                  <a:gd name="T15" fmla="*/ 20 h 80"/>
                  <a:gd name="T16" fmla="*/ 0 w 34"/>
                  <a:gd name="T17" fmla="*/ 34 h 80"/>
                  <a:gd name="T18" fmla="*/ 0 w 34"/>
                  <a:gd name="T19" fmla="*/ 34 h 80"/>
                  <a:gd name="T20" fmla="*/ 10 w 34"/>
                  <a:gd name="T21" fmla="*/ 28 h 80"/>
                  <a:gd name="T22" fmla="*/ 20 w 34"/>
                  <a:gd name="T23" fmla="*/ 22 h 80"/>
                  <a:gd name="T24" fmla="*/ 20 w 34"/>
                  <a:gd name="T25" fmla="*/ 80 h 80"/>
                  <a:gd name="T26" fmla="*/ 34 w 34"/>
                  <a:gd name="T27" fmla="*/ 80 h 80"/>
                  <a:gd name="T28" fmla="*/ 34 w 34"/>
                  <a:gd name="T29" fmla="*/ 0 h 80"/>
                  <a:gd name="T30" fmla="*/ 34 w 34"/>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80">
                    <a:moveTo>
                      <a:pt x="34" y="0"/>
                    </a:moveTo>
                    <a:lnTo>
                      <a:pt x="22" y="0"/>
                    </a:lnTo>
                    <a:lnTo>
                      <a:pt x="22" y="0"/>
                    </a:lnTo>
                    <a:lnTo>
                      <a:pt x="18" y="6"/>
                    </a:lnTo>
                    <a:lnTo>
                      <a:pt x="12" y="12"/>
                    </a:lnTo>
                    <a:lnTo>
                      <a:pt x="12" y="12"/>
                    </a:lnTo>
                    <a:lnTo>
                      <a:pt x="6" y="16"/>
                    </a:lnTo>
                    <a:lnTo>
                      <a:pt x="0" y="20"/>
                    </a:lnTo>
                    <a:lnTo>
                      <a:pt x="0" y="34"/>
                    </a:lnTo>
                    <a:lnTo>
                      <a:pt x="0" y="34"/>
                    </a:lnTo>
                    <a:lnTo>
                      <a:pt x="10" y="28"/>
                    </a:lnTo>
                    <a:lnTo>
                      <a:pt x="20" y="22"/>
                    </a:lnTo>
                    <a:lnTo>
                      <a:pt x="20" y="80"/>
                    </a:lnTo>
                    <a:lnTo>
                      <a:pt x="34" y="80"/>
                    </a:lnTo>
                    <a:lnTo>
                      <a:pt x="34" y="0"/>
                    </a:lnTo>
                    <a:lnTo>
                      <a:pt x="34" y="0"/>
                    </a:lnTo>
                    <a:close/>
                  </a:path>
                </a:pathLst>
              </a:custGeom>
              <a:grpFill/>
              <a:ln>
                <a:noFill/>
              </a:ln>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71" name="Freeform 52"/>
              <p:cNvSpPr>
                <a:spLocks noEditPoints="1"/>
              </p:cNvSpPr>
              <p:nvPr/>
            </p:nvSpPr>
            <p:spPr bwMode="auto">
              <a:xfrm>
                <a:off x="2459800" y="2381553"/>
                <a:ext cx="75880" cy="119656"/>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2 w 52"/>
                  <a:gd name="T13" fmla="*/ 60 h 82"/>
                  <a:gd name="T14" fmla="*/ 4 w 52"/>
                  <a:gd name="T15" fmla="*/ 66 h 82"/>
                  <a:gd name="T16" fmla="*/ 8 w 52"/>
                  <a:gd name="T17" fmla="*/ 72 h 82"/>
                  <a:gd name="T18" fmla="*/ 8 w 52"/>
                  <a:gd name="T19" fmla="*/ 72 h 82"/>
                  <a:gd name="T20" fmla="*/ 12 w 52"/>
                  <a:gd name="T21" fmla="*/ 76 h 82"/>
                  <a:gd name="T22" fmla="*/ 16 w 52"/>
                  <a:gd name="T23" fmla="*/ 78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2 h 82"/>
                  <a:gd name="T36" fmla="*/ 44 w 52"/>
                  <a:gd name="T37" fmla="*/ 72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2 w 52"/>
                  <a:gd name="T73" fmla="*/ 14 h 82"/>
                  <a:gd name="T74" fmla="*/ 32 w 52"/>
                  <a:gd name="T75" fmla="*/ 14 h 82"/>
                  <a:gd name="T76" fmla="*/ 34 w 52"/>
                  <a:gd name="T77" fmla="*/ 20 h 82"/>
                  <a:gd name="T78" fmla="*/ 34 w 52"/>
                  <a:gd name="T79" fmla="*/ 20 h 82"/>
                  <a:gd name="T80" fmla="*/ 36 w 52"/>
                  <a:gd name="T81" fmla="*/ 40 h 82"/>
                  <a:gd name="T82" fmla="*/ 36 w 52"/>
                  <a:gd name="T83" fmla="*/ 40 h 82"/>
                  <a:gd name="T84" fmla="*/ 34 w 52"/>
                  <a:gd name="T85" fmla="*/ 60 h 82"/>
                  <a:gd name="T86" fmla="*/ 34 w 52"/>
                  <a:gd name="T87" fmla="*/ 60 h 82"/>
                  <a:gd name="T88" fmla="*/ 32 w 52"/>
                  <a:gd name="T89" fmla="*/ 66 h 82"/>
                  <a:gd name="T90" fmla="*/ 32 w 52"/>
                  <a:gd name="T91" fmla="*/ 66 h 82"/>
                  <a:gd name="T92" fmla="*/ 26 w 52"/>
                  <a:gd name="T93" fmla="*/ 68 h 82"/>
                  <a:gd name="T94" fmla="*/ 26 w 52"/>
                  <a:gd name="T95" fmla="*/ 68 h 82"/>
                  <a:gd name="T96" fmla="*/ 22 w 52"/>
                  <a:gd name="T97" fmla="*/ 66 h 82"/>
                  <a:gd name="T98" fmla="*/ 22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2 w 52"/>
                  <a:gd name="T113" fmla="*/ 14 h 82"/>
                  <a:gd name="T114" fmla="*/ 22 w 52"/>
                  <a:gd name="T115" fmla="*/ 14 h 82"/>
                  <a:gd name="T116" fmla="*/ 26 w 52"/>
                  <a:gd name="T117" fmla="*/ 12 h 82"/>
                  <a:gd name="T118" fmla="*/ 26 w 52"/>
                  <a:gd name="T119" fmla="*/ 12 h 82"/>
                  <a:gd name="T120" fmla="*/ 32 w 52"/>
                  <a:gd name="T121" fmla="*/ 14 h 82"/>
                  <a:gd name="T122" fmla="*/ 32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2" y="60"/>
                    </a:lnTo>
                    <a:lnTo>
                      <a:pt x="4" y="66"/>
                    </a:lnTo>
                    <a:lnTo>
                      <a:pt x="8" y="72"/>
                    </a:lnTo>
                    <a:lnTo>
                      <a:pt x="8" y="72"/>
                    </a:lnTo>
                    <a:lnTo>
                      <a:pt x="12" y="76"/>
                    </a:lnTo>
                    <a:lnTo>
                      <a:pt x="16" y="78"/>
                    </a:lnTo>
                    <a:lnTo>
                      <a:pt x="20" y="80"/>
                    </a:lnTo>
                    <a:lnTo>
                      <a:pt x="26" y="82"/>
                    </a:lnTo>
                    <a:lnTo>
                      <a:pt x="26" y="82"/>
                    </a:lnTo>
                    <a:lnTo>
                      <a:pt x="36" y="80"/>
                    </a:lnTo>
                    <a:lnTo>
                      <a:pt x="40" y="76"/>
                    </a:lnTo>
                    <a:lnTo>
                      <a:pt x="44" y="72"/>
                    </a:lnTo>
                    <a:lnTo>
                      <a:pt x="44" y="72"/>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6" y="2"/>
                    </a:lnTo>
                    <a:lnTo>
                      <a:pt x="12" y="4"/>
                    </a:lnTo>
                    <a:lnTo>
                      <a:pt x="8" y="8"/>
                    </a:lnTo>
                    <a:lnTo>
                      <a:pt x="8" y="8"/>
                    </a:lnTo>
                    <a:lnTo>
                      <a:pt x="8" y="8"/>
                    </a:lnTo>
                    <a:close/>
                    <a:moveTo>
                      <a:pt x="32" y="14"/>
                    </a:moveTo>
                    <a:lnTo>
                      <a:pt x="32" y="14"/>
                    </a:lnTo>
                    <a:lnTo>
                      <a:pt x="34" y="20"/>
                    </a:lnTo>
                    <a:lnTo>
                      <a:pt x="34" y="20"/>
                    </a:lnTo>
                    <a:lnTo>
                      <a:pt x="36" y="40"/>
                    </a:lnTo>
                    <a:lnTo>
                      <a:pt x="36" y="40"/>
                    </a:lnTo>
                    <a:lnTo>
                      <a:pt x="34" y="60"/>
                    </a:lnTo>
                    <a:lnTo>
                      <a:pt x="34" y="60"/>
                    </a:lnTo>
                    <a:lnTo>
                      <a:pt x="32" y="66"/>
                    </a:lnTo>
                    <a:lnTo>
                      <a:pt x="32" y="66"/>
                    </a:lnTo>
                    <a:lnTo>
                      <a:pt x="26" y="68"/>
                    </a:lnTo>
                    <a:lnTo>
                      <a:pt x="26" y="68"/>
                    </a:lnTo>
                    <a:lnTo>
                      <a:pt x="22" y="66"/>
                    </a:lnTo>
                    <a:lnTo>
                      <a:pt x="22" y="66"/>
                    </a:lnTo>
                    <a:lnTo>
                      <a:pt x="18" y="60"/>
                    </a:lnTo>
                    <a:lnTo>
                      <a:pt x="18" y="60"/>
                    </a:lnTo>
                    <a:lnTo>
                      <a:pt x="16" y="40"/>
                    </a:lnTo>
                    <a:lnTo>
                      <a:pt x="16" y="40"/>
                    </a:lnTo>
                    <a:lnTo>
                      <a:pt x="18" y="20"/>
                    </a:lnTo>
                    <a:lnTo>
                      <a:pt x="18" y="20"/>
                    </a:lnTo>
                    <a:lnTo>
                      <a:pt x="22" y="14"/>
                    </a:lnTo>
                    <a:lnTo>
                      <a:pt x="22" y="14"/>
                    </a:lnTo>
                    <a:lnTo>
                      <a:pt x="26" y="12"/>
                    </a:lnTo>
                    <a:lnTo>
                      <a:pt x="26" y="12"/>
                    </a:lnTo>
                    <a:lnTo>
                      <a:pt x="32" y="14"/>
                    </a:lnTo>
                    <a:lnTo>
                      <a:pt x="32" y="14"/>
                    </a:lnTo>
                    <a:close/>
                  </a:path>
                </a:pathLst>
              </a:custGeom>
              <a:solidFill>
                <a:schemeClr val="bg2"/>
              </a:solidFill>
              <a:ln>
                <a:noFill/>
              </a:ln>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72" name="Freeform 21"/>
              <p:cNvSpPr>
                <a:spLocks noEditPoints="1"/>
              </p:cNvSpPr>
              <p:nvPr/>
            </p:nvSpPr>
            <p:spPr bwMode="auto">
              <a:xfrm>
                <a:off x="1809120" y="2631326"/>
                <a:ext cx="75880" cy="119656"/>
              </a:xfrm>
              <a:custGeom>
                <a:avLst/>
                <a:gdLst>
                  <a:gd name="T0" fmla="*/ 8 w 52"/>
                  <a:gd name="T1" fmla="*/ 8 h 82"/>
                  <a:gd name="T2" fmla="*/ 8 w 52"/>
                  <a:gd name="T3" fmla="*/ 8 h 82"/>
                  <a:gd name="T4" fmla="*/ 6 w 52"/>
                  <a:gd name="T5" fmla="*/ 14 h 82"/>
                  <a:gd name="T6" fmla="*/ 2 w 52"/>
                  <a:gd name="T7" fmla="*/ 20 h 82"/>
                  <a:gd name="T8" fmla="*/ 0 w 52"/>
                  <a:gd name="T9" fmla="*/ 40 h 82"/>
                  <a:gd name="T10" fmla="*/ 0 w 52"/>
                  <a:gd name="T11" fmla="*/ 40 h 82"/>
                  <a:gd name="T12" fmla="*/ 2 w 52"/>
                  <a:gd name="T13" fmla="*/ 60 h 82"/>
                  <a:gd name="T14" fmla="*/ 4 w 52"/>
                  <a:gd name="T15" fmla="*/ 68 h 82"/>
                  <a:gd name="T16" fmla="*/ 8 w 52"/>
                  <a:gd name="T17" fmla="*/ 72 h 82"/>
                  <a:gd name="T18" fmla="*/ 8 w 52"/>
                  <a:gd name="T19" fmla="*/ 72 h 82"/>
                  <a:gd name="T20" fmla="*/ 12 w 52"/>
                  <a:gd name="T21" fmla="*/ 76 h 82"/>
                  <a:gd name="T22" fmla="*/ 16 w 52"/>
                  <a:gd name="T23" fmla="*/ 80 h 82"/>
                  <a:gd name="T24" fmla="*/ 22 w 52"/>
                  <a:gd name="T25" fmla="*/ 80 h 82"/>
                  <a:gd name="T26" fmla="*/ 26 w 52"/>
                  <a:gd name="T27" fmla="*/ 82 h 82"/>
                  <a:gd name="T28" fmla="*/ 26 w 52"/>
                  <a:gd name="T29" fmla="*/ 82 h 82"/>
                  <a:gd name="T30" fmla="*/ 38 w 52"/>
                  <a:gd name="T31" fmla="*/ 80 h 82"/>
                  <a:gd name="T32" fmla="*/ 42 w 52"/>
                  <a:gd name="T33" fmla="*/ 76 h 82"/>
                  <a:gd name="T34" fmla="*/ 44 w 52"/>
                  <a:gd name="T35" fmla="*/ 74 h 82"/>
                  <a:gd name="T36" fmla="*/ 44 w 52"/>
                  <a:gd name="T37" fmla="*/ 74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6 w 52"/>
                  <a:gd name="T51" fmla="*/ 8 h 82"/>
                  <a:gd name="T52" fmla="*/ 46 w 52"/>
                  <a:gd name="T53" fmla="*/ 8 h 82"/>
                  <a:gd name="T54" fmla="*/ 42 w 52"/>
                  <a:gd name="T55" fmla="*/ 4 h 82"/>
                  <a:gd name="T56" fmla="*/ 38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2 w 52"/>
                  <a:gd name="T73" fmla="*/ 14 h 82"/>
                  <a:gd name="T74" fmla="*/ 32 w 52"/>
                  <a:gd name="T75" fmla="*/ 14 h 82"/>
                  <a:gd name="T76" fmla="*/ 36 w 52"/>
                  <a:gd name="T77" fmla="*/ 22 h 82"/>
                  <a:gd name="T78" fmla="*/ 36 w 52"/>
                  <a:gd name="T79" fmla="*/ 22 h 82"/>
                  <a:gd name="T80" fmla="*/ 36 w 52"/>
                  <a:gd name="T81" fmla="*/ 40 h 82"/>
                  <a:gd name="T82" fmla="*/ 36 w 52"/>
                  <a:gd name="T83" fmla="*/ 40 h 82"/>
                  <a:gd name="T84" fmla="*/ 36 w 52"/>
                  <a:gd name="T85" fmla="*/ 60 h 82"/>
                  <a:gd name="T86" fmla="*/ 36 w 52"/>
                  <a:gd name="T87" fmla="*/ 60 h 82"/>
                  <a:gd name="T88" fmla="*/ 32 w 52"/>
                  <a:gd name="T89" fmla="*/ 66 h 82"/>
                  <a:gd name="T90" fmla="*/ 32 w 52"/>
                  <a:gd name="T91" fmla="*/ 66 h 82"/>
                  <a:gd name="T92" fmla="*/ 26 w 52"/>
                  <a:gd name="T93" fmla="*/ 68 h 82"/>
                  <a:gd name="T94" fmla="*/ 26 w 52"/>
                  <a:gd name="T95" fmla="*/ 68 h 82"/>
                  <a:gd name="T96" fmla="*/ 22 w 52"/>
                  <a:gd name="T97" fmla="*/ 66 h 82"/>
                  <a:gd name="T98" fmla="*/ 22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2 w 52"/>
                  <a:gd name="T113" fmla="*/ 14 h 82"/>
                  <a:gd name="T114" fmla="*/ 22 w 52"/>
                  <a:gd name="T115" fmla="*/ 14 h 82"/>
                  <a:gd name="T116" fmla="*/ 26 w 52"/>
                  <a:gd name="T117" fmla="*/ 12 h 82"/>
                  <a:gd name="T118" fmla="*/ 26 w 52"/>
                  <a:gd name="T119" fmla="*/ 12 h 82"/>
                  <a:gd name="T120" fmla="*/ 32 w 52"/>
                  <a:gd name="T121" fmla="*/ 14 h 82"/>
                  <a:gd name="T122" fmla="*/ 32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6" y="14"/>
                    </a:lnTo>
                    <a:lnTo>
                      <a:pt x="2" y="20"/>
                    </a:lnTo>
                    <a:lnTo>
                      <a:pt x="0" y="40"/>
                    </a:lnTo>
                    <a:lnTo>
                      <a:pt x="0" y="40"/>
                    </a:lnTo>
                    <a:lnTo>
                      <a:pt x="2" y="60"/>
                    </a:lnTo>
                    <a:lnTo>
                      <a:pt x="4" y="68"/>
                    </a:lnTo>
                    <a:lnTo>
                      <a:pt x="8" y="72"/>
                    </a:lnTo>
                    <a:lnTo>
                      <a:pt x="8" y="72"/>
                    </a:lnTo>
                    <a:lnTo>
                      <a:pt x="12" y="76"/>
                    </a:lnTo>
                    <a:lnTo>
                      <a:pt x="16" y="80"/>
                    </a:lnTo>
                    <a:lnTo>
                      <a:pt x="22" y="80"/>
                    </a:lnTo>
                    <a:lnTo>
                      <a:pt x="26" y="82"/>
                    </a:lnTo>
                    <a:lnTo>
                      <a:pt x="26" y="82"/>
                    </a:lnTo>
                    <a:lnTo>
                      <a:pt x="38" y="80"/>
                    </a:lnTo>
                    <a:lnTo>
                      <a:pt x="42" y="76"/>
                    </a:lnTo>
                    <a:lnTo>
                      <a:pt x="44" y="74"/>
                    </a:lnTo>
                    <a:lnTo>
                      <a:pt x="44" y="74"/>
                    </a:lnTo>
                    <a:lnTo>
                      <a:pt x="48" y="68"/>
                    </a:lnTo>
                    <a:lnTo>
                      <a:pt x="50" y="60"/>
                    </a:lnTo>
                    <a:lnTo>
                      <a:pt x="52" y="40"/>
                    </a:lnTo>
                    <a:lnTo>
                      <a:pt x="52" y="40"/>
                    </a:lnTo>
                    <a:lnTo>
                      <a:pt x="50" y="20"/>
                    </a:lnTo>
                    <a:lnTo>
                      <a:pt x="48" y="14"/>
                    </a:lnTo>
                    <a:lnTo>
                      <a:pt x="46" y="8"/>
                    </a:lnTo>
                    <a:lnTo>
                      <a:pt x="46" y="8"/>
                    </a:lnTo>
                    <a:lnTo>
                      <a:pt x="42" y="4"/>
                    </a:lnTo>
                    <a:lnTo>
                      <a:pt x="38" y="2"/>
                    </a:lnTo>
                    <a:lnTo>
                      <a:pt x="26" y="0"/>
                    </a:lnTo>
                    <a:lnTo>
                      <a:pt x="26" y="0"/>
                    </a:lnTo>
                    <a:lnTo>
                      <a:pt x="16" y="2"/>
                    </a:lnTo>
                    <a:lnTo>
                      <a:pt x="12" y="4"/>
                    </a:lnTo>
                    <a:lnTo>
                      <a:pt x="8" y="8"/>
                    </a:lnTo>
                    <a:lnTo>
                      <a:pt x="8" y="8"/>
                    </a:lnTo>
                    <a:lnTo>
                      <a:pt x="8" y="8"/>
                    </a:lnTo>
                    <a:close/>
                    <a:moveTo>
                      <a:pt x="32" y="14"/>
                    </a:moveTo>
                    <a:lnTo>
                      <a:pt x="32" y="14"/>
                    </a:lnTo>
                    <a:lnTo>
                      <a:pt x="36" y="22"/>
                    </a:lnTo>
                    <a:lnTo>
                      <a:pt x="36" y="22"/>
                    </a:lnTo>
                    <a:lnTo>
                      <a:pt x="36" y="40"/>
                    </a:lnTo>
                    <a:lnTo>
                      <a:pt x="36" y="40"/>
                    </a:lnTo>
                    <a:lnTo>
                      <a:pt x="36" y="60"/>
                    </a:lnTo>
                    <a:lnTo>
                      <a:pt x="36" y="60"/>
                    </a:lnTo>
                    <a:lnTo>
                      <a:pt x="32" y="66"/>
                    </a:lnTo>
                    <a:lnTo>
                      <a:pt x="32" y="66"/>
                    </a:lnTo>
                    <a:lnTo>
                      <a:pt x="26" y="68"/>
                    </a:lnTo>
                    <a:lnTo>
                      <a:pt x="26" y="68"/>
                    </a:lnTo>
                    <a:lnTo>
                      <a:pt x="22" y="66"/>
                    </a:lnTo>
                    <a:lnTo>
                      <a:pt x="22" y="66"/>
                    </a:lnTo>
                    <a:lnTo>
                      <a:pt x="18" y="60"/>
                    </a:lnTo>
                    <a:lnTo>
                      <a:pt x="18" y="60"/>
                    </a:lnTo>
                    <a:lnTo>
                      <a:pt x="16" y="40"/>
                    </a:lnTo>
                    <a:lnTo>
                      <a:pt x="16" y="40"/>
                    </a:lnTo>
                    <a:lnTo>
                      <a:pt x="18" y="20"/>
                    </a:lnTo>
                    <a:lnTo>
                      <a:pt x="18" y="20"/>
                    </a:lnTo>
                    <a:lnTo>
                      <a:pt x="22" y="14"/>
                    </a:lnTo>
                    <a:lnTo>
                      <a:pt x="22" y="14"/>
                    </a:lnTo>
                    <a:lnTo>
                      <a:pt x="26" y="12"/>
                    </a:lnTo>
                    <a:lnTo>
                      <a:pt x="26" y="12"/>
                    </a:lnTo>
                    <a:lnTo>
                      <a:pt x="32" y="14"/>
                    </a:lnTo>
                    <a:lnTo>
                      <a:pt x="32" y="14"/>
                    </a:lnTo>
                    <a:close/>
                  </a:path>
                </a:pathLst>
              </a:custGeom>
              <a:solidFill>
                <a:schemeClr val="bg2"/>
              </a:solidFill>
              <a:ln>
                <a:noFill/>
              </a:ln>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73" name="Freeform 22"/>
              <p:cNvSpPr>
                <a:spLocks/>
              </p:cNvSpPr>
              <p:nvPr/>
            </p:nvSpPr>
            <p:spPr bwMode="auto">
              <a:xfrm>
                <a:off x="2036759" y="2631326"/>
                <a:ext cx="49613" cy="116737"/>
              </a:xfrm>
              <a:custGeom>
                <a:avLst/>
                <a:gdLst>
                  <a:gd name="T0" fmla="*/ 34 w 34"/>
                  <a:gd name="T1" fmla="*/ 0 h 80"/>
                  <a:gd name="T2" fmla="*/ 22 w 34"/>
                  <a:gd name="T3" fmla="*/ 0 h 80"/>
                  <a:gd name="T4" fmla="*/ 22 w 34"/>
                  <a:gd name="T5" fmla="*/ 0 h 80"/>
                  <a:gd name="T6" fmla="*/ 18 w 34"/>
                  <a:gd name="T7" fmla="*/ 6 h 80"/>
                  <a:gd name="T8" fmla="*/ 12 w 34"/>
                  <a:gd name="T9" fmla="*/ 12 h 80"/>
                  <a:gd name="T10" fmla="*/ 12 w 34"/>
                  <a:gd name="T11" fmla="*/ 12 h 80"/>
                  <a:gd name="T12" fmla="*/ 6 w 34"/>
                  <a:gd name="T13" fmla="*/ 18 h 80"/>
                  <a:gd name="T14" fmla="*/ 0 w 34"/>
                  <a:gd name="T15" fmla="*/ 20 h 80"/>
                  <a:gd name="T16" fmla="*/ 0 w 34"/>
                  <a:gd name="T17" fmla="*/ 34 h 80"/>
                  <a:gd name="T18" fmla="*/ 0 w 34"/>
                  <a:gd name="T19" fmla="*/ 34 h 80"/>
                  <a:gd name="T20" fmla="*/ 10 w 34"/>
                  <a:gd name="T21" fmla="*/ 30 h 80"/>
                  <a:gd name="T22" fmla="*/ 20 w 34"/>
                  <a:gd name="T23" fmla="*/ 22 h 80"/>
                  <a:gd name="T24" fmla="*/ 20 w 34"/>
                  <a:gd name="T25" fmla="*/ 80 h 80"/>
                  <a:gd name="T26" fmla="*/ 34 w 34"/>
                  <a:gd name="T27" fmla="*/ 80 h 80"/>
                  <a:gd name="T28" fmla="*/ 34 w 34"/>
                  <a:gd name="T29" fmla="*/ 0 h 80"/>
                  <a:gd name="T30" fmla="*/ 34 w 34"/>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80">
                    <a:moveTo>
                      <a:pt x="34" y="0"/>
                    </a:moveTo>
                    <a:lnTo>
                      <a:pt x="22" y="0"/>
                    </a:lnTo>
                    <a:lnTo>
                      <a:pt x="22" y="0"/>
                    </a:lnTo>
                    <a:lnTo>
                      <a:pt x="18" y="6"/>
                    </a:lnTo>
                    <a:lnTo>
                      <a:pt x="12" y="12"/>
                    </a:lnTo>
                    <a:lnTo>
                      <a:pt x="12" y="12"/>
                    </a:lnTo>
                    <a:lnTo>
                      <a:pt x="6" y="18"/>
                    </a:lnTo>
                    <a:lnTo>
                      <a:pt x="0" y="20"/>
                    </a:lnTo>
                    <a:lnTo>
                      <a:pt x="0" y="34"/>
                    </a:lnTo>
                    <a:lnTo>
                      <a:pt x="0" y="34"/>
                    </a:lnTo>
                    <a:lnTo>
                      <a:pt x="10" y="30"/>
                    </a:lnTo>
                    <a:lnTo>
                      <a:pt x="20" y="22"/>
                    </a:lnTo>
                    <a:lnTo>
                      <a:pt x="20" y="80"/>
                    </a:lnTo>
                    <a:lnTo>
                      <a:pt x="34" y="80"/>
                    </a:lnTo>
                    <a:lnTo>
                      <a:pt x="34" y="0"/>
                    </a:lnTo>
                    <a:lnTo>
                      <a:pt x="34" y="0"/>
                    </a:lnTo>
                    <a:close/>
                  </a:path>
                </a:pathLst>
              </a:custGeom>
              <a:grpFill/>
              <a:ln>
                <a:noFill/>
              </a:ln>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74" name="Freeform 23"/>
              <p:cNvSpPr>
                <a:spLocks noEditPoints="1"/>
              </p:cNvSpPr>
              <p:nvPr/>
            </p:nvSpPr>
            <p:spPr bwMode="auto">
              <a:xfrm>
                <a:off x="2249804" y="2631326"/>
                <a:ext cx="75880" cy="119656"/>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2 w 52"/>
                  <a:gd name="T13" fmla="*/ 60 h 82"/>
                  <a:gd name="T14" fmla="*/ 4 w 52"/>
                  <a:gd name="T15" fmla="*/ 68 h 82"/>
                  <a:gd name="T16" fmla="*/ 6 w 52"/>
                  <a:gd name="T17" fmla="*/ 72 h 82"/>
                  <a:gd name="T18" fmla="*/ 6 w 52"/>
                  <a:gd name="T19" fmla="*/ 72 h 82"/>
                  <a:gd name="T20" fmla="*/ 10 w 52"/>
                  <a:gd name="T21" fmla="*/ 76 h 82"/>
                  <a:gd name="T22" fmla="*/ 16 w 52"/>
                  <a:gd name="T23" fmla="*/ 80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4 h 82"/>
                  <a:gd name="T36" fmla="*/ 44 w 52"/>
                  <a:gd name="T37" fmla="*/ 74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0 w 52"/>
                  <a:gd name="T73" fmla="*/ 14 h 82"/>
                  <a:gd name="T74" fmla="*/ 30 w 52"/>
                  <a:gd name="T75" fmla="*/ 14 h 82"/>
                  <a:gd name="T76" fmla="*/ 34 w 52"/>
                  <a:gd name="T77" fmla="*/ 22 h 82"/>
                  <a:gd name="T78" fmla="*/ 34 w 52"/>
                  <a:gd name="T79" fmla="*/ 22 h 82"/>
                  <a:gd name="T80" fmla="*/ 36 w 52"/>
                  <a:gd name="T81" fmla="*/ 40 h 82"/>
                  <a:gd name="T82" fmla="*/ 36 w 52"/>
                  <a:gd name="T83" fmla="*/ 40 h 82"/>
                  <a:gd name="T84" fmla="*/ 34 w 52"/>
                  <a:gd name="T85" fmla="*/ 60 h 82"/>
                  <a:gd name="T86" fmla="*/ 34 w 52"/>
                  <a:gd name="T87" fmla="*/ 60 h 82"/>
                  <a:gd name="T88" fmla="*/ 30 w 52"/>
                  <a:gd name="T89" fmla="*/ 66 h 82"/>
                  <a:gd name="T90" fmla="*/ 30 w 52"/>
                  <a:gd name="T91" fmla="*/ 66 h 82"/>
                  <a:gd name="T92" fmla="*/ 26 w 52"/>
                  <a:gd name="T93" fmla="*/ 68 h 82"/>
                  <a:gd name="T94" fmla="*/ 26 w 52"/>
                  <a:gd name="T95" fmla="*/ 68 h 82"/>
                  <a:gd name="T96" fmla="*/ 20 w 52"/>
                  <a:gd name="T97" fmla="*/ 66 h 82"/>
                  <a:gd name="T98" fmla="*/ 20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0 w 52"/>
                  <a:gd name="T113" fmla="*/ 14 h 82"/>
                  <a:gd name="T114" fmla="*/ 20 w 52"/>
                  <a:gd name="T115" fmla="*/ 14 h 82"/>
                  <a:gd name="T116" fmla="*/ 26 w 52"/>
                  <a:gd name="T117" fmla="*/ 12 h 82"/>
                  <a:gd name="T118" fmla="*/ 26 w 52"/>
                  <a:gd name="T119" fmla="*/ 12 h 82"/>
                  <a:gd name="T120" fmla="*/ 30 w 52"/>
                  <a:gd name="T121" fmla="*/ 14 h 82"/>
                  <a:gd name="T122" fmla="*/ 30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2" y="60"/>
                    </a:lnTo>
                    <a:lnTo>
                      <a:pt x="4" y="68"/>
                    </a:lnTo>
                    <a:lnTo>
                      <a:pt x="6" y="72"/>
                    </a:lnTo>
                    <a:lnTo>
                      <a:pt x="6" y="72"/>
                    </a:lnTo>
                    <a:lnTo>
                      <a:pt x="10" y="76"/>
                    </a:lnTo>
                    <a:lnTo>
                      <a:pt x="16" y="80"/>
                    </a:lnTo>
                    <a:lnTo>
                      <a:pt x="20" y="80"/>
                    </a:lnTo>
                    <a:lnTo>
                      <a:pt x="26" y="82"/>
                    </a:lnTo>
                    <a:lnTo>
                      <a:pt x="26" y="82"/>
                    </a:lnTo>
                    <a:lnTo>
                      <a:pt x="36" y="80"/>
                    </a:lnTo>
                    <a:lnTo>
                      <a:pt x="40" y="76"/>
                    </a:lnTo>
                    <a:lnTo>
                      <a:pt x="44" y="74"/>
                    </a:lnTo>
                    <a:lnTo>
                      <a:pt x="44" y="74"/>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6" y="2"/>
                    </a:lnTo>
                    <a:lnTo>
                      <a:pt x="12" y="4"/>
                    </a:lnTo>
                    <a:lnTo>
                      <a:pt x="8" y="8"/>
                    </a:lnTo>
                    <a:lnTo>
                      <a:pt x="8" y="8"/>
                    </a:lnTo>
                    <a:lnTo>
                      <a:pt x="8" y="8"/>
                    </a:lnTo>
                    <a:close/>
                    <a:moveTo>
                      <a:pt x="30" y="14"/>
                    </a:moveTo>
                    <a:lnTo>
                      <a:pt x="30" y="14"/>
                    </a:lnTo>
                    <a:lnTo>
                      <a:pt x="34" y="22"/>
                    </a:lnTo>
                    <a:lnTo>
                      <a:pt x="34" y="22"/>
                    </a:lnTo>
                    <a:lnTo>
                      <a:pt x="36" y="40"/>
                    </a:lnTo>
                    <a:lnTo>
                      <a:pt x="36" y="40"/>
                    </a:lnTo>
                    <a:lnTo>
                      <a:pt x="34" y="60"/>
                    </a:lnTo>
                    <a:lnTo>
                      <a:pt x="34" y="60"/>
                    </a:lnTo>
                    <a:lnTo>
                      <a:pt x="30" y="66"/>
                    </a:lnTo>
                    <a:lnTo>
                      <a:pt x="30" y="66"/>
                    </a:lnTo>
                    <a:lnTo>
                      <a:pt x="26" y="68"/>
                    </a:lnTo>
                    <a:lnTo>
                      <a:pt x="26" y="68"/>
                    </a:lnTo>
                    <a:lnTo>
                      <a:pt x="20" y="66"/>
                    </a:lnTo>
                    <a:lnTo>
                      <a:pt x="20" y="66"/>
                    </a:lnTo>
                    <a:lnTo>
                      <a:pt x="18" y="60"/>
                    </a:lnTo>
                    <a:lnTo>
                      <a:pt x="18" y="60"/>
                    </a:lnTo>
                    <a:lnTo>
                      <a:pt x="16" y="40"/>
                    </a:lnTo>
                    <a:lnTo>
                      <a:pt x="16" y="40"/>
                    </a:lnTo>
                    <a:lnTo>
                      <a:pt x="18" y="20"/>
                    </a:lnTo>
                    <a:lnTo>
                      <a:pt x="18" y="20"/>
                    </a:lnTo>
                    <a:lnTo>
                      <a:pt x="20" y="14"/>
                    </a:lnTo>
                    <a:lnTo>
                      <a:pt x="20" y="14"/>
                    </a:lnTo>
                    <a:lnTo>
                      <a:pt x="26" y="12"/>
                    </a:lnTo>
                    <a:lnTo>
                      <a:pt x="26" y="12"/>
                    </a:lnTo>
                    <a:lnTo>
                      <a:pt x="30" y="14"/>
                    </a:lnTo>
                    <a:lnTo>
                      <a:pt x="30" y="14"/>
                    </a:lnTo>
                    <a:close/>
                  </a:path>
                </a:pathLst>
              </a:custGeom>
              <a:solidFill>
                <a:schemeClr val="bg2"/>
              </a:solidFill>
              <a:ln>
                <a:noFill/>
              </a:ln>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75" name="Freeform 24"/>
              <p:cNvSpPr>
                <a:spLocks/>
              </p:cNvSpPr>
              <p:nvPr/>
            </p:nvSpPr>
            <p:spPr bwMode="auto">
              <a:xfrm>
                <a:off x="2474523" y="2631326"/>
                <a:ext cx="52531" cy="116737"/>
              </a:xfrm>
              <a:custGeom>
                <a:avLst/>
                <a:gdLst>
                  <a:gd name="T0" fmla="*/ 36 w 36"/>
                  <a:gd name="T1" fmla="*/ 0 h 80"/>
                  <a:gd name="T2" fmla="*/ 24 w 36"/>
                  <a:gd name="T3" fmla="*/ 0 h 80"/>
                  <a:gd name="T4" fmla="*/ 24 w 36"/>
                  <a:gd name="T5" fmla="*/ 0 h 80"/>
                  <a:gd name="T6" fmla="*/ 20 w 36"/>
                  <a:gd name="T7" fmla="*/ 6 h 80"/>
                  <a:gd name="T8" fmla="*/ 14 w 36"/>
                  <a:gd name="T9" fmla="*/ 12 h 80"/>
                  <a:gd name="T10" fmla="*/ 14 w 36"/>
                  <a:gd name="T11" fmla="*/ 12 h 80"/>
                  <a:gd name="T12" fmla="*/ 6 w 36"/>
                  <a:gd name="T13" fmla="*/ 18 h 80"/>
                  <a:gd name="T14" fmla="*/ 0 w 36"/>
                  <a:gd name="T15" fmla="*/ 20 h 80"/>
                  <a:gd name="T16" fmla="*/ 0 w 36"/>
                  <a:gd name="T17" fmla="*/ 34 h 80"/>
                  <a:gd name="T18" fmla="*/ 0 w 36"/>
                  <a:gd name="T19" fmla="*/ 34 h 80"/>
                  <a:gd name="T20" fmla="*/ 12 w 36"/>
                  <a:gd name="T21" fmla="*/ 30 h 80"/>
                  <a:gd name="T22" fmla="*/ 20 w 36"/>
                  <a:gd name="T23" fmla="*/ 22 h 80"/>
                  <a:gd name="T24" fmla="*/ 20 w 36"/>
                  <a:gd name="T25" fmla="*/ 80 h 80"/>
                  <a:gd name="T26" fmla="*/ 36 w 36"/>
                  <a:gd name="T27" fmla="*/ 80 h 80"/>
                  <a:gd name="T28" fmla="*/ 36 w 36"/>
                  <a:gd name="T29" fmla="*/ 0 h 80"/>
                  <a:gd name="T30" fmla="*/ 36 w 36"/>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80">
                    <a:moveTo>
                      <a:pt x="36" y="0"/>
                    </a:moveTo>
                    <a:lnTo>
                      <a:pt x="24" y="0"/>
                    </a:lnTo>
                    <a:lnTo>
                      <a:pt x="24" y="0"/>
                    </a:lnTo>
                    <a:lnTo>
                      <a:pt x="20" y="6"/>
                    </a:lnTo>
                    <a:lnTo>
                      <a:pt x="14" y="12"/>
                    </a:lnTo>
                    <a:lnTo>
                      <a:pt x="14" y="12"/>
                    </a:lnTo>
                    <a:lnTo>
                      <a:pt x="6" y="18"/>
                    </a:lnTo>
                    <a:lnTo>
                      <a:pt x="0" y="20"/>
                    </a:lnTo>
                    <a:lnTo>
                      <a:pt x="0" y="34"/>
                    </a:lnTo>
                    <a:lnTo>
                      <a:pt x="0" y="34"/>
                    </a:lnTo>
                    <a:lnTo>
                      <a:pt x="12" y="30"/>
                    </a:lnTo>
                    <a:lnTo>
                      <a:pt x="20" y="22"/>
                    </a:lnTo>
                    <a:lnTo>
                      <a:pt x="20" y="80"/>
                    </a:lnTo>
                    <a:lnTo>
                      <a:pt x="36" y="80"/>
                    </a:lnTo>
                    <a:lnTo>
                      <a:pt x="36" y="0"/>
                    </a:lnTo>
                    <a:lnTo>
                      <a:pt x="36" y="0"/>
                    </a:lnTo>
                    <a:close/>
                  </a:path>
                </a:pathLst>
              </a:custGeom>
              <a:grpFill/>
              <a:ln>
                <a:noFill/>
              </a:ln>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76" name="Freeform 49"/>
              <p:cNvSpPr>
                <a:spLocks/>
              </p:cNvSpPr>
              <p:nvPr/>
            </p:nvSpPr>
            <p:spPr bwMode="auto">
              <a:xfrm>
                <a:off x="1832467" y="2886642"/>
                <a:ext cx="52531" cy="116737"/>
              </a:xfrm>
              <a:custGeom>
                <a:avLst/>
                <a:gdLst>
                  <a:gd name="T0" fmla="*/ 36 w 36"/>
                  <a:gd name="T1" fmla="*/ 0 h 80"/>
                  <a:gd name="T2" fmla="*/ 24 w 36"/>
                  <a:gd name="T3" fmla="*/ 0 h 80"/>
                  <a:gd name="T4" fmla="*/ 24 w 36"/>
                  <a:gd name="T5" fmla="*/ 0 h 80"/>
                  <a:gd name="T6" fmla="*/ 20 w 36"/>
                  <a:gd name="T7" fmla="*/ 6 h 80"/>
                  <a:gd name="T8" fmla="*/ 14 w 36"/>
                  <a:gd name="T9" fmla="*/ 12 h 80"/>
                  <a:gd name="T10" fmla="*/ 14 w 36"/>
                  <a:gd name="T11" fmla="*/ 12 h 80"/>
                  <a:gd name="T12" fmla="*/ 8 w 36"/>
                  <a:gd name="T13" fmla="*/ 16 h 80"/>
                  <a:gd name="T14" fmla="*/ 0 w 36"/>
                  <a:gd name="T15" fmla="*/ 20 h 80"/>
                  <a:gd name="T16" fmla="*/ 0 w 36"/>
                  <a:gd name="T17" fmla="*/ 34 h 80"/>
                  <a:gd name="T18" fmla="*/ 0 w 36"/>
                  <a:gd name="T19" fmla="*/ 34 h 80"/>
                  <a:gd name="T20" fmla="*/ 12 w 36"/>
                  <a:gd name="T21" fmla="*/ 28 h 80"/>
                  <a:gd name="T22" fmla="*/ 20 w 36"/>
                  <a:gd name="T23" fmla="*/ 22 h 80"/>
                  <a:gd name="T24" fmla="*/ 20 w 36"/>
                  <a:gd name="T25" fmla="*/ 80 h 80"/>
                  <a:gd name="T26" fmla="*/ 36 w 36"/>
                  <a:gd name="T27" fmla="*/ 80 h 80"/>
                  <a:gd name="T28" fmla="*/ 36 w 36"/>
                  <a:gd name="T29" fmla="*/ 0 h 80"/>
                  <a:gd name="T30" fmla="*/ 36 w 36"/>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80">
                    <a:moveTo>
                      <a:pt x="36" y="0"/>
                    </a:moveTo>
                    <a:lnTo>
                      <a:pt x="24" y="0"/>
                    </a:lnTo>
                    <a:lnTo>
                      <a:pt x="24" y="0"/>
                    </a:lnTo>
                    <a:lnTo>
                      <a:pt x="20" y="6"/>
                    </a:lnTo>
                    <a:lnTo>
                      <a:pt x="14" y="12"/>
                    </a:lnTo>
                    <a:lnTo>
                      <a:pt x="14" y="12"/>
                    </a:lnTo>
                    <a:lnTo>
                      <a:pt x="8" y="16"/>
                    </a:lnTo>
                    <a:lnTo>
                      <a:pt x="0" y="20"/>
                    </a:lnTo>
                    <a:lnTo>
                      <a:pt x="0" y="34"/>
                    </a:lnTo>
                    <a:lnTo>
                      <a:pt x="0" y="34"/>
                    </a:lnTo>
                    <a:lnTo>
                      <a:pt x="12" y="28"/>
                    </a:lnTo>
                    <a:lnTo>
                      <a:pt x="20" y="22"/>
                    </a:lnTo>
                    <a:lnTo>
                      <a:pt x="20" y="80"/>
                    </a:lnTo>
                    <a:lnTo>
                      <a:pt x="36" y="80"/>
                    </a:lnTo>
                    <a:lnTo>
                      <a:pt x="36" y="0"/>
                    </a:lnTo>
                    <a:lnTo>
                      <a:pt x="36" y="0"/>
                    </a:lnTo>
                    <a:close/>
                  </a:path>
                </a:pathLst>
              </a:custGeom>
              <a:grpFill/>
              <a:ln>
                <a:noFill/>
              </a:ln>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77" name="Freeform 50"/>
              <p:cNvSpPr>
                <a:spLocks noEditPoints="1"/>
              </p:cNvSpPr>
              <p:nvPr/>
            </p:nvSpPr>
            <p:spPr bwMode="auto">
              <a:xfrm>
                <a:off x="2019117" y="2886642"/>
                <a:ext cx="75880" cy="119656"/>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2 w 52"/>
                  <a:gd name="T13" fmla="*/ 60 h 82"/>
                  <a:gd name="T14" fmla="*/ 4 w 52"/>
                  <a:gd name="T15" fmla="*/ 66 h 82"/>
                  <a:gd name="T16" fmla="*/ 8 w 52"/>
                  <a:gd name="T17" fmla="*/ 72 h 82"/>
                  <a:gd name="T18" fmla="*/ 8 w 52"/>
                  <a:gd name="T19" fmla="*/ 72 h 82"/>
                  <a:gd name="T20" fmla="*/ 10 w 52"/>
                  <a:gd name="T21" fmla="*/ 76 h 82"/>
                  <a:gd name="T22" fmla="*/ 16 w 52"/>
                  <a:gd name="T23" fmla="*/ 78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2 h 82"/>
                  <a:gd name="T36" fmla="*/ 44 w 52"/>
                  <a:gd name="T37" fmla="*/ 72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2 w 52"/>
                  <a:gd name="T73" fmla="*/ 14 h 82"/>
                  <a:gd name="T74" fmla="*/ 32 w 52"/>
                  <a:gd name="T75" fmla="*/ 14 h 82"/>
                  <a:gd name="T76" fmla="*/ 34 w 52"/>
                  <a:gd name="T77" fmla="*/ 20 h 82"/>
                  <a:gd name="T78" fmla="*/ 34 w 52"/>
                  <a:gd name="T79" fmla="*/ 20 h 82"/>
                  <a:gd name="T80" fmla="*/ 36 w 52"/>
                  <a:gd name="T81" fmla="*/ 40 h 82"/>
                  <a:gd name="T82" fmla="*/ 36 w 52"/>
                  <a:gd name="T83" fmla="*/ 40 h 82"/>
                  <a:gd name="T84" fmla="*/ 34 w 52"/>
                  <a:gd name="T85" fmla="*/ 60 h 82"/>
                  <a:gd name="T86" fmla="*/ 34 w 52"/>
                  <a:gd name="T87" fmla="*/ 60 h 82"/>
                  <a:gd name="T88" fmla="*/ 32 w 52"/>
                  <a:gd name="T89" fmla="*/ 66 h 82"/>
                  <a:gd name="T90" fmla="*/ 32 w 52"/>
                  <a:gd name="T91" fmla="*/ 66 h 82"/>
                  <a:gd name="T92" fmla="*/ 26 w 52"/>
                  <a:gd name="T93" fmla="*/ 68 h 82"/>
                  <a:gd name="T94" fmla="*/ 26 w 52"/>
                  <a:gd name="T95" fmla="*/ 68 h 82"/>
                  <a:gd name="T96" fmla="*/ 22 w 52"/>
                  <a:gd name="T97" fmla="*/ 66 h 82"/>
                  <a:gd name="T98" fmla="*/ 22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2 w 52"/>
                  <a:gd name="T113" fmla="*/ 14 h 82"/>
                  <a:gd name="T114" fmla="*/ 22 w 52"/>
                  <a:gd name="T115" fmla="*/ 14 h 82"/>
                  <a:gd name="T116" fmla="*/ 26 w 52"/>
                  <a:gd name="T117" fmla="*/ 12 h 82"/>
                  <a:gd name="T118" fmla="*/ 26 w 52"/>
                  <a:gd name="T119" fmla="*/ 12 h 82"/>
                  <a:gd name="T120" fmla="*/ 32 w 52"/>
                  <a:gd name="T121" fmla="*/ 14 h 82"/>
                  <a:gd name="T122" fmla="*/ 32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2" y="60"/>
                    </a:lnTo>
                    <a:lnTo>
                      <a:pt x="4" y="66"/>
                    </a:lnTo>
                    <a:lnTo>
                      <a:pt x="8" y="72"/>
                    </a:lnTo>
                    <a:lnTo>
                      <a:pt x="8" y="72"/>
                    </a:lnTo>
                    <a:lnTo>
                      <a:pt x="10" y="76"/>
                    </a:lnTo>
                    <a:lnTo>
                      <a:pt x="16" y="78"/>
                    </a:lnTo>
                    <a:lnTo>
                      <a:pt x="20" y="80"/>
                    </a:lnTo>
                    <a:lnTo>
                      <a:pt x="26" y="82"/>
                    </a:lnTo>
                    <a:lnTo>
                      <a:pt x="26" y="82"/>
                    </a:lnTo>
                    <a:lnTo>
                      <a:pt x="36" y="80"/>
                    </a:lnTo>
                    <a:lnTo>
                      <a:pt x="40" y="76"/>
                    </a:lnTo>
                    <a:lnTo>
                      <a:pt x="44" y="72"/>
                    </a:lnTo>
                    <a:lnTo>
                      <a:pt x="44" y="72"/>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6" y="2"/>
                    </a:lnTo>
                    <a:lnTo>
                      <a:pt x="12" y="4"/>
                    </a:lnTo>
                    <a:lnTo>
                      <a:pt x="8" y="8"/>
                    </a:lnTo>
                    <a:lnTo>
                      <a:pt x="8" y="8"/>
                    </a:lnTo>
                    <a:lnTo>
                      <a:pt x="8" y="8"/>
                    </a:lnTo>
                    <a:close/>
                    <a:moveTo>
                      <a:pt x="32" y="14"/>
                    </a:moveTo>
                    <a:lnTo>
                      <a:pt x="32" y="14"/>
                    </a:lnTo>
                    <a:lnTo>
                      <a:pt x="34" y="20"/>
                    </a:lnTo>
                    <a:lnTo>
                      <a:pt x="34" y="20"/>
                    </a:lnTo>
                    <a:lnTo>
                      <a:pt x="36" y="40"/>
                    </a:lnTo>
                    <a:lnTo>
                      <a:pt x="36" y="40"/>
                    </a:lnTo>
                    <a:lnTo>
                      <a:pt x="34" y="60"/>
                    </a:lnTo>
                    <a:lnTo>
                      <a:pt x="34" y="60"/>
                    </a:lnTo>
                    <a:lnTo>
                      <a:pt x="32" y="66"/>
                    </a:lnTo>
                    <a:lnTo>
                      <a:pt x="32" y="66"/>
                    </a:lnTo>
                    <a:lnTo>
                      <a:pt x="26" y="68"/>
                    </a:lnTo>
                    <a:lnTo>
                      <a:pt x="26" y="68"/>
                    </a:lnTo>
                    <a:lnTo>
                      <a:pt x="22" y="66"/>
                    </a:lnTo>
                    <a:lnTo>
                      <a:pt x="22" y="66"/>
                    </a:lnTo>
                    <a:lnTo>
                      <a:pt x="18" y="60"/>
                    </a:lnTo>
                    <a:lnTo>
                      <a:pt x="18" y="60"/>
                    </a:lnTo>
                    <a:lnTo>
                      <a:pt x="16" y="40"/>
                    </a:lnTo>
                    <a:lnTo>
                      <a:pt x="16" y="40"/>
                    </a:lnTo>
                    <a:lnTo>
                      <a:pt x="18" y="20"/>
                    </a:lnTo>
                    <a:lnTo>
                      <a:pt x="18" y="20"/>
                    </a:lnTo>
                    <a:lnTo>
                      <a:pt x="22" y="14"/>
                    </a:lnTo>
                    <a:lnTo>
                      <a:pt x="22" y="14"/>
                    </a:lnTo>
                    <a:lnTo>
                      <a:pt x="26" y="12"/>
                    </a:lnTo>
                    <a:lnTo>
                      <a:pt x="26" y="12"/>
                    </a:lnTo>
                    <a:lnTo>
                      <a:pt x="32" y="14"/>
                    </a:lnTo>
                    <a:lnTo>
                      <a:pt x="32" y="14"/>
                    </a:lnTo>
                    <a:close/>
                  </a:path>
                </a:pathLst>
              </a:custGeom>
              <a:solidFill>
                <a:schemeClr val="bg2"/>
              </a:solidFill>
              <a:ln>
                <a:noFill/>
              </a:ln>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78" name="Freeform 51"/>
              <p:cNvSpPr>
                <a:spLocks/>
              </p:cNvSpPr>
              <p:nvPr/>
            </p:nvSpPr>
            <p:spPr bwMode="auto">
              <a:xfrm>
                <a:off x="2246754" y="2886642"/>
                <a:ext cx="49613" cy="116737"/>
              </a:xfrm>
              <a:custGeom>
                <a:avLst/>
                <a:gdLst>
                  <a:gd name="T0" fmla="*/ 34 w 34"/>
                  <a:gd name="T1" fmla="*/ 0 h 80"/>
                  <a:gd name="T2" fmla="*/ 22 w 34"/>
                  <a:gd name="T3" fmla="*/ 0 h 80"/>
                  <a:gd name="T4" fmla="*/ 22 w 34"/>
                  <a:gd name="T5" fmla="*/ 0 h 80"/>
                  <a:gd name="T6" fmla="*/ 18 w 34"/>
                  <a:gd name="T7" fmla="*/ 6 h 80"/>
                  <a:gd name="T8" fmla="*/ 12 w 34"/>
                  <a:gd name="T9" fmla="*/ 12 h 80"/>
                  <a:gd name="T10" fmla="*/ 12 w 34"/>
                  <a:gd name="T11" fmla="*/ 12 h 80"/>
                  <a:gd name="T12" fmla="*/ 6 w 34"/>
                  <a:gd name="T13" fmla="*/ 16 h 80"/>
                  <a:gd name="T14" fmla="*/ 0 w 34"/>
                  <a:gd name="T15" fmla="*/ 20 h 80"/>
                  <a:gd name="T16" fmla="*/ 0 w 34"/>
                  <a:gd name="T17" fmla="*/ 34 h 80"/>
                  <a:gd name="T18" fmla="*/ 0 w 34"/>
                  <a:gd name="T19" fmla="*/ 34 h 80"/>
                  <a:gd name="T20" fmla="*/ 10 w 34"/>
                  <a:gd name="T21" fmla="*/ 28 h 80"/>
                  <a:gd name="T22" fmla="*/ 20 w 34"/>
                  <a:gd name="T23" fmla="*/ 22 h 80"/>
                  <a:gd name="T24" fmla="*/ 20 w 34"/>
                  <a:gd name="T25" fmla="*/ 80 h 80"/>
                  <a:gd name="T26" fmla="*/ 34 w 34"/>
                  <a:gd name="T27" fmla="*/ 80 h 80"/>
                  <a:gd name="T28" fmla="*/ 34 w 34"/>
                  <a:gd name="T29" fmla="*/ 0 h 80"/>
                  <a:gd name="T30" fmla="*/ 34 w 34"/>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80">
                    <a:moveTo>
                      <a:pt x="34" y="0"/>
                    </a:moveTo>
                    <a:lnTo>
                      <a:pt x="22" y="0"/>
                    </a:lnTo>
                    <a:lnTo>
                      <a:pt x="22" y="0"/>
                    </a:lnTo>
                    <a:lnTo>
                      <a:pt x="18" y="6"/>
                    </a:lnTo>
                    <a:lnTo>
                      <a:pt x="12" y="12"/>
                    </a:lnTo>
                    <a:lnTo>
                      <a:pt x="12" y="12"/>
                    </a:lnTo>
                    <a:lnTo>
                      <a:pt x="6" y="16"/>
                    </a:lnTo>
                    <a:lnTo>
                      <a:pt x="0" y="20"/>
                    </a:lnTo>
                    <a:lnTo>
                      <a:pt x="0" y="34"/>
                    </a:lnTo>
                    <a:lnTo>
                      <a:pt x="0" y="34"/>
                    </a:lnTo>
                    <a:lnTo>
                      <a:pt x="10" y="28"/>
                    </a:lnTo>
                    <a:lnTo>
                      <a:pt x="20" y="22"/>
                    </a:lnTo>
                    <a:lnTo>
                      <a:pt x="20" y="80"/>
                    </a:lnTo>
                    <a:lnTo>
                      <a:pt x="34" y="80"/>
                    </a:lnTo>
                    <a:lnTo>
                      <a:pt x="34" y="0"/>
                    </a:lnTo>
                    <a:lnTo>
                      <a:pt x="34" y="0"/>
                    </a:lnTo>
                    <a:close/>
                  </a:path>
                </a:pathLst>
              </a:custGeom>
              <a:grpFill/>
              <a:ln>
                <a:noFill/>
              </a:ln>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79" name="Freeform 52"/>
              <p:cNvSpPr>
                <a:spLocks noEditPoints="1"/>
              </p:cNvSpPr>
              <p:nvPr/>
            </p:nvSpPr>
            <p:spPr bwMode="auto">
              <a:xfrm>
                <a:off x="2459800" y="2886642"/>
                <a:ext cx="75880" cy="119656"/>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2 w 52"/>
                  <a:gd name="T13" fmla="*/ 60 h 82"/>
                  <a:gd name="T14" fmla="*/ 4 w 52"/>
                  <a:gd name="T15" fmla="*/ 66 h 82"/>
                  <a:gd name="T16" fmla="*/ 8 w 52"/>
                  <a:gd name="T17" fmla="*/ 72 h 82"/>
                  <a:gd name="T18" fmla="*/ 8 w 52"/>
                  <a:gd name="T19" fmla="*/ 72 h 82"/>
                  <a:gd name="T20" fmla="*/ 12 w 52"/>
                  <a:gd name="T21" fmla="*/ 76 h 82"/>
                  <a:gd name="T22" fmla="*/ 16 w 52"/>
                  <a:gd name="T23" fmla="*/ 78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2 h 82"/>
                  <a:gd name="T36" fmla="*/ 44 w 52"/>
                  <a:gd name="T37" fmla="*/ 72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2 w 52"/>
                  <a:gd name="T73" fmla="*/ 14 h 82"/>
                  <a:gd name="T74" fmla="*/ 32 w 52"/>
                  <a:gd name="T75" fmla="*/ 14 h 82"/>
                  <a:gd name="T76" fmla="*/ 34 w 52"/>
                  <a:gd name="T77" fmla="*/ 20 h 82"/>
                  <a:gd name="T78" fmla="*/ 34 w 52"/>
                  <a:gd name="T79" fmla="*/ 20 h 82"/>
                  <a:gd name="T80" fmla="*/ 36 w 52"/>
                  <a:gd name="T81" fmla="*/ 40 h 82"/>
                  <a:gd name="T82" fmla="*/ 36 w 52"/>
                  <a:gd name="T83" fmla="*/ 40 h 82"/>
                  <a:gd name="T84" fmla="*/ 34 w 52"/>
                  <a:gd name="T85" fmla="*/ 60 h 82"/>
                  <a:gd name="T86" fmla="*/ 34 w 52"/>
                  <a:gd name="T87" fmla="*/ 60 h 82"/>
                  <a:gd name="T88" fmla="*/ 32 w 52"/>
                  <a:gd name="T89" fmla="*/ 66 h 82"/>
                  <a:gd name="T90" fmla="*/ 32 w 52"/>
                  <a:gd name="T91" fmla="*/ 66 h 82"/>
                  <a:gd name="T92" fmla="*/ 26 w 52"/>
                  <a:gd name="T93" fmla="*/ 68 h 82"/>
                  <a:gd name="T94" fmla="*/ 26 w 52"/>
                  <a:gd name="T95" fmla="*/ 68 h 82"/>
                  <a:gd name="T96" fmla="*/ 22 w 52"/>
                  <a:gd name="T97" fmla="*/ 66 h 82"/>
                  <a:gd name="T98" fmla="*/ 22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2 w 52"/>
                  <a:gd name="T113" fmla="*/ 14 h 82"/>
                  <a:gd name="T114" fmla="*/ 22 w 52"/>
                  <a:gd name="T115" fmla="*/ 14 h 82"/>
                  <a:gd name="T116" fmla="*/ 26 w 52"/>
                  <a:gd name="T117" fmla="*/ 12 h 82"/>
                  <a:gd name="T118" fmla="*/ 26 w 52"/>
                  <a:gd name="T119" fmla="*/ 12 h 82"/>
                  <a:gd name="T120" fmla="*/ 32 w 52"/>
                  <a:gd name="T121" fmla="*/ 14 h 82"/>
                  <a:gd name="T122" fmla="*/ 32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2" y="60"/>
                    </a:lnTo>
                    <a:lnTo>
                      <a:pt x="4" y="66"/>
                    </a:lnTo>
                    <a:lnTo>
                      <a:pt x="8" y="72"/>
                    </a:lnTo>
                    <a:lnTo>
                      <a:pt x="8" y="72"/>
                    </a:lnTo>
                    <a:lnTo>
                      <a:pt x="12" y="76"/>
                    </a:lnTo>
                    <a:lnTo>
                      <a:pt x="16" y="78"/>
                    </a:lnTo>
                    <a:lnTo>
                      <a:pt x="20" y="80"/>
                    </a:lnTo>
                    <a:lnTo>
                      <a:pt x="26" y="82"/>
                    </a:lnTo>
                    <a:lnTo>
                      <a:pt x="26" y="82"/>
                    </a:lnTo>
                    <a:lnTo>
                      <a:pt x="36" y="80"/>
                    </a:lnTo>
                    <a:lnTo>
                      <a:pt x="40" y="76"/>
                    </a:lnTo>
                    <a:lnTo>
                      <a:pt x="44" y="72"/>
                    </a:lnTo>
                    <a:lnTo>
                      <a:pt x="44" y="72"/>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6" y="2"/>
                    </a:lnTo>
                    <a:lnTo>
                      <a:pt x="12" y="4"/>
                    </a:lnTo>
                    <a:lnTo>
                      <a:pt x="8" y="8"/>
                    </a:lnTo>
                    <a:lnTo>
                      <a:pt x="8" y="8"/>
                    </a:lnTo>
                    <a:lnTo>
                      <a:pt x="8" y="8"/>
                    </a:lnTo>
                    <a:close/>
                    <a:moveTo>
                      <a:pt x="32" y="14"/>
                    </a:moveTo>
                    <a:lnTo>
                      <a:pt x="32" y="14"/>
                    </a:lnTo>
                    <a:lnTo>
                      <a:pt x="34" y="20"/>
                    </a:lnTo>
                    <a:lnTo>
                      <a:pt x="34" y="20"/>
                    </a:lnTo>
                    <a:lnTo>
                      <a:pt x="36" y="40"/>
                    </a:lnTo>
                    <a:lnTo>
                      <a:pt x="36" y="40"/>
                    </a:lnTo>
                    <a:lnTo>
                      <a:pt x="34" y="60"/>
                    </a:lnTo>
                    <a:lnTo>
                      <a:pt x="34" y="60"/>
                    </a:lnTo>
                    <a:lnTo>
                      <a:pt x="32" y="66"/>
                    </a:lnTo>
                    <a:lnTo>
                      <a:pt x="32" y="66"/>
                    </a:lnTo>
                    <a:lnTo>
                      <a:pt x="26" y="68"/>
                    </a:lnTo>
                    <a:lnTo>
                      <a:pt x="26" y="68"/>
                    </a:lnTo>
                    <a:lnTo>
                      <a:pt x="22" y="66"/>
                    </a:lnTo>
                    <a:lnTo>
                      <a:pt x="22" y="66"/>
                    </a:lnTo>
                    <a:lnTo>
                      <a:pt x="18" y="60"/>
                    </a:lnTo>
                    <a:lnTo>
                      <a:pt x="18" y="60"/>
                    </a:lnTo>
                    <a:lnTo>
                      <a:pt x="16" y="40"/>
                    </a:lnTo>
                    <a:lnTo>
                      <a:pt x="16" y="40"/>
                    </a:lnTo>
                    <a:lnTo>
                      <a:pt x="18" y="20"/>
                    </a:lnTo>
                    <a:lnTo>
                      <a:pt x="18" y="20"/>
                    </a:lnTo>
                    <a:lnTo>
                      <a:pt x="22" y="14"/>
                    </a:lnTo>
                    <a:lnTo>
                      <a:pt x="22" y="14"/>
                    </a:lnTo>
                    <a:lnTo>
                      <a:pt x="26" y="12"/>
                    </a:lnTo>
                    <a:lnTo>
                      <a:pt x="26" y="12"/>
                    </a:lnTo>
                    <a:lnTo>
                      <a:pt x="32" y="14"/>
                    </a:lnTo>
                    <a:lnTo>
                      <a:pt x="32" y="14"/>
                    </a:lnTo>
                    <a:close/>
                  </a:path>
                </a:pathLst>
              </a:custGeom>
              <a:solidFill>
                <a:schemeClr val="bg2"/>
              </a:solidFill>
              <a:ln>
                <a:noFill/>
              </a:ln>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grpSp>
      </p:grpSp>
    </p:spTree>
    <p:extLst>
      <p:ext uri="{BB962C8B-B14F-4D97-AF65-F5344CB8AC3E}">
        <p14:creationId xmlns:p14="http://schemas.microsoft.com/office/powerpoint/2010/main" val="1569669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64"/>
                                        </p:tgtEl>
                                        <p:attrNameLst>
                                          <p:attrName>style.visibility</p:attrName>
                                        </p:attrNameLst>
                                      </p:cBhvr>
                                      <p:to>
                                        <p:strVal val="visible"/>
                                      </p:to>
                                    </p:set>
                                    <p:animEffect transition="in" filter="fade">
                                      <p:cBhvr>
                                        <p:cTn id="7" dur="500"/>
                                        <p:tgtEl>
                                          <p:spTgt spid="64"/>
                                        </p:tgtEl>
                                      </p:cBhvr>
                                    </p:animEffect>
                                  </p:childTnLst>
                                </p:cTn>
                              </p:par>
                              <p:par>
                                <p:cTn id="8" presetID="10" presetClass="entr" presetSubtype="0" fill="hold" nodeType="withEffect">
                                  <p:stCondLst>
                                    <p:cond delay="1000"/>
                                  </p:stCondLst>
                                  <p:childTnLst>
                                    <p:set>
                                      <p:cBhvr>
                                        <p:cTn id="9" dur="1" fill="hold">
                                          <p:stCondLst>
                                            <p:cond delay="0"/>
                                          </p:stCondLst>
                                        </p:cTn>
                                        <p:tgtEl>
                                          <p:spTgt spid="37"/>
                                        </p:tgtEl>
                                        <p:attrNameLst>
                                          <p:attrName>style.visibility</p:attrName>
                                        </p:attrNameLst>
                                      </p:cBhvr>
                                      <p:to>
                                        <p:strVal val="visible"/>
                                      </p:to>
                                    </p:set>
                                    <p:animEffect transition="in" filter="fade">
                                      <p:cBhvr>
                                        <p:cTn id="10" dur="500"/>
                                        <p:tgtEl>
                                          <p:spTgt spid="37"/>
                                        </p:tgtEl>
                                      </p:cBhvr>
                                    </p:animEffect>
                                  </p:childTnLst>
                                </p:cTn>
                              </p:par>
                              <p:par>
                                <p:cTn id="11" presetID="10" presetClass="entr" presetSubtype="0" fill="hold" nodeType="withEffect">
                                  <p:stCondLst>
                                    <p:cond delay="1500"/>
                                  </p:stCondLst>
                                  <p:childTnLst>
                                    <p:set>
                                      <p:cBhvr>
                                        <p:cTn id="12" dur="1" fill="hold">
                                          <p:stCondLst>
                                            <p:cond delay="0"/>
                                          </p:stCondLst>
                                        </p:cTn>
                                        <p:tgtEl>
                                          <p:spTgt spid="25"/>
                                        </p:tgtEl>
                                        <p:attrNameLst>
                                          <p:attrName>style.visibility</p:attrName>
                                        </p:attrNameLst>
                                      </p:cBhvr>
                                      <p:to>
                                        <p:strVal val="visible"/>
                                      </p:to>
                                    </p:set>
                                    <p:animEffect transition="in" filter="fade">
                                      <p:cBhvr>
                                        <p:cTn id="13"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Why the Cloud?</a:t>
            </a:r>
          </a:p>
        </p:txBody>
      </p:sp>
      <p:sp>
        <p:nvSpPr>
          <p:cNvPr id="9" name="Rectangle 8"/>
          <p:cNvSpPr/>
          <p:nvPr/>
        </p:nvSpPr>
        <p:spPr bwMode="auto">
          <a:xfrm>
            <a:off x="608105" y="1054192"/>
            <a:ext cx="8322315" cy="4813207"/>
          </a:xfrm>
          <a:prstGeom prst="rect">
            <a:avLst/>
          </a:prstGeom>
          <a:noFill/>
          <a:ln w="10795" cap="flat" cmpd="sng" algn="ctr">
            <a:solidFill>
              <a:srgbClr val="FFFFFF">
                <a:lumMod val="85000"/>
              </a:srgbClr>
            </a:solidFill>
            <a:prstDash val="solid"/>
            <a:headEnd type="none" w="med" len="med"/>
            <a:tailEnd type="none" w="med" len="med"/>
          </a:ln>
          <a:effectLst/>
        </p:spPr>
        <p:txBody>
          <a:bodyPr vert="horz" wrap="square" lIns="76114" tIns="38057" rIns="76114" bIns="38057" numCol="1" rtlCol="0" anchor="ctr" anchorCtr="0" compatLnSpc="1">
            <a:prstTxWarp prst="textNoShape">
              <a:avLst/>
            </a:prstTxWarp>
          </a:bodyPr>
          <a:lstStyle/>
          <a:p>
            <a:pPr marL="0" marR="0" lvl="0" indent="0" algn="ctr" defTabSz="76086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0" name="Rectangle 9"/>
          <p:cNvSpPr/>
          <p:nvPr/>
        </p:nvSpPr>
        <p:spPr>
          <a:xfrm>
            <a:off x="1056022" y="1215179"/>
            <a:ext cx="1865272" cy="639564"/>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ctr" defTabSz="1217615" rtl="0" eaLnBrk="1" fontAlgn="auto" latinLnBrk="0" hangingPunct="1">
              <a:lnSpc>
                <a:spcPct val="100000"/>
              </a:lnSpc>
              <a:spcBef>
                <a:spcPts val="0"/>
              </a:spcBef>
              <a:spcAft>
                <a:spcPts val="0"/>
              </a:spcAft>
              <a:buClrTx/>
              <a:buSzTx/>
              <a:buFontTx/>
              <a:buNone/>
              <a:tabLst/>
              <a:defRPr/>
            </a:pPr>
            <a:r>
              <a:rPr kumimoji="0" lang="en-US" sz="1798" b="0" i="0" u="none" strike="noStrike" kern="1200" cap="none" spc="0" normalizeH="0" baseline="0" noProof="0" dirty="0">
                <a:ln>
                  <a:noFill/>
                </a:ln>
                <a:solidFill>
                  <a:schemeClr val="bg2"/>
                </a:solidFill>
                <a:effectLst/>
                <a:uLnTx/>
                <a:uFillTx/>
                <a:latin typeface="Segoe UI Light" panose="020B0502040204020203" pitchFamily="34" charset="0"/>
                <a:ea typeface="+mn-ea"/>
                <a:cs typeface="Segoe UI Light" panose="020B0502040204020203" pitchFamily="34" charset="0"/>
              </a:rPr>
              <a:t>On Premises</a:t>
            </a:r>
          </a:p>
        </p:txBody>
      </p:sp>
      <p:sp>
        <p:nvSpPr>
          <p:cNvPr id="11" name="TextBox 52"/>
          <p:cNvSpPr txBox="1"/>
          <p:nvPr/>
        </p:nvSpPr>
        <p:spPr>
          <a:xfrm>
            <a:off x="730688" y="2254057"/>
            <a:ext cx="400110" cy="3039357"/>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761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2"/>
                </a:solidFill>
                <a:effectLst/>
                <a:uLnTx/>
                <a:uFillTx/>
                <a:latin typeface="+mn-lt"/>
                <a:ea typeface="+mn-ea"/>
                <a:cs typeface="Segoe UI" panose="020B0502040204020203" pitchFamily="34" charset="0"/>
              </a:rPr>
              <a:t>You scale, make resilient and manage</a:t>
            </a:r>
          </a:p>
        </p:txBody>
      </p:sp>
      <p:sp>
        <p:nvSpPr>
          <p:cNvPr id="12" name="Rectangle 11"/>
          <p:cNvSpPr/>
          <p:nvPr/>
        </p:nvSpPr>
        <p:spPr>
          <a:xfrm>
            <a:off x="3828972" y="1209153"/>
            <a:ext cx="2591690" cy="639564"/>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l" defTabSz="1217615" rtl="0" eaLnBrk="1" fontAlgn="auto" latinLnBrk="0" hangingPunct="1">
              <a:lnSpc>
                <a:spcPct val="100000"/>
              </a:lnSpc>
              <a:spcBef>
                <a:spcPts val="0"/>
              </a:spcBef>
              <a:spcAft>
                <a:spcPts val="0"/>
              </a:spcAft>
              <a:buClrTx/>
              <a:buSzTx/>
              <a:buFontTx/>
              <a:buNone/>
              <a:tabLst/>
              <a:defRPr/>
            </a:pPr>
            <a:r>
              <a:rPr kumimoji="0" lang="en-US" sz="1798" b="0" i="0" u="none" strike="noStrike" kern="1200" cap="none" spc="0" normalizeH="0" baseline="0" noProof="0" dirty="0">
                <a:ln>
                  <a:noFill/>
                </a:ln>
                <a:solidFill>
                  <a:schemeClr val="bg2"/>
                </a:solidFill>
                <a:effectLst/>
                <a:uLnTx/>
                <a:uFillTx/>
                <a:latin typeface="Segoe UI Light" panose="020B0502040204020203" pitchFamily="34" charset="0"/>
                <a:ea typeface="+mn-ea"/>
                <a:cs typeface="Segoe UI Light" panose="020B0502040204020203" pitchFamily="34" charset="0"/>
              </a:rPr>
              <a:t>Infrastructure</a:t>
            </a:r>
          </a:p>
          <a:p>
            <a:pPr marL="0" marR="0" lvl="1" indent="0" algn="l" defTabSz="121761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2"/>
                </a:solidFill>
                <a:effectLst/>
                <a:uLnTx/>
                <a:uFillTx/>
                <a:latin typeface="Segoe UI Light" panose="020B0502040204020203" pitchFamily="34" charset="0"/>
                <a:ea typeface="+mn-ea"/>
                <a:cs typeface="Segoe UI Light" panose="020B0502040204020203" pitchFamily="34" charset="0"/>
              </a:rPr>
              <a:t>(as a Service)</a:t>
            </a:r>
          </a:p>
        </p:txBody>
      </p:sp>
      <p:sp>
        <p:nvSpPr>
          <p:cNvPr id="13" name="Rectangle 12"/>
          <p:cNvSpPr/>
          <p:nvPr/>
        </p:nvSpPr>
        <p:spPr>
          <a:xfrm>
            <a:off x="3979186" y="5023991"/>
            <a:ext cx="1636923" cy="380694"/>
          </a:xfrm>
          <a:prstGeom prst="rect">
            <a:avLst/>
          </a:prstGeom>
          <a:solidFill>
            <a:srgbClr val="00B294"/>
          </a:solidFill>
          <a:ln w="9525" cap="flat" cmpd="sng" algn="ctr">
            <a:noFill/>
            <a:prstDash val="solid"/>
          </a:ln>
          <a:effectLst/>
        </p:spPr>
        <p:txBody>
          <a:bodyPr lIns="0" rIns="0" rtlCol="0" anchor="ctr" anchorCtr="0"/>
          <a:lstStyle/>
          <a:p>
            <a:pPr marL="0" marR="0" lvl="0" indent="0" algn="ctr" defTabSz="1217715"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dirty="0">
                <a:ln>
                  <a:noFill/>
                </a:ln>
                <a:solidFill>
                  <a:srgbClr val="FFFFFF">
                    <a:alpha val="99000"/>
                  </a:srgbClr>
                </a:solidFill>
                <a:effectLst/>
                <a:uLnTx/>
                <a:uFillTx/>
                <a:ea typeface="Segoe UI" panose="020B0502040204020203" pitchFamily="34" charset="0"/>
                <a:cs typeface="Segoe UI" panose="020B0502040204020203" pitchFamily="34" charset="0"/>
              </a:rPr>
              <a:t>Storage</a:t>
            </a:r>
          </a:p>
        </p:txBody>
      </p:sp>
      <p:sp>
        <p:nvSpPr>
          <p:cNvPr id="14" name="Rectangle 13"/>
          <p:cNvSpPr/>
          <p:nvPr/>
        </p:nvSpPr>
        <p:spPr>
          <a:xfrm>
            <a:off x="3979186" y="4569537"/>
            <a:ext cx="1636923" cy="380694"/>
          </a:xfrm>
          <a:prstGeom prst="rect">
            <a:avLst/>
          </a:prstGeom>
          <a:solidFill>
            <a:srgbClr val="00B294"/>
          </a:solidFill>
          <a:ln w="9525" cap="flat" cmpd="sng" algn="ctr">
            <a:noFill/>
            <a:prstDash val="solid"/>
          </a:ln>
          <a:effectLst/>
        </p:spPr>
        <p:txBody>
          <a:bodyPr lIns="0" rIns="0" rtlCol="0" anchor="ctr" anchorCtr="0"/>
          <a:lstStyle/>
          <a:p>
            <a:pPr marL="0" marR="0" lvl="0" indent="0" algn="ctr" defTabSz="1217715"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dirty="0">
                <a:ln>
                  <a:noFill/>
                </a:ln>
                <a:solidFill>
                  <a:srgbClr val="FFFFFF">
                    <a:alpha val="99000"/>
                  </a:srgbClr>
                </a:solidFill>
                <a:effectLst/>
                <a:uLnTx/>
                <a:uFillTx/>
                <a:ea typeface="Segoe UI" panose="020B0502040204020203" pitchFamily="34" charset="0"/>
                <a:cs typeface="Segoe UI" panose="020B0502040204020203" pitchFamily="34" charset="0"/>
              </a:rPr>
              <a:t>Servers</a:t>
            </a:r>
          </a:p>
        </p:txBody>
      </p:sp>
      <p:sp>
        <p:nvSpPr>
          <p:cNvPr id="15" name="Rectangle 14"/>
          <p:cNvSpPr/>
          <p:nvPr/>
        </p:nvSpPr>
        <p:spPr>
          <a:xfrm>
            <a:off x="3979186" y="5478441"/>
            <a:ext cx="1636923" cy="380694"/>
          </a:xfrm>
          <a:prstGeom prst="rect">
            <a:avLst/>
          </a:prstGeom>
          <a:solidFill>
            <a:srgbClr val="00B294"/>
          </a:solidFill>
          <a:ln w="9525" cap="flat" cmpd="sng" algn="ctr">
            <a:noFill/>
            <a:prstDash val="solid"/>
          </a:ln>
          <a:effectLst/>
        </p:spPr>
        <p:txBody>
          <a:bodyPr lIns="0" rIns="0" rtlCol="0" anchor="ctr" anchorCtr="0"/>
          <a:lstStyle/>
          <a:p>
            <a:pPr marL="0" marR="0" lvl="0" indent="0" algn="ctr" defTabSz="1217715"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dirty="0">
                <a:ln>
                  <a:noFill/>
                </a:ln>
                <a:solidFill>
                  <a:srgbClr val="FFFFFF">
                    <a:alpha val="99000"/>
                  </a:srgbClr>
                </a:solidFill>
                <a:effectLst/>
                <a:uLnTx/>
                <a:uFillTx/>
                <a:ea typeface="Segoe UI" panose="020B0502040204020203" pitchFamily="34" charset="0"/>
                <a:cs typeface="Segoe UI" panose="020B0502040204020203" pitchFamily="34" charset="0"/>
              </a:rPr>
              <a:t>Networking</a:t>
            </a:r>
          </a:p>
        </p:txBody>
      </p:sp>
      <p:sp>
        <p:nvSpPr>
          <p:cNvPr id="16" name="Rectangle 15"/>
          <p:cNvSpPr/>
          <p:nvPr/>
        </p:nvSpPr>
        <p:spPr>
          <a:xfrm>
            <a:off x="3979186" y="3660631"/>
            <a:ext cx="1636923" cy="380694"/>
          </a:xfrm>
          <a:prstGeom prst="rect">
            <a:avLst/>
          </a:prstGeom>
          <a:solidFill>
            <a:srgbClr val="68217A"/>
          </a:solidFill>
          <a:ln w="9525" cap="flat" cmpd="sng" algn="ctr">
            <a:noFill/>
            <a:prstDash val="solid"/>
          </a:ln>
          <a:effectLst/>
        </p:spPr>
        <p:txBody>
          <a:bodyPr rtlCol="0" anchor="ctr" anchorCtr="0"/>
          <a:lstStyle/>
          <a:p>
            <a:pPr marL="0" marR="0" lvl="0" indent="0" algn="ctr" defTabSz="1217715"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dirty="0">
                <a:ln>
                  <a:noFill/>
                </a:ln>
                <a:solidFill>
                  <a:srgbClr val="FFFFFF">
                    <a:alpha val="99000"/>
                  </a:srgbClr>
                </a:solidFill>
                <a:effectLst/>
                <a:uLnTx/>
                <a:uFillTx/>
                <a:ea typeface="Segoe UI" panose="020B0502040204020203" pitchFamily="34" charset="0"/>
                <a:cs typeface="Segoe UI" panose="020B0502040204020203" pitchFamily="34" charset="0"/>
              </a:rPr>
              <a:t>O/S</a:t>
            </a:r>
          </a:p>
        </p:txBody>
      </p:sp>
      <p:sp>
        <p:nvSpPr>
          <p:cNvPr id="17" name="Rectangle 16"/>
          <p:cNvSpPr/>
          <p:nvPr/>
        </p:nvSpPr>
        <p:spPr>
          <a:xfrm>
            <a:off x="3979186" y="3206177"/>
            <a:ext cx="1636923" cy="380694"/>
          </a:xfrm>
          <a:prstGeom prst="rect">
            <a:avLst/>
          </a:prstGeom>
          <a:solidFill>
            <a:srgbClr val="68217A"/>
          </a:solidFill>
          <a:ln w="9525" cap="flat" cmpd="sng" algn="ctr">
            <a:noFill/>
            <a:prstDash val="solid"/>
          </a:ln>
          <a:effectLst/>
        </p:spPr>
        <p:txBody>
          <a:bodyPr rtlCol="0" anchor="ctr" anchorCtr="0"/>
          <a:lstStyle/>
          <a:p>
            <a:pPr marL="0" marR="0" lvl="0" indent="0" algn="ctr" defTabSz="1217715"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dirty="0">
                <a:ln>
                  <a:noFill/>
                </a:ln>
                <a:solidFill>
                  <a:srgbClr val="FFFFFF">
                    <a:alpha val="99000"/>
                  </a:srgbClr>
                </a:solidFill>
                <a:effectLst/>
                <a:uLnTx/>
                <a:uFillTx/>
                <a:ea typeface="Segoe UI" panose="020B0502040204020203" pitchFamily="34" charset="0"/>
                <a:cs typeface="Segoe UI" panose="020B0502040204020203" pitchFamily="34" charset="0"/>
              </a:rPr>
              <a:t>Middleware</a:t>
            </a:r>
          </a:p>
        </p:txBody>
      </p:sp>
      <p:sp>
        <p:nvSpPr>
          <p:cNvPr id="18" name="Rectangle 17"/>
          <p:cNvSpPr/>
          <p:nvPr/>
        </p:nvSpPr>
        <p:spPr>
          <a:xfrm>
            <a:off x="3979186" y="4115085"/>
            <a:ext cx="1636923" cy="380694"/>
          </a:xfrm>
          <a:prstGeom prst="rect">
            <a:avLst/>
          </a:prstGeom>
          <a:solidFill>
            <a:srgbClr val="00B294"/>
          </a:solidFill>
          <a:ln w="9525" cap="flat" cmpd="sng" algn="ctr">
            <a:noFill/>
            <a:prstDash val="solid"/>
          </a:ln>
          <a:effectLst/>
        </p:spPr>
        <p:txBody>
          <a:bodyPr lIns="0" rIns="0" rtlCol="0" anchor="ctr" anchorCtr="0"/>
          <a:lstStyle/>
          <a:p>
            <a:pPr marL="0" marR="0" lvl="0" indent="0" algn="ctr" defTabSz="1217715"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dirty="0">
                <a:ln>
                  <a:noFill/>
                </a:ln>
                <a:solidFill>
                  <a:srgbClr val="FFFFFF">
                    <a:alpha val="99000"/>
                  </a:srgbClr>
                </a:solidFill>
                <a:effectLst/>
                <a:uLnTx/>
                <a:uFillTx/>
                <a:ea typeface="Segoe UI" panose="020B0502040204020203" pitchFamily="34" charset="0"/>
                <a:cs typeface="Segoe UI" panose="020B0502040204020203" pitchFamily="34" charset="0"/>
              </a:rPr>
              <a:t>Virtualization</a:t>
            </a:r>
          </a:p>
        </p:txBody>
      </p:sp>
      <p:sp>
        <p:nvSpPr>
          <p:cNvPr id="19" name="Rectangle 18"/>
          <p:cNvSpPr/>
          <p:nvPr/>
        </p:nvSpPr>
        <p:spPr>
          <a:xfrm>
            <a:off x="3979186" y="2297272"/>
            <a:ext cx="1636923" cy="380694"/>
          </a:xfrm>
          <a:prstGeom prst="rect">
            <a:avLst/>
          </a:prstGeom>
          <a:solidFill>
            <a:srgbClr val="68217A"/>
          </a:solidFill>
          <a:ln w="9525" cap="flat" cmpd="sng" algn="ctr">
            <a:noFill/>
            <a:prstDash val="solid"/>
          </a:ln>
          <a:effectLst/>
        </p:spPr>
        <p:txBody>
          <a:bodyPr rtlCol="0" anchor="ctr" anchorCtr="0"/>
          <a:lstStyle/>
          <a:p>
            <a:pPr marL="0" marR="0" lvl="0" indent="0" algn="ctr" defTabSz="1217715"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dirty="0">
                <a:ln>
                  <a:noFill/>
                </a:ln>
                <a:solidFill>
                  <a:srgbClr val="FFFFFF">
                    <a:alpha val="99000"/>
                  </a:srgbClr>
                </a:solidFill>
                <a:effectLst/>
                <a:uLnTx/>
                <a:uFillTx/>
                <a:ea typeface="Segoe UI" panose="020B0502040204020203" pitchFamily="34" charset="0"/>
                <a:cs typeface="Segoe UI" panose="020B0502040204020203" pitchFamily="34" charset="0"/>
              </a:rPr>
              <a:t>Data</a:t>
            </a:r>
          </a:p>
        </p:txBody>
      </p:sp>
      <p:sp>
        <p:nvSpPr>
          <p:cNvPr id="20" name="Rectangle 19"/>
          <p:cNvSpPr/>
          <p:nvPr/>
        </p:nvSpPr>
        <p:spPr>
          <a:xfrm>
            <a:off x="3979186" y="1842819"/>
            <a:ext cx="1636923" cy="380694"/>
          </a:xfrm>
          <a:prstGeom prst="rect">
            <a:avLst/>
          </a:prstGeom>
          <a:solidFill>
            <a:srgbClr val="68217A"/>
          </a:solidFill>
          <a:ln w="9525" cap="flat" cmpd="sng" algn="ctr">
            <a:noFill/>
            <a:prstDash val="solid"/>
          </a:ln>
          <a:effectLst/>
        </p:spPr>
        <p:txBody>
          <a:bodyPr rtlCol="0" anchor="ctr" anchorCtr="0"/>
          <a:lstStyle/>
          <a:p>
            <a:pPr marL="0" marR="0" lvl="0" indent="0" algn="ctr" defTabSz="1217715"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dirty="0">
                <a:ln>
                  <a:noFill/>
                </a:ln>
                <a:solidFill>
                  <a:srgbClr val="FFFFFF">
                    <a:alpha val="99000"/>
                  </a:srgbClr>
                </a:solidFill>
                <a:effectLst/>
                <a:uLnTx/>
                <a:uFillTx/>
                <a:ea typeface="Segoe UI" panose="020B0502040204020203" pitchFamily="34" charset="0"/>
                <a:cs typeface="Segoe UI" panose="020B0502040204020203" pitchFamily="34" charset="0"/>
              </a:rPr>
              <a:t>Applications</a:t>
            </a:r>
          </a:p>
        </p:txBody>
      </p:sp>
      <p:sp>
        <p:nvSpPr>
          <p:cNvPr id="21" name="Rectangle 20"/>
          <p:cNvSpPr/>
          <p:nvPr/>
        </p:nvSpPr>
        <p:spPr>
          <a:xfrm>
            <a:off x="3979186" y="2751725"/>
            <a:ext cx="1636923" cy="380694"/>
          </a:xfrm>
          <a:prstGeom prst="rect">
            <a:avLst/>
          </a:prstGeom>
          <a:solidFill>
            <a:srgbClr val="68217A"/>
          </a:solidFill>
          <a:ln w="9525" cap="flat" cmpd="sng" algn="ctr">
            <a:noFill/>
            <a:prstDash val="solid"/>
          </a:ln>
          <a:effectLst/>
        </p:spPr>
        <p:txBody>
          <a:bodyPr rtlCol="0" anchor="ctr" anchorCtr="0"/>
          <a:lstStyle/>
          <a:p>
            <a:pPr marL="0" marR="0" lvl="0" indent="0" algn="ctr" defTabSz="1217715"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dirty="0">
                <a:ln>
                  <a:noFill/>
                </a:ln>
                <a:solidFill>
                  <a:srgbClr val="FFFFFF">
                    <a:alpha val="99000"/>
                  </a:srgbClr>
                </a:solidFill>
                <a:effectLst/>
                <a:uLnTx/>
                <a:uFillTx/>
                <a:ea typeface="Segoe UI" panose="020B0502040204020203" pitchFamily="34" charset="0"/>
                <a:cs typeface="Segoe UI" panose="020B0502040204020203" pitchFamily="34" charset="0"/>
              </a:rPr>
              <a:t>Runtime</a:t>
            </a:r>
          </a:p>
        </p:txBody>
      </p:sp>
      <p:sp>
        <p:nvSpPr>
          <p:cNvPr id="22" name="Left Brace 21"/>
          <p:cNvSpPr/>
          <p:nvPr/>
        </p:nvSpPr>
        <p:spPr>
          <a:xfrm flipH="1">
            <a:off x="5625334" y="4074008"/>
            <a:ext cx="228416" cy="1762582"/>
          </a:xfrm>
          <a:prstGeom prst="leftBrace">
            <a:avLst>
              <a:gd name="adj1" fmla="val 0"/>
              <a:gd name="adj2" fmla="val 50000"/>
            </a:avLst>
          </a:prstGeom>
          <a:noFill/>
          <a:ln w="19050" cap="flat" cmpd="sng" algn="ctr">
            <a:solidFill>
              <a:srgbClr val="343434">
                <a:lumMod val="50000"/>
                <a:lumOff val="50000"/>
              </a:srgbClr>
            </a:solidFill>
            <a:prstDash val="solid"/>
          </a:ln>
          <a:effectLst/>
        </p:spPr>
        <p:txBody>
          <a:bodyPr rtlCol="0" anchor="ctr"/>
          <a:lstStyle/>
          <a:p>
            <a:pPr marL="0" marR="0" lvl="0" indent="0" algn="ctr" defTabSz="1217715"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dirty="0">
              <a:ln>
                <a:noFill/>
              </a:ln>
              <a:solidFill>
                <a:srgbClr val="FFFFFF"/>
              </a:solidFill>
              <a:effectLst/>
              <a:uLnTx/>
              <a:uFillTx/>
              <a:ea typeface="Segoe UI" pitchFamily="34" charset="0"/>
              <a:cs typeface="Segoe UI" pitchFamily="34" charset="0"/>
            </a:endParaRPr>
          </a:p>
        </p:txBody>
      </p:sp>
      <p:sp>
        <p:nvSpPr>
          <p:cNvPr id="23" name="TextBox 56"/>
          <p:cNvSpPr txBox="1"/>
          <p:nvPr/>
        </p:nvSpPr>
        <p:spPr>
          <a:xfrm rot="10800000" flipH="1">
            <a:off x="5798571" y="4130122"/>
            <a:ext cx="400110" cy="16911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761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2"/>
                </a:solidFill>
                <a:effectLst/>
                <a:uLnTx/>
                <a:uFillTx/>
                <a:latin typeface="+mn-lt"/>
                <a:ea typeface="+mn-ea"/>
                <a:cs typeface="Segoe UI" panose="020B0502040204020203" pitchFamily="34" charset="0"/>
              </a:rPr>
              <a:t>Managed by vendor</a:t>
            </a:r>
          </a:p>
        </p:txBody>
      </p:sp>
      <p:sp>
        <p:nvSpPr>
          <p:cNvPr id="24" name="Left Brace 23"/>
          <p:cNvSpPr/>
          <p:nvPr/>
        </p:nvSpPr>
        <p:spPr>
          <a:xfrm>
            <a:off x="3793216" y="1842818"/>
            <a:ext cx="133243" cy="2198502"/>
          </a:xfrm>
          <a:prstGeom prst="leftBrace">
            <a:avLst>
              <a:gd name="adj1" fmla="val 0"/>
              <a:gd name="adj2" fmla="val 50000"/>
            </a:avLst>
          </a:prstGeom>
          <a:noFill/>
          <a:ln w="19050" cap="flat" cmpd="sng" algn="ctr">
            <a:solidFill>
              <a:srgbClr val="343434">
                <a:lumMod val="50000"/>
                <a:lumOff val="50000"/>
              </a:srgbClr>
            </a:solidFill>
            <a:prstDash val="solid"/>
          </a:ln>
          <a:effectLst/>
        </p:spPr>
        <p:txBody>
          <a:bodyPr rtlCol="0" anchor="ctr"/>
          <a:lstStyle/>
          <a:p>
            <a:pPr marL="0" marR="0" lvl="0" indent="0" algn="ctr" defTabSz="1217715"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dirty="0">
              <a:ln>
                <a:noFill/>
              </a:ln>
              <a:solidFill>
                <a:srgbClr val="FFFFFF"/>
              </a:solidFill>
              <a:effectLst/>
              <a:uLnTx/>
              <a:uFillTx/>
              <a:ea typeface="Segoe UI" pitchFamily="34" charset="0"/>
              <a:cs typeface="Segoe UI" pitchFamily="34" charset="0"/>
            </a:endParaRPr>
          </a:p>
        </p:txBody>
      </p:sp>
      <p:sp>
        <p:nvSpPr>
          <p:cNvPr id="25" name="TextBox 58"/>
          <p:cNvSpPr txBox="1"/>
          <p:nvPr/>
        </p:nvSpPr>
        <p:spPr>
          <a:xfrm>
            <a:off x="3260839" y="2127187"/>
            <a:ext cx="615553" cy="1591974"/>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761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2"/>
                </a:solidFill>
                <a:effectLst/>
                <a:uLnTx/>
                <a:uFillTx/>
                <a:latin typeface="+mn-lt"/>
                <a:ea typeface="+mn-ea"/>
                <a:cs typeface="Segoe UI" panose="020B0502040204020203" pitchFamily="34" charset="0"/>
              </a:rPr>
              <a:t>You scale, make </a:t>
            </a:r>
          </a:p>
          <a:p>
            <a:pPr marL="0" marR="0" lvl="1" indent="0" algn="ctr" defTabSz="121761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2"/>
                </a:solidFill>
                <a:effectLst/>
                <a:uLnTx/>
                <a:uFillTx/>
                <a:latin typeface="+mn-lt"/>
                <a:ea typeface="+mn-ea"/>
                <a:cs typeface="Segoe UI" panose="020B0502040204020203" pitchFamily="34" charset="0"/>
              </a:rPr>
              <a:t>resilient &amp; manage</a:t>
            </a:r>
          </a:p>
        </p:txBody>
      </p:sp>
      <p:sp>
        <p:nvSpPr>
          <p:cNvPr id="26" name="Rectangle 25"/>
          <p:cNvSpPr/>
          <p:nvPr/>
        </p:nvSpPr>
        <p:spPr>
          <a:xfrm>
            <a:off x="6414206" y="1193893"/>
            <a:ext cx="2573991" cy="639564"/>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l" defTabSz="1217615" rtl="0" eaLnBrk="1" fontAlgn="auto" latinLnBrk="0" hangingPunct="1">
              <a:lnSpc>
                <a:spcPct val="100000"/>
              </a:lnSpc>
              <a:spcBef>
                <a:spcPts val="0"/>
              </a:spcBef>
              <a:spcAft>
                <a:spcPts val="0"/>
              </a:spcAft>
              <a:buClrTx/>
              <a:buSzTx/>
              <a:buFontTx/>
              <a:buNone/>
              <a:tabLst/>
              <a:defRPr/>
            </a:pPr>
            <a:r>
              <a:rPr kumimoji="0" lang="en-US" sz="1798" b="0" i="0" u="none" strike="noStrike" kern="1200" cap="none" spc="0" normalizeH="0" baseline="0" noProof="0" dirty="0">
                <a:ln>
                  <a:noFill/>
                </a:ln>
                <a:solidFill>
                  <a:schemeClr val="bg2"/>
                </a:solidFill>
                <a:effectLst/>
                <a:uLnTx/>
                <a:uFillTx/>
                <a:latin typeface="Segoe UI Light" panose="020B0502040204020203" pitchFamily="34" charset="0"/>
                <a:ea typeface="+mn-ea"/>
                <a:cs typeface="Segoe UI Light" panose="020B0502040204020203" pitchFamily="34" charset="0"/>
              </a:rPr>
              <a:t>Platform </a:t>
            </a:r>
          </a:p>
          <a:p>
            <a:pPr marL="0" marR="0" lvl="1" indent="0" algn="l" defTabSz="121761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2"/>
                </a:solidFill>
                <a:effectLst/>
                <a:uLnTx/>
                <a:uFillTx/>
                <a:latin typeface="Segoe UI Light" panose="020B0502040204020203" pitchFamily="34" charset="0"/>
                <a:ea typeface="+mn-ea"/>
                <a:cs typeface="Segoe UI Light" panose="020B0502040204020203" pitchFamily="34" charset="0"/>
              </a:rPr>
              <a:t>(as a Service)</a:t>
            </a:r>
          </a:p>
        </p:txBody>
      </p:sp>
      <p:sp>
        <p:nvSpPr>
          <p:cNvPr id="27" name="Left Brace 26"/>
          <p:cNvSpPr/>
          <p:nvPr/>
        </p:nvSpPr>
        <p:spPr>
          <a:xfrm flipH="1">
            <a:off x="8171401" y="2746963"/>
            <a:ext cx="209411" cy="3120437"/>
          </a:xfrm>
          <a:prstGeom prst="leftBrace">
            <a:avLst>
              <a:gd name="adj1" fmla="val 0"/>
              <a:gd name="adj2" fmla="val 50000"/>
            </a:avLst>
          </a:prstGeom>
          <a:noFill/>
          <a:ln w="19050" cap="flat" cmpd="sng" algn="ctr">
            <a:solidFill>
              <a:srgbClr val="343434">
                <a:lumMod val="50000"/>
                <a:lumOff val="50000"/>
              </a:srgbClr>
            </a:solidFill>
            <a:prstDash val="solid"/>
          </a:ln>
          <a:effectLst/>
        </p:spPr>
        <p:txBody>
          <a:bodyPr rtlCol="0" anchor="ctr"/>
          <a:lstStyle/>
          <a:p>
            <a:pPr marL="0" marR="0" lvl="0" indent="0" algn="ctr" defTabSz="1217715"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dirty="0">
              <a:ln>
                <a:noFill/>
              </a:ln>
              <a:solidFill>
                <a:srgbClr val="FFFFFF"/>
              </a:solidFill>
              <a:effectLst/>
              <a:uLnTx/>
              <a:uFillTx/>
              <a:ea typeface="Segoe UI" pitchFamily="34" charset="0"/>
              <a:cs typeface="Segoe UI" pitchFamily="34" charset="0"/>
            </a:endParaRPr>
          </a:p>
        </p:txBody>
      </p:sp>
      <p:sp>
        <p:nvSpPr>
          <p:cNvPr id="28" name="TextBox 54"/>
          <p:cNvSpPr txBox="1"/>
          <p:nvPr/>
        </p:nvSpPr>
        <p:spPr>
          <a:xfrm rot="10800000" flipH="1">
            <a:off x="8300087" y="3330539"/>
            <a:ext cx="615553" cy="198765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761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2"/>
                </a:solidFill>
                <a:effectLst/>
                <a:uLnTx/>
                <a:uFillTx/>
                <a:latin typeface="+mn-lt"/>
                <a:ea typeface="+mn-ea"/>
                <a:cs typeface="Segoe UI" panose="020B0502040204020203" pitchFamily="34" charset="0"/>
              </a:rPr>
              <a:t>Scale, resilience and </a:t>
            </a:r>
            <a:br>
              <a:rPr kumimoji="0" lang="en-US" sz="1400" b="0" i="0" u="none" strike="noStrike" kern="1200" cap="none" spc="0" normalizeH="0" baseline="0" noProof="0" dirty="0">
                <a:ln>
                  <a:noFill/>
                </a:ln>
                <a:solidFill>
                  <a:schemeClr val="bg2"/>
                </a:solidFill>
                <a:effectLst/>
                <a:uLnTx/>
                <a:uFillTx/>
                <a:latin typeface="+mn-lt"/>
                <a:ea typeface="+mn-ea"/>
                <a:cs typeface="Segoe UI" panose="020B0502040204020203" pitchFamily="34" charset="0"/>
              </a:rPr>
            </a:br>
            <a:r>
              <a:rPr kumimoji="0" lang="en-US" sz="1400" b="0" i="0" u="none" strike="noStrike" kern="1200" cap="none" spc="0" normalizeH="0" baseline="0" noProof="0" dirty="0">
                <a:ln>
                  <a:noFill/>
                </a:ln>
                <a:solidFill>
                  <a:schemeClr val="bg2"/>
                </a:solidFill>
                <a:effectLst/>
                <a:uLnTx/>
                <a:uFillTx/>
                <a:latin typeface="+mn-lt"/>
                <a:ea typeface="+mn-ea"/>
                <a:cs typeface="Segoe UI" panose="020B0502040204020203" pitchFamily="34" charset="0"/>
              </a:rPr>
              <a:t>management by vendor</a:t>
            </a:r>
          </a:p>
        </p:txBody>
      </p:sp>
      <p:sp>
        <p:nvSpPr>
          <p:cNvPr id="29" name="Left Brace 28"/>
          <p:cNvSpPr/>
          <p:nvPr/>
        </p:nvSpPr>
        <p:spPr>
          <a:xfrm>
            <a:off x="6363529" y="1823782"/>
            <a:ext cx="152277" cy="847043"/>
          </a:xfrm>
          <a:prstGeom prst="leftBrace">
            <a:avLst>
              <a:gd name="adj1" fmla="val 0"/>
              <a:gd name="adj2" fmla="val 50000"/>
            </a:avLst>
          </a:prstGeom>
          <a:noFill/>
          <a:ln w="19050" cap="flat" cmpd="sng" algn="ctr">
            <a:solidFill>
              <a:srgbClr val="343434">
                <a:lumMod val="50000"/>
                <a:lumOff val="50000"/>
              </a:srgbClr>
            </a:solidFill>
            <a:prstDash val="solid"/>
          </a:ln>
          <a:effectLst/>
        </p:spPr>
        <p:txBody>
          <a:bodyPr rtlCol="0" anchor="ctr"/>
          <a:lstStyle/>
          <a:p>
            <a:pPr marL="0" marR="0" lvl="0" indent="0" algn="ctr" defTabSz="1217715"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dirty="0">
              <a:ln>
                <a:noFill/>
              </a:ln>
              <a:solidFill>
                <a:srgbClr val="FFFFFF"/>
              </a:solidFill>
              <a:effectLst/>
              <a:uLnTx/>
              <a:uFillTx/>
              <a:ea typeface="Segoe UI" pitchFamily="34" charset="0"/>
              <a:cs typeface="Segoe UI" pitchFamily="34" charset="0"/>
            </a:endParaRPr>
          </a:p>
        </p:txBody>
      </p:sp>
      <p:sp>
        <p:nvSpPr>
          <p:cNvPr id="30" name="TextBox 60"/>
          <p:cNvSpPr txBox="1"/>
          <p:nvPr/>
        </p:nvSpPr>
        <p:spPr>
          <a:xfrm>
            <a:off x="6020814" y="1850734"/>
            <a:ext cx="400110" cy="1070422"/>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761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mn-lt"/>
                <a:ea typeface="+mn-ea"/>
                <a:cs typeface="Segoe UI" panose="020B0502040204020203" pitchFamily="34" charset="0"/>
              </a:rPr>
              <a:t>You manage</a:t>
            </a:r>
          </a:p>
        </p:txBody>
      </p:sp>
      <p:sp>
        <p:nvSpPr>
          <p:cNvPr id="31" name="Rectangle 30"/>
          <p:cNvSpPr/>
          <p:nvPr/>
        </p:nvSpPr>
        <p:spPr>
          <a:xfrm>
            <a:off x="6525226" y="5023990"/>
            <a:ext cx="1636922" cy="380694"/>
          </a:xfrm>
          <a:prstGeom prst="rect">
            <a:avLst/>
          </a:prstGeom>
          <a:solidFill>
            <a:srgbClr val="00B294"/>
          </a:solidFill>
          <a:ln w="9525" cap="flat" cmpd="sng" algn="ctr">
            <a:noFill/>
            <a:prstDash val="solid"/>
          </a:ln>
          <a:effectLst/>
        </p:spPr>
        <p:txBody>
          <a:bodyPr lIns="0" rIns="0" rtlCol="0" anchor="ctr" anchorCtr="0"/>
          <a:lstStyle/>
          <a:p>
            <a:pPr marL="0" marR="0" lvl="0" indent="0" algn="ctr" defTabSz="1217715"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dirty="0">
                <a:ln>
                  <a:noFill/>
                </a:ln>
                <a:solidFill>
                  <a:srgbClr val="FFFFFF">
                    <a:alpha val="99000"/>
                  </a:srgbClr>
                </a:solidFill>
                <a:effectLst/>
                <a:uLnTx/>
                <a:uFillTx/>
                <a:ea typeface="Segoe UI" panose="020B0502040204020203" pitchFamily="34" charset="0"/>
                <a:cs typeface="Segoe UI" panose="020B0502040204020203" pitchFamily="34" charset="0"/>
              </a:rPr>
              <a:t>Storage</a:t>
            </a:r>
          </a:p>
        </p:txBody>
      </p:sp>
      <p:sp>
        <p:nvSpPr>
          <p:cNvPr id="32" name="Rectangle 31"/>
          <p:cNvSpPr/>
          <p:nvPr/>
        </p:nvSpPr>
        <p:spPr>
          <a:xfrm>
            <a:off x="6525226" y="4569536"/>
            <a:ext cx="1636922" cy="380694"/>
          </a:xfrm>
          <a:prstGeom prst="rect">
            <a:avLst/>
          </a:prstGeom>
          <a:solidFill>
            <a:srgbClr val="00B294"/>
          </a:solidFill>
          <a:ln w="9525" cap="flat" cmpd="sng" algn="ctr">
            <a:noFill/>
            <a:prstDash val="solid"/>
          </a:ln>
          <a:effectLst/>
        </p:spPr>
        <p:txBody>
          <a:bodyPr lIns="0" rIns="0" rtlCol="0" anchor="ctr" anchorCtr="0"/>
          <a:lstStyle/>
          <a:p>
            <a:pPr marL="0" marR="0" lvl="0" indent="0" algn="ctr" defTabSz="1217715"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dirty="0">
                <a:ln>
                  <a:noFill/>
                </a:ln>
                <a:solidFill>
                  <a:srgbClr val="FFFFFF">
                    <a:alpha val="99000"/>
                  </a:srgbClr>
                </a:solidFill>
                <a:effectLst/>
                <a:uLnTx/>
                <a:uFillTx/>
                <a:ea typeface="Segoe UI" panose="020B0502040204020203" pitchFamily="34" charset="0"/>
                <a:cs typeface="Segoe UI" panose="020B0502040204020203" pitchFamily="34" charset="0"/>
              </a:rPr>
              <a:t>Servers</a:t>
            </a:r>
          </a:p>
        </p:txBody>
      </p:sp>
      <p:sp>
        <p:nvSpPr>
          <p:cNvPr id="33" name="Rectangle 32"/>
          <p:cNvSpPr/>
          <p:nvPr/>
        </p:nvSpPr>
        <p:spPr>
          <a:xfrm>
            <a:off x="6525226" y="5478441"/>
            <a:ext cx="1636922" cy="380694"/>
          </a:xfrm>
          <a:prstGeom prst="rect">
            <a:avLst/>
          </a:prstGeom>
          <a:solidFill>
            <a:srgbClr val="00B294"/>
          </a:solidFill>
          <a:ln w="9525" cap="flat" cmpd="sng" algn="ctr">
            <a:noFill/>
            <a:prstDash val="solid"/>
          </a:ln>
          <a:effectLst/>
        </p:spPr>
        <p:txBody>
          <a:bodyPr lIns="0" rIns="0" rtlCol="0" anchor="ctr" anchorCtr="0"/>
          <a:lstStyle/>
          <a:p>
            <a:pPr marL="0" marR="0" lvl="0" indent="0" algn="ctr" defTabSz="1217715"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dirty="0">
                <a:ln>
                  <a:noFill/>
                </a:ln>
                <a:solidFill>
                  <a:srgbClr val="FFFFFF">
                    <a:alpha val="99000"/>
                  </a:srgbClr>
                </a:solidFill>
                <a:effectLst/>
                <a:uLnTx/>
                <a:uFillTx/>
                <a:ea typeface="Segoe UI" panose="020B0502040204020203" pitchFamily="34" charset="0"/>
                <a:cs typeface="Segoe UI" panose="020B0502040204020203" pitchFamily="34" charset="0"/>
              </a:rPr>
              <a:t>Networking</a:t>
            </a:r>
          </a:p>
        </p:txBody>
      </p:sp>
      <p:sp>
        <p:nvSpPr>
          <p:cNvPr id="34" name="Rectangle 33"/>
          <p:cNvSpPr/>
          <p:nvPr/>
        </p:nvSpPr>
        <p:spPr>
          <a:xfrm>
            <a:off x="6525226" y="3660630"/>
            <a:ext cx="1636922" cy="380694"/>
          </a:xfrm>
          <a:prstGeom prst="rect">
            <a:avLst/>
          </a:prstGeom>
          <a:solidFill>
            <a:srgbClr val="00B294"/>
          </a:solidFill>
          <a:ln w="9525" cap="flat" cmpd="sng" algn="ctr">
            <a:noFill/>
            <a:prstDash val="solid"/>
          </a:ln>
          <a:effectLst/>
        </p:spPr>
        <p:txBody>
          <a:bodyPr lIns="0" rIns="0" rtlCol="0" anchor="ctr" anchorCtr="0"/>
          <a:lstStyle/>
          <a:p>
            <a:pPr marL="0" marR="0" lvl="0" indent="0" algn="ctr" defTabSz="1217715"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dirty="0">
                <a:ln>
                  <a:noFill/>
                </a:ln>
                <a:solidFill>
                  <a:srgbClr val="FFFFFF">
                    <a:alpha val="99000"/>
                  </a:srgbClr>
                </a:solidFill>
                <a:effectLst/>
                <a:uLnTx/>
                <a:uFillTx/>
                <a:ea typeface="Segoe UI" panose="020B0502040204020203" pitchFamily="34" charset="0"/>
                <a:cs typeface="Segoe UI" panose="020B0502040204020203" pitchFamily="34" charset="0"/>
              </a:rPr>
              <a:t>O/S</a:t>
            </a:r>
          </a:p>
        </p:txBody>
      </p:sp>
      <p:sp>
        <p:nvSpPr>
          <p:cNvPr id="35" name="Rectangle 34"/>
          <p:cNvSpPr/>
          <p:nvPr/>
        </p:nvSpPr>
        <p:spPr>
          <a:xfrm>
            <a:off x="6525226" y="3206176"/>
            <a:ext cx="1636922" cy="380694"/>
          </a:xfrm>
          <a:prstGeom prst="rect">
            <a:avLst/>
          </a:prstGeom>
          <a:solidFill>
            <a:srgbClr val="00B294"/>
          </a:solidFill>
          <a:ln w="9525" cap="flat" cmpd="sng" algn="ctr">
            <a:noFill/>
            <a:prstDash val="solid"/>
          </a:ln>
          <a:effectLst/>
        </p:spPr>
        <p:txBody>
          <a:bodyPr lIns="0" rIns="0" rtlCol="0" anchor="ctr" anchorCtr="0"/>
          <a:lstStyle/>
          <a:p>
            <a:pPr marL="0" marR="0" lvl="0" indent="0" algn="ctr" defTabSz="1217715"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dirty="0">
                <a:ln>
                  <a:noFill/>
                </a:ln>
                <a:solidFill>
                  <a:srgbClr val="FFFFFF">
                    <a:alpha val="99000"/>
                  </a:srgbClr>
                </a:solidFill>
                <a:effectLst/>
                <a:uLnTx/>
                <a:uFillTx/>
                <a:ea typeface="Segoe UI" panose="020B0502040204020203" pitchFamily="34" charset="0"/>
                <a:cs typeface="Segoe UI" panose="020B0502040204020203" pitchFamily="34" charset="0"/>
              </a:rPr>
              <a:t>Middleware</a:t>
            </a:r>
          </a:p>
        </p:txBody>
      </p:sp>
      <p:sp>
        <p:nvSpPr>
          <p:cNvPr id="36" name="Rectangle 35"/>
          <p:cNvSpPr/>
          <p:nvPr/>
        </p:nvSpPr>
        <p:spPr>
          <a:xfrm>
            <a:off x="6525226" y="4115084"/>
            <a:ext cx="1636922" cy="380694"/>
          </a:xfrm>
          <a:prstGeom prst="rect">
            <a:avLst/>
          </a:prstGeom>
          <a:solidFill>
            <a:srgbClr val="00B294"/>
          </a:solidFill>
          <a:ln w="9525" cap="flat" cmpd="sng" algn="ctr">
            <a:noFill/>
            <a:prstDash val="solid"/>
          </a:ln>
          <a:effectLst/>
        </p:spPr>
        <p:txBody>
          <a:bodyPr lIns="0" rIns="0" rtlCol="0" anchor="ctr" anchorCtr="0"/>
          <a:lstStyle/>
          <a:p>
            <a:pPr marL="0" marR="0" lvl="0" indent="0" algn="ctr" defTabSz="1217715"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dirty="0">
                <a:ln>
                  <a:noFill/>
                </a:ln>
                <a:solidFill>
                  <a:srgbClr val="FFFFFF">
                    <a:alpha val="99000"/>
                  </a:srgbClr>
                </a:solidFill>
                <a:effectLst/>
                <a:uLnTx/>
                <a:uFillTx/>
                <a:ea typeface="Segoe UI" panose="020B0502040204020203" pitchFamily="34" charset="0"/>
                <a:cs typeface="Segoe UI" panose="020B0502040204020203" pitchFamily="34" charset="0"/>
              </a:rPr>
              <a:t>Virtualization</a:t>
            </a:r>
          </a:p>
        </p:txBody>
      </p:sp>
      <p:sp>
        <p:nvSpPr>
          <p:cNvPr id="37" name="Rectangle 36"/>
          <p:cNvSpPr/>
          <p:nvPr/>
        </p:nvSpPr>
        <p:spPr>
          <a:xfrm>
            <a:off x="6525226" y="1842818"/>
            <a:ext cx="1636922" cy="380694"/>
          </a:xfrm>
          <a:prstGeom prst="rect">
            <a:avLst/>
          </a:prstGeom>
          <a:solidFill>
            <a:srgbClr val="68217A"/>
          </a:solidFill>
          <a:ln w="9525" cap="flat" cmpd="sng" algn="ctr">
            <a:noFill/>
            <a:prstDash val="solid"/>
          </a:ln>
          <a:effectLst/>
        </p:spPr>
        <p:txBody>
          <a:bodyPr rtlCol="0" anchor="ctr" anchorCtr="0"/>
          <a:lstStyle/>
          <a:p>
            <a:pPr marL="0" marR="0" lvl="0" indent="0" algn="ctr" defTabSz="1217715"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dirty="0">
                <a:ln>
                  <a:noFill/>
                </a:ln>
                <a:solidFill>
                  <a:srgbClr val="FFFFFF">
                    <a:alpha val="99000"/>
                  </a:srgbClr>
                </a:solidFill>
                <a:effectLst/>
                <a:uLnTx/>
                <a:uFillTx/>
                <a:ea typeface="Segoe UI" panose="020B0502040204020203" pitchFamily="34" charset="0"/>
                <a:cs typeface="Segoe UI" panose="020B0502040204020203" pitchFamily="34" charset="0"/>
              </a:rPr>
              <a:t>Applications</a:t>
            </a:r>
          </a:p>
        </p:txBody>
      </p:sp>
      <p:sp>
        <p:nvSpPr>
          <p:cNvPr id="38" name="Rectangle 37"/>
          <p:cNvSpPr/>
          <p:nvPr/>
        </p:nvSpPr>
        <p:spPr>
          <a:xfrm>
            <a:off x="6525226" y="2751724"/>
            <a:ext cx="1636922" cy="380694"/>
          </a:xfrm>
          <a:prstGeom prst="rect">
            <a:avLst/>
          </a:prstGeom>
          <a:solidFill>
            <a:srgbClr val="00B294"/>
          </a:solidFill>
          <a:ln w="9525" cap="flat" cmpd="sng" algn="ctr">
            <a:noFill/>
            <a:prstDash val="solid"/>
          </a:ln>
          <a:effectLst/>
        </p:spPr>
        <p:txBody>
          <a:bodyPr lIns="0" rIns="0" rtlCol="0" anchor="ctr" anchorCtr="0"/>
          <a:lstStyle/>
          <a:p>
            <a:pPr marL="0" marR="0" lvl="0" indent="0" algn="ctr" defTabSz="1217715"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dirty="0">
                <a:ln>
                  <a:noFill/>
                </a:ln>
                <a:solidFill>
                  <a:srgbClr val="FFFFFF">
                    <a:alpha val="99000"/>
                  </a:srgbClr>
                </a:solidFill>
                <a:effectLst/>
                <a:uLnTx/>
                <a:uFillTx/>
                <a:ea typeface="Segoe UI" panose="020B0502040204020203" pitchFamily="34" charset="0"/>
                <a:cs typeface="Segoe UI" panose="020B0502040204020203" pitchFamily="34" charset="0"/>
              </a:rPr>
              <a:t>Runtime</a:t>
            </a:r>
          </a:p>
        </p:txBody>
      </p:sp>
      <p:sp>
        <p:nvSpPr>
          <p:cNvPr id="39" name="Rectangle 38"/>
          <p:cNvSpPr/>
          <p:nvPr/>
        </p:nvSpPr>
        <p:spPr>
          <a:xfrm>
            <a:off x="6525226" y="2297271"/>
            <a:ext cx="1636922" cy="380694"/>
          </a:xfrm>
          <a:prstGeom prst="rect">
            <a:avLst/>
          </a:prstGeom>
          <a:solidFill>
            <a:srgbClr val="68217A"/>
          </a:solidFill>
          <a:ln w="9525" cap="flat" cmpd="sng" algn="ctr">
            <a:noFill/>
            <a:prstDash val="solid"/>
          </a:ln>
          <a:effectLst/>
        </p:spPr>
        <p:txBody>
          <a:bodyPr rtlCol="0" anchor="ctr" anchorCtr="0"/>
          <a:lstStyle/>
          <a:p>
            <a:pPr marL="0" marR="0" lvl="0" indent="0" algn="ctr" defTabSz="1217715"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dirty="0">
                <a:ln>
                  <a:noFill/>
                </a:ln>
                <a:solidFill>
                  <a:srgbClr val="FFFFFF">
                    <a:alpha val="99000"/>
                  </a:srgbClr>
                </a:solidFill>
                <a:effectLst/>
                <a:uLnTx/>
                <a:uFillTx/>
                <a:ea typeface="Segoe UI" panose="020B0502040204020203" pitchFamily="34" charset="0"/>
                <a:cs typeface="Segoe UI" panose="020B0502040204020203" pitchFamily="34" charset="0"/>
              </a:rPr>
              <a:t>Data</a:t>
            </a:r>
          </a:p>
        </p:txBody>
      </p:sp>
      <p:sp>
        <p:nvSpPr>
          <p:cNvPr id="40" name="Rectangle 39"/>
          <p:cNvSpPr/>
          <p:nvPr/>
        </p:nvSpPr>
        <p:spPr bwMode="auto">
          <a:xfrm>
            <a:off x="9157407" y="1054191"/>
            <a:ext cx="2656959" cy="4813207"/>
          </a:xfrm>
          <a:prstGeom prst="rect">
            <a:avLst/>
          </a:prstGeom>
          <a:noFill/>
          <a:ln w="10795" cap="flat" cmpd="sng" algn="ctr">
            <a:solidFill>
              <a:srgbClr val="FFFFFF">
                <a:lumMod val="85000"/>
              </a:srgbClr>
            </a:solidFill>
            <a:prstDash val="solid"/>
            <a:headEnd type="none" w="med" len="med"/>
            <a:tailEnd type="none" w="med" len="med"/>
          </a:ln>
          <a:effectLst/>
        </p:spPr>
        <p:txBody>
          <a:bodyPr vert="horz" wrap="square" lIns="76114" tIns="38057" rIns="76114" bIns="38057" numCol="1" rtlCol="0" anchor="ctr" anchorCtr="0" compatLnSpc="1">
            <a:prstTxWarp prst="textNoShape">
              <a:avLst/>
            </a:prstTxWarp>
          </a:bodyPr>
          <a:lstStyle/>
          <a:p>
            <a:pPr marL="0" marR="0" lvl="0" indent="0" algn="ctr" defTabSz="76086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41" name="Rectangle 40"/>
          <p:cNvSpPr/>
          <p:nvPr/>
        </p:nvSpPr>
        <p:spPr>
          <a:xfrm>
            <a:off x="9282557" y="1215179"/>
            <a:ext cx="2428635" cy="639564"/>
          </a:xfrm>
          <a:prstGeom prst="rect">
            <a:avLst/>
          </a:prstGeom>
          <a:noFill/>
          <a:ln w="9525" cap="flat" cmpd="sng" algn="ctr">
            <a:noFill/>
            <a:prstDash val="solid"/>
          </a:ln>
          <a:effectLst/>
        </p:spPr>
        <p:txBody>
          <a:bodyPr lIns="76118" tIns="0" rIns="76118"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l" defTabSz="1217615" rtl="0" eaLnBrk="1" fontAlgn="auto" latinLnBrk="0" hangingPunct="1">
              <a:lnSpc>
                <a:spcPct val="100000"/>
              </a:lnSpc>
              <a:spcBef>
                <a:spcPts val="0"/>
              </a:spcBef>
              <a:spcAft>
                <a:spcPts val="0"/>
              </a:spcAft>
              <a:buClrTx/>
              <a:buSzTx/>
              <a:buFontTx/>
              <a:buNone/>
              <a:tabLst/>
              <a:defRPr/>
            </a:pPr>
            <a:r>
              <a:rPr kumimoji="0" lang="en-US" sz="1798" b="0" i="0" u="none" strike="noStrike" kern="1200" cap="none" spc="0" normalizeH="0" baseline="0" noProof="0" dirty="0">
                <a:ln>
                  <a:noFill/>
                </a:ln>
                <a:solidFill>
                  <a:schemeClr val="bg2"/>
                </a:solidFill>
                <a:effectLst/>
                <a:uLnTx/>
                <a:uFillTx/>
                <a:latin typeface="Segoe UI Light" panose="020B0502040204020203" pitchFamily="34" charset="0"/>
                <a:ea typeface="+mn-ea"/>
                <a:cs typeface="Segoe UI Light" panose="020B0502040204020203" pitchFamily="34" charset="0"/>
              </a:rPr>
              <a:t>Software</a:t>
            </a:r>
            <a:r>
              <a:rPr kumimoji="0" lang="en-US" sz="1998" b="0" i="0" u="none" strike="noStrike" kern="1200" cap="none" spc="0" normalizeH="0" baseline="0" noProof="0" dirty="0">
                <a:ln>
                  <a:noFill/>
                </a:ln>
                <a:solidFill>
                  <a:schemeClr val="bg2"/>
                </a:solidFill>
                <a:effectLst/>
                <a:uLnTx/>
                <a:uFillTx/>
                <a:latin typeface="Segoe UI Light" panose="020B0502040204020203" pitchFamily="34" charset="0"/>
                <a:ea typeface="+mn-ea"/>
                <a:cs typeface="Segoe UI Light" panose="020B0502040204020203" pitchFamily="34" charset="0"/>
              </a:rPr>
              <a:t> </a:t>
            </a:r>
          </a:p>
          <a:p>
            <a:pPr marL="0" marR="0" lvl="1" indent="0" algn="l" defTabSz="121761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2"/>
                </a:solidFill>
                <a:effectLst/>
                <a:uLnTx/>
                <a:uFillTx/>
                <a:latin typeface="Segoe UI Light" panose="020B0502040204020203" pitchFamily="34" charset="0"/>
                <a:ea typeface="+mn-ea"/>
                <a:cs typeface="Segoe UI Light" panose="020B0502040204020203" pitchFamily="34" charset="0"/>
              </a:rPr>
              <a:t>(as a Service)</a:t>
            </a:r>
          </a:p>
        </p:txBody>
      </p:sp>
      <p:sp>
        <p:nvSpPr>
          <p:cNvPr id="42" name="Rectangle 41"/>
          <p:cNvSpPr/>
          <p:nvPr/>
        </p:nvSpPr>
        <p:spPr>
          <a:xfrm>
            <a:off x="9299203" y="5023988"/>
            <a:ext cx="1636922" cy="380694"/>
          </a:xfrm>
          <a:prstGeom prst="rect">
            <a:avLst/>
          </a:prstGeom>
          <a:solidFill>
            <a:srgbClr val="00B294"/>
          </a:solidFill>
          <a:ln w="9525" cap="flat" cmpd="sng" algn="ctr">
            <a:noFill/>
            <a:prstDash val="solid"/>
          </a:ln>
          <a:effectLst/>
        </p:spPr>
        <p:txBody>
          <a:bodyPr lIns="0" rIns="0" rtlCol="0" anchor="ctr" anchorCtr="0"/>
          <a:lstStyle/>
          <a:p>
            <a:pPr marL="0" marR="0" lvl="0" indent="0" algn="ctr" defTabSz="1217715"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dirty="0">
                <a:ln>
                  <a:noFill/>
                </a:ln>
                <a:solidFill>
                  <a:srgbClr val="FFFFFF">
                    <a:alpha val="99000"/>
                  </a:srgbClr>
                </a:solidFill>
                <a:effectLst/>
                <a:uLnTx/>
                <a:uFillTx/>
                <a:ea typeface="Segoe UI" panose="020B0502040204020203" pitchFamily="34" charset="0"/>
                <a:cs typeface="Segoe UI" panose="020B0502040204020203" pitchFamily="34" charset="0"/>
              </a:rPr>
              <a:t>Storage</a:t>
            </a:r>
          </a:p>
        </p:txBody>
      </p:sp>
      <p:sp>
        <p:nvSpPr>
          <p:cNvPr id="43" name="Rectangle 42"/>
          <p:cNvSpPr/>
          <p:nvPr/>
        </p:nvSpPr>
        <p:spPr>
          <a:xfrm>
            <a:off x="9299203" y="4569533"/>
            <a:ext cx="1636922" cy="380694"/>
          </a:xfrm>
          <a:prstGeom prst="rect">
            <a:avLst/>
          </a:prstGeom>
          <a:solidFill>
            <a:srgbClr val="00B294"/>
          </a:solidFill>
          <a:ln w="9525" cap="flat" cmpd="sng" algn="ctr">
            <a:noFill/>
            <a:prstDash val="solid"/>
          </a:ln>
          <a:effectLst/>
        </p:spPr>
        <p:txBody>
          <a:bodyPr lIns="0" rIns="0" rtlCol="0" anchor="ctr" anchorCtr="0"/>
          <a:lstStyle/>
          <a:p>
            <a:pPr marL="0" marR="0" lvl="0" indent="0" algn="ctr" defTabSz="1217715"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dirty="0">
                <a:ln>
                  <a:noFill/>
                </a:ln>
                <a:solidFill>
                  <a:srgbClr val="FFFFFF">
                    <a:alpha val="99000"/>
                  </a:srgbClr>
                </a:solidFill>
                <a:effectLst/>
                <a:uLnTx/>
                <a:uFillTx/>
                <a:ea typeface="Segoe UI" panose="020B0502040204020203" pitchFamily="34" charset="0"/>
                <a:cs typeface="Segoe UI" panose="020B0502040204020203" pitchFamily="34" charset="0"/>
              </a:rPr>
              <a:t>Servers</a:t>
            </a:r>
          </a:p>
        </p:txBody>
      </p:sp>
      <p:sp>
        <p:nvSpPr>
          <p:cNvPr id="44" name="Rectangle 43"/>
          <p:cNvSpPr/>
          <p:nvPr/>
        </p:nvSpPr>
        <p:spPr>
          <a:xfrm>
            <a:off x="9299203" y="5478438"/>
            <a:ext cx="1636922" cy="380694"/>
          </a:xfrm>
          <a:prstGeom prst="rect">
            <a:avLst/>
          </a:prstGeom>
          <a:solidFill>
            <a:srgbClr val="00B294"/>
          </a:solidFill>
          <a:ln w="9525" cap="flat" cmpd="sng" algn="ctr">
            <a:noFill/>
            <a:prstDash val="solid"/>
          </a:ln>
          <a:effectLst/>
        </p:spPr>
        <p:txBody>
          <a:bodyPr lIns="0" rIns="0" rtlCol="0" anchor="ctr" anchorCtr="0"/>
          <a:lstStyle/>
          <a:p>
            <a:pPr marL="0" marR="0" lvl="0" indent="0" algn="ctr" defTabSz="1217715"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dirty="0">
                <a:ln>
                  <a:noFill/>
                </a:ln>
                <a:solidFill>
                  <a:srgbClr val="FFFFFF">
                    <a:alpha val="99000"/>
                  </a:srgbClr>
                </a:solidFill>
                <a:effectLst/>
                <a:uLnTx/>
                <a:uFillTx/>
                <a:ea typeface="Segoe UI" panose="020B0502040204020203" pitchFamily="34" charset="0"/>
                <a:cs typeface="Segoe UI" panose="020B0502040204020203" pitchFamily="34" charset="0"/>
              </a:rPr>
              <a:t>Networking</a:t>
            </a:r>
          </a:p>
        </p:txBody>
      </p:sp>
      <p:sp>
        <p:nvSpPr>
          <p:cNvPr id="45" name="Rectangle 44"/>
          <p:cNvSpPr/>
          <p:nvPr/>
        </p:nvSpPr>
        <p:spPr>
          <a:xfrm>
            <a:off x="9299203" y="3660628"/>
            <a:ext cx="1636922" cy="380694"/>
          </a:xfrm>
          <a:prstGeom prst="rect">
            <a:avLst/>
          </a:prstGeom>
          <a:solidFill>
            <a:srgbClr val="00B294"/>
          </a:solidFill>
          <a:ln w="9525" cap="flat" cmpd="sng" algn="ctr">
            <a:noFill/>
            <a:prstDash val="solid"/>
          </a:ln>
          <a:effectLst/>
        </p:spPr>
        <p:txBody>
          <a:bodyPr lIns="0" rIns="0" rtlCol="0" anchor="ctr" anchorCtr="0"/>
          <a:lstStyle/>
          <a:p>
            <a:pPr marL="0" marR="0" lvl="0" indent="0" algn="ctr" defTabSz="1217715"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dirty="0">
                <a:ln>
                  <a:noFill/>
                </a:ln>
                <a:solidFill>
                  <a:srgbClr val="FFFFFF">
                    <a:alpha val="99000"/>
                  </a:srgbClr>
                </a:solidFill>
                <a:effectLst/>
                <a:uLnTx/>
                <a:uFillTx/>
                <a:ea typeface="Segoe UI" panose="020B0502040204020203" pitchFamily="34" charset="0"/>
                <a:cs typeface="Segoe UI" panose="020B0502040204020203" pitchFamily="34" charset="0"/>
              </a:rPr>
              <a:t>O/S</a:t>
            </a:r>
          </a:p>
        </p:txBody>
      </p:sp>
      <p:sp>
        <p:nvSpPr>
          <p:cNvPr id="46" name="Rectangle 45"/>
          <p:cNvSpPr/>
          <p:nvPr/>
        </p:nvSpPr>
        <p:spPr>
          <a:xfrm>
            <a:off x="9299203" y="3206174"/>
            <a:ext cx="1636922" cy="380694"/>
          </a:xfrm>
          <a:prstGeom prst="rect">
            <a:avLst/>
          </a:prstGeom>
          <a:solidFill>
            <a:srgbClr val="00B294"/>
          </a:solidFill>
          <a:ln w="9525" cap="flat" cmpd="sng" algn="ctr">
            <a:noFill/>
            <a:prstDash val="solid"/>
          </a:ln>
          <a:effectLst/>
        </p:spPr>
        <p:txBody>
          <a:bodyPr lIns="0" rIns="0" rtlCol="0" anchor="ctr" anchorCtr="0"/>
          <a:lstStyle/>
          <a:p>
            <a:pPr marL="0" marR="0" lvl="0" indent="0" algn="ctr" defTabSz="1217715"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dirty="0">
                <a:ln>
                  <a:noFill/>
                </a:ln>
                <a:solidFill>
                  <a:srgbClr val="FFFFFF">
                    <a:alpha val="99000"/>
                  </a:srgbClr>
                </a:solidFill>
                <a:effectLst/>
                <a:uLnTx/>
                <a:uFillTx/>
                <a:ea typeface="Segoe UI" panose="020B0502040204020203" pitchFamily="34" charset="0"/>
                <a:cs typeface="Segoe UI" panose="020B0502040204020203" pitchFamily="34" charset="0"/>
              </a:rPr>
              <a:t>Middleware</a:t>
            </a:r>
          </a:p>
        </p:txBody>
      </p:sp>
      <p:sp>
        <p:nvSpPr>
          <p:cNvPr id="47" name="Rectangle 46"/>
          <p:cNvSpPr/>
          <p:nvPr/>
        </p:nvSpPr>
        <p:spPr>
          <a:xfrm>
            <a:off x="9299203" y="4115080"/>
            <a:ext cx="1636922" cy="380694"/>
          </a:xfrm>
          <a:prstGeom prst="rect">
            <a:avLst/>
          </a:prstGeom>
          <a:solidFill>
            <a:srgbClr val="00B294"/>
          </a:solidFill>
          <a:ln w="9525" cap="flat" cmpd="sng" algn="ctr">
            <a:noFill/>
            <a:prstDash val="solid"/>
          </a:ln>
          <a:effectLst/>
        </p:spPr>
        <p:txBody>
          <a:bodyPr lIns="0" rIns="0" rtlCol="0" anchor="ctr" anchorCtr="0"/>
          <a:lstStyle/>
          <a:p>
            <a:pPr marL="0" marR="0" lvl="0" indent="0" algn="ctr" defTabSz="1217715"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dirty="0">
                <a:ln>
                  <a:noFill/>
                </a:ln>
                <a:solidFill>
                  <a:srgbClr val="FFFFFF">
                    <a:alpha val="99000"/>
                  </a:srgbClr>
                </a:solidFill>
                <a:effectLst/>
                <a:uLnTx/>
                <a:uFillTx/>
                <a:ea typeface="Segoe UI" panose="020B0502040204020203" pitchFamily="34" charset="0"/>
                <a:cs typeface="Segoe UI" panose="020B0502040204020203" pitchFamily="34" charset="0"/>
              </a:rPr>
              <a:t>Virtualization</a:t>
            </a:r>
          </a:p>
        </p:txBody>
      </p:sp>
      <p:sp>
        <p:nvSpPr>
          <p:cNvPr id="48" name="Rectangle 47"/>
          <p:cNvSpPr/>
          <p:nvPr/>
        </p:nvSpPr>
        <p:spPr>
          <a:xfrm>
            <a:off x="9299203" y="1842814"/>
            <a:ext cx="1636922" cy="380694"/>
          </a:xfrm>
          <a:prstGeom prst="rect">
            <a:avLst/>
          </a:prstGeom>
          <a:solidFill>
            <a:srgbClr val="00B294"/>
          </a:solidFill>
          <a:ln w="9525" cap="flat" cmpd="sng" algn="ctr">
            <a:noFill/>
            <a:prstDash val="solid"/>
          </a:ln>
          <a:effectLst/>
        </p:spPr>
        <p:txBody>
          <a:bodyPr lIns="0" rIns="0" rtlCol="0" anchor="ctr" anchorCtr="0"/>
          <a:lstStyle/>
          <a:p>
            <a:pPr marL="0" marR="0" lvl="0" indent="0" algn="ctr" defTabSz="1217715"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dirty="0">
                <a:ln>
                  <a:noFill/>
                </a:ln>
                <a:solidFill>
                  <a:srgbClr val="FFFFFF">
                    <a:alpha val="99000"/>
                  </a:srgbClr>
                </a:solidFill>
                <a:effectLst/>
                <a:uLnTx/>
                <a:uFillTx/>
                <a:ea typeface="Segoe UI" panose="020B0502040204020203" pitchFamily="34" charset="0"/>
                <a:cs typeface="Segoe UI" panose="020B0502040204020203" pitchFamily="34" charset="0"/>
              </a:rPr>
              <a:t>Applications</a:t>
            </a:r>
          </a:p>
        </p:txBody>
      </p:sp>
      <p:sp>
        <p:nvSpPr>
          <p:cNvPr id="49" name="Rectangle 48"/>
          <p:cNvSpPr/>
          <p:nvPr/>
        </p:nvSpPr>
        <p:spPr>
          <a:xfrm>
            <a:off x="9299203" y="2751721"/>
            <a:ext cx="1636922" cy="380694"/>
          </a:xfrm>
          <a:prstGeom prst="rect">
            <a:avLst/>
          </a:prstGeom>
          <a:solidFill>
            <a:srgbClr val="00B294"/>
          </a:solidFill>
          <a:ln w="9525" cap="flat" cmpd="sng" algn="ctr">
            <a:noFill/>
            <a:prstDash val="solid"/>
          </a:ln>
          <a:effectLst/>
        </p:spPr>
        <p:txBody>
          <a:bodyPr lIns="0" rIns="0" rtlCol="0" anchor="ctr" anchorCtr="0"/>
          <a:lstStyle/>
          <a:p>
            <a:pPr marL="0" marR="0" lvl="0" indent="0" algn="ctr" defTabSz="1217715"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dirty="0">
                <a:ln>
                  <a:noFill/>
                </a:ln>
                <a:solidFill>
                  <a:srgbClr val="FFFFFF">
                    <a:alpha val="99000"/>
                  </a:srgbClr>
                </a:solidFill>
                <a:effectLst/>
                <a:uLnTx/>
                <a:uFillTx/>
                <a:ea typeface="Segoe UI" panose="020B0502040204020203" pitchFamily="34" charset="0"/>
                <a:cs typeface="Segoe UI" panose="020B0502040204020203" pitchFamily="34" charset="0"/>
              </a:rPr>
              <a:t>Runtime</a:t>
            </a:r>
          </a:p>
        </p:txBody>
      </p:sp>
      <p:sp>
        <p:nvSpPr>
          <p:cNvPr id="50" name="Rectangle 49"/>
          <p:cNvSpPr/>
          <p:nvPr/>
        </p:nvSpPr>
        <p:spPr>
          <a:xfrm>
            <a:off x="9299203" y="2297268"/>
            <a:ext cx="1636922" cy="380694"/>
          </a:xfrm>
          <a:prstGeom prst="rect">
            <a:avLst/>
          </a:prstGeom>
          <a:solidFill>
            <a:srgbClr val="00B294"/>
          </a:solidFill>
          <a:ln w="9525" cap="flat" cmpd="sng" algn="ctr">
            <a:noFill/>
            <a:prstDash val="solid"/>
          </a:ln>
          <a:effectLst/>
        </p:spPr>
        <p:txBody>
          <a:bodyPr lIns="0" rIns="0" rtlCol="0" anchor="ctr" anchorCtr="0"/>
          <a:lstStyle/>
          <a:p>
            <a:pPr marL="0" marR="0" lvl="0" indent="0" algn="ctr" defTabSz="1217715"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dirty="0">
                <a:ln>
                  <a:noFill/>
                </a:ln>
                <a:solidFill>
                  <a:srgbClr val="FFFFFF">
                    <a:alpha val="99000"/>
                  </a:srgbClr>
                </a:solidFill>
                <a:effectLst/>
                <a:uLnTx/>
                <a:uFillTx/>
                <a:ea typeface="Segoe UI" panose="020B0502040204020203" pitchFamily="34" charset="0"/>
                <a:cs typeface="Segoe UI" panose="020B0502040204020203" pitchFamily="34" charset="0"/>
              </a:rPr>
              <a:t>Data</a:t>
            </a:r>
          </a:p>
        </p:txBody>
      </p:sp>
      <p:sp>
        <p:nvSpPr>
          <p:cNvPr id="51" name="Rectangle 50"/>
          <p:cNvSpPr/>
          <p:nvPr/>
        </p:nvSpPr>
        <p:spPr>
          <a:xfrm>
            <a:off x="1427633" y="5016850"/>
            <a:ext cx="1636923" cy="380694"/>
          </a:xfrm>
          <a:prstGeom prst="rect">
            <a:avLst/>
          </a:prstGeom>
          <a:solidFill>
            <a:srgbClr val="68217A"/>
          </a:solidFill>
          <a:ln w="9525" cap="flat" cmpd="sng" algn="ctr">
            <a:noFill/>
            <a:prstDash val="solid"/>
          </a:ln>
          <a:effectLst/>
        </p:spPr>
        <p:txBody>
          <a:bodyPr rtlCol="0" anchor="ctr" anchorCtr="0"/>
          <a:lstStyle/>
          <a:p>
            <a:pPr marL="0" marR="0" lvl="0" indent="0" algn="ctr" defTabSz="1217715"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dirty="0">
                <a:ln>
                  <a:noFill/>
                </a:ln>
                <a:solidFill>
                  <a:srgbClr val="FFFFFF">
                    <a:alpha val="99000"/>
                  </a:srgbClr>
                </a:solidFill>
                <a:effectLst/>
                <a:uLnTx/>
                <a:uFillTx/>
                <a:ea typeface="Segoe UI" panose="020B0502040204020203" pitchFamily="34" charset="0"/>
                <a:cs typeface="Segoe UI" panose="020B0502040204020203" pitchFamily="34" charset="0"/>
              </a:rPr>
              <a:t>Storage</a:t>
            </a:r>
          </a:p>
        </p:txBody>
      </p:sp>
      <p:sp>
        <p:nvSpPr>
          <p:cNvPr id="52" name="Rectangle 51"/>
          <p:cNvSpPr/>
          <p:nvPr/>
        </p:nvSpPr>
        <p:spPr>
          <a:xfrm>
            <a:off x="1427633" y="4562396"/>
            <a:ext cx="1636923" cy="380694"/>
          </a:xfrm>
          <a:prstGeom prst="rect">
            <a:avLst/>
          </a:prstGeom>
          <a:solidFill>
            <a:srgbClr val="68217A"/>
          </a:solidFill>
          <a:ln w="9525" cap="flat" cmpd="sng" algn="ctr">
            <a:noFill/>
            <a:prstDash val="solid"/>
          </a:ln>
          <a:effectLst/>
        </p:spPr>
        <p:txBody>
          <a:bodyPr rtlCol="0" anchor="ctr" anchorCtr="0"/>
          <a:lstStyle/>
          <a:p>
            <a:pPr marL="0" marR="0" lvl="0" indent="0" algn="ctr" defTabSz="1217715"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dirty="0">
                <a:ln>
                  <a:noFill/>
                </a:ln>
                <a:solidFill>
                  <a:srgbClr val="FFFFFF">
                    <a:alpha val="99000"/>
                  </a:srgbClr>
                </a:solidFill>
                <a:effectLst/>
                <a:uLnTx/>
                <a:uFillTx/>
                <a:ea typeface="Segoe UI" panose="020B0502040204020203" pitchFamily="34" charset="0"/>
                <a:cs typeface="Segoe UI" panose="020B0502040204020203" pitchFamily="34" charset="0"/>
              </a:rPr>
              <a:t>Servers</a:t>
            </a:r>
          </a:p>
        </p:txBody>
      </p:sp>
      <p:sp>
        <p:nvSpPr>
          <p:cNvPr id="53" name="Rectangle 52"/>
          <p:cNvSpPr/>
          <p:nvPr/>
        </p:nvSpPr>
        <p:spPr>
          <a:xfrm>
            <a:off x="1427633" y="5471301"/>
            <a:ext cx="1636923" cy="380694"/>
          </a:xfrm>
          <a:prstGeom prst="rect">
            <a:avLst/>
          </a:prstGeom>
          <a:solidFill>
            <a:srgbClr val="68217A"/>
          </a:solidFill>
          <a:ln w="9525" cap="flat" cmpd="sng" algn="ctr">
            <a:noFill/>
            <a:prstDash val="solid"/>
          </a:ln>
          <a:effectLst/>
        </p:spPr>
        <p:txBody>
          <a:bodyPr rtlCol="0" anchor="ctr" anchorCtr="0"/>
          <a:lstStyle/>
          <a:p>
            <a:pPr marL="0" marR="0" lvl="0" indent="0" algn="ctr" defTabSz="1217715"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dirty="0">
                <a:ln>
                  <a:noFill/>
                </a:ln>
                <a:solidFill>
                  <a:srgbClr val="FFFFFF">
                    <a:alpha val="99000"/>
                  </a:srgbClr>
                </a:solidFill>
                <a:effectLst/>
                <a:uLnTx/>
                <a:uFillTx/>
                <a:ea typeface="Segoe UI" panose="020B0502040204020203" pitchFamily="34" charset="0"/>
                <a:cs typeface="Segoe UI" panose="020B0502040204020203" pitchFamily="34" charset="0"/>
              </a:rPr>
              <a:t>Networking</a:t>
            </a:r>
          </a:p>
        </p:txBody>
      </p:sp>
      <p:sp>
        <p:nvSpPr>
          <p:cNvPr id="54" name="Rectangle 53"/>
          <p:cNvSpPr/>
          <p:nvPr/>
        </p:nvSpPr>
        <p:spPr>
          <a:xfrm>
            <a:off x="1427633" y="3653490"/>
            <a:ext cx="1636923" cy="380694"/>
          </a:xfrm>
          <a:prstGeom prst="rect">
            <a:avLst/>
          </a:prstGeom>
          <a:solidFill>
            <a:srgbClr val="68217A"/>
          </a:solidFill>
          <a:ln w="9525" cap="flat" cmpd="sng" algn="ctr">
            <a:noFill/>
            <a:prstDash val="solid"/>
          </a:ln>
          <a:effectLst/>
        </p:spPr>
        <p:txBody>
          <a:bodyPr rtlCol="0" anchor="ctr" anchorCtr="0"/>
          <a:lstStyle/>
          <a:p>
            <a:pPr marL="0" marR="0" lvl="0" indent="0" algn="ctr" defTabSz="1217715"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dirty="0">
                <a:ln>
                  <a:noFill/>
                </a:ln>
                <a:solidFill>
                  <a:srgbClr val="FFFFFF">
                    <a:alpha val="99000"/>
                  </a:srgbClr>
                </a:solidFill>
                <a:effectLst/>
                <a:uLnTx/>
                <a:uFillTx/>
                <a:ea typeface="Segoe UI" panose="020B0502040204020203" pitchFamily="34" charset="0"/>
                <a:cs typeface="Segoe UI" panose="020B0502040204020203" pitchFamily="34" charset="0"/>
              </a:rPr>
              <a:t>O/S</a:t>
            </a:r>
          </a:p>
        </p:txBody>
      </p:sp>
      <p:sp>
        <p:nvSpPr>
          <p:cNvPr id="55" name="Rectangle 54"/>
          <p:cNvSpPr/>
          <p:nvPr/>
        </p:nvSpPr>
        <p:spPr>
          <a:xfrm>
            <a:off x="1427633" y="3199037"/>
            <a:ext cx="1636923" cy="380694"/>
          </a:xfrm>
          <a:prstGeom prst="rect">
            <a:avLst/>
          </a:prstGeom>
          <a:solidFill>
            <a:srgbClr val="68217A"/>
          </a:solidFill>
          <a:ln w="9525" cap="flat" cmpd="sng" algn="ctr">
            <a:noFill/>
            <a:prstDash val="solid"/>
          </a:ln>
          <a:effectLst/>
        </p:spPr>
        <p:txBody>
          <a:bodyPr rtlCol="0" anchor="ctr" anchorCtr="0"/>
          <a:lstStyle/>
          <a:p>
            <a:pPr marL="0" marR="0" lvl="0" indent="0" algn="ctr" defTabSz="1217715"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dirty="0">
                <a:ln>
                  <a:noFill/>
                </a:ln>
                <a:solidFill>
                  <a:srgbClr val="FFFFFF">
                    <a:alpha val="99000"/>
                  </a:srgbClr>
                </a:solidFill>
                <a:effectLst/>
                <a:uLnTx/>
                <a:uFillTx/>
                <a:ea typeface="Segoe UI" panose="020B0502040204020203" pitchFamily="34" charset="0"/>
                <a:cs typeface="Segoe UI" panose="020B0502040204020203" pitchFamily="34" charset="0"/>
              </a:rPr>
              <a:t>Middleware</a:t>
            </a:r>
          </a:p>
        </p:txBody>
      </p:sp>
      <p:sp>
        <p:nvSpPr>
          <p:cNvPr id="56" name="Rectangle 55"/>
          <p:cNvSpPr/>
          <p:nvPr/>
        </p:nvSpPr>
        <p:spPr>
          <a:xfrm>
            <a:off x="1427633" y="4107943"/>
            <a:ext cx="1636923" cy="380694"/>
          </a:xfrm>
          <a:prstGeom prst="rect">
            <a:avLst/>
          </a:prstGeom>
          <a:solidFill>
            <a:srgbClr val="68217A"/>
          </a:solidFill>
          <a:ln w="9525" cap="flat" cmpd="sng" algn="ctr">
            <a:noFill/>
            <a:prstDash val="solid"/>
          </a:ln>
          <a:effectLst/>
        </p:spPr>
        <p:txBody>
          <a:bodyPr rtlCol="0" anchor="ctr" anchorCtr="0"/>
          <a:lstStyle/>
          <a:p>
            <a:pPr marL="0" marR="0" lvl="0" indent="0" algn="ctr" defTabSz="1217715"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dirty="0">
                <a:ln>
                  <a:noFill/>
                </a:ln>
                <a:solidFill>
                  <a:srgbClr val="FFFFFF">
                    <a:alpha val="99000"/>
                  </a:srgbClr>
                </a:solidFill>
                <a:effectLst/>
                <a:uLnTx/>
                <a:uFillTx/>
                <a:ea typeface="Segoe UI" panose="020B0502040204020203" pitchFamily="34" charset="0"/>
                <a:cs typeface="Segoe UI" panose="020B0502040204020203" pitchFamily="34" charset="0"/>
              </a:rPr>
              <a:t>Virtualization</a:t>
            </a:r>
          </a:p>
        </p:txBody>
      </p:sp>
      <p:sp>
        <p:nvSpPr>
          <p:cNvPr id="57" name="Rectangle 56"/>
          <p:cNvSpPr/>
          <p:nvPr/>
        </p:nvSpPr>
        <p:spPr>
          <a:xfrm>
            <a:off x="1427633" y="2290131"/>
            <a:ext cx="1636923" cy="380694"/>
          </a:xfrm>
          <a:prstGeom prst="rect">
            <a:avLst/>
          </a:prstGeom>
          <a:solidFill>
            <a:srgbClr val="68217A"/>
          </a:solidFill>
          <a:ln w="9525" cap="flat" cmpd="sng" algn="ctr">
            <a:noFill/>
            <a:prstDash val="solid"/>
          </a:ln>
          <a:effectLst/>
        </p:spPr>
        <p:txBody>
          <a:bodyPr rtlCol="0" anchor="ctr" anchorCtr="0"/>
          <a:lstStyle/>
          <a:p>
            <a:pPr marL="0" marR="0" lvl="0" indent="0" algn="ctr" defTabSz="1217715"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dirty="0">
                <a:ln>
                  <a:noFill/>
                </a:ln>
                <a:solidFill>
                  <a:srgbClr val="FFFFFF">
                    <a:alpha val="99000"/>
                  </a:srgbClr>
                </a:solidFill>
                <a:effectLst/>
                <a:uLnTx/>
                <a:uFillTx/>
                <a:ea typeface="Segoe UI" panose="020B0502040204020203" pitchFamily="34" charset="0"/>
                <a:cs typeface="Segoe UI" panose="020B0502040204020203" pitchFamily="34" charset="0"/>
              </a:rPr>
              <a:t>Data</a:t>
            </a:r>
          </a:p>
        </p:txBody>
      </p:sp>
      <p:sp>
        <p:nvSpPr>
          <p:cNvPr id="58" name="Rectangle 57"/>
          <p:cNvSpPr/>
          <p:nvPr/>
        </p:nvSpPr>
        <p:spPr>
          <a:xfrm>
            <a:off x="1427633" y="1835676"/>
            <a:ext cx="1636923" cy="380694"/>
          </a:xfrm>
          <a:prstGeom prst="rect">
            <a:avLst/>
          </a:prstGeom>
          <a:solidFill>
            <a:srgbClr val="68217A"/>
          </a:solidFill>
          <a:ln w="9525" cap="flat" cmpd="sng" algn="ctr">
            <a:noFill/>
            <a:prstDash val="solid"/>
          </a:ln>
          <a:effectLst/>
        </p:spPr>
        <p:txBody>
          <a:bodyPr rtlCol="0" anchor="ctr" anchorCtr="0"/>
          <a:lstStyle/>
          <a:p>
            <a:pPr marL="0" marR="0" lvl="1" indent="0" algn="ctr" defTabSz="1217615"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dirty="0">
                <a:ln>
                  <a:noFill/>
                </a:ln>
                <a:solidFill>
                  <a:srgbClr val="FFFFFF"/>
                </a:solidFill>
                <a:effectLst/>
                <a:uLnTx/>
                <a:uFillTx/>
                <a:cs typeface="Segoe UI" panose="020B0502040204020203" pitchFamily="34" charset="0"/>
              </a:rPr>
              <a:t>Applications</a:t>
            </a:r>
          </a:p>
        </p:txBody>
      </p:sp>
      <p:sp>
        <p:nvSpPr>
          <p:cNvPr id="59" name="Rectangle 58"/>
          <p:cNvSpPr/>
          <p:nvPr/>
        </p:nvSpPr>
        <p:spPr>
          <a:xfrm>
            <a:off x="1427633" y="2744585"/>
            <a:ext cx="1636923" cy="380694"/>
          </a:xfrm>
          <a:prstGeom prst="rect">
            <a:avLst/>
          </a:prstGeom>
          <a:solidFill>
            <a:srgbClr val="68217A"/>
          </a:solidFill>
          <a:ln w="9525" cap="flat" cmpd="sng" algn="ctr">
            <a:noFill/>
            <a:prstDash val="solid"/>
          </a:ln>
          <a:effectLst/>
        </p:spPr>
        <p:txBody>
          <a:bodyPr rtlCol="0" anchor="ctr" anchorCtr="0"/>
          <a:lstStyle/>
          <a:p>
            <a:pPr marL="0" marR="0" lvl="0" indent="0" algn="ctr" defTabSz="1217715"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dirty="0">
                <a:ln>
                  <a:noFill/>
                </a:ln>
                <a:solidFill>
                  <a:srgbClr val="FFFFFF">
                    <a:alpha val="99000"/>
                  </a:srgbClr>
                </a:solidFill>
                <a:effectLst/>
                <a:uLnTx/>
                <a:uFillTx/>
                <a:ea typeface="Segoe UI" panose="020B0502040204020203" pitchFamily="34" charset="0"/>
                <a:cs typeface="Segoe UI" panose="020B0502040204020203" pitchFamily="34" charset="0"/>
              </a:rPr>
              <a:t>Runtime</a:t>
            </a:r>
          </a:p>
        </p:txBody>
      </p:sp>
      <p:sp>
        <p:nvSpPr>
          <p:cNvPr id="60" name="Left Brace 59"/>
          <p:cNvSpPr/>
          <p:nvPr/>
        </p:nvSpPr>
        <p:spPr>
          <a:xfrm>
            <a:off x="1178600" y="1835676"/>
            <a:ext cx="243415" cy="4016318"/>
          </a:xfrm>
          <a:prstGeom prst="leftBrace">
            <a:avLst>
              <a:gd name="adj1" fmla="val 0"/>
              <a:gd name="adj2" fmla="val 50000"/>
            </a:avLst>
          </a:prstGeom>
          <a:noFill/>
          <a:ln w="19050" cap="flat" cmpd="sng" algn="ctr">
            <a:solidFill>
              <a:srgbClr val="343434">
                <a:lumMod val="50000"/>
                <a:lumOff val="50000"/>
              </a:srgbClr>
            </a:solidFill>
            <a:prstDash val="solid"/>
          </a:ln>
          <a:effectLst/>
        </p:spPr>
        <p:txBody>
          <a:bodyPr rtlCol="0" anchor="ctr"/>
          <a:lstStyle/>
          <a:p>
            <a:pPr marL="0" marR="0" lvl="0" indent="0" algn="ctr" defTabSz="1217715"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dirty="0">
              <a:ln>
                <a:noFill/>
              </a:ln>
              <a:solidFill>
                <a:srgbClr val="FFFFFF"/>
              </a:solidFill>
              <a:effectLst/>
              <a:uLnTx/>
              <a:uFillTx/>
              <a:ea typeface="Segoe UI" pitchFamily="34" charset="0"/>
              <a:cs typeface="Segoe UI" pitchFamily="34" charset="0"/>
            </a:endParaRPr>
          </a:p>
        </p:txBody>
      </p:sp>
      <p:sp>
        <p:nvSpPr>
          <p:cNvPr id="61" name="TextBox 54"/>
          <p:cNvSpPr txBox="1"/>
          <p:nvPr/>
        </p:nvSpPr>
        <p:spPr>
          <a:xfrm rot="10800000" flipH="1">
            <a:off x="11199017" y="2809397"/>
            <a:ext cx="615553" cy="198765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761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2"/>
                </a:solidFill>
                <a:effectLst/>
                <a:uLnTx/>
                <a:uFillTx/>
                <a:latin typeface="+mn-lt"/>
                <a:ea typeface="+mn-ea"/>
                <a:cs typeface="Segoe UI" panose="020B0502040204020203" pitchFamily="34" charset="0"/>
              </a:rPr>
              <a:t>Scale, resilience and </a:t>
            </a:r>
            <a:br>
              <a:rPr kumimoji="0" lang="en-US" sz="1400" b="0" i="0" u="none" strike="noStrike" kern="1200" cap="none" spc="0" normalizeH="0" baseline="0" noProof="0" dirty="0">
                <a:ln>
                  <a:noFill/>
                </a:ln>
                <a:solidFill>
                  <a:schemeClr val="bg2"/>
                </a:solidFill>
                <a:effectLst/>
                <a:uLnTx/>
                <a:uFillTx/>
                <a:latin typeface="+mn-lt"/>
                <a:ea typeface="+mn-ea"/>
                <a:cs typeface="Segoe UI" panose="020B0502040204020203" pitchFamily="34" charset="0"/>
              </a:rPr>
            </a:br>
            <a:r>
              <a:rPr kumimoji="0" lang="en-US" sz="1400" b="0" i="0" u="none" strike="noStrike" kern="1200" cap="none" spc="0" normalizeH="0" baseline="0" noProof="0" dirty="0">
                <a:ln>
                  <a:noFill/>
                </a:ln>
                <a:solidFill>
                  <a:schemeClr val="bg2"/>
                </a:solidFill>
                <a:effectLst/>
                <a:uLnTx/>
                <a:uFillTx/>
                <a:latin typeface="+mn-lt"/>
                <a:ea typeface="+mn-ea"/>
                <a:cs typeface="Segoe UI" panose="020B0502040204020203" pitchFamily="34" charset="0"/>
              </a:rPr>
              <a:t>management by vendor</a:t>
            </a:r>
          </a:p>
        </p:txBody>
      </p:sp>
      <p:sp>
        <p:nvSpPr>
          <p:cNvPr id="62" name="Left Brace 61"/>
          <p:cNvSpPr/>
          <p:nvPr/>
        </p:nvSpPr>
        <p:spPr>
          <a:xfrm flipH="1">
            <a:off x="10965724" y="1835876"/>
            <a:ext cx="243415" cy="4016318"/>
          </a:xfrm>
          <a:prstGeom prst="leftBrace">
            <a:avLst>
              <a:gd name="adj1" fmla="val 0"/>
              <a:gd name="adj2" fmla="val 50000"/>
            </a:avLst>
          </a:prstGeom>
          <a:noFill/>
          <a:ln w="19050" cap="flat" cmpd="sng" algn="ctr">
            <a:solidFill>
              <a:srgbClr val="343434">
                <a:lumMod val="50000"/>
                <a:lumOff val="50000"/>
              </a:srgbClr>
            </a:solidFill>
            <a:prstDash val="solid"/>
          </a:ln>
          <a:effectLst/>
        </p:spPr>
        <p:txBody>
          <a:bodyPr rtlCol="0" anchor="ctr"/>
          <a:lstStyle/>
          <a:p>
            <a:pPr marL="0" marR="0" lvl="0" indent="0" algn="ctr" defTabSz="1217715"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dirty="0">
              <a:ln>
                <a:noFill/>
              </a:ln>
              <a:solidFill>
                <a:srgbClr val="FFFFFF"/>
              </a:solidFill>
              <a:effectLst/>
              <a:uLnTx/>
              <a:uFillTx/>
              <a:ea typeface="Segoe UI" pitchFamily="34" charset="0"/>
              <a:cs typeface="Segoe UI" pitchFamily="34" charset="0"/>
            </a:endParaRPr>
          </a:p>
        </p:txBody>
      </p:sp>
    </p:spTree>
    <p:extLst>
      <p:ext uri="{BB962C8B-B14F-4D97-AF65-F5344CB8AC3E}">
        <p14:creationId xmlns:p14="http://schemas.microsoft.com/office/powerpoint/2010/main" val="4251411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 name="Title 1"/>
          <p:cNvSpPr>
            <a:spLocks noGrp="1"/>
          </p:cNvSpPr>
          <p:nvPr>
            <p:ph type="title"/>
          </p:nvPr>
        </p:nvSpPr>
        <p:spPr/>
        <p:txBody>
          <a:bodyPr>
            <a:normAutofit/>
          </a:bodyPr>
          <a:lstStyle/>
          <a:p>
            <a:r>
              <a:rPr lang="en-US" dirty="0">
                <a:solidFill>
                  <a:schemeClr val="bg1"/>
                </a:solidFill>
              </a:rPr>
              <a:t>Stay ahead of the curve with Cortana Intelligence Suite</a:t>
            </a:r>
          </a:p>
        </p:txBody>
      </p:sp>
      <p:grpSp>
        <p:nvGrpSpPr>
          <p:cNvPr id="104" name="Group 103"/>
          <p:cNvGrpSpPr/>
          <p:nvPr/>
        </p:nvGrpSpPr>
        <p:grpSpPr>
          <a:xfrm>
            <a:off x="7799267" y="2677229"/>
            <a:ext cx="312612" cy="182489"/>
            <a:chOff x="-4411663" y="4275138"/>
            <a:chExt cx="312738" cy="182563"/>
          </a:xfrm>
          <a:solidFill>
            <a:schemeClr val="bg2">
              <a:lumMod val="25000"/>
              <a:lumOff val="75000"/>
            </a:schemeClr>
          </a:solidFill>
        </p:grpSpPr>
        <p:sp>
          <p:nvSpPr>
            <p:cNvPr id="106" name="Freeform 9"/>
            <p:cNvSpPr>
              <a:spLocks/>
            </p:cNvSpPr>
            <p:nvPr/>
          </p:nvSpPr>
          <p:spPr bwMode="auto">
            <a:xfrm>
              <a:off x="-4411663" y="4352925"/>
              <a:ext cx="312738" cy="26988"/>
            </a:xfrm>
            <a:custGeom>
              <a:avLst/>
              <a:gdLst>
                <a:gd name="T0" fmla="*/ 377 w 394"/>
                <a:gd name="T1" fmla="*/ 33 h 33"/>
                <a:gd name="T2" fmla="*/ 16 w 394"/>
                <a:gd name="T3" fmla="*/ 33 h 33"/>
                <a:gd name="T4" fmla="*/ 16 w 394"/>
                <a:gd name="T5" fmla="*/ 33 h 33"/>
                <a:gd name="T6" fmla="*/ 10 w 394"/>
                <a:gd name="T7" fmla="*/ 32 h 33"/>
                <a:gd name="T8" fmla="*/ 4 w 394"/>
                <a:gd name="T9" fmla="*/ 28 h 33"/>
                <a:gd name="T10" fmla="*/ 1 w 394"/>
                <a:gd name="T11" fmla="*/ 23 h 33"/>
                <a:gd name="T12" fmla="*/ 0 w 394"/>
                <a:gd name="T13" fmla="*/ 17 h 33"/>
                <a:gd name="T14" fmla="*/ 0 w 394"/>
                <a:gd name="T15" fmla="*/ 17 h 33"/>
                <a:gd name="T16" fmla="*/ 1 w 394"/>
                <a:gd name="T17" fmla="*/ 10 h 33"/>
                <a:gd name="T18" fmla="*/ 4 w 394"/>
                <a:gd name="T19" fmla="*/ 6 h 33"/>
                <a:gd name="T20" fmla="*/ 10 w 394"/>
                <a:gd name="T21" fmla="*/ 1 h 33"/>
                <a:gd name="T22" fmla="*/ 16 w 394"/>
                <a:gd name="T23" fmla="*/ 0 h 33"/>
                <a:gd name="T24" fmla="*/ 377 w 394"/>
                <a:gd name="T25" fmla="*/ 0 h 33"/>
                <a:gd name="T26" fmla="*/ 377 w 394"/>
                <a:gd name="T27" fmla="*/ 0 h 33"/>
                <a:gd name="T28" fmla="*/ 383 w 394"/>
                <a:gd name="T29" fmla="*/ 1 h 33"/>
                <a:gd name="T30" fmla="*/ 389 w 394"/>
                <a:gd name="T31" fmla="*/ 6 h 33"/>
                <a:gd name="T32" fmla="*/ 392 w 394"/>
                <a:gd name="T33" fmla="*/ 10 h 33"/>
                <a:gd name="T34" fmla="*/ 394 w 394"/>
                <a:gd name="T35" fmla="*/ 17 h 33"/>
                <a:gd name="T36" fmla="*/ 394 w 394"/>
                <a:gd name="T37" fmla="*/ 17 h 33"/>
                <a:gd name="T38" fmla="*/ 392 w 394"/>
                <a:gd name="T39" fmla="*/ 23 h 33"/>
                <a:gd name="T40" fmla="*/ 389 w 394"/>
                <a:gd name="T41" fmla="*/ 28 h 33"/>
                <a:gd name="T42" fmla="*/ 383 w 394"/>
                <a:gd name="T43" fmla="*/ 32 h 33"/>
                <a:gd name="T44" fmla="*/ 377 w 394"/>
                <a:gd name="T45" fmla="*/ 33 h 33"/>
                <a:gd name="T46" fmla="*/ 377 w 394"/>
                <a:gd name="T4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94" h="33">
                  <a:moveTo>
                    <a:pt x="377" y="33"/>
                  </a:moveTo>
                  <a:lnTo>
                    <a:pt x="16" y="33"/>
                  </a:lnTo>
                  <a:lnTo>
                    <a:pt x="16" y="33"/>
                  </a:lnTo>
                  <a:lnTo>
                    <a:pt x="10" y="32"/>
                  </a:lnTo>
                  <a:lnTo>
                    <a:pt x="4" y="28"/>
                  </a:lnTo>
                  <a:lnTo>
                    <a:pt x="1" y="23"/>
                  </a:lnTo>
                  <a:lnTo>
                    <a:pt x="0" y="17"/>
                  </a:lnTo>
                  <a:lnTo>
                    <a:pt x="0" y="17"/>
                  </a:lnTo>
                  <a:lnTo>
                    <a:pt x="1" y="10"/>
                  </a:lnTo>
                  <a:lnTo>
                    <a:pt x="4" y="6"/>
                  </a:lnTo>
                  <a:lnTo>
                    <a:pt x="10" y="1"/>
                  </a:lnTo>
                  <a:lnTo>
                    <a:pt x="16" y="0"/>
                  </a:lnTo>
                  <a:lnTo>
                    <a:pt x="377" y="0"/>
                  </a:lnTo>
                  <a:lnTo>
                    <a:pt x="377" y="0"/>
                  </a:lnTo>
                  <a:lnTo>
                    <a:pt x="383" y="1"/>
                  </a:lnTo>
                  <a:lnTo>
                    <a:pt x="389" y="6"/>
                  </a:lnTo>
                  <a:lnTo>
                    <a:pt x="392" y="10"/>
                  </a:lnTo>
                  <a:lnTo>
                    <a:pt x="394" y="17"/>
                  </a:lnTo>
                  <a:lnTo>
                    <a:pt x="394" y="17"/>
                  </a:lnTo>
                  <a:lnTo>
                    <a:pt x="392" y="23"/>
                  </a:lnTo>
                  <a:lnTo>
                    <a:pt x="389" y="28"/>
                  </a:lnTo>
                  <a:lnTo>
                    <a:pt x="383" y="32"/>
                  </a:lnTo>
                  <a:lnTo>
                    <a:pt x="377" y="33"/>
                  </a:lnTo>
                  <a:lnTo>
                    <a:pt x="377"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108" name="Freeform 10"/>
            <p:cNvSpPr>
              <a:spLocks/>
            </p:cNvSpPr>
            <p:nvPr/>
          </p:nvSpPr>
          <p:spPr bwMode="auto">
            <a:xfrm>
              <a:off x="-4198938" y="4275138"/>
              <a:ext cx="100013" cy="182563"/>
            </a:xfrm>
            <a:custGeom>
              <a:avLst/>
              <a:gdLst>
                <a:gd name="T0" fmla="*/ 18 w 127"/>
                <a:gd name="T1" fmla="*/ 231 h 231"/>
                <a:gd name="T2" fmla="*/ 18 w 127"/>
                <a:gd name="T3" fmla="*/ 231 h 231"/>
                <a:gd name="T4" fmla="*/ 10 w 127"/>
                <a:gd name="T5" fmla="*/ 231 h 231"/>
                <a:gd name="T6" fmla="*/ 6 w 127"/>
                <a:gd name="T7" fmla="*/ 226 h 231"/>
                <a:gd name="T8" fmla="*/ 6 w 127"/>
                <a:gd name="T9" fmla="*/ 226 h 231"/>
                <a:gd name="T10" fmla="*/ 2 w 127"/>
                <a:gd name="T11" fmla="*/ 221 h 231"/>
                <a:gd name="T12" fmla="*/ 0 w 127"/>
                <a:gd name="T13" fmla="*/ 215 h 231"/>
                <a:gd name="T14" fmla="*/ 2 w 127"/>
                <a:gd name="T15" fmla="*/ 209 h 231"/>
                <a:gd name="T16" fmla="*/ 6 w 127"/>
                <a:gd name="T17" fmla="*/ 203 h 231"/>
                <a:gd name="T18" fmla="*/ 94 w 127"/>
                <a:gd name="T19" fmla="*/ 115 h 231"/>
                <a:gd name="T20" fmla="*/ 6 w 127"/>
                <a:gd name="T21" fmla="*/ 28 h 231"/>
                <a:gd name="T22" fmla="*/ 6 w 127"/>
                <a:gd name="T23" fmla="*/ 28 h 231"/>
                <a:gd name="T24" fmla="*/ 2 w 127"/>
                <a:gd name="T25" fmla="*/ 22 h 231"/>
                <a:gd name="T26" fmla="*/ 0 w 127"/>
                <a:gd name="T27" fmla="*/ 16 h 231"/>
                <a:gd name="T28" fmla="*/ 2 w 127"/>
                <a:gd name="T29" fmla="*/ 11 h 231"/>
                <a:gd name="T30" fmla="*/ 6 w 127"/>
                <a:gd name="T31" fmla="*/ 5 h 231"/>
                <a:gd name="T32" fmla="*/ 6 w 127"/>
                <a:gd name="T33" fmla="*/ 5 h 231"/>
                <a:gd name="T34" fmla="*/ 10 w 127"/>
                <a:gd name="T35" fmla="*/ 2 h 231"/>
                <a:gd name="T36" fmla="*/ 18 w 127"/>
                <a:gd name="T37" fmla="*/ 0 h 231"/>
                <a:gd name="T38" fmla="*/ 24 w 127"/>
                <a:gd name="T39" fmla="*/ 2 h 231"/>
                <a:gd name="T40" fmla="*/ 30 w 127"/>
                <a:gd name="T41" fmla="*/ 5 h 231"/>
                <a:gd name="T42" fmla="*/ 118 w 127"/>
                <a:gd name="T43" fmla="*/ 93 h 231"/>
                <a:gd name="T44" fmla="*/ 118 w 127"/>
                <a:gd name="T45" fmla="*/ 93 h 231"/>
                <a:gd name="T46" fmla="*/ 122 w 127"/>
                <a:gd name="T47" fmla="*/ 99 h 231"/>
                <a:gd name="T48" fmla="*/ 125 w 127"/>
                <a:gd name="T49" fmla="*/ 103 h 231"/>
                <a:gd name="T50" fmla="*/ 127 w 127"/>
                <a:gd name="T51" fmla="*/ 109 h 231"/>
                <a:gd name="T52" fmla="*/ 127 w 127"/>
                <a:gd name="T53" fmla="*/ 116 h 231"/>
                <a:gd name="T54" fmla="*/ 127 w 127"/>
                <a:gd name="T55" fmla="*/ 116 h 231"/>
                <a:gd name="T56" fmla="*/ 127 w 127"/>
                <a:gd name="T57" fmla="*/ 122 h 231"/>
                <a:gd name="T58" fmla="*/ 125 w 127"/>
                <a:gd name="T59" fmla="*/ 128 h 231"/>
                <a:gd name="T60" fmla="*/ 122 w 127"/>
                <a:gd name="T61" fmla="*/ 132 h 231"/>
                <a:gd name="T62" fmla="*/ 118 w 127"/>
                <a:gd name="T63" fmla="*/ 138 h 231"/>
                <a:gd name="T64" fmla="*/ 28 w 127"/>
                <a:gd name="T65" fmla="*/ 226 h 231"/>
                <a:gd name="T66" fmla="*/ 28 w 127"/>
                <a:gd name="T67" fmla="*/ 226 h 231"/>
                <a:gd name="T68" fmla="*/ 24 w 127"/>
                <a:gd name="T69" fmla="*/ 231 h 231"/>
                <a:gd name="T70" fmla="*/ 18 w 127"/>
                <a:gd name="T71" fmla="*/ 231 h 231"/>
                <a:gd name="T72" fmla="*/ 18 w 127"/>
                <a:gd name="T73" fmla="*/ 231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31">
                  <a:moveTo>
                    <a:pt x="18" y="231"/>
                  </a:moveTo>
                  <a:lnTo>
                    <a:pt x="18" y="231"/>
                  </a:lnTo>
                  <a:lnTo>
                    <a:pt x="10" y="231"/>
                  </a:lnTo>
                  <a:lnTo>
                    <a:pt x="6" y="226"/>
                  </a:lnTo>
                  <a:lnTo>
                    <a:pt x="6" y="226"/>
                  </a:lnTo>
                  <a:lnTo>
                    <a:pt x="2" y="221"/>
                  </a:lnTo>
                  <a:lnTo>
                    <a:pt x="0" y="215"/>
                  </a:lnTo>
                  <a:lnTo>
                    <a:pt x="2" y="209"/>
                  </a:lnTo>
                  <a:lnTo>
                    <a:pt x="6" y="203"/>
                  </a:lnTo>
                  <a:lnTo>
                    <a:pt x="94" y="115"/>
                  </a:lnTo>
                  <a:lnTo>
                    <a:pt x="6" y="28"/>
                  </a:lnTo>
                  <a:lnTo>
                    <a:pt x="6" y="28"/>
                  </a:lnTo>
                  <a:lnTo>
                    <a:pt x="2" y="22"/>
                  </a:lnTo>
                  <a:lnTo>
                    <a:pt x="0" y="16"/>
                  </a:lnTo>
                  <a:lnTo>
                    <a:pt x="2" y="11"/>
                  </a:lnTo>
                  <a:lnTo>
                    <a:pt x="6" y="5"/>
                  </a:lnTo>
                  <a:lnTo>
                    <a:pt x="6" y="5"/>
                  </a:lnTo>
                  <a:lnTo>
                    <a:pt x="10" y="2"/>
                  </a:lnTo>
                  <a:lnTo>
                    <a:pt x="18" y="0"/>
                  </a:lnTo>
                  <a:lnTo>
                    <a:pt x="24" y="2"/>
                  </a:lnTo>
                  <a:lnTo>
                    <a:pt x="30" y="5"/>
                  </a:lnTo>
                  <a:lnTo>
                    <a:pt x="118" y="93"/>
                  </a:lnTo>
                  <a:lnTo>
                    <a:pt x="118" y="93"/>
                  </a:lnTo>
                  <a:lnTo>
                    <a:pt x="122" y="99"/>
                  </a:lnTo>
                  <a:lnTo>
                    <a:pt x="125" y="103"/>
                  </a:lnTo>
                  <a:lnTo>
                    <a:pt x="127" y="109"/>
                  </a:lnTo>
                  <a:lnTo>
                    <a:pt x="127" y="116"/>
                  </a:lnTo>
                  <a:lnTo>
                    <a:pt x="127" y="116"/>
                  </a:lnTo>
                  <a:lnTo>
                    <a:pt x="127" y="122"/>
                  </a:lnTo>
                  <a:lnTo>
                    <a:pt x="125" y="128"/>
                  </a:lnTo>
                  <a:lnTo>
                    <a:pt x="122" y="132"/>
                  </a:lnTo>
                  <a:lnTo>
                    <a:pt x="118" y="138"/>
                  </a:lnTo>
                  <a:lnTo>
                    <a:pt x="28" y="226"/>
                  </a:lnTo>
                  <a:lnTo>
                    <a:pt x="28" y="226"/>
                  </a:lnTo>
                  <a:lnTo>
                    <a:pt x="24" y="231"/>
                  </a:lnTo>
                  <a:lnTo>
                    <a:pt x="18" y="231"/>
                  </a:lnTo>
                  <a:lnTo>
                    <a:pt x="18" y="2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grpSp>
      <p:sp>
        <p:nvSpPr>
          <p:cNvPr id="109" name="TextBox 108"/>
          <p:cNvSpPr txBox="1"/>
          <p:nvPr/>
        </p:nvSpPr>
        <p:spPr>
          <a:xfrm>
            <a:off x="1989974" y="1453314"/>
            <a:ext cx="1089620" cy="682947"/>
          </a:xfrm>
          <a:prstGeom prst="rect">
            <a:avLst/>
          </a:prstGeom>
          <a:noFill/>
        </p:spPr>
        <p:txBody>
          <a:bodyPr wrap="square" lIns="0" tIns="146224" rIns="182780" bIns="146224" rtlCol="0">
            <a:noAutofit/>
          </a:bodyPr>
          <a:lstStyle/>
          <a:p>
            <a:pPr defTabSz="932194">
              <a:lnSpc>
                <a:spcPct val="90000"/>
              </a:lnSpc>
              <a:spcAft>
                <a:spcPts val="600"/>
              </a:spcAft>
            </a:pPr>
            <a:r>
              <a:rPr lang="en-US" sz="1400" kern="0" spc="-30" dirty="0">
                <a:solidFill>
                  <a:schemeClr val="bg2"/>
                </a:solidFill>
                <a:latin typeface="Segoe UI Semilight" panose="020B0402040204020203" pitchFamily="34" charset="0"/>
                <a:cs typeface="Segoe UI Semilight" panose="020B0402040204020203" pitchFamily="34" charset="0"/>
              </a:rPr>
              <a:t>Business apps</a:t>
            </a:r>
          </a:p>
        </p:txBody>
      </p:sp>
      <p:sp>
        <p:nvSpPr>
          <p:cNvPr id="110" name="TextBox 109"/>
          <p:cNvSpPr txBox="1"/>
          <p:nvPr/>
        </p:nvSpPr>
        <p:spPr>
          <a:xfrm>
            <a:off x="1942859" y="2764167"/>
            <a:ext cx="1089620" cy="682947"/>
          </a:xfrm>
          <a:prstGeom prst="rect">
            <a:avLst/>
          </a:prstGeom>
          <a:noFill/>
        </p:spPr>
        <p:txBody>
          <a:bodyPr wrap="square" lIns="0" tIns="146224" rIns="182780" bIns="146224" rtlCol="0">
            <a:noAutofit/>
          </a:bodyPr>
          <a:lstStyle/>
          <a:p>
            <a:pPr defTabSz="932194">
              <a:lnSpc>
                <a:spcPct val="90000"/>
              </a:lnSpc>
              <a:spcBef>
                <a:spcPct val="0"/>
              </a:spcBef>
              <a:spcAft>
                <a:spcPts val="600"/>
              </a:spcAft>
            </a:pPr>
            <a:r>
              <a:rPr lang="en-US" sz="1400" kern="0" spc="-30" dirty="0">
                <a:solidFill>
                  <a:schemeClr val="bg2"/>
                </a:solidFill>
                <a:latin typeface="Segoe UI Semilight" panose="020B0402040204020203" pitchFamily="34" charset="0"/>
                <a:cs typeface="Segoe UI Semilight" panose="020B0402040204020203" pitchFamily="34" charset="0"/>
              </a:rPr>
              <a:t>Custom apps</a:t>
            </a:r>
          </a:p>
        </p:txBody>
      </p:sp>
      <p:sp>
        <p:nvSpPr>
          <p:cNvPr id="111" name="TextBox 110"/>
          <p:cNvSpPr txBox="1"/>
          <p:nvPr/>
        </p:nvSpPr>
        <p:spPr>
          <a:xfrm>
            <a:off x="1989972" y="3938130"/>
            <a:ext cx="1363164" cy="876768"/>
          </a:xfrm>
          <a:prstGeom prst="rect">
            <a:avLst/>
          </a:prstGeom>
          <a:noFill/>
        </p:spPr>
        <p:txBody>
          <a:bodyPr wrap="square" lIns="0" tIns="146224" rIns="182780" bIns="146224" rtlCol="0">
            <a:noAutofit/>
          </a:bodyPr>
          <a:lstStyle/>
          <a:p>
            <a:pPr defTabSz="932194">
              <a:lnSpc>
                <a:spcPct val="90000"/>
              </a:lnSpc>
              <a:spcBef>
                <a:spcPct val="0"/>
              </a:spcBef>
              <a:spcAft>
                <a:spcPts val="600"/>
              </a:spcAft>
            </a:pPr>
            <a:r>
              <a:rPr lang="en-US" sz="1400" kern="0" spc="-30" dirty="0">
                <a:solidFill>
                  <a:schemeClr val="bg2"/>
                </a:solidFill>
                <a:latin typeface="Segoe UI Semilight" panose="020B0402040204020203" pitchFamily="34" charset="0"/>
                <a:cs typeface="Segoe UI Semilight" panose="020B0402040204020203" pitchFamily="34" charset="0"/>
              </a:rPr>
              <a:t>Sensors </a:t>
            </a:r>
            <a:br>
              <a:rPr lang="en-US" sz="1400" kern="0" spc="-30" dirty="0">
                <a:solidFill>
                  <a:schemeClr val="bg2"/>
                </a:solidFill>
                <a:latin typeface="Segoe UI Semilight" panose="020B0402040204020203" pitchFamily="34" charset="0"/>
                <a:cs typeface="Segoe UI Semilight" panose="020B0402040204020203" pitchFamily="34" charset="0"/>
              </a:rPr>
            </a:br>
            <a:r>
              <a:rPr lang="en-US" sz="1400" kern="0" spc="-30" dirty="0">
                <a:solidFill>
                  <a:schemeClr val="bg2"/>
                </a:solidFill>
                <a:latin typeface="Segoe UI Semilight" panose="020B0402040204020203" pitchFamily="34" charset="0"/>
                <a:cs typeface="Segoe UI Semilight" panose="020B0402040204020203" pitchFamily="34" charset="0"/>
              </a:rPr>
              <a:t>and </a:t>
            </a:r>
            <a:br>
              <a:rPr lang="en-US" sz="1400" kern="0" spc="-30" dirty="0">
                <a:solidFill>
                  <a:schemeClr val="bg2"/>
                </a:solidFill>
                <a:latin typeface="Segoe UI Semilight" panose="020B0402040204020203" pitchFamily="34" charset="0"/>
                <a:cs typeface="Segoe UI Semilight" panose="020B0402040204020203" pitchFamily="34" charset="0"/>
              </a:rPr>
            </a:br>
            <a:r>
              <a:rPr lang="en-US" sz="1400" kern="0" spc="-30" dirty="0">
                <a:solidFill>
                  <a:schemeClr val="bg2"/>
                </a:solidFill>
                <a:latin typeface="Segoe UI Semilight" panose="020B0402040204020203" pitchFamily="34" charset="0"/>
                <a:cs typeface="Segoe UI Semilight" panose="020B0402040204020203" pitchFamily="34" charset="0"/>
              </a:rPr>
              <a:t>devices</a:t>
            </a:r>
          </a:p>
        </p:txBody>
      </p:sp>
      <p:sp>
        <p:nvSpPr>
          <p:cNvPr id="112" name="TextBox 111"/>
          <p:cNvSpPr txBox="1"/>
          <p:nvPr/>
        </p:nvSpPr>
        <p:spPr>
          <a:xfrm>
            <a:off x="9873574" y="1550225"/>
            <a:ext cx="1089619" cy="489125"/>
          </a:xfrm>
          <a:prstGeom prst="rect">
            <a:avLst/>
          </a:prstGeom>
          <a:noFill/>
        </p:spPr>
        <p:txBody>
          <a:bodyPr wrap="square" lIns="182780" tIns="146224" rIns="182780" bIns="146224" rtlCol="0">
            <a:spAutoFit/>
          </a:bodyPr>
          <a:lstStyle/>
          <a:p>
            <a:pPr defTabSz="932194">
              <a:lnSpc>
                <a:spcPct val="90000"/>
              </a:lnSpc>
              <a:spcBef>
                <a:spcPct val="0"/>
              </a:spcBef>
              <a:spcAft>
                <a:spcPts val="600"/>
              </a:spcAft>
            </a:pPr>
            <a:r>
              <a:rPr lang="en-US" sz="1400" kern="0" spc="-30" dirty="0">
                <a:solidFill>
                  <a:schemeClr val="bg2"/>
                </a:solidFill>
                <a:latin typeface="Segoe UI Semilight" panose="020B0402040204020203" pitchFamily="34" charset="0"/>
                <a:cs typeface="Segoe UI Semilight" panose="020B0402040204020203" pitchFamily="34" charset="0"/>
              </a:rPr>
              <a:t>People</a:t>
            </a:r>
          </a:p>
        </p:txBody>
      </p:sp>
      <p:sp>
        <p:nvSpPr>
          <p:cNvPr id="113" name="TextBox 112"/>
          <p:cNvSpPr txBox="1"/>
          <p:nvPr/>
        </p:nvSpPr>
        <p:spPr>
          <a:xfrm>
            <a:off x="10149079" y="4182692"/>
            <a:ext cx="1603664" cy="387798"/>
          </a:xfrm>
          <a:prstGeom prst="rect">
            <a:avLst/>
          </a:prstGeom>
          <a:noFill/>
        </p:spPr>
        <p:txBody>
          <a:bodyPr wrap="square" lIns="0" tIns="0" rIns="0" bIns="0" rtlCol="0">
            <a:spAutoFit/>
          </a:bodyPr>
          <a:lstStyle/>
          <a:p>
            <a:pPr defTabSz="932194">
              <a:lnSpc>
                <a:spcPct val="90000"/>
              </a:lnSpc>
              <a:spcBef>
                <a:spcPct val="0"/>
              </a:spcBef>
              <a:spcAft>
                <a:spcPts val="600"/>
              </a:spcAft>
            </a:pPr>
            <a:r>
              <a:rPr lang="en-US" sz="1400" kern="0" spc="-30" dirty="0">
                <a:solidFill>
                  <a:schemeClr val="bg2"/>
                </a:solidFill>
                <a:latin typeface="Segoe UI Semilight" panose="020B0402040204020203" pitchFamily="34" charset="0"/>
                <a:cs typeface="Segoe UI Semilight" panose="020B0402040204020203" pitchFamily="34" charset="0"/>
              </a:rPr>
              <a:t>Automated </a:t>
            </a:r>
            <a:br>
              <a:rPr lang="en-US" sz="1400" kern="0" spc="-30" dirty="0">
                <a:solidFill>
                  <a:schemeClr val="bg2"/>
                </a:solidFill>
                <a:latin typeface="Segoe UI Semilight" panose="020B0402040204020203" pitchFamily="34" charset="0"/>
                <a:cs typeface="Segoe UI Semilight" panose="020B0402040204020203" pitchFamily="34" charset="0"/>
              </a:rPr>
            </a:br>
            <a:r>
              <a:rPr lang="en-US" sz="1400" kern="0" spc="-30" dirty="0">
                <a:solidFill>
                  <a:schemeClr val="bg2"/>
                </a:solidFill>
                <a:latin typeface="Segoe UI Semilight" panose="020B0402040204020203" pitchFamily="34" charset="0"/>
                <a:cs typeface="Segoe UI Semilight" panose="020B0402040204020203" pitchFamily="34" charset="0"/>
              </a:rPr>
              <a:t>systems</a:t>
            </a:r>
          </a:p>
        </p:txBody>
      </p:sp>
      <p:sp>
        <p:nvSpPr>
          <p:cNvPr id="116" name="Rectangle 115"/>
          <p:cNvSpPr/>
          <p:nvPr/>
        </p:nvSpPr>
        <p:spPr>
          <a:xfrm>
            <a:off x="1989973" y="5473692"/>
            <a:ext cx="933221" cy="321015"/>
          </a:xfrm>
          <a:prstGeom prst="rect">
            <a:avLst/>
          </a:prstGeom>
        </p:spPr>
        <p:txBody>
          <a:bodyPr wrap="none" lIns="0" tIns="0" rIns="0" bIns="0" anchor="ctr">
            <a:noAutofit/>
          </a:bodyPr>
          <a:lstStyle/>
          <a:p>
            <a:pPr defTabSz="896203">
              <a:lnSpc>
                <a:spcPct val="90000"/>
              </a:lnSpc>
            </a:pPr>
            <a:r>
              <a:rPr lang="en-US" sz="2399" kern="0" dirty="0">
                <a:solidFill>
                  <a:schemeClr val="bg2"/>
                </a:solidFill>
                <a:latin typeface="+mj-lt"/>
              </a:rPr>
              <a:t>Data</a:t>
            </a:r>
          </a:p>
        </p:txBody>
      </p:sp>
      <p:sp>
        <p:nvSpPr>
          <p:cNvPr id="119" name="Rectangle 118"/>
          <p:cNvSpPr/>
          <p:nvPr/>
        </p:nvSpPr>
        <p:spPr>
          <a:xfrm>
            <a:off x="5338195" y="5449596"/>
            <a:ext cx="1453924" cy="369204"/>
          </a:xfrm>
          <a:prstGeom prst="rect">
            <a:avLst/>
          </a:prstGeom>
        </p:spPr>
        <p:txBody>
          <a:bodyPr wrap="none" lIns="0" tIns="0" rIns="0" bIns="0" anchor="ctr">
            <a:spAutoFit/>
          </a:bodyPr>
          <a:lstStyle/>
          <a:p>
            <a:pPr algn="ctr" defTabSz="724725">
              <a:spcBef>
                <a:spcPct val="0"/>
              </a:spcBef>
              <a:spcAft>
                <a:spcPct val="35000"/>
              </a:spcAft>
            </a:pPr>
            <a:r>
              <a:rPr lang="en-US" sz="2399" kern="0" dirty="0">
                <a:solidFill>
                  <a:schemeClr val="bg2"/>
                </a:solidFill>
                <a:latin typeface="+mj-lt"/>
              </a:rPr>
              <a:t>Intelligence</a:t>
            </a:r>
            <a:endParaRPr lang="en-US" sz="1799" b="1" kern="0" spc="-30" dirty="0">
              <a:solidFill>
                <a:schemeClr val="bg2"/>
              </a:solidFill>
              <a:latin typeface="Segoe UI Semilight" panose="020B0402040204020203" pitchFamily="34" charset="0"/>
              <a:cs typeface="Segoe UI Semilight" panose="020B0402040204020203" pitchFamily="34" charset="0"/>
            </a:endParaRPr>
          </a:p>
        </p:txBody>
      </p:sp>
      <p:grpSp>
        <p:nvGrpSpPr>
          <p:cNvPr id="120" name="Group 119"/>
          <p:cNvGrpSpPr/>
          <p:nvPr/>
        </p:nvGrpSpPr>
        <p:grpSpPr>
          <a:xfrm>
            <a:off x="9392437" y="1545475"/>
            <a:ext cx="488127" cy="498625"/>
            <a:chOff x="6112510" y="6954657"/>
            <a:chExt cx="1181100" cy="1206500"/>
          </a:xfrm>
          <a:solidFill>
            <a:schemeClr val="accent1"/>
          </a:solidFill>
        </p:grpSpPr>
        <p:sp>
          <p:nvSpPr>
            <p:cNvPr id="121" name="Freeform 5"/>
            <p:cNvSpPr>
              <a:spLocks noEditPoints="1"/>
            </p:cNvSpPr>
            <p:nvPr/>
          </p:nvSpPr>
          <p:spPr bwMode="auto">
            <a:xfrm>
              <a:off x="6233160" y="6954657"/>
              <a:ext cx="485775" cy="482600"/>
            </a:xfrm>
            <a:custGeom>
              <a:avLst/>
              <a:gdLst>
                <a:gd name="T0" fmla="*/ 154 w 306"/>
                <a:gd name="T1" fmla="*/ 304 h 304"/>
                <a:gd name="T2" fmla="*/ 122 w 306"/>
                <a:gd name="T3" fmla="*/ 302 h 304"/>
                <a:gd name="T4" fmla="*/ 94 w 306"/>
                <a:gd name="T5" fmla="*/ 292 h 304"/>
                <a:gd name="T6" fmla="*/ 68 w 306"/>
                <a:gd name="T7" fmla="*/ 278 h 304"/>
                <a:gd name="T8" fmla="*/ 46 w 306"/>
                <a:gd name="T9" fmla="*/ 260 h 304"/>
                <a:gd name="T10" fmla="*/ 26 w 306"/>
                <a:gd name="T11" fmla="*/ 238 h 304"/>
                <a:gd name="T12" fmla="*/ 12 w 306"/>
                <a:gd name="T13" fmla="*/ 212 h 304"/>
                <a:gd name="T14" fmla="*/ 4 w 306"/>
                <a:gd name="T15" fmla="*/ 182 h 304"/>
                <a:gd name="T16" fmla="*/ 0 w 306"/>
                <a:gd name="T17" fmla="*/ 152 h 304"/>
                <a:gd name="T18" fmla="*/ 2 w 306"/>
                <a:gd name="T19" fmla="*/ 136 h 304"/>
                <a:gd name="T20" fmla="*/ 8 w 306"/>
                <a:gd name="T21" fmla="*/ 106 h 304"/>
                <a:gd name="T22" fmla="*/ 20 w 306"/>
                <a:gd name="T23" fmla="*/ 80 h 304"/>
                <a:gd name="T24" fmla="*/ 36 w 306"/>
                <a:gd name="T25" fmla="*/ 56 h 304"/>
                <a:gd name="T26" fmla="*/ 56 w 306"/>
                <a:gd name="T27" fmla="*/ 34 h 304"/>
                <a:gd name="T28" fmla="*/ 80 w 306"/>
                <a:gd name="T29" fmla="*/ 18 h 304"/>
                <a:gd name="T30" fmla="*/ 108 w 306"/>
                <a:gd name="T31" fmla="*/ 6 h 304"/>
                <a:gd name="T32" fmla="*/ 138 w 306"/>
                <a:gd name="T33" fmla="*/ 0 h 304"/>
                <a:gd name="T34" fmla="*/ 154 w 306"/>
                <a:gd name="T35" fmla="*/ 0 h 304"/>
                <a:gd name="T36" fmla="*/ 184 w 306"/>
                <a:gd name="T37" fmla="*/ 2 h 304"/>
                <a:gd name="T38" fmla="*/ 212 w 306"/>
                <a:gd name="T39" fmla="*/ 12 h 304"/>
                <a:gd name="T40" fmla="*/ 238 w 306"/>
                <a:gd name="T41" fmla="*/ 26 h 304"/>
                <a:gd name="T42" fmla="*/ 260 w 306"/>
                <a:gd name="T43" fmla="*/ 44 h 304"/>
                <a:gd name="T44" fmla="*/ 280 w 306"/>
                <a:gd name="T45" fmla="*/ 66 h 304"/>
                <a:gd name="T46" fmla="*/ 294 w 306"/>
                <a:gd name="T47" fmla="*/ 92 h 304"/>
                <a:gd name="T48" fmla="*/ 302 w 306"/>
                <a:gd name="T49" fmla="*/ 122 h 304"/>
                <a:gd name="T50" fmla="*/ 306 w 306"/>
                <a:gd name="T51" fmla="*/ 152 h 304"/>
                <a:gd name="T52" fmla="*/ 304 w 306"/>
                <a:gd name="T53" fmla="*/ 168 h 304"/>
                <a:gd name="T54" fmla="*/ 298 w 306"/>
                <a:gd name="T55" fmla="*/ 198 h 304"/>
                <a:gd name="T56" fmla="*/ 288 w 306"/>
                <a:gd name="T57" fmla="*/ 224 h 304"/>
                <a:gd name="T58" fmla="*/ 270 w 306"/>
                <a:gd name="T59" fmla="*/ 248 h 304"/>
                <a:gd name="T60" fmla="*/ 250 w 306"/>
                <a:gd name="T61" fmla="*/ 270 h 304"/>
                <a:gd name="T62" fmla="*/ 226 w 306"/>
                <a:gd name="T63" fmla="*/ 286 h 304"/>
                <a:gd name="T64" fmla="*/ 198 w 306"/>
                <a:gd name="T65" fmla="*/ 298 h 304"/>
                <a:gd name="T66" fmla="*/ 168 w 306"/>
                <a:gd name="T67" fmla="*/ 304 h 304"/>
                <a:gd name="T68" fmla="*/ 154 w 306"/>
                <a:gd name="T69" fmla="*/ 304 h 304"/>
                <a:gd name="T70" fmla="*/ 154 w 306"/>
                <a:gd name="T71" fmla="*/ 28 h 304"/>
                <a:gd name="T72" fmla="*/ 128 w 306"/>
                <a:gd name="T73" fmla="*/ 30 h 304"/>
                <a:gd name="T74" fmla="*/ 104 w 306"/>
                <a:gd name="T75" fmla="*/ 38 h 304"/>
                <a:gd name="T76" fmla="*/ 66 w 306"/>
                <a:gd name="T77" fmla="*/ 64 h 304"/>
                <a:gd name="T78" fmla="*/ 38 w 306"/>
                <a:gd name="T79" fmla="*/ 104 h 304"/>
                <a:gd name="T80" fmla="*/ 32 w 306"/>
                <a:gd name="T81" fmla="*/ 128 h 304"/>
                <a:gd name="T82" fmla="*/ 28 w 306"/>
                <a:gd name="T83" fmla="*/ 152 h 304"/>
                <a:gd name="T84" fmla="*/ 30 w 306"/>
                <a:gd name="T85" fmla="*/ 164 h 304"/>
                <a:gd name="T86" fmla="*/ 34 w 306"/>
                <a:gd name="T87" fmla="*/ 190 h 304"/>
                <a:gd name="T88" fmla="*/ 50 w 306"/>
                <a:gd name="T89" fmla="*/ 222 h 304"/>
                <a:gd name="T90" fmla="*/ 84 w 306"/>
                <a:gd name="T91" fmla="*/ 256 h 304"/>
                <a:gd name="T92" fmla="*/ 116 w 306"/>
                <a:gd name="T93" fmla="*/ 270 h 304"/>
                <a:gd name="T94" fmla="*/ 140 w 306"/>
                <a:gd name="T95" fmla="*/ 276 h 304"/>
                <a:gd name="T96" fmla="*/ 154 w 306"/>
                <a:gd name="T97" fmla="*/ 276 h 304"/>
                <a:gd name="T98" fmla="*/ 178 w 306"/>
                <a:gd name="T99" fmla="*/ 274 h 304"/>
                <a:gd name="T100" fmla="*/ 202 w 306"/>
                <a:gd name="T101" fmla="*/ 266 h 304"/>
                <a:gd name="T102" fmla="*/ 242 w 306"/>
                <a:gd name="T103" fmla="*/ 240 h 304"/>
                <a:gd name="T104" fmla="*/ 268 w 306"/>
                <a:gd name="T105" fmla="*/ 200 h 304"/>
                <a:gd name="T106" fmla="*/ 274 w 306"/>
                <a:gd name="T107" fmla="*/ 178 h 304"/>
                <a:gd name="T108" fmla="*/ 278 w 306"/>
                <a:gd name="T109" fmla="*/ 152 h 304"/>
                <a:gd name="T110" fmla="*/ 276 w 306"/>
                <a:gd name="T111" fmla="*/ 140 h 304"/>
                <a:gd name="T112" fmla="*/ 272 w 306"/>
                <a:gd name="T113" fmla="*/ 116 h 304"/>
                <a:gd name="T114" fmla="*/ 256 w 306"/>
                <a:gd name="T115" fmla="*/ 82 h 304"/>
                <a:gd name="T116" fmla="*/ 222 w 306"/>
                <a:gd name="T117" fmla="*/ 50 h 304"/>
                <a:gd name="T118" fmla="*/ 190 w 306"/>
                <a:gd name="T119" fmla="*/ 34 h 304"/>
                <a:gd name="T120" fmla="*/ 166 w 306"/>
                <a:gd name="T121" fmla="*/ 28 h 304"/>
                <a:gd name="T122" fmla="*/ 154 w 306"/>
                <a:gd name="T123" fmla="*/ 28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6" h="304">
                  <a:moveTo>
                    <a:pt x="154" y="304"/>
                  </a:moveTo>
                  <a:lnTo>
                    <a:pt x="154" y="304"/>
                  </a:lnTo>
                  <a:lnTo>
                    <a:pt x="138" y="304"/>
                  </a:lnTo>
                  <a:lnTo>
                    <a:pt x="122" y="302"/>
                  </a:lnTo>
                  <a:lnTo>
                    <a:pt x="108" y="298"/>
                  </a:lnTo>
                  <a:lnTo>
                    <a:pt x="94" y="292"/>
                  </a:lnTo>
                  <a:lnTo>
                    <a:pt x="80" y="286"/>
                  </a:lnTo>
                  <a:lnTo>
                    <a:pt x="68" y="278"/>
                  </a:lnTo>
                  <a:lnTo>
                    <a:pt x="56" y="270"/>
                  </a:lnTo>
                  <a:lnTo>
                    <a:pt x="46" y="260"/>
                  </a:lnTo>
                  <a:lnTo>
                    <a:pt x="36" y="248"/>
                  </a:lnTo>
                  <a:lnTo>
                    <a:pt x="26" y="238"/>
                  </a:lnTo>
                  <a:lnTo>
                    <a:pt x="20" y="224"/>
                  </a:lnTo>
                  <a:lnTo>
                    <a:pt x="12" y="212"/>
                  </a:lnTo>
                  <a:lnTo>
                    <a:pt x="8" y="198"/>
                  </a:lnTo>
                  <a:lnTo>
                    <a:pt x="4" y="182"/>
                  </a:lnTo>
                  <a:lnTo>
                    <a:pt x="2" y="168"/>
                  </a:lnTo>
                  <a:lnTo>
                    <a:pt x="0" y="152"/>
                  </a:lnTo>
                  <a:lnTo>
                    <a:pt x="0" y="152"/>
                  </a:lnTo>
                  <a:lnTo>
                    <a:pt x="2" y="136"/>
                  </a:lnTo>
                  <a:lnTo>
                    <a:pt x="4" y="122"/>
                  </a:lnTo>
                  <a:lnTo>
                    <a:pt x="8" y="106"/>
                  </a:lnTo>
                  <a:lnTo>
                    <a:pt x="12" y="92"/>
                  </a:lnTo>
                  <a:lnTo>
                    <a:pt x="20" y="80"/>
                  </a:lnTo>
                  <a:lnTo>
                    <a:pt x="26" y="66"/>
                  </a:lnTo>
                  <a:lnTo>
                    <a:pt x="36" y="56"/>
                  </a:lnTo>
                  <a:lnTo>
                    <a:pt x="46" y="44"/>
                  </a:lnTo>
                  <a:lnTo>
                    <a:pt x="56" y="34"/>
                  </a:lnTo>
                  <a:lnTo>
                    <a:pt x="68" y="26"/>
                  </a:lnTo>
                  <a:lnTo>
                    <a:pt x="80" y="18"/>
                  </a:lnTo>
                  <a:lnTo>
                    <a:pt x="94" y="12"/>
                  </a:lnTo>
                  <a:lnTo>
                    <a:pt x="108" y="6"/>
                  </a:lnTo>
                  <a:lnTo>
                    <a:pt x="122" y="2"/>
                  </a:lnTo>
                  <a:lnTo>
                    <a:pt x="138" y="0"/>
                  </a:lnTo>
                  <a:lnTo>
                    <a:pt x="154" y="0"/>
                  </a:lnTo>
                  <a:lnTo>
                    <a:pt x="154" y="0"/>
                  </a:lnTo>
                  <a:lnTo>
                    <a:pt x="168" y="0"/>
                  </a:lnTo>
                  <a:lnTo>
                    <a:pt x="184" y="2"/>
                  </a:lnTo>
                  <a:lnTo>
                    <a:pt x="198" y="6"/>
                  </a:lnTo>
                  <a:lnTo>
                    <a:pt x="212" y="12"/>
                  </a:lnTo>
                  <a:lnTo>
                    <a:pt x="226" y="18"/>
                  </a:lnTo>
                  <a:lnTo>
                    <a:pt x="238" y="26"/>
                  </a:lnTo>
                  <a:lnTo>
                    <a:pt x="250" y="34"/>
                  </a:lnTo>
                  <a:lnTo>
                    <a:pt x="260" y="44"/>
                  </a:lnTo>
                  <a:lnTo>
                    <a:pt x="270" y="56"/>
                  </a:lnTo>
                  <a:lnTo>
                    <a:pt x="280" y="66"/>
                  </a:lnTo>
                  <a:lnTo>
                    <a:pt x="288" y="80"/>
                  </a:lnTo>
                  <a:lnTo>
                    <a:pt x="294" y="92"/>
                  </a:lnTo>
                  <a:lnTo>
                    <a:pt x="298" y="106"/>
                  </a:lnTo>
                  <a:lnTo>
                    <a:pt x="302" y="122"/>
                  </a:lnTo>
                  <a:lnTo>
                    <a:pt x="304" y="136"/>
                  </a:lnTo>
                  <a:lnTo>
                    <a:pt x="306" y="152"/>
                  </a:lnTo>
                  <a:lnTo>
                    <a:pt x="306" y="152"/>
                  </a:lnTo>
                  <a:lnTo>
                    <a:pt x="304" y="168"/>
                  </a:lnTo>
                  <a:lnTo>
                    <a:pt x="302" y="182"/>
                  </a:lnTo>
                  <a:lnTo>
                    <a:pt x="298" y="198"/>
                  </a:lnTo>
                  <a:lnTo>
                    <a:pt x="294" y="212"/>
                  </a:lnTo>
                  <a:lnTo>
                    <a:pt x="288" y="224"/>
                  </a:lnTo>
                  <a:lnTo>
                    <a:pt x="280" y="238"/>
                  </a:lnTo>
                  <a:lnTo>
                    <a:pt x="270" y="248"/>
                  </a:lnTo>
                  <a:lnTo>
                    <a:pt x="260" y="260"/>
                  </a:lnTo>
                  <a:lnTo>
                    <a:pt x="250" y="270"/>
                  </a:lnTo>
                  <a:lnTo>
                    <a:pt x="238" y="278"/>
                  </a:lnTo>
                  <a:lnTo>
                    <a:pt x="226" y="286"/>
                  </a:lnTo>
                  <a:lnTo>
                    <a:pt x="212" y="292"/>
                  </a:lnTo>
                  <a:lnTo>
                    <a:pt x="198" y="298"/>
                  </a:lnTo>
                  <a:lnTo>
                    <a:pt x="184" y="302"/>
                  </a:lnTo>
                  <a:lnTo>
                    <a:pt x="168" y="304"/>
                  </a:lnTo>
                  <a:lnTo>
                    <a:pt x="154" y="304"/>
                  </a:lnTo>
                  <a:lnTo>
                    <a:pt x="154" y="304"/>
                  </a:lnTo>
                  <a:close/>
                  <a:moveTo>
                    <a:pt x="154" y="28"/>
                  </a:moveTo>
                  <a:lnTo>
                    <a:pt x="154" y="28"/>
                  </a:lnTo>
                  <a:lnTo>
                    <a:pt x="140" y="28"/>
                  </a:lnTo>
                  <a:lnTo>
                    <a:pt x="128" y="30"/>
                  </a:lnTo>
                  <a:lnTo>
                    <a:pt x="116" y="34"/>
                  </a:lnTo>
                  <a:lnTo>
                    <a:pt x="104" y="38"/>
                  </a:lnTo>
                  <a:lnTo>
                    <a:pt x="84" y="50"/>
                  </a:lnTo>
                  <a:lnTo>
                    <a:pt x="66" y="64"/>
                  </a:lnTo>
                  <a:lnTo>
                    <a:pt x="50" y="82"/>
                  </a:lnTo>
                  <a:lnTo>
                    <a:pt x="38" y="104"/>
                  </a:lnTo>
                  <a:lnTo>
                    <a:pt x="34" y="116"/>
                  </a:lnTo>
                  <a:lnTo>
                    <a:pt x="32" y="128"/>
                  </a:lnTo>
                  <a:lnTo>
                    <a:pt x="30" y="140"/>
                  </a:lnTo>
                  <a:lnTo>
                    <a:pt x="28" y="152"/>
                  </a:lnTo>
                  <a:lnTo>
                    <a:pt x="28" y="152"/>
                  </a:lnTo>
                  <a:lnTo>
                    <a:pt x="30" y="164"/>
                  </a:lnTo>
                  <a:lnTo>
                    <a:pt x="32" y="178"/>
                  </a:lnTo>
                  <a:lnTo>
                    <a:pt x="34" y="190"/>
                  </a:lnTo>
                  <a:lnTo>
                    <a:pt x="38" y="200"/>
                  </a:lnTo>
                  <a:lnTo>
                    <a:pt x="50" y="222"/>
                  </a:lnTo>
                  <a:lnTo>
                    <a:pt x="66" y="240"/>
                  </a:lnTo>
                  <a:lnTo>
                    <a:pt x="84" y="256"/>
                  </a:lnTo>
                  <a:lnTo>
                    <a:pt x="104" y="266"/>
                  </a:lnTo>
                  <a:lnTo>
                    <a:pt x="116" y="270"/>
                  </a:lnTo>
                  <a:lnTo>
                    <a:pt x="128" y="274"/>
                  </a:lnTo>
                  <a:lnTo>
                    <a:pt x="140" y="276"/>
                  </a:lnTo>
                  <a:lnTo>
                    <a:pt x="154" y="276"/>
                  </a:lnTo>
                  <a:lnTo>
                    <a:pt x="154" y="276"/>
                  </a:lnTo>
                  <a:lnTo>
                    <a:pt x="166" y="276"/>
                  </a:lnTo>
                  <a:lnTo>
                    <a:pt x="178" y="274"/>
                  </a:lnTo>
                  <a:lnTo>
                    <a:pt x="190" y="270"/>
                  </a:lnTo>
                  <a:lnTo>
                    <a:pt x="202" y="266"/>
                  </a:lnTo>
                  <a:lnTo>
                    <a:pt x="222" y="256"/>
                  </a:lnTo>
                  <a:lnTo>
                    <a:pt x="242" y="240"/>
                  </a:lnTo>
                  <a:lnTo>
                    <a:pt x="256" y="222"/>
                  </a:lnTo>
                  <a:lnTo>
                    <a:pt x="268" y="200"/>
                  </a:lnTo>
                  <a:lnTo>
                    <a:pt x="272" y="190"/>
                  </a:lnTo>
                  <a:lnTo>
                    <a:pt x="274" y="178"/>
                  </a:lnTo>
                  <a:lnTo>
                    <a:pt x="276" y="164"/>
                  </a:lnTo>
                  <a:lnTo>
                    <a:pt x="278" y="152"/>
                  </a:lnTo>
                  <a:lnTo>
                    <a:pt x="278" y="152"/>
                  </a:lnTo>
                  <a:lnTo>
                    <a:pt x="276" y="140"/>
                  </a:lnTo>
                  <a:lnTo>
                    <a:pt x="274" y="128"/>
                  </a:lnTo>
                  <a:lnTo>
                    <a:pt x="272" y="116"/>
                  </a:lnTo>
                  <a:lnTo>
                    <a:pt x="268" y="104"/>
                  </a:lnTo>
                  <a:lnTo>
                    <a:pt x="256" y="82"/>
                  </a:lnTo>
                  <a:lnTo>
                    <a:pt x="242" y="64"/>
                  </a:lnTo>
                  <a:lnTo>
                    <a:pt x="222" y="50"/>
                  </a:lnTo>
                  <a:lnTo>
                    <a:pt x="202" y="38"/>
                  </a:lnTo>
                  <a:lnTo>
                    <a:pt x="190" y="34"/>
                  </a:lnTo>
                  <a:lnTo>
                    <a:pt x="178" y="30"/>
                  </a:lnTo>
                  <a:lnTo>
                    <a:pt x="166" y="28"/>
                  </a:lnTo>
                  <a:lnTo>
                    <a:pt x="154" y="28"/>
                  </a:lnTo>
                  <a:lnTo>
                    <a:pt x="154"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122" name="Freeform 6"/>
            <p:cNvSpPr>
              <a:spLocks noEditPoints="1"/>
            </p:cNvSpPr>
            <p:nvPr/>
          </p:nvSpPr>
          <p:spPr bwMode="auto">
            <a:xfrm>
              <a:off x="6112510" y="7481707"/>
              <a:ext cx="727075" cy="679450"/>
            </a:xfrm>
            <a:custGeom>
              <a:avLst/>
              <a:gdLst>
                <a:gd name="T0" fmla="*/ 0 w 458"/>
                <a:gd name="T1" fmla="*/ 428 h 428"/>
                <a:gd name="T2" fmla="*/ 16 w 458"/>
                <a:gd name="T3" fmla="*/ 210 h 428"/>
                <a:gd name="T4" fmla="*/ 22 w 458"/>
                <a:gd name="T5" fmla="*/ 166 h 428"/>
                <a:gd name="T6" fmla="*/ 36 w 458"/>
                <a:gd name="T7" fmla="*/ 126 h 428"/>
                <a:gd name="T8" fmla="*/ 56 w 458"/>
                <a:gd name="T9" fmla="*/ 90 h 428"/>
                <a:gd name="T10" fmla="*/ 82 w 458"/>
                <a:gd name="T11" fmla="*/ 60 h 428"/>
                <a:gd name="T12" fmla="*/ 112 w 458"/>
                <a:gd name="T13" fmla="*/ 34 h 428"/>
                <a:gd name="T14" fmla="*/ 148 w 458"/>
                <a:gd name="T15" fmla="*/ 16 h 428"/>
                <a:gd name="T16" fmla="*/ 186 w 458"/>
                <a:gd name="T17" fmla="*/ 4 h 428"/>
                <a:gd name="T18" fmla="*/ 226 w 458"/>
                <a:gd name="T19" fmla="*/ 0 h 428"/>
                <a:gd name="T20" fmla="*/ 248 w 458"/>
                <a:gd name="T21" fmla="*/ 0 h 428"/>
                <a:gd name="T22" fmla="*/ 286 w 458"/>
                <a:gd name="T23" fmla="*/ 8 h 428"/>
                <a:gd name="T24" fmla="*/ 322 w 458"/>
                <a:gd name="T25" fmla="*/ 24 h 428"/>
                <a:gd name="T26" fmla="*/ 356 w 458"/>
                <a:gd name="T27" fmla="*/ 48 h 428"/>
                <a:gd name="T28" fmla="*/ 384 w 458"/>
                <a:gd name="T29" fmla="*/ 76 h 428"/>
                <a:gd name="T30" fmla="*/ 408 w 458"/>
                <a:gd name="T31" fmla="*/ 108 h 428"/>
                <a:gd name="T32" fmla="*/ 424 w 458"/>
                <a:gd name="T33" fmla="*/ 146 h 428"/>
                <a:gd name="T34" fmla="*/ 436 w 458"/>
                <a:gd name="T35" fmla="*/ 188 h 428"/>
                <a:gd name="T36" fmla="*/ 458 w 458"/>
                <a:gd name="T37" fmla="*/ 428 h 428"/>
                <a:gd name="T38" fmla="*/ 428 w 458"/>
                <a:gd name="T39" fmla="*/ 400 h 428"/>
                <a:gd name="T40" fmla="*/ 410 w 458"/>
                <a:gd name="T41" fmla="*/ 212 h 428"/>
                <a:gd name="T42" fmla="*/ 404 w 458"/>
                <a:gd name="T43" fmla="*/ 174 h 428"/>
                <a:gd name="T44" fmla="*/ 392 w 458"/>
                <a:gd name="T45" fmla="*/ 140 h 428"/>
                <a:gd name="T46" fmla="*/ 374 w 458"/>
                <a:gd name="T47" fmla="*/ 108 h 428"/>
                <a:gd name="T48" fmla="*/ 352 w 458"/>
                <a:gd name="T49" fmla="*/ 82 h 428"/>
                <a:gd name="T50" fmla="*/ 324 w 458"/>
                <a:gd name="T51" fmla="*/ 58 h 428"/>
                <a:gd name="T52" fmla="*/ 294 w 458"/>
                <a:gd name="T53" fmla="*/ 42 h 428"/>
                <a:gd name="T54" fmla="*/ 262 w 458"/>
                <a:gd name="T55" fmla="*/ 32 h 428"/>
                <a:gd name="T56" fmla="*/ 226 w 458"/>
                <a:gd name="T57" fmla="*/ 28 h 428"/>
                <a:gd name="T58" fmla="*/ 208 w 458"/>
                <a:gd name="T59" fmla="*/ 28 h 428"/>
                <a:gd name="T60" fmla="*/ 174 w 458"/>
                <a:gd name="T61" fmla="*/ 36 h 428"/>
                <a:gd name="T62" fmla="*/ 142 w 458"/>
                <a:gd name="T63" fmla="*/ 50 h 428"/>
                <a:gd name="T64" fmla="*/ 114 w 458"/>
                <a:gd name="T65" fmla="*/ 68 h 428"/>
                <a:gd name="T66" fmla="*/ 90 w 458"/>
                <a:gd name="T67" fmla="*/ 94 h 428"/>
                <a:gd name="T68" fmla="*/ 70 w 458"/>
                <a:gd name="T69" fmla="*/ 122 h 428"/>
                <a:gd name="T70" fmla="*/ 54 w 458"/>
                <a:gd name="T71" fmla="*/ 156 h 428"/>
                <a:gd name="T72" fmla="*/ 46 w 458"/>
                <a:gd name="T73" fmla="*/ 192 h 428"/>
                <a:gd name="T74" fmla="*/ 30 w 458"/>
                <a:gd name="T75" fmla="*/ 40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8" h="428">
                  <a:moveTo>
                    <a:pt x="458" y="428"/>
                  </a:moveTo>
                  <a:lnTo>
                    <a:pt x="0" y="428"/>
                  </a:lnTo>
                  <a:lnTo>
                    <a:pt x="16" y="210"/>
                  </a:lnTo>
                  <a:lnTo>
                    <a:pt x="16" y="210"/>
                  </a:lnTo>
                  <a:lnTo>
                    <a:pt x="18" y="188"/>
                  </a:lnTo>
                  <a:lnTo>
                    <a:pt x="22" y="166"/>
                  </a:lnTo>
                  <a:lnTo>
                    <a:pt x="28" y="146"/>
                  </a:lnTo>
                  <a:lnTo>
                    <a:pt x="36" y="126"/>
                  </a:lnTo>
                  <a:lnTo>
                    <a:pt x="46" y="108"/>
                  </a:lnTo>
                  <a:lnTo>
                    <a:pt x="56" y="90"/>
                  </a:lnTo>
                  <a:lnTo>
                    <a:pt x="68" y="74"/>
                  </a:lnTo>
                  <a:lnTo>
                    <a:pt x="82" y="60"/>
                  </a:lnTo>
                  <a:lnTo>
                    <a:pt x="98" y="46"/>
                  </a:lnTo>
                  <a:lnTo>
                    <a:pt x="112" y="34"/>
                  </a:lnTo>
                  <a:lnTo>
                    <a:pt x="130" y="24"/>
                  </a:lnTo>
                  <a:lnTo>
                    <a:pt x="148" y="16"/>
                  </a:lnTo>
                  <a:lnTo>
                    <a:pt x="166" y="8"/>
                  </a:lnTo>
                  <a:lnTo>
                    <a:pt x="186" y="4"/>
                  </a:lnTo>
                  <a:lnTo>
                    <a:pt x="206" y="0"/>
                  </a:lnTo>
                  <a:lnTo>
                    <a:pt x="226" y="0"/>
                  </a:lnTo>
                  <a:lnTo>
                    <a:pt x="226" y="0"/>
                  </a:lnTo>
                  <a:lnTo>
                    <a:pt x="248" y="0"/>
                  </a:lnTo>
                  <a:lnTo>
                    <a:pt x="268" y="4"/>
                  </a:lnTo>
                  <a:lnTo>
                    <a:pt x="286" y="8"/>
                  </a:lnTo>
                  <a:lnTo>
                    <a:pt x="306" y="16"/>
                  </a:lnTo>
                  <a:lnTo>
                    <a:pt x="322" y="24"/>
                  </a:lnTo>
                  <a:lnTo>
                    <a:pt x="340" y="36"/>
                  </a:lnTo>
                  <a:lnTo>
                    <a:pt x="356" y="48"/>
                  </a:lnTo>
                  <a:lnTo>
                    <a:pt x="370" y="60"/>
                  </a:lnTo>
                  <a:lnTo>
                    <a:pt x="384" y="76"/>
                  </a:lnTo>
                  <a:lnTo>
                    <a:pt x="396" y="92"/>
                  </a:lnTo>
                  <a:lnTo>
                    <a:pt x="408" y="108"/>
                  </a:lnTo>
                  <a:lnTo>
                    <a:pt x="418" y="128"/>
                  </a:lnTo>
                  <a:lnTo>
                    <a:pt x="424" y="146"/>
                  </a:lnTo>
                  <a:lnTo>
                    <a:pt x="432" y="168"/>
                  </a:lnTo>
                  <a:lnTo>
                    <a:pt x="436" y="188"/>
                  </a:lnTo>
                  <a:lnTo>
                    <a:pt x="438" y="210"/>
                  </a:lnTo>
                  <a:lnTo>
                    <a:pt x="458" y="428"/>
                  </a:lnTo>
                  <a:close/>
                  <a:moveTo>
                    <a:pt x="30" y="400"/>
                  </a:moveTo>
                  <a:lnTo>
                    <a:pt x="428" y="400"/>
                  </a:lnTo>
                  <a:lnTo>
                    <a:pt x="410" y="212"/>
                  </a:lnTo>
                  <a:lnTo>
                    <a:pt x="410" y="212"/>
                  </a:lnTo>
                  <a:lnTo>
                    <a:pt x="408" y="194"/>
                  </a:lnTo>
                  <a:lnTo>
                    <a:pt x="404" y="174"/>
                  </a:lnTo>
                  <a:lnTo>
                    <a:pt x="398" y="156"/>
                  </a:lnTo>
                  <a:lnTo>
                    <a:pt x="392" y="140"/>
                  </a:lnTo>
                  <a:lnTo>
                    <a:pt x="384" y="124"/>
                  </a:lnTo>
                  <a:lnTo>
                    <a:pt x="374" y="108"/>
                  </a:lnTo>
                  <a:lnTo>
                    <a:pt x="364" y="94"/>
                  </a:lnTo>
                  <a:lnTo>
                    <a:pt x="352" y="82"/>
                  </a:lnTo>
                  <a:lnTo>
                    <a:pt x="338" y="70"/>
                  </a:lnTo>
                  <a:lnTo>
                    <a:pt x="324" y="58"/>
                  </a:lnTo>
                  <a:lnTo>
                    <a:pt x="310" y="50"/>
                  </a:lnTo>
                  <a:lnTo>
                    <a:pt x="294" y="42"/>
                  </a:lnTo>
                  <a:lnTo>
                    <a:pt x="278" y="36"/>
                  </a:lnTo>
                  <a:lnTo>
                    <a:pt x="262" y="32"/>
                  </a:lnTo>
                  <a:lnTo>
                    <a:pt x="244" y="28"/>
                  </a:lnTo>
                  <a:lnTo>
                    <a:pt x="226" y="28"/>
                  </a:lnTo>
                  <a:lnTo>
                    <a:pt x="226" y="28"/>
                  </a:lnTo>
                  <a:lnTo>
                    <a:pt x="208" y="28"/>
                  </a:lnTo>
                  <a:lnTo>
                    <a:pt x="192" y="32"/>
                  </a:lnTo>
                  <a:lnTo>
                    <a:pt x="174" y="36"/>
                  </a:lnTo>
                  <a:lnTo>
                    <a:pt x="158" y="42"/>
                  </a:lnTo>
                  <a:lnTo>
                    <a:pt x="142" y="50"/>
                  </a:lnTo>
                  <a:lnTo>
                    <a:pt x="128" y="58"/>
                  </a:lnTo>
                  <a:lnTo>
                    <a:pt x="114" y="68"/>
                  </a:lnTo>
                  <a:lnTo>
                    <a:pt x="102" y="80"/>
                  </a:lnTo>
                  <a:lnTo>
                    <a:pt x="90" y="94"/>
                  </a:lnTo>
                  <a:lnTo>
                    <a:pt x="80" y="108"/>
                  </a:lnTo>
                  <a:lnTo>
                    <a:pt x="70" y="122"/>
                  </a:lnTo>
                  <a:lnTo>
                    <a:pt x="62" y="138"/>
                  </a:lnTo>
                  <a:lnTo>
                    <a:pt x="54" y="156"/>
                  </a:lnTo>
                  <a:lnTo>
                    <a:pt x="50" y="174"/>
                  </a:lnTo>
                  <a:lnTo>
                    <a:pt x="46" y="192"/>
                  </a:lnTo>
                  <a:lnTo>
                    <a:pt x="44" y="212"/>
                  </a:lnTo>
                  <a:lnTo>
                    <a:pt x="30" y="4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139" name="Freeform 7"/>
            <p:cNvSpPr>
              <a:spLocks noEditPoints="1"/>
            </p:cNvSpPr>
            <p:nvPr/>
          </p:nvSpPr>
          <p:spPr bwMode="auto">
            <a:xfrm>
              <a:off x="6826885" y="7173732"/>
              <a:ext cx="374650" cy="374650"/>
            </a:xfrm>
            <a:custGeom>
              <a:avLst/>
              <a:gdLst>
                <a:gd name="T0" fmla="*/ 118 w 236"/>
                <a:gd name="T1" fmla="*/ 236 h 236"/>
                <a:gd name="T2" fmla="*/ 94 w 236"/>
                <a:gd name="T3" fmla="*/ 234 h 236"/>
                <a:gd name="T4" fmla="*/ 52 w 236"/>
                <a:gd name="T5" fmla="*/ 216 h 236"/>
                <a:gd name="T6" fmla="*/ 20 w 236"/>
                <a:gd name="T7" fmla="*/ 184 h 236"/>
                <a:gd name="T8" fmla="*/ 2 w 236"/>
                <a:gd name="T9" fmla="*/ 142 h 236"/>
                <a:gd name="T10" fmla="*/ 0 w 236"/>
                <a:gd name="T11" fmla="*/ 118 h 236"/>
                <a:gd name="T12" fmla="*/ 2 w 236"/>
                <a:gd name="T13" fmla="*/ 106 h 236"/>
                <a:gd name="T14" fmla="*/ 10 w 236"/>
                <a:gd name="T15" fmla="*/ 72 h 236"/>
                <a:gd name="T16" fmla="*/ 34 w 236"/>
                <a:gd name="T17" fmla="*/ 34 h 236"/>
                <a:gd name="T18" fmla="*/ 72 w 236"/>
                <a:gd name="T19" fmla="*/ 10 h 236"/>
                <a:gd name="T20" fmla="*/ 106 w 236"/>
                <a:gd name="T21" fmla="*/ 0 h 236"/>
                <a:gd name="T22" fmla="*/ 118 w 236"/>
                <a:gd name="T23" fmla="*/ 0 h 236"/>
                <a:gd name="T24" fmla="*/ 142 w 236"/>
                <a:gd name="T25" fmla="*/ 2 h 236"/>
                <a:gd name="T26" fmla="*/ 184 w 236"/>
                <a:gd name="T27" fmla="*/ 20 h 236"/>
                <a:gd name="T28" fmla="*/ 216 w 236"/>
                <a:gd name="T29" fmla="*/ 52 h 236"/>
                <a:gd name="T30" fmla="*/ 234 w 236"/>
                <a:gd name="T31" fmla="*/ 94 h 236"/>
                <a:gd name="T32" fmla="*/ 236 w 236"/>
                <a:gd name="T33" fmla="*/ 118 h 236"/>
                <a:gd name="T34" fmla="*/ 236 w 236"/>
                <a:gd name="T35" fmla="*/ 130 h 236"/>
                <a:gd name="T36" fmla="*/ 226 w 236"/>
                <a:gd name="T37" fmla="*/ 164 h 236"/>
                <a:gd name="T38" fmla="*/ 202 w 236"/>
                <a:gd name="T39" fmla="*/ 200 h 236"/>
                <a:gd name="T40" fmla="*/ 164 w 236"/>
                <a:gd name="T41" fmla="*/ 226 h 236"/>
                <a:gd name="T42" fmla="*/ 130 w 236"/>
                <a:gd name="T43" fmla="*/ 234 h 236"/>
                <a:gd name="T44" fmla="*/ 118 w 236"/>
                <a:gd name="T45" fmla="*/ 236 h 236"/>
                <a:gd name="T46" fmla="*/ 118 w 236"/>
                <a:gd name="T47" fmla="*/ 28 h 236"/>
                <a:gd name="T48" fmla="*/ 84 w 236"/>
                <a:gd name="T49" fmla="*/ 36 h 236"/>
                <a:gd name="T50" fmla="*/ 54 w 236"/>
                <a:gd name="T51" fmla="*/ 54 h 236"/>
                <a:gd name="T52" fmla="*/ 36 w 236"/>
                <a:gd name="T53" fmla="*/ 82 h 236"/>
                <a:gd name="T54" fmla="*/ 28 w 236"/>
                <a:gd name="T55" fmla="*/ 118 h 236"/>
                <a:gd name="T56" fmla="*/ 30 w 236"/>
                <a:gd name="T57" fmla="*/ 136 h 236"/>
                <a:gd name="T58" fmla="*/ 44 w 236"/>
                <a:gd name="T59" fmla="*/ 168 h 236"/>
                <a:gd name="T60" fmla="*/ 68 w 236"/>
                <a:gd name="T61" fmla="*/ 192 h 236"/>
                <a:gd name="T62" fmla="*/ 100 w 236"/>
                <a:gd name="T63" fmla="*/ 206 h 236"/>
                <a:gd name="T64" fmla="*/ 118 w 236"/>
                <a:gd name="T65" fmla="*/ 208 h 236"/>
                <a:gd name="T66" fmla="*/ 154 w 236"/>
                <a:gd name="T67" fmla="*/ 200 h 236"/>
                <a:gd name="T68" fmla="*/ 182 w 236"/>
                <a:gd name="T69" fmla="*/ 182 h 236"/>
                <a:gd name="T70" fmla="*/ 200 w 236"/>
                <a:gd name="T71" fmla="*/ 152 h 236"/>
                <a:gd name="T72" fmla="*/ 208 w 236"/>
                <a:gd name="T73" fmla="*/ 118 h 236"/>
                <a:gd name="T74" fmla="*/ 206 w 236"/>
                <a:gd name="T75" fmla="*/ 100 h 236"/>
                <a:gd name="T76" fmla="*/ 192 w 236"/>
                <a:gd name="T77" fmla="*/ 68 h 236"/>
                <a:gd name="T78" fmla="*/ 168 w 236"/>
                <a:gd name="T79" fmla="*/ 44 h 236"/>
                <a:gd name="T80" fmla="*/ 136 w 236"/>
                <a:gd name="T81" fmla="*/ 30 h 236"/>
                <a:gd name="T82" fmla="*/ 118 w 236"/>
                <a:gd name="T83" fmla="*/ 2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6" h="236">
                  <a:moveTo>
                    <a:pt x="118" y="236"/>
                  </a:moveTo>
                  <a:lnTo>
                    <a:pt x="118" y="236"/>
                  </a:lnTo>
                  <a:lnTo>
                    <a:pt x="106" y="234"/>
                  </a:lnTo>
                  <a:lnTo>
                    <a:pt x="94" y="234"/>
                  </a:lnTo>
                  <a:lnTo>
                    <a:pt x="72" y="226"/>
                  </a:lnTo>
                  <a:lnTo>
                    <a:pt x="52" y="216"/>
                  </a:lnTo>
                  <a:lnTo>
                    <a:pt x="34" y="200"/>
                  </a:lnTo>
                  <a:lnTo>
                    <a:pt x="20" y="184"/>
                  </a:lnTo>
                  <a:lnTo>
                    <a:pt x="10" y="164"/>
                  </a:lnTo>
                  <a:lnTo>
                    <a:pt x="2" y="142"/>
                  </a:lnTo>
                  <a:lnTo>
                    <a:pt x="2" y="130"/>
                  </a:lnTo>
                  <a:lnTo>
                    <a:pt x="0" y="118"/>
                  </a:lnTo>
                  <a:lnTo>
                    <a:pt x="0" y="118"/>
                  </a:lnTo>
                  <a:lnTo>
                    <a:pt x="2" y="106"/>
                  </a:lnTo>
                  <a:lnTo>
                    <a:pt x="2" y="94"/>
                  </a:lnTo>
                  <a:lnTo>
                    <a:pt x="10" y="72"/>
                  </a:lnTo>
                  <a:lnTo>
                    <a:pt x="20" y="52"/>
                  </a:lnTo>
                  <a:lnTo>
                    <a:pt x="34" y="34"/>
                  </a:lnTo>
                  <a:lnTo>
                    <a:pt x="52" y="20"/>
                  </a:lnTo>
                  <a:lnTo>
                    <a:pt x="72" y="10"/>
                  </a:lnTo>
                  <a:lnTo>
                    <a:pt x="94" y="2"/>
                  </a:lnTo>
                  <a:lnTo>
                    <a:pt x="106" y="0"/>
                  </a:lnTo>
                  <a:lnTo>
                    <a:pt x="118" y="0"/>
                  </a:lnTo>
                  <a:lnTo>
                    <a:pt x="118" y="0"/>
                  </a:lnTo>
                  <a:lnTo>
                    <a:pt x="130" y="0"/>
                  </a:lnTo>
                  <a:lnTo>
                    <a:pt x="142" y="2"/>
                  </a:lnTo>
                  <a:lnTo>
                    <a:pt x="164" y="10"/>
                  </a:lnTo>
                  <a:lnTo>
                    <a:pt x="184" y="20"/>
                  </a:lnTo>
                  <a:lnTo>
                    <a:pt x="202" y="34"/>
                  </a:lnTo>
                  <a:lnTo>
                    <a:pt x="216" y="52"/>
                  </a:lnTo>
                  <a:lnTo>
                    <a:pt x="226" y="72"/>
                  </a:lnTo>
                  <a:lnTo>
                    <a:pt x="234" y="94"/>
                  </a:lnTo>
                  <a:lnTo>
                    <a:pt x="236" y="106"/>
                  </a:lnTo>
                  <a:lnTo>
                    <a:pt x="236" y="118"/>
                  </a:lnTo>
                  <a:lnTo>
                    <a:pt x="236" y="118"/>
                  </a:lnTo>
                  <a:lnTo>
                    <a:pt x="236" y="130"/>
                  </a:lnTo>
                  <a:lnTo>
                    <a:pt x="234" y="142"/>
                  </a:lnTo>
                  <a:lnTo>
                    <a:pt x="226" y="164"/>
                  </a:lnTo>
                  <a:lnTo>
                    <a:pt x="216" y="184"/>
                  </a:lnTo>
                  <a:lnTo>
                    <a:pt x="202" y="200"/>
                  </a:lnTo>
                  <a:lnTo>
                    <a:pt x="184" y="216"/>
                  </a:lnTo>
                  <a:lnTo>
                    <a:pt x="164" y="226"/>
                  </a:lnTo>
                  <a:lnTo>
                    <a:pt x="142" y="234"/>
                  </a:lnTo>
                  <a:lnTo>
                    <a:pt x="130" y="234"/>
                  </a:lnTo>
                  <a:lnTo>
                    <a:pt x="118" y="236"/>
                  </a:lnTo>
                  <a:lnTo>
                    <a:pt x="118" y="236"/>
                  </a:lnTo>
                  <a:close/>
                  <a:moveTo>
                    <a:pt x="118" y="28"/>
                  </a:moveTo>
                  <a:lnTo>
                    <a:pt x="118" y="28"/>
                  </a:lnTo>
                  <a:lnTo>
                    <a:pt x="100" y="30"/>
                  </a:lnTo>
                  <a:lnTo>
                    <a:pt x="84" y="36"/>
                  </a:lnTo>
                  <a:lnTo>
                    <a:pt x="68" y="44"/>
                  </a:lnTo>
                  <a:lnTo>
                    <a:pt x="54" y="54"/>
                  </a:lnTo>
                  <a:lnTo>
                    <a:pt x="44" y="68"/>
                  </a:lnTo>
                  <a:lnTo>
                    <a:pt x="36" y="82"/>
                  </a:lnTo>
                  <a:lnTo>
                    <a:pt x="30" y="100"/>
                  </a:lnTo>
                  <a:lnTo>
                    <a:pt x="28" y="118"/>
                  </a:lnTo>
                  <a:lnTo>
                    <a:pt x="28" y="118"/>
                  </a:lnTo>
                  <a:lnTo>
                    <a:pt x="30" y="136"/>
                  </a:lnTo>
                  <a:lnTo>
                    <a:pt x="36" y="152"/>
                  </a:lnTo>
                  <a:lnTo>
                    <a:pt x="44" y="168"/>
                  </a:lnTo>
                  <a:lnTo>
                    <a:pt x="54" y="182"/>
                  </a:lnTo>
                  <a:lnTo>
                    <a:pt x="68" y="192"/>
                  </a:lnTo>
                  <a:lnTo>
                    <a:pt x="84" y="200"/>
                  </a:lnTo>
                  <a:lnTo>
                    <a:pt x="100" y="206"/>
                  </a:lnTo>
                  <a:lnTo>
                    <a:pt x="118" y="208"/>
                  </a:lnTo>
                  <a:lnTo>
                    <a:pt x="118" y="208"/>
                  </a:lnTo>
                  <a:lnTo>
                    <a:pt x="136" y="206"/>
                  </a:lnTo>
                  <a:lnTo>
                    <a:pt x="154" y="200"/>
                  </a:lnTo>
                  <a:lnTo>
                    <a:pt x="168" y="192"/>
                  </a:lnTo>
                  <a:lnTo>
                    <a:pt x="182" y="182"/>
                  </a:lnTo>
                  <a:lnTo>
                    <a:pt x="192" y="168"/>
                  </a:lnTo>
                  <a:lnTo>
                    <a:pt x="200" y="152"/>
                  </a:lnTo>
                  <a:lnTo>
                    <a:pt x="206" y="136"/>
                  </a:lnTo>
                  <a:lnTo>
                    <a:pt x="208" y="118"/>
                  </a:lnTo>
                  <a:lnTo>
                    <a:pt x="208" y="118"/>
                  </a:lnTo>
                  <a:lnTo>
                    <a:pt x="206" y="100"/>
                  </a:lnTo>
                  <a:lnTo>
                    <a:pt x="200" y="82"/>
                  </a:lnTo>
                  <a:lnTo>
                    <a:pt x="192" y="68"/>
                  </a:lnTo>
                  <a:lnTo>
                    <a:pt x="182" y="54"/>
                  </a:lnTo>
                  <a:lnTo>
                    <a:pt x="168" y="44"/>
                  </a:lnTo>
                  <a:lnTo>
                    <a:pt x="154" y="36"/>
                  </a:lnTo>
                  <a:lnTo>
                    <a:pt x="136" y="30"/>
                  </a:lnTo>
                  <a:lnTo>
                    <a:pt x="118" y="28"/>
                  </a:lnTo>
                  <a:lnTo>
                    <a:pt x="11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140" name="Freeform 8"/>
            <p:cNvSpPr>
              <a:spLocks noEditPoints="1"/>
            </p:cNvSpPr>
            <p:nvPr/>
          </p:nvSpPr>
          <p:spPr bwMode="auto">
            <a:xfrm>
              <a:off x="6817360" y="7567432"/>
              <a:ext cx="476250" cy="523875"/>
            </a:xfrm>
            <a:custGeom>
              <a:avLst/>
              <a:gdLst>
                <a:gd name="T0" fmla="*/ 46 w 300"/>
                <a:gd name="T1" fmla="*/ 330 h 330"/>
                <a:gd name="T2" fmla="*/ 32 w 300"/>
                <a:gd name="T3" fmla="*/ 158 h 330"/>
                <a:gd name="T4" fmla="*/ 22 w 300"/>
                <a:gd name="T5" fmla="*/ 114 h 330"/>
                <a:gd name="T6" fmla="*/ 4 w 300"/>
                <a:gd name="T7" fmla="*/ 70 h 330"/>
                <a:gd name="T8" fmla="*/ 6 w 300"/>
                <a:gd name="T9" fmla="*/ 54 h 330"/>
                <a:gd name="T10" fmla="*/ 18 w 300"/>
                <a:gd name="T11" fmla="*/ 42 h 330"/>
                <a:gd name="T12" fmla="*/ 44 w 300"/>
                <a:gd name="T13" fmla="*/ 22 h 330"/>
                <a:gd name="T14" fmla="*/ 74 w 300"/>
                <a:gd name="T15" fmla="*/ 8 h 330"/>
                <a:gd name="T16" fmla="*/ 106 w 300"/>
                <a:gd name="T17" fmla="*/ 2 h 330"/>
                <a:gd name="T18" fmla="*/ 122 w 300"/>
                <a:gd name="T19" fmla="*/ 0 h 330"/>
                <a:gd name="T20" fmla="*/ 154 w 300"/>
                <a:gd name="T21" fmla="*/ 4 h 330"/>
                <a:gd name="T22" fmla="*/ 182 w 300"/>
                <a:gd name="T23" fmla="*/ 14 h 330"/>
                <a:gd name="T24" fmla="*/ 210 w 300"/>
                <a:gd name="T25" fmla="*/ 28 h 330"/>
                <a:gd name="T26" fmla="*/ 232 w 300"/>
                <a:gd name="T27" fmla="*/ 48 h 330"/>
                <a:gd name="T28" fmla="*/ 252 w 300"/>
                <a:gd name="T29" fmla="*/ 72 h 330"/>
                <a:gd name="T30" fmla="*/ 268 w 300"/>
                <a:gd name="T31" fmla="*/ 98 h 330"/>
                <a:gd name="T32" fmla="*/ 280 w 300"/>
                <a:gd name="T33" fmla="*/ 130 h 330"/>
                <a:gd name="T34" fmla="*/ 284 w 300"/>
                <a:gd name="T35" fmla="*/ 162 h 330"/>
                <a:gd name="T36" fmla="*/ 72 w 300"/>
                <a:gd name="T37" fmla="*/ 302 h 330"/>
                <a:gd name="T38" fmla="*/ 256 w 300"/>
                <a:gd name="T39" fmla="*/ 164 h 330"/>
                <a:gd name="T40" fmla="*/ 252 w 300"/>
                <a:gd name="T41" fmla="*/ 140 h 330"/>
                <a:gd name="T42" fmla="*/ 232 w 300"/>
                <a:gd name="T43" fmla="*/ 92 h 330"/>
                <a:gd name="T44" fmla="*/ 208 w 300"/>
                <a:gd name="T45" fmla="*/ 62 h 330"/>
                <a:gd name="T46" fmla="*/ 188 w 300"/>
                <a:gd name="T47" fmla="*/ 46 h 330"/>
                <a:gd name="T48" fmla="*/ 164 w 300"/>
                <a:gd name="T49" fmla="*/ 36 h 330"/>
                <a:gd name="T50" fmla="*/ 136 w 300"/>
                <a:gd name="T51" fmla="*/ 30 h 330"/>
                <a:gd name="T52" fmla="*/ 122 w 300"/>
                <a:gd name="T53" fmla="*/ 28 h 330"/>
                <a:gd name="T54" fmla="*/ 98 w 300"/>
                <a:gd name="T55" fmla="*/ 32 h 330"/>
                <a:gd name="T56" fmla="*/ 52 w 300"/>
                <a:gd name="T57" fmla="*/ 50 h 330"/>
                <a:gd name="T58" fmla="*/ 34 w 300"/>
                <a:gd name="T59" fmla="*/ 66 h 330"/>
                <a:gd name="T60" fmla="*/ 52 w 300"/>
                <a:gd name="T61" fmla="*/ 110 h 330"/>
                <a:gd name="T62" fmla="*/ 60 w 300"/>
                <a:gd name="T63" fmla="*/ 15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0" h="330">
                  <a:moveTo>
                    <a:pt x="300" y="330"/>
                  </a:moveTo>
                  <a:lnTo>
                    <a:pt x="46" y="330"/>
                  </a:lnTo>
                  <a:lnTo>
                    <a:pt x="32" y="158"/>
                  </a:lnTo>
                  <a:lnTo>
                    <a:pt x="32" y="158"/>
                  </a:lnTo>
                  <a:lnTo>
                    <a:pt x="28" y="136"/>
                  </a:lnTo>
                  <a:lnTo>
                    <a:pt x="22" y="114"/>
                  </a:lnTo>
                  <a:lnTo>
                    <a:pt x="14" y="92"/>
                  </a:lnTo>
                  <a:lnTo>
                    <a:pt x="4" y="70"/>
                  </a:lnTo>
                  <a:lnTo>
                    <a:pt x="0" y="62"/>
                  </a:lnTo>
                  <a:lnTo>
                    <a:pt x="6" y="54"/>
                  </a:lnTo>
                  <a:lnTo>
                    <a:pt x="6" y="54"/>
                  </a:lnTo>
                  <a:lnTo>
                    <a:pt x="18" y="42"/>
                  </a:lnTo>
                  <a:lnTo>
                    <a:pt x="30" y="32"/>
                  </a:lnTo>
                  <a:lnTo>
                    <a:pt x="44" y="22"/>
                  </a:lnTo>
                  <a:lnTo>
                    <a:pt x="58" y="14"/>
                  </a:lnTo>
                  <a:lnTo>
                    <a:pt x="74" y="8"/>
                  </a:lnTo>
                  <a:lnTo>
                    <a:pt x="90" y="4"/>
                  </a:lnTo>
                  <a:lnTo>
                    <a:pt x="106" y="2"/>
                  </a:lnTo>
                  <a:lnTo>
                    <a:pt x="122" y="0"/>
                  </a:lnTo>
                  <a:lnTo>
                    <a:pt x="122" y="0"/>
                  </a:lnTo>
                  <a:lnTo>
                    <a:pt x="138" y="2"/>
                  </a:lnTo>
                  <a:lnTo>
                    <a:pt x="154" y="4"/>
                  </a:lnTo>
                  <a:lnTo>
                    <a:pt x="168" y="8"/>
                  </a:lnTo>
                  <a:lnTo>
                    <a:pt x="182" y="14"/>
                  </a:lnTo>
                  <a:lnTo>
                    <a:pt x="196" y="20"/>
                  </a:lnTo>
                  <a:lnTo>
                    <a:pt x="210" y="28"/>
                  </a:lnTo>
                  <a:lnTo>
                    <a:pt x="222" y="38"/>
                  </a:lnTo>
                  <a:lnTo>
                    <a:pt x="232" y="48"/>
                  </a:lnTo>
                  <a:lnTo>
                    <a:pt x="244" y="58"/>
                  </a:lnTo>
                  <a:lnTo>
                    <a:pt x="252" y="72"/>
                  </a:lnTo>
                  <a:lnTo>
                    <a:pt x="260" y="84"/>
                  </a:lnTo>
                  <a:lnTo>
                    <a:pt x="268" y="98"/>
                  </a:lnTo>
                  <a:lnTo>
                    <a:pt x="274" y="114"/>
                  </a:lnTo>
                  <a:lnTo>
                    <a:pt x="280" y="130"/>
                  </a:lnTo>
                  <a:lnTo>
                    <a:pt x="282" y="146"/>
                  </a:lnTo>
                  <a:lnTo>
                    <a:pt x="284" y="162"/>
                  </a:lnTo>
                  <a:lnTo>
                    <a:pt x="300" y="330"/>
                  </a:lnTo>
                  <a:close/>
                  <a:moveTo>
                    <a:pt x="72" y="302"/>
                  </a:moveTo>
                  <a:lnTo>
                    <a:pt x="268" y="302"/>
                  </a:lnTo>
                  <a:lnTo>
                    <a:pt x="256" y="164"/>
                  </a:lnTo>
                  <a:lnTo>
                    <a:pt x="256" y="164"/>
                  </a:lnTo>
                  <a:lnTo>
                    <a:pt x="252" y="140"/>
                  </a:lnTo>
                  <a:lnTo>
                    <a:pt x="244" y="114"/>
                  </a:lnTo>
                  <a:lnTo>
                    <a:pt x="232" y="92"/>
                  </a:lnTo>
                  <a:lnTo>
                    <a:pt x="216" y="72"/>
                  </a:lnTo>
                  <a:lnTo>
                    <a:pt x="208" y="62"/>
                  </a:lnTo>
                  <a:lnTo>
                    <a:pt x="198" y="54"/>
                  </a:lnTo>
                  <a:lnTo>
                    <a:pt x="188" y="46"/>
                  </a:lnTo>
                  <a:lnTo>
                    <a:pt x="176" y="40"/>
                  </a:lnTo>
                  <a:lnTo>
                    <a:pt x="164" y="36"/>
                  </a:lnTo>
                  <a:lnTo>
                    <a:pt x="150" y="32"/>
                  </a:lnTo>
                  <a:lnTo>
                    <a:pt x="136" y="30"/>
                  </a:lnTo>
                  <a:lnTo>
                    <a:pt x="122" y="28"/>
                  </a:lnTo>
                  <a:lnTo>
                    <a:pt x="122" y="28"/>
                  </a:lnTo>
                  <a:lnTo>
                    <a:pt x="110" y="30"/>
                  </a:lnTo>
                  <a:lnTo>
                    <a:pt x="98" y="32"/>
                  </a:lnTo>
                  <a:lnTo>
                    <a:pt x="74" y="38"/>
                  </a:lnTo>
                  <a:lnTo>
                    <a:pt x="52" y="50"/>
                  </a:lnTo>
                  <a:lnTo>
                    <a:pt x="34" y="66"/>
                  </a:lnTo>
                  <a:lnTo>
                    <a:pt x="34" y="66"/>
                  </a:lnTo>
                  <a:lnTo>
                    <a:pt x="44" y="88"/>
                  </a:lnTo>
                  <a:lnTo>
                    <a:pt x="52" y="110"/>
                  </a:lnTo>
                  <a:lnTo>
                    <a:pt x="56" y="132"/>
                  </a:lnTo>
                  <a:lnTo>
                    <a:pt x="60" y="156"/>
                  </a:lnTo>
                  <a:lnTo>
                    <a:pt x="72" y="3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grpSp>
      <p:grpSp>
        <p:nvGrpSpPr>
          <p:cNvPr id="141" name="Group 140"/>
          <p:cNvGrpSpPr/>
          <p:nvPr/>
        </p:nvGrpSpPr>
        <p:grpSpPr>
          <a:xfrm>
            <a:off x="9423984" y="4050215"/>
            <a:ext cx="522078" cy="652597"/>
            <a:chOff x="2954338" y="6831013"/>
            <a:chExt cx="1041400" cy="1301750"/>
          </a:xfrm>
          <a:solidFill>
            <a:schemeClr val="accent1"/>
          </a:solidFill>
        </p:grpSpPr>
        <p:sp>
          <p:nvSpPr>
            <p:cNvPr id="142" name="Freeform 36"/>
            <p:cNvSpPr>
              <a:spLocks noEditPoints="1"/>
            </p:cNvSpPr>
            <p:nvPr/>
          </p:nvSpPr>
          <p:spPr bwMode="auto">
            <a:xfrm>
              <a:off x="3195638" y="7329488"/>
              <a:ext cx="390525" cy="393700"/>
            </a:xfrm>
            <a:custGeom>
              <a:avLst/>
              <a:gdLst>
                <a:gd name="T0" fmla="*/ 122 w 246"/>
                <a:gd name="T1" fmla="*/ 248 h 248"/>
                <a:gd name="T2" fmla="*/ 98 w 246"/>
                <a:gd name="T3" fmla="*/ 244 h 248"/>
                <a:gd name="T4" fmla="*/ 74 w 246"/>
                <a:gd name="T5" fmla="*/ 238 h 248"/>
                <a:gd name="T6" fmla="*/ 36 w 246"/>
                <a:gd name="T7" fmla="*/ 210 h 248"/>
                <a:gd name="T8" fmla="*/ 8 w 246"/>
                <a:gd name="T9" fmla="*/ 172 h 248"/>
                <a:gd name="T10" fmla="*/ 2 w 246"/>
                <a:gd name="T11" fmla="*/ 148 h 248"/>
                <a:gd name="T12" fmla="*/ 0 w 246"/>
                <a:gd name="T13" fmla="*/ 124 h 248"/>
                <a:gd name="T14" fmla="*/ 0 w 246"/>
                <a:gd name="T15" fmla="*/ 112 h 248"/>
                <a:gd name="T16" fmla="*/ 4 w 246"/>
                <a:gd name="T17" fmla="*/ 88 h 248"/>
                <a:gd name="T18" fmla="*/ 20 w 246"/>
                <a:gd name="T19" fmla="*/ 56 h 248"/>
                <a:gd name="T20" fmla="*/ 54 w 246"/>
                <a:gd name="T21" fmla="*/ 22 h 248"/>
                <a:gd name="T22" fmla="*/ 86 w 246"/>
                <a:gd name="T23" fmla="*/ 6 h 248"/>
                <a:gd name="T24" fmla="*/ 110 w 246"/>
                <a:gd name="T25" fmla="*/ 2 h 248"/>
                <a:gd name="T26" fmla="*/ 122 w 246"/>
                <a:gd name="T27" fmla="*/ 0 h 248"/>
                <a:gd name="T28" fmla="*/ 148 w 246"/>
                <a:gd name="T29" fmla="*/ 4 h 248"/>
                <a:gd name="T30" fmla="*/ 170 w 246"/>
                <a:gd name="T31" fmla="*/ 10 h 248"/>
                <a:gd name="T32" fmla="*/ 210 w 246"/>
                <a:gd name="T33" fmla="*/ 36 h 248"/>
                <a:gd name="T34" fmla="*/ 236 w 246"/>
                <a:gd name="T35" fmla="*/ 76 h 248"/>
                <a:gd name="T36" fmla="*/ 242 w 246"/>
                <a:gd name="T37" fmla="*/ 100 h 248"/>
                <a:gd name="T38" fmla="*/ 246 w 246"/>
                <a:gd name="T39" fmla="*/ 124 h 248"/>
                <a:gd name="T40" fmla="*/ 244 w 246"/>
                <a:gd name="T41" fmla="*/ 136 h 248"/>
                <a:gd name="T42" fmla="*/ 240 w 246"/>
                <a:gd name="T43" fmla="*/ 160 h 248"/>
                <a:gd name="T44" fmla="*/ 224 w 246"/>
                <a:gd name="T45" fmla="*/ 192 h 248"/>
                <a:gd name="T46" fmla="*/ 192 w 246"/>
                <a:gd name="T47" fmla="*/ 226 h 248"/>
                <a:gd name="T48" fmla="*/ 158 w 246"/>
                <a:gd name="T49" fmla="*/ 242 h 248"/>
                <a:gd name="T50" fmla="*/ 134 w 246"/>
                <a:gd name="T51" fmla="*/ 246 h 248"/>
                <a:gd name="T52" fmla="*/ 122 w 246"/>
                <a:gd name="T53" fmla="*/ 248 h 248"/>
                <a:gd name="T54" fmla="*/ 122 w 246"/>
                <a:gd name="T55" fmla="*/ 28 h 248"/>
                <a:gd name="T56" fmla="*/ 86 w 246"/>
                <a:gd name="T57" fmla="*/ 36 h 248"/>
                <a:gd name="T58" fmla="*/ 56 w 246"/>
                <a:gd name="T59" fmla="*/ 56 h 248"/>
                <a:gd name="T60" fmla="*/ 34 w 246"/>
                <a:gd name="T61" fmla="*/ 86 h 248"/>
                <a:gd name="T62" fmla="*/ 28 w 246"/>
                <a:gd name="T63" fmla="*/ 124 h 248"/>
                <a:gd name="T64" fmla="*/ 30 w 246"/>
                <a:gd name="T65" fmla="*/ 144 h 248"/>
                <a:gd name="T66" fmla="*/ 44 w 246"/>
                <a:gd name="T67" fmla="*/ 178 h 248"/>
                <a:gd name="T68" fmla="*/ 70 w 246"/>
                <a:gd name="T69" fmla="*/ 202 h 248"/>
                <a:gd name="T70" fmla="*/ 104 w 246"/>
                <a:gd name="T71" fmla="*/ 218 h 248"/>
                <a:gd name="T72" fmla="*/ 122 w 246"/>
                <a:gd name="T73" fmla="*/ 220 h 248"/>
                <a:gd name="T74" fmla="*/ 160 w 246"/>
                <a:gd name="T75" fmla="*/ 212 h 248"/>
                <a:gd name="T76" fmla="*/ 190 w 246"/>
                <a:gd name="T77" fmla="*/ 192 h 248"/>
                <a:gd name="T78" fmla="*/ 210 w 246"/>
                <a:gd name="T79" fmla="*/ 160 h 248"/>
                <a:gd name="T80" fmla="*/ 218 w 246"/>
                <a:gd name="T81" fmla="*/ 124 h 248"/>
                <a:gd name="T82" fmla="*/ 216 w 246"/>
                <a:gd name="T83" fmla="*/ 104 h 248"/>
                <a:gd name="T84" fmla="*/ 202 w 246"/>
                <a:gd name="T85" fmla="*/ 70 h 248"/>
                <a:gd name="T86" fmla="*/ 176 w 246"/>
                <a:gd name="T87" fmla="*/ 46 h 248"/>
                <a:gd name="T88" fmla="*/ 142 w 246"/>
                <a:gd name="T89" fmla="*/ 30 h 248"/>
                <a:gd name="T90" fmla="*/ 122 w 246"/>
                <a:gd name="T91" fmla="*/ 2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6" h="248">
                  <a:moveTo>
                    <a:pt x="122" y="248"/>
                  </a:moveTo>
                  <a:lnTo>
                    <a:pt x="122" y="248"/>
                  </a:lnTo>
                  <a:lnTo>
                    <a:pt x="110" y="246"/>
                  </a:lnTo>
                  <a:lnTo>
                    <a:pt x="98" y="244"/>
                  </a:lnTo>
                  <a:lnTo>
                    <a:pt x="86" y="242"/>
                  </a:lnTo>
                  <a:lnTo>
                    <a:pt x="74" y="238"/>
                  </a:lnTo>
                  <a:lnTo>
                    <a:pt x="54" y="226"/>
                  </a:lnTo>
                  <a:lnTo>
                    <a:pt x="36" y="210"/>
                  </a:lnTo>
                  <a:lnTo>
                    <a:pt x="20" y="192"/>
                  </a:lnTo>
                  <a:lnTo>
                    <a:pt x="8" y="172"/>
                  </a:lnTo>
                  <a:lnTo>
                    <a:pt x="4" y="160"/>
                  </a:lnTo>
                  <a:lnTo>
                    <a:pt x="2" y="148"/>
                  </a:lnTo>
                  <a:lnTo>
                    <a:pt x="0" y="136"/>
                  </a:lnTo>
                  <a:lnTo>
                    <a:pt x="0" y="124"/>
                  </a:lnTo>
                  <a:lnTo>
                    <a:pt x="0" y="124"/>
                  </a:lnTo>
                  <a:lnTo>
                    <a:pt x="0" y="112"/>
                  </a:lnTo>
                  <a:lnTo>
                    <a:pt x="2" y="100"/>
                  </a:lnTo>
                  <a:lnTo>
                    <a:pt x="4" y="88"/>
                  </a:lnTo>
                  <a:lnTo>
                    <a:pt x="8" y="76"/>
                  </a:lnTo>
                  <a:lnTo>
                    <a:pt x="20" y="56"/>
                  </a:lnTo>
                  <a:lnTo>
                    <a:pt x="36" y="36"/>
                  </a:lnTo>
                  <a:lnTo>
                    <a:pt x="54" y="22"/>
                  </a:lnTo>
                  <a:lnTo>
                    <a:pt x="74" y="10"/>
                  </a:lnTo>
                  <a:lnTo>
                    <a:pt x="86" y="6"/>
                  </a:lnTo>
                  <a:lnTo>
                    <a:pt x="98" y="4"/>
                  </a:lnTo>
                  <a:lnTo>
                    <a:pt x="110" y="2"/>
                  </a:lnTo>
                  <a:lnTo>
                    <a:pt x="122" y="0"/>
                  </a:lnTo>
                  <a:lnTo>
                    <a:pt x="122" y="0"/>
                  </a:lnTo>
                  <a:lnTo>
                    <a:pt x="134" y="2"/>
                  </a:lnTo>
                  <a:lnTo>
                    <a:pt x="148" y="4"/>
                  </a:lnTo>
                  <a:lnTo>
                    <a:pt x="158" y="6"/>
                  </a:lnTo>
                  <a:lnTo>
                    <a:pt x="170" y="10"/>
                  </a:lnTo>
                  <a:lnTo>
                    <a:pt x="192" y="22"/>
                  </a:lnTo>
                  <a:lnTo>
                    <a:pt x="210" y="36"/>
                  </a:lnTo>
                  <a:lnTo>
                    <a:pt x="224" y="56"/>
                  </a:lnTo>
                  <a:lnTo>
                    <a:pt x="236" y="76"/>
                  </a:lnTo>
                  <a:lnTo>
                    <a:pt x="240" y="88"/>
                  </a:lnTo>
                  <a:lnTo>
                    <a:pt x="242" y="100"/>
                  </a:lnTo>
                  <a:lnTo>
                    <a:pt x="244" y="112"/>
                  </a:lnTo>
                  <a:lnTo>
                    <a:pt x="246" y="124"/>
                  </a:lnTo>
                  <a:lnTo>
                    <a:pt x="246" y="124"/>
                  </a:lnTo>
                  <a:lnTo>
                    <a:pt x="244" y="136"/>
                  </a:lnTo>
                  <a:lnTo>
                    <a:pt x="242" y="148"/>
                  </a:lnTo>
                  <a:lnTo>
                    <a:pt x="240" y="160"/>
                  </a:lnTo>
                  <a:lnTo>
                    <a:pt x="236" y="172"/>
                  </a:lnTo>
                  <a:lnTo>
                    <a:pt x="224" y="192"/>
                  </a:lnTo>
                  <a:lnTo>
                    <a:pt x="210" y="210"/>
                  </a:lnTo>
                  <a:lnTo>
                    <a:pt x="192" y="226"/>
                  </a:lnTo>
                  <a:lnTo>
                    <a:pt x="170" y="238"/>
                  </a:lnTo>
                  <a:lnTo>
                    <a:pt x="158" y="242"/>
                  </a:lnTo>
                  <a:lnTo>
                    <a:pt x="148" y="244"/>
                  </a:lnTo>
                  <a:lnTo>
                    <a:pt x="134" y="246"/>
                  </a:lnTo>
                  <a:lnTo>
                    <a:pt x="122" y="248"/>
                  </a:lnTo>
                  <a:lnTo>
                    <a:pt x="122" y="248"/>
                  </a:lnTo>
                  <a:close/>
                  <a:moveTo>
                    <a:pt x="122" y="28"/>
                  </a:moveTo>
                  <a:lnTo>
                    <a:pt x="122" y="28"/>
                  </a:lnTo>
                  <a:lnTo>
                    <a:pt x="104" y="30"/>
                  </a:lnTo>
                  <a:lnTo>
                    <a:pt x="86" y="36"/>
                  </a:lnTo>
                  <a:lnTo>
                    <a:pt x="70" y="46"/>
                  </a:lnTo>
                  <a:lnTo>
                    <a:pt x="56" y="56"/>
                  </a:lnTo>
                  <a:lnTo>
                    <a:pt x="44" y="70"/>
                  </a:lnTo>
                  <a:lnTo>
                    <a:pt x="34" y="86"/>
                  </a:lnTo>
                  <a:lnTo>
                    <a:pt x="30" y="104"/>
                  </a:lnTo>
                  <a:lnTo>
                    <a:pt x="28" y="124"/>
                  </a:lnTo>
                  <a:lnTo>
                    <a:pt x="28" y="124"/>
                  </a:lnTo>
                  <a:lnTo>
                    <a:pt x="30" y="144"/>
                  </a:lnTo>
                  <a:lnTo>
                    <a:pt x="34" y="160"/>
                  </a:lnTo>
                  <a:lnTo>
                    <a:pt x="44" y="178"/>
                  </a:lnTo>
                  <a:lnTo>
                    <a:pt x="56" y="192"/>
                  </a:lnTo>
                  <a:lnTo>
                    <a:pt x="70" y="202"/>
                  </a:lnTo>
                  <a:lnTo>
                    <a:pt x="86" y="212"/>
                  </a:lnTo>
                  <a:lnTo>
                    <a:pt x="104" y="218"/>
                  </a:lnTo>
                  <a:lnTo>
                    <a:pt x="122" y="220"/>
                  </a:lnTo>
                  <a:lnTo>
                    <a:pt x="122" y="220"/>
                  </a:lnTo>
                  <a:lnTo>
                    <a:pt x="142" y="218"/>
                  </a:lnTo>
                  <a:lnTo>
                    <a:pt x="160" y="212"/>
                  </a:lnTo>
                  <a:lnTo>
                    <a:pt x="176" y="202"/>
                  </a:lnTo>
                  <a:lnTo>
                    <a:pt x="190" y="192"/>
                  </a:lnTo>
                  <a:lnTo>
                    <a:pt x="202" y="178"/>
                  </a:lnTo>
                  <a:lnTo>
                    <a:pt x="210" y="160"/>
                  </a:lnTo>
                  <a:lnTo>
                    <a:pt x="216" y="144"/>
                  </a:lnTo>
                  <a:lnTo>
                    <a:pt x="218" y="124"/>
                  </a:lnTo>
                  <a:lnTo>
                    <a:pt x="218" y="124"/>
                  </a:lnTo>
                  <a:lnTo>
                    <a:pt x="216" y="104"/>
                  </a:lnTo>
                  <a:lnTo>
                    <a:pt x="210" y="86"/>
                  </a:lnTo>
                  <a:lnTo>
                    <a:pt x="202" y="70"/>
                  </a:lnTo>
                  <a:lnTo>
                    <a:pt x="190" y="56"/>
                  </a:lnTo>
                  <a:lnTo>
                    <a:pt x="176" y="46"/>
                  </a:lnTo>
                  <a:lnTo>
                    <a:pt x="160" y="36"/>
                  </a:lnTo>
                  <a:lnTo>
                    <a:pt x="142" y="30"/>
                  </a:lnTo>
                  <a:lnTo>
                    <a:pt x="122" y="28"/>
                  </a:lnTo>
                  <a:lnTo>
                    <a:pt x="122" y="28"/>
                  </a:lnTo>
                  <a:close/>
                </a:path>
              </a:pathLst>
            </a:custGeom>
            <a:grpFill/>
            <a:ln>
              <a:noFill/>
            </a:ln>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143" name="Freeform 37"/>
            <p:cNvSpPr>
              <a:spLocks/>
            </p:cNvSpPr>
            <p:nvPr/>
          </p:nvSpPr>
          <p:spPr bwMode="auto">
            <a:xfrm>
              <a:off x="2954338" y="6831013"/>
              <a:ext cx="1041400" cy="1301750"/>
            </a:xfrm>
            <a:custGeom>
              <a:avLst/>
              <a:gdLst>
                <a:gd name="T0" fmla="*/ 114 w 656"/>
                <a:gd name="T1" fmla="*/ 784 h 820"/>
                <a:gd name="T2" fmla="*/ 80 w 656"/>
                <a:gd name="T3" fmla="*/ 760 h 820"/>
                <a:gd name="T4" fmla="*/ 172 w 656"/>
                <a:gd name="T5" fmla="*/ 608 h 820"/>
                <a:gd name="T6" fmla="*/ 238 w 656"/>
                <a:gd name="T7" fmla="*/ 672 h 820"/>
                <a:gd name="T8" fmla="*/ 300 w 656"/>
                <a:gd name="T9" fmla="*/ 684 h 820"/>
                <a:gd name="T10" fmla="*/ 328 w 656"/>
                <a:gd name="T11" fmla="*/ 628 h 820"/>
                <a:gd name="T12" fmla="*/ 416 w 656"/>
                <a:gd name="T13" fmla="*/ 630 h 820"/>
                <a:gd name="T14" fmla="*/ 466 w 656"/>
                <a:gd name="T15" fmla="*/ 592 h 820"/>
                <a:gd name="T16" fmla="*/ 446 w 656"/>
                <a:gd name="T17" fmla="*/ 536 h 820"/>
                <a:gd name="T18" fmla="*/ 512 w 656"/>
                <a:gd name="T19" fmla="*/ 474 h 820"/>
                <a:gd name="T20" fmla="*/ 518 w 656"/>
                <a:gd name="T21" fmla="*/ 406 h 820"/>
                <a:gd name="T22" fmla="*/ 464 w 656"/>
                <a:gd name="T23" fmla="*/ 386 h 820"/>
                <a:gd name="T24" fmla="*/ 466 w 656"/>
                <a:gd name="T25" fmla="*/ 296 h 820"/>
                <a:gd name="T26" fmla="*/ 424 w 656"/>
                <a:gd name="T27" fmla="*/ 244 h 820"/>
                <a:gd name="T28" fmla="*/ 372 w 656"/>
                <a:gd name="T29" fmla="*/ 266 h 820"/>
                <a:gd name="T30" fmla="*/ 310 w 656"/>
                <a:gd name="T31" fmla="*/ 200 h 820"/>
                <a:gd name="T32" fmla="*/ 240 w 656"/>
                <a:gd name="T33" fmla="*/ 198 h 820"/>
                <a:gd name="T34" fmla="*/ 198 w 656"/>
                <a:gd name="T35" fmla="*/ 256 h 820"/>
                <a:gd name="T36" fmla="*/ 128 w 656"/>
                <a:gd name="T37" fmla="*/ 244 h 820"/>
                <a:gd name="T38" fmla="*/ 82 w 656"/>
                <a:gd name="T39" fmla="*/ 296 h 820"/>
                <a:gd name="T40" fmla="*/ 84 w 656"/>
                <a:gd name="T41" fmla="*/ 386 h 820"/>
                <a:gd name="T42" fmla="*/ 32 w 656"/>
                <a:gd name="T43" fmla="*/ 406 h 820"/>
                <a:gd name="T44" fmla="*/ 38 w 656"/>
                <a:gd name="T45" fmla="*/ 474 h 820"/>
                <a:gd name="T46" fmla="*/ 102 w 656"/>
                <a:gd name="T47" fmla="*/ 536 h 820"/>
                <a:gd name="T48" fmla="*/ 78 w 656"/>
                <a:gd name="T49" fmla="*/ 550 h 820"/>
                <a:gd name="T50" fmla="*/ 10 w 656"/>
                <a:gd name="T51" fmla="*/ 488 h 820"/>
                <a:gd name="T52" fmla="*/ 6 w 656"/>
                <a:gd name="T53" fmla="*/ 394 h 820"/>
                <a:gd name="T54" fmla="*/ 74 w 656"/>
                <a:gd name="T55" fmla="*/ 334 h 820"/>
                <a:gd name="T56" fmla="*/ 60 w 656"/>
                <a:gd name="T57" fmla="*/ 264 h 820"/>
                <a:gd name="T58" fmla="*/ 138 w 656"/>
                <a:gd name="T59" fmla="*/ 218 h 820"/>
                <a:gd name="T60" fmla="*/ 212 w 656"/>
                <a:gd name="T61" fmla="*/ 192 h 820"/>
                <a:gd name="T62" fmla="*/ 296 w 656"/>
                <a:gd name="T63" fmla="*/ 164 h 820"/>
                <a:gd name="T64" fmla="*/ 342 w 656"/>
                <a:gd name="T65" fmla="*/ 222 h 820"/>
                <a:gd name="T66" fmla="*/ 426 w 656"/>
                <a:gd name="T67" fmla="*/ 216 h 820"/>
                <a:gd name="T68" fmla="*/ 494 w 656"/>
                <a:gd name="T69" fmla="*/ 278 h 820"/>
                <a:gd name="T70" fmla="*/ 490 w 656"/>
                <a:gd name="T71" fmla="*/ 370 h 820"/>
                <a:gd name="T72" fmla="*/ 548 w 656"/>
                <a:gd name="T73" fmla="*/ 410 h 820"/>
                <a:gd name="T74" fmla="*/ 528 w 656"/>
                <a:gd name="T75" fmla="*/ 498 h 820"/>
                <a:gd name="T76" fmla="*/ 492 w 656"/>
                <a:gd name="T77" fmla="*/ 568 h 820"/>
                <a:gd name="T78" fmla="*/ 452 w 656"/>
                <a:gd name="T79" fmla="*/ 646 h 820"/>
                <a:gd name="T80" fmla="*/ 398 w 656"/>
                <a:gd name="T81" fmla="*/ 652 h 820"/>
                <a:gd name="T82" fmla="*/ 330 w 656"/>
                <a:gd name="T83" fmla="*/ 696 h 820"/>
                <a:gd name="T84" fmla="*/ 238 w 656"/>
                <a:gd name="T85" fmla="*/ 710 h 820"/>
                <a:gd name="T86" fmla="*/ 176 w 656"/>
                <a:gd name="T87" fmla="*/ 640 h 820"/>
                <a:gd name="T88" fmla="*/ 232 w 656"/>
                <a:gd name="T89" fmla="*/ 788 h 820"/>
                <a:gd name="T90" fmla="*/ 472 w 656"/>
                <a:gd name="T91" fmla="*/ 730 h 820"/>
                <a:gd name="T92" fmla="*/ 626 w 656"/>
                <a:gd name="T93" fmla="*/ 474 h 820"/>
                <a:gd name="T94" fmla="*/ 546 w 656"/>
                <a:gd name="T95" fmla="*/ 214 h 820"/>
                <a:gd name="T96" fmla="*/ 274 w 656"/>
                <a:gd name="T97" fmla="*/ 84 h 820"/>
                <a:gd name="T98" fmla="*/ 186 w 656"/>
                <a:gd name="T99" fmla="*/ 170 h 820"/>
                <a:gd name="T100" fmla="*/ 30 w 656"/>
                <a:gd name="T101" fmla="*/ 136 h 820"/>
                <a:gd name="T102" fmla="*/ 124 w 656"/>
                <a:gd name="T103" fmla="*/ 2 h 820"/>
                <a:gd name="T104" fmla="*/ 130 w 656"/>
                <a:gd name="T105" fmla="*/ 100 h 820"/>
                <a:gd name="T106" fmla="*/ 240 w 656"/>
                <a:gd name="T107" fmla="*/ 58 h 820"/>
                <a:gd name="T108" fmla="*/ 516 w 656"/>
                <a:gd name="T109" fmla="*/ 144 h 820"/>
                <a:gd name="T110" fmla="*/ 656 w 656"/>
                <a:gd name="T111" fmla="*/ 438 h 820"/>
                <a:gd name="T112" fmla="*/ 544 w 656"/>
                <a:gd name="T113" fmla="*/ 708 h 820"/>
                <a:gd name="T114" fmla="*/ 274 w 656"/>
                <a:gd name="T115" fmla="*/ 820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56" h="820">
                  <a:moveTo>
                    <a:pt x="274" y="820"/>
                  </a:moveTo>
                  <a:lnTo>
                    <a:pt x="274" y="820"/>
                  </a:lnTo>
                  <a:lnTo>
                    <a:pt x="250" y="818"/>
                  </a:lnTo>
                  <a:lnTo>
                    <a:pt x="228" y="816"/>
                  </a:lnTo>
                  <a:lnTo>
                    <a:pt x="204" y="812"/>
                  </a:lnTo>
                  <a:lnTo>
                    <a:pt x="182" y="808"/>
                  </a:lnTo>
                  <a:lnTo>
                    <a:pt x="158" y="802"/>
                  </a:lnTo>
                  <a:lnTo>
                    <a:pt x="136" y="794"/>
                  </a:lnTo>
                  <a:lnTo>
                    <a:pt x="114" y="784"/>
                  </a:lnTo>
                  <a:lnTo>
                    <a:pt x="94" y="774"/>
                  </a:lnTo>
                  <a:lnTo>
                    <a:pt x="94" y="774"/>
                  </a:lnTo>
                  <a:lnTo>
                    <a:pt x="88" y="770"/>
                  </a:lnTo>
                  <a:lnTo>
                    <a:pt x="88" y="770"/>
                  </a:lnTo>
                  <a:lnTo>
                    <a:pt x="86" y="768"/>
                  </a:lnTo>
                  <a:lnTo>
                    <a:pt x="86" y="768"/>
                  </a:lnTo>
                  <a:lnTo>
                    <a:pt x="82" y="766"/>
                  </a:lnTo>
                  <a:lnTo>
                    <a:pt x="80" y="760"/>
                  </a:lnTo>
                  <a:lnTo>
                    <a:pt x="80" y="760"/>
                  </a:lnTo>
                  <a:lnTo>
                    <a:pt x="80" y="754"/>
                  </a:lnTo>
                  <a:lnTo>
                    <a:pt x="82" y="750"/>
                  </a:lnTo>
                  <a:lnTo>
                    <a:pt x="94" y="730"/>
                  </a:lnTo>
                  <a:lnTo>
                    <a:pt x="158" y="616"/>
                  </a:lnTo>
                  <a:lnTo>
                    <a:pt x="158" y="616"/>
                  </a:lnTo>
                  <a:lnTo>
                    <a:pt x="162" y="612"/>
                  </a:lnTo>
                  <a:lnTo>
                    <a:pt x="166" y="608"/>
                  </a:lnTo>
                  <a:lnTo>
                    <a:pt x="166" y="608"/>
                  </a:lnTo>
                  <a:lnTo>
                    <a:pt x="172" y="608"/>
                  </a:lnTo>
                  <a:lnTo>
                    <a:pt x="176" y="610"/>
                  </a:lnTo>
                  <a:lnTo>
                    <a:pt x="176" y="610"/>
                  </a:lnTo>
                  <a:lnTo>
                    <a:pt x="198" y="620"/>
                  </a:lnTo>
                  <a:lnTo>
                    <a:pt x="222" y="628"/>
                  </a:lnTo>
                  <a:lnTo>
                    <a:pt x="222" y="628"/>
                  </a:lnTo>
                  <a:lnTo>
                    <a:pt x="228" y="632"/>
                  </a:lnTo>
                  <a:lnTo>
                    <a:pt x="232" y="638"/>
                  </a:lnTo>
                  <a:lnTo>
                    <a:pt x="238" y="672"/>
                  </a:lnTo>
                  <a:lnTo>
                    <a:pt x="238" y="672"/>
                  </a:lnTo>
                  <a:lnTo>
                    <a:pt x="238" y="674"/>
                  </a:lnTo>
                  <a:lnTo>
                    <a:pt x="238" y="674"/>
                  </a:lnTo>
                  <a:lnTo>
                    <a:pt x="240" y="678"/>
                  </a:lnTo>
                  <a:lnTo>
                    <a:pt x="244" y="680"/>
                  </a:lnTo>
                  <a:lnTo>
                    <a:pt x="248" y="684"/>
                  </a:lnTo>
                  <a:lnTo>
                    <a:pt x="252" y="684"/>
                  </a:lnTo>
                  <a:lnTo>
                    <a:pt x="296" y="684"/>
                  </a:lnTo>
                  <a:lnTo>
                    <a:pt x="296" y="684"/>
                  </a:lnTo>
                  <a:lnTo>
                    <a:pt x="300" y="684"/>
                  </a:lnTo>
                  <a:lnTo>
                    <a:pt x="306" y="680"/>
                  </a:lnTo>
                  <a:lnTo>
                    <a:pt x="308" y="678"/>
                  </a:lnTo>
                  <a:lnTo>
                    <a:pt x="310" y="674"/>
                  </a:lnTo>
                  <a:lnTo>
                    <a:pt x="310" y="674"/>
                  </a:lnTo>
                  <a:lnTo>
                    <a:pt x="310" y="672"/>
                  </a:lnTo>
                  <a:lnTo>
                    <a:pt x="318" y="638"/>
                  </a:lnTo>
                  <a:lnTo>
                    <a:pt x="318" y="638"/>
                  </a:lnTo>
                  <a:lnTo>
                    <a:pt x="320" y="632"/>
                  </a:lnTo>
                  <a:lnTo>
                    <a:pt x="328" y="628"/>
                  </a:lnTo>
                  <a:lnTo>
                    <a:pt x="328" y="628"/>
                  </a:lnTo>
                  <a:lnTo>
                    <a:pt x="350" y="620"/>
                  </a:lnTo>
                  <a:lnTo>
                    <a:pt x="372" y="610"/>
                  </a:lnTo>
                  <a:lnTo>
                    <a:pt x="372" y="610"/>
                  </a:lnTo>
                  <a:lnTo>
                    <a:pt x="380" y="608"/>
                  </a:lnTo>
                  <a:lnTo>
                    <a:pt x="386" y="610"/>
                  </a:lnTo>
                  <a:lnTo>
                    <a:pt x="414" y="628"/>
                  </a:lnTo>
                  <a:lnTo>
                    <a:pt x="414" y="628"/>
                  </a:lnTo>
                  <a:lnTo>
                    <a:pt x="416" y="630"/>
                  </a:lnTo>
                  <a:lnTo>
                    <a:pt x="416" y="630"/>
                  </a:lnTo>
                  <a:lnTo>
                    <a:pt x="420" y="632"/>
                  </a:lnTo>
                  <a:lnTo>
                    <a:pt x="424" y="632"/>
                  </a:lnTo>
                  <a:lnTo>
                    <a:pt x="424" y="632"/>
                  </a:lnTo>
                  <a:lnTo>
                    <a:pt x="428" y="630"/>
                  </a:lnTo>
                  <a:lnTo>
                    <a:pt x="434" y="628"/>
                  </a:lnTo>
                  <a:lnTo>
                    <a:pt x="464" y="596"/>
                  </a:lnTo>
                  <a:lnTo>
                    <a:pt x="464" y="596"/>
                  </a:lnTo>
                  <a:lnTo>
                    <a:pt x="466" y="592"/>
                  </a:lnTo>
                  <a:lnTo>
                    <a:pt x="468" y="588"/>
                  </a:lnTo>
                  <a:lnTo>
                    <a:pt x="468" y="584"/>
                  </a:lnTo>
                  <a:lnTo>
                    <a:pt x="466" y="580"/>
                  </a:lnTo>
                  <a:lnTo>
                    <a:pt x="466" y="580"/>
                  </a:lnTo>
                  <a:lnTo>
                    <a:pt x="466" y="578"/>
                  </a:lnTo>
                  <a:lnTo>
                    <a:pt x="446" y="550"/>
                  </a:lnTo>
                  <a:lnTo>
                    <a:pt x="446" y="550"/>
                  </a:lnTo>
                  <a:lnTo>
                    <a:pt x="444" y="542"/>
                  </a:lnTo>
                  <a:lnTo>
                    <a:pt x="446" y="536"/>
                  </a:lnTo>
                  <a:lnTo>
                    <a:pt x="446" y="536"/>
                  </a:lnTo>
                  <a:lnTo>
                    <a:pt x="456" y="514"/>
                  </a:lnTo>
                  <a:lnTo>
                    <a:pt x="464" y="490"/>
                  </a:lnTo>
                  <a:lnTo>
                    <a:pt x="464" y="490"/>
                  </a:lnTo>
                  <a:lnTo>
                    <a:pt x="468" y="484"/>
                  </a:lnTo>
                  <a:lnTo>
                    <a:pt x="476" y="480"/>
                  </a:lnTo>
                  <a:lnTo>
                    <a:pt x="508" y="474"/>
                  </a:lnTo>
                  <a:lnTo>
                    <a:pt x="508" y="474"/>
                  </a:lnTo>
                  <a:lnTo>
                    <a:pt x="512" y="474"/>
                  </a:lnTo>
                  <a:lnTo>
                    <a:pt x="512" y="474"/>
                  </a:lnTo>
                  <a:lnTo>
                    <a:pt x="514" y="472"/>
                  </a:lnTo>
                  <a:lnTo>
                    <a:pt x="518" y="468"/>
                  </a:lnTo>
                  <a:lnTo>
                    <a:pt x="520" y="464"/>
                  </a:lnTo>
                  <a:lnTo>
                    <a:pt x="520" y="460"/>
                  </a:lnTo>
                  <a:lnTo>
                    <a:pt x="520" y="416"/>
                  </a:lnTo>
                  <a:lnTo>
                    <a:pt x="520" y="416"/>
                  </a:lnTo>
                  <a:lnTo>
                    <a:pt x="520" y="412"/>
                  </a:lnTo>
                  <a:lnTo>
                    <a:pt x="518" y="406"/>
                  </a:lnTo>
                  <a:lnTo>
                    <a:pt x="514" y="404"/>
                  </a:lnTo>
                  <a:lnTo>
                    <a:pt x="512" y="402"/>
                  </a:lnTo>
                  <a:lnTo>
                    <a:pt x="512" y="402"/>
                  </a:lnTo>
                  <a:lnTo>
                    <a:pt x="508" y="402"/>
                  </a:lnTo>
                  <a:lnTo>
                    <a:pt x="476" y="396"/>
                  </a:lnTo>
                  <a:lnTo>
                    <a:pt x="476" y="396"/>
                  </a:lnTo>
                  <a:lnTo>
                    <a:pt x="468" y="392"/>
                  </a:lnTo>
                  <a:lnTo>
                    <a:pt x="464" y="386"/>
                  </a:lnTo>
                  <a:lnTo>
                    <a:pt x="464" y="386"/>
                  </a:lnTo>
                  <a:lnTo>
                    <a:pt x="456" y="362"/>
                  </a:lnTo>
                  <a:lnTo>
                    <a:pt x="446" y="340"/>
                  </a:lnTo>
                  <a:lnTo>
                    <a:pt x="446" y="340"/>
                  </a:lnTo>
                  <a:lnTo>
                    <a:pt x="444" y="334"/>
                  </a:lnTo>
                  <a:lnTo>
                    <a:pt x="446" y="326"/>
                  </a:lnTo>
                  <a:lnTo>
                    <a:pt x="466" y="298"/>
                  </a:lnTo>
                  <a:lnTo>
                    <a:pt x="466" y="298"/>
                  </a:lnTo>
                  <a:lnTo>
                    <a:pt x="466" y="296"/>
                  </a:lnTo>
                  <a:lnTo>
                    <a:pt x="466" y="296"/>
                  </a:lnTo>
                  <a:lnTo>
                    <a:pt x="468" y="292"/>
                  </a:lnTo>
                  <a:lnTo>
                    <a:pt x="468" y="288"/>
                  </a:lnTo>
                  <a:lnTo>
                    <a:pt x="466" y="284"/>
                  </a:lnTo>
                  <a:lnTo>
                    <a:pt x="464" y="280"/>
                  </a:lnTo>
                  <a:lnTo>
                    <a:pt x="434" y="248"/>
                  </a:lnTo>
                  <a:lnTo>
                    <a:pt x="434" y="248"/>
                  </a:lnTo>
                  <a:lnTo>
                    <a:pt x="428" y="246"/>
                  </a:lnTo>
                  <a:lnTo>
                    <a:pt x="424" y="244"/>
                  </a:lnTo>
                  <a:lnTo>
                    <a:pt x="424" y="244"/>
                  </a:lnTo>
                  <a:lnTo>
                    <a:pt x="420" y="244"/>
                  </a:lnTo>
                  <a:lnTo>
                    <a:pt x="416" y="246"/>
                  </a:lnTo>
                  <a:lnTo>
                    <a:pt x="416" y="246"/>
                  </a:lnTo>
                  <a:lnTo>
                    <a:pt x="414" y="248"/>
                  </a:lnTo>
                  <a:lnTo>
                    <a:pt x="386" y="266"/>
                  </a:lnTo>
                  <a:lnTo>
                    <a:pt x="386" y="266"/>
                  </a:lnTo>
                  <a:lnTo>
                    <a:pt x="380" y="268"/>
                  </a:lnTo>
                  <a:lnTo>
                    <a:pt x="372" y="266"/>
                  </a:lnTo>
                  <a:lnTo>
                    <a:pt x="372" y="266"/>
                  </a:lnTo>
                  <a:lnTo>
                    <a:pt x="350" y="256"/>
                  </a:lnTo>
                  <a:lnTo>
                    <a:pt x="328" y="248"/>
                  </a:lnTo>
                  <a:lnTo>
                    <a:pt x="328" y="248"/>
                  </a:lnTo>
                  <a:lnTo>
                    <a:pt x="320" y="244"/>
                  </a:lnTo>
                  <a:lnTo>
                    <a:pt x="318" y="236"/>
                  </a:lnTo>
                  <a:lnTo>
                    <a:pt x="310" y="204"/>
                  </a:lnTo>
                  <a:lnTo>
                    <a:pt x="310" y="204"/>
                  </a:lnTo>
                  <a:lnTo>
                    <a:pt x="310" y="200"/>
                  </a:lnTo>
                  <a:lnTo>
                    <a:pt x="310" y="200"/>
                  </a:lnTo>
                  <a:lnTo>
                    <a:pt x="308" y="198"/>
                  </a:lnTo>
                  <a:lnTo>
                    <a:pt x="306" y="196"/>
                  </a:lnTo>
                  <a:lnTo>
                    <a:pt x="300" y="192"/>
                  </a:lnTo>
                  <a:lnTo>
                    <a:pt x="296" y="192"/>
                  </a:lnTo>
                  <a:lnTo>
                    <a:pt x="254" y="192"/>
                  </a:lnTo>
                  <a:lnTo>
                    <a:pt x="254" y="192"/>
                  </a:lnTo>
                  <a:lnTo>
                    <a:pt x="248" y="192"/>
                  </a:lnTo>
                  <a:lnTo>
                    <a:pt x="244" y="196"/>
                  </a:lnTo>
                  <a:lnTo>
                    <a:pt x="240" y="198"/>
                  </a:lnTo>
                  <a:lnTo>
                    <a:pt x="238" y="200"/>
                  </a:lnTo>
                  <a:lnTo>
                    <a:pt x="238" y="200"/>
                  </a:lnTo>
                  <a:lnTo>
                    <a:pt x="238" y="204"/>
                  </a:lnTo>
                  <a:lnTo>
                    <a:pt x="232" y="236"/>
                  </a:lnTo>
                  <a:lnTo>
                    <a:pt x="232" y="236"/>
                  </a:lnTo>
                  <a:lnTo>
                    <a:pt x="228" y="244"/>
                  </a:lnTo>
                  <a:lnTo>
                    <a:pt x="222" y="248"/>
                  </a:lnTo>
                  <a:lnTo>
                    <a:pt x="222" y="248"/>
                  </a:lnTo>
                  <a:lnTo>
                    <a:pt x="198" y="256"/>
                  </a:lnTo>
                  <a:lnTo>
                    <a:pt x="176" y="266"/>
                  </a:lnTo>
                  <a:lnTo>
                    <a:pt x="176" y="266"/>
                  </a:lnTo>
                  <a:lnTo>
                    <a:pt x="170" y="268"/>
                  </a:lnTo>
                  <a:lnTo>
                    <a:pt x="162" y="266"/>
                  </a:lnTo>
                  <a:lnTo>
                    <a:pt x="134" y="248"/>
                  </a:lnTo>
                  <a:lnTo>
                    <a:pt x="134" y="248"/>
                  </a:lnTo>
                  <a:lnTo>
                    <a:pt x="132" y="246"/>
                  </a:lnTo>
                  <a:lnTo>
                    <a:pt x="132" y="246"/>
                  </a:lnTo>
                  <a:lnTo>
                    <a:pt x="128" y="244"/>
                  </a:lnTo>
                  <a:lnTo>
                    <a:pt x="124" y="244"/>
                  </a:lnTo>
                  <a:lnTo>
                    <a:pt x="120" y="246"/>
                  </a:lnTo>
                  <a:lnTo>
                    <a:pt x="116" y="248"/>
                  </a:lnTo>
                  <a:lnTo>
                    <a:pt x="86" y="278"/>
                  </a:lnTo>
                  <a:lnTo>
                    <a:pt x="86" y="278"/>
                  </a:lnTo>
                  <a:lnTo>
                    <a:pt x="82" y="284"/>
                  </a:lnTo>
                  <a:lnTo>
                    <a:pt x="80" y="288"/>
                  </a:lnTo>
                  <a:lnTo>
                    <a:pt x="80" y="292"/>
                  </a:lnTo>
                  <a:lnTo>
                    <a:pt x="82" y="296"/>
                  </a:lnTo>
                  <a:lnTo>
                    <a:pt x="82" y="296"/>
                  </a:lnTo>
                  <a:lnTo>
                    <a:pt x="84" y="298"/>
                  </a:lnTo>
                  <a:lnTo>
                    <a:pt x="102" y="326"/>
                  </a:lnTo>
                  <a:lnTo>
                    <a:pt x="102" y="326"/>
                  </a:lnTo>
                  <a:lnTo>
                    <a:pt x="104" y="334"/>
                  </a:lnTo>
                  <a:lnTo>
                    <a:pt x="102" y="340"/>
                  </a:lnTo>
                  <a:lnTo>
                    <a:pt x="102" y="340"/>
                  </a:lnTo>
                  <a:lnTo>
                    <a:pt x="92" y="362"/>
                  </a:lnTo>
                  <a:lnTo>
                    <a:pt x="84" y="386"/>
                  </a:lnTo>
                  <a:lnTo>
                    <a:pt x="84" y="386"/>
                  </a:lnTo>
                  <a:lnTo>
                    <a:pt x="80" y="392"/>
                  </a:lnTo>
                  <a:lnTo>
                    <a:pt x="74" y="396"/>
                  </a:lnTo>
                  <a:lnTo>
                    <a:pt x="40" y="402"/>
                  </a:lnTo>
                  <a:lnTo>
                    <a:pt x="40" y="402"/>
                  </a:lnTo>
                  <a:lnTo>
                    <a:pt x="38" y="402"/>
                  </a:lnTo>
                  <a:lnTo>
                    <a:pt x="38" y="402"/>
                  </a:lnTo>
                  <a:lnTo>
                    <a:pt x="34" y="404"/>
                  </a:lnTo>
                  <a:lnTo>
                    <a:pt x="32" y="406"/>
                  </a:lnTo>
                  <a:lnTo>
                    <a:pt x="30" y="412"/>
                  </a:lnTo>
                  <a:lnTo>
                    <a:pt x="28" y="416"/>
                  </a:lnTo>
                  <a:lnTo>
                    <a:pt x="28" y="460"/>
                  </a:lnTo>
                  <a:lnTo>
                    <a:pt x="28" y="460"/>
                  </a:lnTo>
                  <a:lnTo>
                    <a:pt x="30" y="464"/>
                  </a:lnTo>
                  <a:lnTo>
                    <a:pt x="32" y="468"/>
                  </a:lnTo>
                  <a:lnTo>
                    <a:pt x="34" y="472"/>
                  </a:lnTo>
                  <a:lnTo>
                    <a:pt x="38" y="474"/>
                  </a:lnTo>
                  <a:lnTo>
                    <a:pt x="38" y="474"/>
                  </a:lnTo>
                  <a:lnTo>
                    <a:pt x="40" y="474"/>
                  </a:lnTo>
                  <a:lnTo>
                    <a:pt x="74" y="480"/>
                  </a:lnTo>
                  <a:lnTo>
                    <a:pt x="74" y="480"/>
                  </a:lnTo>
                  <a:lnTo>
                    <a:pt x="80" y="484"/>
                  </a:lnTo>
                  <a:lnTo>
                    <a:pt x="84" y="490"/>
                  </a:lnTo>
                  <a:lnTo>
                    <a:pt x="84" y="490"/>
                  </a:lnTo>
                  <a:lnTo>
                    <a:pt x="92" y="514"/>
                  </a:lnTo>
                  <a:lnTo>
                    <a:pt x="102" y="536"/>
                  </a:lnTo>
                  <a:lnTo>
                    <a:pt x="102" y="536"/>
                  </a:lnTo>
                  <a:lnTo>
                    <a:pt x="104" y="540"/>
                  </a:lnTo>
                  <a:lnTo>
                    <a:pt x="104" y="546"/>
                  </a:lnTo>
                  <a:lnTo>
                    <a:pt x="102" y="550"/>
                  </a:lnTo>
                  <a:lnTo>
                    <a:pt x="98" y="554"/>
                  </a:lnTo>
                  <a:lnTo>
                    <a:pt x="98" y="554"/>
                  </a:lnTo>
                  <a:lnTo>
                    <a:pt x="92" y="556"/>
                  </a:lnTo>
                  <a:lnTo>
                    <a:pt x="86" y="556"/>
                  </a:lnTo>
                  <a:lnTo>
                    <a:pt x="82" y="554"/>
                  </a:lnTo>
                  <a:lnTo>
                    <a:pt x="78" y="550"/>
                  </a:lnTo>
                  <a:lnTo>
                    <a:pt x="78" y="550"/>
                  </a:lnTo>
                  <a:lnTo>
                    <a:pt x="68" y="528"/>
                  </a:lnTo>
                  <a:lnTo>
                    <a:pt x="60" y="506"/>
                  </a:lnTo>
                  <a:lnTo>
                    <a:pt x="36" y="502"/>
                  </a:lnTo>
                  <a:lnTo>
                    <a:pt x="36" y="502"/>
                  </a:lnTo>
                  <a:lnTo>
                    <a:pt x="28" y="500"/>
                  </a:lnTo>
                  <a:lnTo>
                    <a:pt x="22" y="496"/>
                  </a:lnTo>
                  <a:lnTo>
                    <a:pt x="16" y="492"/>
                  </a:lnTo>
                  <a:lnTo>
                    <a:pt x="10" y="488"/>
                  </a:lnTo>
                  <a:lnTo>
                    <a:pt x="6" y="480"/>
                  </a:lnTo>
                  <a:lnTo>
                    <a:pt x="2" y="474"/>
                  </a:lnTo>
                  <a:lnTo>
                    <a:pt x="0" y="466"/>
                  </a:lnTo>
                  <a:lnTo>
                    <a:pt x="0" y="460"/>
                  </a:lnTo>
                  <a:lnTo>
                    <a:pt x="0" y="416"/>
                  </a:lnTo>
                  <a:lnTo>
                    <a:pt x="0" y="416"/>
                  </a:lnTo>
                  <a:lnTo>
                    <a:pt x="0" y="410"/>
                  </a:lnTo>
                  <a:lnTo>
                    <a:pt x="2" y="402"/>
                  </a:lnTo>
                  <a:lnTo>
                    <a:pt x="6" y="394"/>
                  </a:lnTo>
                  <a:lnTo>
                    <a:pt x="10" y="388"/>
                  </a:lnTo>
                  <a:lnTo>
                    <a:pt x="16" y="384"/>
                  </a:lnTo>
                  <a:lnTo>
                    <a:pt x="22" y="378"/>
                  </a:lnTo>
                  <a:lnTo>
                    <a:pt x="28" y="376"/>
                  </a:lnTo>
                  <a:lnTo>
                    <a:pt x="36" y="374"/>
                  </a:lnTo>
                  <a:lnTo>
                    <a:pt x="60" y="370"/>
                  </a:lnTo>
                  <a:lnTo>
                    <a:pt x="60" y="370"/>
                  </a:lnTo>
                  <a:lnTo>
                    <a:pt x="66" y="352"/>
                  </a:lnTo>
                  <a:lnTo>
                    <a:pt x="74" y="334"/>
                  </a:lnTo>
                  <a:lnTo>
                    <a:pt x="60" y="314"/>
                  </a:lnTo>
                  <a:lnTo>
                    <a:pt x="60" y="314"/>
                  </a:lnTo>
                  <a:lnTo>
                    <a:pt x="56" y="308"/>
                  </a:lnTo>
                  <a:lnTo>
                    <a:pt x="54" y="300"/>
                  </a:lnTo>
                  <a:lnTo>
                    <a:pt x="52" y="294"/>
                  </a:lnTo>
                  <a:lnTo>
                    <a:pt x="52" y="286"/>
                  </a:lnTo>
                  <a:lnTo>
                    <a:pt x="54" y="278"/>
                  </a:lnTo>
                  <a:lnTo>
                    <a:pt x="56" y="272"/>
                  </a:lnTo>
                  <a:lnTo>
                    <a:pt x="60" y="264"/>
                  </a:lnTo>
                  <a:lnTo>
                    <a:pt x="66" y="260"/>
                  </a:lnTo>
                  <a:lnTo>
                    <a:pt x="96" y="228"/>
                  </a:lnTo>
                  <a:lnTo>
                    <a:pt x="96" y="228"/>
                  </a:lnTo>
                  <a:lnTo>
                    <a:pt x="102" y="224"/>
                  </a:lnTo>
                  <a:lnTo>
                    <a:pt x="108" y="220"/>
                  </a:lnTo>
                  <a:lnTo>
                    <a:pt x="114" y="218"/>
                  </a:lnTo>
                  <a:lnTo>
                    <a:pt x="122" y="216"/>
                  </a:lnTo>
                  <a:lnTo>
                    <a:pt x="130" y="216"/>
                  </a:lnTo>
                  <a:lnTo>
                    <a:pt x="138" y="218"/>
                  </a:lnTo>
                  <a:lnTo>
                    <a:pt x="144" y="220"/>
                  </a:lnTo>
                  <a:lnTo>
                    <a:pt x="150" y="224"/>
                  </a:lnTo>
                  <a:lnTo>
                    <a:pt x="170" y="238"/>
                  </a:lnTo>
                  <a:lnTo>
                    <a:pt x="170" y="238"/>
                  </a:lnTo>
                  <a:lnTo>
                    <a:pt x="188" y="230"/>
                  </a:lnTo>
                  <a:lnTo>
                    <a:pt x="206" y="222"/>
                  </a:lnTo>
                  <a:lnTo>
                    <a:pt x="210" y="200"/>
                  </a:lnTo>
                  <a:lnTo>
                    <a:pt x="210" y="200"/>
                  </a:lnTo>
                  <a:lnTo>
                    <a:pt x="212" y="192"/>
                  </a:lnTo>
                  <a:lnTo>
                    <a:pt x="216" y="186"/>
                  </a:lnTo>
                  <a:lnTo>
                    <a:pt x="220" y="180"/>
                  </a:lnTo>
                  <a:lnTo>
                    <a:pt x="226" y="174"/>
                  </a:lnTo>
                  <a:lnTo>
                    <a:pt x="232" y="170"/>
                  </a:lnTo>
                  <a:lnTo>
                    <a:pt x="238" y="166"/>
                  </a:lnTo>
                  <a:lnTo>
                    <a:pt x="246" y="164"/>
                  </a:lnTo>
                  <a:lnTo>
                    <a:pt x="254" y="164"/>
                  </a:lnTo>
                  <a:lnTo>
                    <a:pt x="296" y="164"/>
                  </a:lnTo>
                  <a:lnTo>
                    <a:pt x="296" y="164"/>
                  </a:lnTo>
                  <a:lnTo>
                    <a:pt x="304" y="164"/>
                  </a:lnTo>
                  <a:lnTo>
                    <a:pt x="310" y="166"/>
                  </a:lnTo>
                  <a:lnTo>
                    <a:pt x="318" y="170"/>
                  </a:lnTo>
                  <a:lnTo>
                    <a:pt x="324" y="174"/>
                  </a:lnTo>
                  <a:lnTo>
                    <a:pt x="330" y="180"/>
                  </a:lnTo>
                  <a:lnTo>
                    <a:pt x="334" y="186"/>
                  </a:lnTo>
                  <a:lnTo>
                    <a:pt x="336" y="192"/>
                  </a:lnTo>
                  <a:lnTo>
                    <a:pt x="338" y="200"/>
                  </a:lnTo>
                  <a:lnTo>
                    <a:pt x="342" y="222"/>
                  </a:lnTo>
                  <a:lnTo>
                    <a:pt x="342" y="222"/>
                  </a:lnTo>
                  <a:lnTo>
                    <a:pt x="360" y="230"/>
                  </a:lnTo>
                  <a:lnTo>
                    <a:pt x="378" y="238"/>
                  </a:lnTo>
                  <a:lnTo>
                    <a:pt x="398" y="224"/>
                  </a:lnTo>
                  <a:lnTo>
                    <a:pt x="398" y="224"/>
                  </a:lnTo>
                  <a:lnTo>
                    <a:pt x="404" y="220"/>
                  </a:lnTo>
                  <a:lnTo>
                    <a:pt x="412" y="218"/>
                  </a:lnTo>
                  <a:lnTo>
                    <a:pt x="418" y="216"/>
                  </a:lnTo>
                  <a:lnTo>
                    <a:pt x="426" y="216"/>
                  </a:lnTo>
                  <a:lnTo>
                    <a:pt x="426" y="216"/>
                  </a:lnTo>
                  <a:lnTo>
                    <a:pt x="442" y="220"/>
                  </a:lnTo>
                  <a:lnTo>
                    <a:pt x="448" y="224"/>
                  </a:lnTo>
                  <a:lnTo>
                    <a:pt x="454" y="230"/>
                  </a:lnTo>
                  <a:lnTo>
                    <a:pt x="484" y="260"/>
                  </a:lnTo>
                  <a:lnTo>
                    <a:pt x="484" y="260"/>
                  </a:lnTo>
                  <a:lnTo>
                    <a:pt x="488" y="264"/>
                  </a:lnTo>
                  <a:lnTo>
                    <a:pt x="492" y="272"/>
                  </a:lnTo>
                  <a:lnTo>
                    <a:pt x="494" y="278"/>
                  </a:lnTo>
                  <a:lnTo>
                    <a:pt x="496" y="286"/>
                  </a:lnTo>
                  <a:lnTo>
                    <a:pt x="496" y="294"/>
                  </a:lnTo>
                  <a:lnTo>
                    <a:pt x="494" y="300"/>
                  </a:lnTo>
                  <a:lnTo>
                    <a:pt x="492" y="308"/>
                  </a:lnTo>
                  <a:lnTo>
                    <a:pt x="488" y="314"/>
                  </a:lnTo>
                  <a:lnTo>
                    <a:pt x="474" y="334"/>
                  </a:lnTo>
                  <a:lnTo>
                    <a:pt x="474" y="334"/>
                  </a:lnTo>
                  <a:lnTo>
                    <a:pt x="482" y="352"/>
                  </a:lnTo>
                  <a:lnTo>
                    <a:pt x="490" y="370"/>
                  </a:lnTo>
                  <a:lnTo>
                    <a:pt x="512" y="374"/>
                  </a:lnTo>
                  <a:lnTo>
                    <a:pt x="512" y="374"/>
                  </a:lnTo>
                  <a:lnTo>
                    <a:pt x="520" y="376"/>
                  </a:lnTo>
                  <a:lnTo>
                    <a:pt x="528" y="378"/>
                  </a:lnTo>
                  <a:lnTo>
                    <a:pt x="534" y="384"/>
                  </a:lnTo>
                  <a:lnTo>
                    <a:pt x="538" y="388"/>
                  </a:lnTo>
                  <a:lnTo>
                    <a:pt x="542" y="396"/>
                  </a:lnTo>
                  <a:lnTo>
                    <a:pt x="546" y="402"/>
                  </a:lnTo>
                  <a:lnTo>
                    <a:pt x="548" y="410"/>
                  </a:lnTo>
                  <a:lnTo>
                    <a:pt x="548" y="416"/>
                  </a:lnTo>
                  <a:lnTo>
                    <a:pt x="548" y="460"/>
                  </a:lnTo>
                  <a:lnTo>
                    <a:pt x="548" y="460"/>
                  </a:lnTo>
                  <a:lnTo>
                    <a:pt x="548" y="466"/>
                  </a:lnTo>
                  <a:lnTo>
                    <a:pt x="546" y="474"/>
                  </a:lnTo>
                  <a:lnTo>
                    <a:pt x="542" y="480"/>
                  </a:lnTo>
                  <a:lnTo>
                    <a:pt x="538" y="488"/>
                  </a:lnTo>
                  <a:lnTo>
                    <a:pt x="534" y="492"/>
                  </a:lnTo>
                  <a:lnTo>
                    <a:pt x="528" y="498"/>
                  </a:lnTo>
                  <a:lnTo>
                    <a:pt x="520" y="500"/>
                  </a:lnTo>
                  <a:lnTo>
                    <a:pt x="512" y="502"/>
                  </a:lnTo>
                  <a:lnTo>
                    <a:pt x="490" y="506"/>
                  </a:lnTo>
                  <a:lnTo>
                    <a:pt x="490" y="506"/>
                  </a:lnTo>
                  <a:lnTo>
                    <a:pt x="482" y="524"/>
                  </a:lnTo>
                  <a:lnTo>
                    <a:pt x="474" y="542"/>
                  </a:lnTo>
                  <a:lnTo>
                    <a:pt x="488" y="562"/>
                  </a:lnTo>
                  <a:lnTo>
                    <a:pt x="488" y="562"/>
                  </a:lnTo>
                  <a:lnTo>
                    <a:pt x="492" y="568"/>
                  </a:lnTo>
                  <a:lnTo>
                    <a:pt x="494" y="574"/>
                  </a:lnTo>
                  <a:lnTo>
                    <a:pt x="496" y="582"/>
                  </a:lnTo>
                  <a:lnTo>
                    <a:pt x="496" y="590"/>
                  </a:lnTo>
                  <a:lnTo>
                    <a:pt x="494" y="598"/>
                  </a:lnTo>
                  <a:lnTo>
                    <a:pt x="492" y="604"/>
                  </a:lnTo>
                  <a:lnTo>
                    <a:pt x="488" y="610"/>
                  </a:lnTo>
                  <a:lnTo>
                    <a:pt x="484" y="616"/>
                  </a:lnTo>
                  <a:lnTo>
                    <a:pt x="452" y="646"/>
                  </a:lnTo>
                  <a:lnTo>
                    <a:pt x="452" y="646"/>
                  </a:lnTo>
                  <a:lnTo>
                    <a:pt x="448" y="652"/>
                  </a:lnTo>
                  <a:lnTo>
                    <a:pt x="442" y="656"/>
                  </a:lnTo>
                  <a:lnTo>
                    <a:pt x="434" y="658"/>
                  </a:lnTo>
                  <a:lnTo>
                    <a:pt x="426" y="660"/>
                  </a:lnTo>
                  <a:lnTo>
                    <a:pt x="426" y="660"/>
                  </a:lnTo>
                  <a:lnTo>
                    <a:pt x="418" y="660"/>
                  </a:lnTo>
                  <a:lnTo>
                    <a:pt x="412" y="658"/>
                  </a:lnTo>
                  <a:lnTo>
                    <a:pt x="404" y="656"/>
                  </a:lnTo>
                  <a:lnTo>
                    <a:pt x="398" y="652"/>
                  </a:lnTo>
                  <a:lnTo>
                    <a:pt x="378" y="638"/>
                  </a:lnTo>
                  <a:lnTo>
                    <a:pt x="378" y="638"/>
                  </a:lnTo>
                  <a:lnTo>
                    <a:pt x="360" y="646"/>
                  </a:lnTo>
                  <a:lnTo>
                    <a:pt x="342" y="652"/>
                  </a:lnTo>
                  <a:lnTo>
                    <a:pt x="338" y="676"/>
                  </a:lnTo>
                  <a:lnTo>
                    <a:pt x="338" y="676"/>
                  </a:lnTo>
                  <a:lnTo>
                    <a:pt x="336" y="684"/>
                  </a:lnTo>
                  <a:lnTo>
                    <a:pt x="334" y="690"/>
                  </a:lnTo>
                  <a:lnTo>
                    <a:pt x="330" y="696"/>
                  </a:lnTo>
                  <a:lnTo>
                    <a:pt x="324" y="702"/>
                  </a:lnTo>
                  <a:lnTo>
                    <a:pt x="318" y="706"/>
                  </a:lnTo>
                  <a:lnTo>
                    <a:pt x="310" y="710"/>
                  </a:lnTo>
                  <a:lnTo>
                    <a:pt x="302" y="712"/>
                  </a:lnTo>
                  <a:lnTo>
                    <a:pt x="296" y="712"/>
                  </a:lnTo>
                  <a:lnTo>
                    <a:pt x="252" y="712"/>
                  </a:lnTo>
                  <a:lnTo>
                    <a:pt x="252" y="712"/>
                  </a:lnTo>
                  <a:lnTo>
                    <a:pt x="246" y="712"/>
                  </a:lnTo>
                  <a:lnTo>
                    <a:pt x="238" y="710"/>
                  </a:lnTo>
                  <a:lnTo>
                    <a:pt x="232" y="706"/>
                  </a:lnTo>
                  <a:lnTo>
                    <a:pt x="226" y="702"/>
                  </a:lnTo>
                  <a:lnTo>
                    <a:pt x="220" y="696"/>
                  </a:lnTo>
                  <a:lnTo>
                    <a:pt x="216" y="690"/>
                  </a:lnTo>
                  <a:lnTo>
                    <a:pt x="212" y="684"/>
                  </a:lnTo>
                  <a:lnTo>
                    <a:pt x="210" y="676"/>
                  </a:lnTo>
                  <a:lnTo>
                    <a:pt x="206" y="652"/>
                  </a:lnTo>
                  <a:lnTo>
                    <a:pt x="206" y="652"/>
                  </a:lnTo>
                  <a:lnTo>
                    <a:pt x="176" y="640"/>
                  </a:lnTo>
                  <a:lnTo>
                    <a:pt x="118" y="744"/>
                  </a:lnTo>
                  <a:lnTo>
                    <a:pt x="112" y="752"/>
                  </a:lnTo>
                  <a:lnTo>
                    <a:pt x="112" y="752"/>
                  </a:lnTo>
                  <a:lnTo>
                    <a:pt x="132" y="762"/>
                  </a:lnTo>
                  <a:lnTo>
                    <a:pt x="150" y="770"/>
                  </a:lnTo>
                  <a:lnTo>
                    <a:pt x="170" y="776"/>
                  </a:lnTo>
                  <a:lnTo>
                    <a:pt x="190" y="782"/>
                  </a:lnTo>
                  <a:lnTo>
                    <a:pt x="212" y="786"/>
                  </a:lnTo>
                  <a:lnTo>
                    <a:pt x="232" y="788"/>
                  </a:lnTo>
                  <a:lnTo>
                    <a:pt x="254" y="790"/>
                  </a:lnTo>
                  <a:lnTo>
                    <a:pt x="274" y="792"/>
                  </a:lnTo>
                  <a:lnTo>
                    <a:pt x="274" y="792"/>
                  </a:lnTo>
                  <a:lnTo>
                    <a:pt x="310" y="790"/>
                  </a:lnTo>
                  <a:lnTo>
                    <a:pt x="346" y="784"/>
                  </a:lnTo>
                  <a:lnTo>
                    <a:pt x="380" y="776"/>
                  </a:lnTo>
                  <a:lnTo>
                    <a:pt x="412" y="764"/>
                  </a:lnTo>
                  <a:lnTo>
                    <a:pt x="442" y="748"/>
                  </a:lnTo>
                  <a:lnTo>
                    <a:pt x="472" y="730"/>
                  </a:lnTo>
                  <a:lnTo>
                    <a:pt x="500" y="710"/>
                  </a:lnTo>
                  <a:lnTo>
                    <a:pt x="524" y="688"/>
                  </a:lnTo>
                  <a:lnTo>
                    <a:pt x="546" y="662"/>
                  </a:lnTo>
                  <a:lnTo>
                    <a:pt x="568" y="636"/>
                  </a:lnTo>
                  <a:lnTo>
                    <a:pt x="586" y="606"/>
                  </a:lnTo>
                  <a:lnTo>
                    <a:pt x="600" y="576"/>
                  </a:lnTo>
                  <a:lnTo>
                    <a:pt x="612" y="542"/>
                  </a:lnTo>
                  <a:lnTo>
                    <a:pt x="620" y="510"/>
                  </a:lnTo>
                  <a:lnTo>
                    <a:pt x="626" y="474"/>
                  </a:lnTo>
                  <a:lnTo>
                    <a:pt x="628" y="438"/>
                  </a:lnTo>
                  <a:lnTo>
                    <a:pt x="628" y="438"/>
                  </a:lnTo>
                  <a:lnTo>
                    <a:pt x="626" y="402"/>
                  </a:lnTo>
                  <a:lnTo>
                    <a:pt x="620" y="366"/>
                  </a:lnTo>
                  <a:lnTo>
                    <a:pt x="612" y="332"/>
                  </a:lnTo>
                  <a:lnTo>
                    <a:pt x="600" y="300"/>
                  </a:lnTo>
                  <a:lnTo>
                    <a:pt x="586" y="270"/>
                  </a:lnTo>
                  <a:lnTo>
                    <a:pt x="568" y="240"/>
                  </a:lnTo>
                  <a:lnTo>
                    <a:pt x="546" y="214"/>
                  </a:lnTo>
                  <a:lnTo>
                    <a:pt x="524" y="188"/>
                  </a:lnTo>
                  <a:lnTo>
                    <a:pt x="500" y="166"/>
                  </a:lnTo>
                  <a:lnTo>
                    <a:pt x="472" y="144"/>
                  </a:lnTo>
                  <a:lnTo>
                    <a:pt x="442" y="128"/>
                  </a:lnTo>
                  <a:lnTo>
                    <a:pt x="412" y="112"/>
                  </a:lnTo>
                  <a:lnTo>
                    <a:pt x="380" y="100"/>
                  </a:lnTo>
                  <a:lnTo>
                    <a:pt x="346" y="92"/>
                  </a:lnTo>
                  <a:lnTo>
                    <a:pt x="310" y="86"/>
                  </a:lnTo>
                  <a:lnTo>
                    <a:pt x="274" y="84"/>
                  </a:lnTo>
                  <a:lnTo>
                    <a:pt x="274" y="84"/>
                  </a:lnTo>
                  <a:lnTo>
                    <a:pt x="246" y="86"/>
                  </a:lnTo>
                  <a:lnTo>
                    <a:pt x="218" y="88"/>
                  </a:lnTo>
                  <a:lnTo>
                    <a:pt x="190" y="94"/>
                  </a:lnTo>
                  <a:lnTo>
                    <a:pt x="162" y="102"/>
                  </a:lnTo>
                  <a:lnTo>
                    <a:pt x="174" y="130"/>
                  </a:lnTo>
                  <a:lnTo>
                    <a:pt x="186" y="164"/>
                  </a:lnTo>
                  <a:lnTo>
                    <a:pt x="186" y="164"/>
                  </a:lnTo>
                  <a:lnTo>
                    <a:pt x="186" y="170"/>
                  </a:lnTo>
                  <a:lnTo>
                    <a:pt x="184" y="178"/>
                  </a:lnTo>
                  <a:lnTo>
                    <a:pt x="184" y="178"/>
                  </a:lnTo>
                  <a:lnTo>
                    <a:pt x="176" y="182"/>
                  </a:lnTo>
                  <a:lnTo>
                    <a:pt x="170" y="182"/>
                  </a:lnTo>
                  <a:lnTo>
                    <a:pt x="40" y="144"/>
                  </a:lnTo>
                  <a:lnTo>
                    <a:pt x="40" y="144"/>
                  </a:lnTo>
                  <a:lnTo>
                    <a:pt x="34" y="142"/>
                  </a:lnTo>
                  <a:lnTo>
                    <a:pt x="30" y="136"/>
                  </a:lnTo>
                  <a:lnTo>
                    <a:pt x="30" y="136"/>
                  </a:lnTo>
                  <a:lnTo>
                    <a:pt x="28" y="130"/>
                  </a:lnTo>
                  <a:lnTo>
                    <a:pt x="32" y="124"/>
                  </a:lnTo>
                  <a:lnTo>
                    <a:pt x="104" y="8"/>
                  </a:lnTo>
                  <a:lnTo>
                    <a:pt x="104" y="8"/>
                  </a:lnTo>
                  <a:lnTo>
                    <a:pt x="108" y="4"/>
                  </a:lnTo>
                  <a:lnTo>
                    <a:pt x="112" y="0"/>
                  </a:lnTo>
                  <a:lnTo>
                    <a:pt x="118" y="0"/>
                  </a:lnTo>
                  <a:lnTo>
                    <a:pt x="124" y="2"/>
                  </a:lnTo>
                  <a:lnTo>
                    <a:pt x="124" y="2"/>
                  </a:lnTo>
                  <a:lnTo>
                    <a:pt x="128" y="6"/>
                  </a:lnTo>
                  <a:lnTo>
                    <a:pt x="130" y="12"/>
                  </a:lnTo>
                  <a:lnTo>
                    <a:pt x="130" y="16"/>
                  </a:lnTo>
                  <a:lnTo>
                    <a:pt x="128" y="22"/>
                  </a:lnTo>
                  <a:lnTo>
                    <a:pt x="64" y="122"/>
                  </a:lnTo>
                  <a:lnTo>
                    <a:pt x="150" y="148"/>
                  </a:lnTo>
                  <a:lnTo>
                    <a:pt x="148" y="140"/>
                  </a:lnTo>
                  <a:lnTo>
                    <a:pt x="130" y="100"/>
                  </a:lnTo>
                  <a:lnTo>
                    <a:pt x="130" y="100"/>
                  </a:lnTo>
                  <a:lnTo>
                    <a:pt x="130" y="94"/>
                  </a:lnTo>
                  <a:lnTo>
                    <a:pt x="130" y="88"/>
                  </a:lnTo>
                  <a:lnTo>
                    <a:pt x="130" y="88"/>
                  </a:lnTo>
                  <a:lnTo>
                    <a:pt x="134" y="84"/>
                  </a:lnTo>
                  <a:lnTo>
                    <a:pt x="138" y="82"/>
                  </a:lnTo>
                  <a:lnTo>
                    <a:pt x="138" y="82"/>
                  </a:lnTo>
                  <a:lnTo>
                    <a:pt x="172" y="70"/>
                  </a:lnTo>
                  <a:lnTo>
                    <a:pt x="206" y="62"/>
                  </a:lnTo>
                  <a:lnTo>
                    <a:pt x="240" y="58"/>
                  </a:lnTo>
                  <a:lnTo>
                    <a:pt x="274" y="56"/>
                  </a:lnTo>
                  <a:lnTo>
                    <a:pt x="274" y="56"/>
                  </a:lnTo>
                  <a:lnTo>
                    <a:pt x="314" y="58"/>
                  </a:lnTo>
                  <a:lnTo>
                    <a:pt x="352" y="64"/>
                  </a:lnTo>
                  <a:lnTo>
                    <a:pt x="388" y="74"/>
                  </a:lnTo>
                  <a:lnTo>
                    <a:pt x="422" y="86"/>
                  </a:lnTo>
                  <a:lnTo>
                    <a:pt x="456" y="102"/>
                  </a:lnTo>
                  <a:lnTo>
                    <a:pt x="488" y="122"/>
                  </a:lnTo>
                  <a:lnTo>
                    <a:pt x="516" y="144"/>
                  </a:lnTo>
                  <a:lnTo>
                    <a:pt x="544" y="168"/>
                  </a:lnTo>
                  <a:lnTo>
                    <a:pt x="568" y="196"/>
                  </a:lnTo>
                  <a:lnTo>
                    <a:pt x="590" y="224"/>
                  </a:lnTo>
                  <a:lnTo>
                    <a:pt x="610" y="256"/>
                  </a:lnTo>
                  <a:lnTo>
                    <a:pt x="626" y="290"/>
                  </a:lnTo>
                  <a:lnTo>
                    <a:pt x="638" y="324"/>
                  </a:lnTo>
                  <a:lnTo>
                    <a:pt x="648" y="362"/>
                  </a:lnTo>
                  <a:lnTo>
                    <a:pt x="654" y="398"/>
                  </a:lnTo>
                  <a:lnTo>
                    <a:pt x="656" y="438"/>
                  </a:lnTo>
                  <a:lnTo>
                    <a:pt x="656" y="438"/>
                  </a:lnTo>
                  <a:lnTo>
                    <a:pt x="654" y="476"/>
                  </a:lnTo>
                  <a:lnTo>
                    <a:pt x="648" y="514"/>
                  </a:lnTo>
                  <a:lnTo>
                    <a:pt x="638" y="552"/>
                  </a:lnTo>
                  <a:lnTo>
                    <a:pt x="626" y="586"/>
                  </a:lnTo>
                  <a:lnTo>
                    <a:pt x="610" y="620"/>
                  </a:lnTo>
                  <a:lnTo>
                    <a:pt x="590" y="652"/>
                  </a:lnTo>
                  <a:lnTo>
                    <a:pt x="568" y="680"/>
                  </a:lnTo>
                  <a:lnTo>
                    <a:pt x="544" y="708"/>
                  </a:lnTo>
                  <a:lnTo>
                    <a:pt x="516" y="732"/>
                  </a:lnTo>
                  <a:lnTo>
                    <a:pt x="488" y="754"/>
                  </a:lnTo>
                  <a:lnTo>
                    <a:pt x="456" y="774"/>
                  </a:lnTo>
                  <a:lnTo>
                    <a:pt x="422" y="790"/>
                  </a:lnTo>
                  <a:lnTo>
                    <a:pt x="388" y="802"/>
                  </a:lnTo>
                  <a:lnTo>
                    <a:pt x="352" y="812"/>
                  </a:lnTo>
                  <a:lnTo>
                    <a:pt x="314" y="818"/>
                  </a:lnTo>
                  <a:lnTo>
                    <a:pt x="274" y="820"/>
                  </a:lnTo>
                  <a:lnTo>
                    <a:pt x="274" y="820"/>
                  </a:lnTo>
                  <a:close/>
                </a:path>
              </a:pathLst>
            </a:custGeom>
            <a:grpFill/>
            <a:ln>
              <a:noFill/>
            </a:ln>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grpSp>
      <p:sp>
        <p:nvSpPr>
          <p:cNvPr id="144" name="Freeform 539"/>
          <p:cNvSpPr>
            <a:spLocks noChangeAspect="1"/>
          </p:cNvSpPr>
          <p:nvPr/>
        </p:nvSpPr>
        <p:spPr bwMode="auto">
          <a:xfrm>
            <a:off x="4095915" y="1984474"/>
            <a:ext cx="3938971" cy="2165595"/>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chemeClr val="bg1">
              <a:lumMod val="20000"/>
              <a:lumOff val="80000"/>
            </a:schemeClr>
          </a:solidFill>
          <a:ln w="28575">
            <a:noFill/>
          </a:ln>
          <a:extLst/>
        </p:spPr>
        <p:txBody>
          <a:bodyPr vert="horz" wrap="square" lIns="91390" tIns="45695" rIns="91390" bIns="45695" numCol="1" anchor="t" anchorCtr="0" compatLnSpc="1">
            <a:prstTxWarp prst="textNoShape">
              <a:avLst/>
            </a:prstTxWarp>
          </a:bodyPr>
          <a:lstStyle/>
          <a:p>
            <a:pPr defTabSz="932194"/>
            <a:endParaRPr lang="en-US" sz="1050" kern="0" dirty="0">
              <a:solidFill>
                <a:srgbClr val="333333"/>
              </a:solidFill>
            </a:endParaRPr>
          </a:p>
        </p:txBody>
      </p:sp>
      <p:sp>
        <p:nvSpPr>
          <p:cNvPr id="145" name="TextBox 144"/>
          <p:cNvSpPr txBox="1"/>
          <p:nvPr/>
        </p:nvSpPr>
        <p:spPr>
          <a:xfrm>
            <a:off x="4696325" y="4157343"/>
            <a:ext cx="2776284" cy="572233"/>
          </a:xfrm>
          <a:prstGeom prst="rect">
            <a:avLst/>
          </a:prstGeom>
          <a:noFill/>
        </p:spPr>
        <p:txBody>
          <a:bodyPr wrap="square" lIns="182807" tIns="146246" rIns="182807" bIns="146246" rtlCol="0">
            <a:spAutoFit/>
          </a:bodyPr>
          <a:lstStyle/>
          <a:p>
            <a:pPr algn="ctr" defTabSz="896203">
              <a:lnSpc>
                <a:spcPct val="90000"/>
              </a:lnSpc>
            </a:pPr>
            <a:r>
              <a:rPr lang="en-US" sz="1999" kern="0" dirty="0">
                <a:solidFill>
                  <a:schemeClr val="bg2"/>
                </a:solidFill>
                <a:latin typeface="+mj-lt"/>
              </a:rPr>
              <a:t>Cortana Intelligence</a:t>
            </a:r>
          </a:p>
        </p:txBody>
      </p:sp>
      <p:grpSp>
        <p:nvGrpSpPr>
          <p:cNvPr id="149" name="Group 148"/>
          <p:cNvGrpSpPr/>
          <p:nvPr/>
        </p:nvGrpSpPr>
        <p:grpSpPr>
          <a:xfrm>
            <a:off x="3267146" y="5543487"/>
            <a:ext cx="1356146" cy="181425"/>
            <a:chOff x="3299791" y="5593822"/>
            <a:chExt cx="1356692" cy="181498"/>
          </a:xfrm>
          <a:solidFill>
            <a:schemeClr val="tx1">
              <a:lumMod val="85000"/>
            </a:schemeClr>
          </a:solidFill>
        </p:grpSpPr>
        <p:cxnSp>
          <p:nvCxnSpPr>
            <p:cNvPr id="150" name="Straight Connector 149"/>
            <p:cNvCxnSpPr/>
            <p:nvPr/>
          </p:nvCxnSpPr>
          <p:spPr>
            <a:xfrm>
              <a:off x="3299791" y="5685183"/>
              <a:ext cx="1356692" cy="0"/>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51" name="Group 150"/>
            <p:cNvGrpSpPr/>
            <p:nvPr/>
          </p:nvGrpSpPr>
          <p:grpSpPr>
            <a:xfrm rot="13500000">
              <a:off x="4445751" y="5595178"/>
              <a:ext cx="181498" cy="178786"/>
              <a:chOff x="402446" y="5872915"/>
              <a:chExt cx="292608" cy="288235"/>
            </a:xfrm>
            <a:grpFill/>
          </p:grpSpPr>
          <p:cxnSp>
            <p:nvCxnSpPr>
              <p:cNvPr id="152" name="Straight Connector 151"/>
              <p:cNvCxnSpPr/>
              <p:nvPr/>
            </p:nvCxnSpPr>
            <p:spPr>
              <a:xfrm>
                <a:off x="412598" y="5872915"/>
                <a:ext cx="0" cy="288235"/>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3" name="Straight Connector 152"/>
              <p:cNvCxnSpPr/>
              <p:nvPr/>
            </p:nvCxnSpPr>
            <p:spPr>
              <a:xfrm>
                <a:off x="402446" y="6148978"/>
                <a:ext cx="292608" cy="0"/>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154" name="Group 153"/>
          <p:cNvGrpSpPr/>
          <p:nvPr/>
        </p:nvGrpSpPr>
        <p:grpSpPr>
          <a:xfrm>
            <a:off x="7682824" y="5543487"/>
            <a:ext cx="1356146" cy="181425"/>
            <a:chOff x="3299791" y="5593822"/>
            <a:chExt cx="1356692" cy="181498"/>
          </a:xfrm>
          <a:solidFill>
            <a:schemeClr val="tx1">
              <a:lumMod val="85000"/>
            </a:schemeClr>
          </a:solidFill>
        </p:grpSpPr>
        <p:cxnSp>
          <p:nvCxnSpPr>
            <p:cNvPr id="155" name="Straight Connector 154"/>
            <p:cNvCxnSpPr/>
            <p:nvPr/>
          </p:nvCxnSpPr>
          <p:spPr>
            <a:xfrm>
              <a:off x="3299791" y="5685183"/>
              <a:ext cx="1356692" cy="0"/>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56" name="Group 155"/>
            <p:cNvGrpSpPr/>
            <p:nvPr/>
          </p:nvGrpSpPr>
          <p:grpSpPr>
            <a:xfrm rot="13500000">
              <a:off x="4445751" y="5595178"/>
              <a:ext cx="181498" cy="178786"/>
              <a:chOff x="402446" y="5872915"/>
              <a:chExt cx="292608" cy="288235"/>
            </a:xfrm>
            <a:grpFill/>
          </p:grpSpPr>
          <p:cxnSp>
            <p:nvCxnSpPr>
              <p:cNvPr id="157" name="Straight Connector 156"/>
              <p:cNvCxnSpPr/>
              <p:nvPr/>
            </p:nvCxnSpPr>
            <p:spPr>
              <a:xfrm>
                <a:off x="412598" y="5872915"/>
                <a:ext cx="0" cy="288235"/>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8" name="Straight Connector 157"/>
              <p:cNvCxnSpPr/>
              <p:nvPr/>
            </p:nvCxnSpPr>
            <p:spPr>
              <a:xfrm>
                <a:off x="402446" y="6148978"/>
                <a:ext cx="292608" cy="0"/>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159" name="Rectangle 158"/>
          <p:cNvSpPr/>
          <p:nvPr/>
        </p:nvSpPr>
        <p:spPr>
          <a:xfrm>
            <a:off x="9823493" y="5470308"/>
            <a:ext cx="1500003" cy="327780"/>
          </a:xfrm>
          <a:prstGeom prst="rect">
            <a:avLst/>
          </a:prstGeom>
        </p:spPr>
        <p:txBody>
          <a:bodyPr wrap="none" lIns="0" tIns="0" rIns="0" bIns="0" anchor="ctr">
            <a:noAutofit/>
          </a:bodyPr>
          <a:lstStyle/>
          <a:p>
            <a:pPr defTabSz="896203">
              <a:lnSpc>
                <a:spcPct val="90000"/>
              </a:lnSpc>
            </a:pPr>
            <a:r>
              <a:rPr lang="en-US" sz="2399" kern="0" dirty="0">
                <a:solidFill>
                  <a:schemeClr val="bg2"/>
                </a:solidFill>
                <a:latin typeface="+mj-lt"/>
              </a:rPr>
              <a:t>Action</a:t>
            </a:r>
          </a:p>
        </p:txBody>
      </p:sp>
      <p:sp>
        <p:nvSpPr>
          <p:cNvPr id="160" name="Freeform 539"/>
          <p:cNvSpPr>
            <a:spLocks noChangeAspect="1"/>
          </p:cNvSpPr>
          <p:nvPr/>
        </p:nvSpPr>
        <p:spPr bwMode="auto">
          <a:xfrm>
            <a:off x="3960368" y="1775316"/>
            <a:ext cx="801648" cy="440735"/>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EEEEEE"/>
          </a:solidFill>
          <a:ln w="28575">
            <a:noFill/>
          </a:ln>
          <a:extLst/>
        </p:spPr>
        <p:txBody>
          <a:bodyPr vert="horz" wrap="square" lIns="91390" tIns="45695" rIns="91390" bIns="45695" numCol="1" anchor="t" anchorCtr="0" compatLnSpc="1">
            <a:prstTxWarp prst="textNoShape">
              <a:avLst/>
            </a:prstTxWarp>
          </a:bodyPr>
          <a:lstStyle/>
          <a:p>
            <a:pPr defTabSz="932194"/>
            <a:endParaRPr lang="en-US" sz="1050" kern="0" dirty="0">
              <a:solidFill>
                <a:srgbClr val="333333"/>
              </a:solidFill>
            </a:endParaRPr>
          </a:p>
        </p:txBody>
      </p:sp>
      <p:sp>
        <p:nvSpPr>
          <p:cNvPr id="161" name="Freeform 539"/>
          <p:cNvSpPr>
            <a:spLocks noChangeAspect="1"/>
          </p:cNvSpPr>
          <p:nvPr/>
        </p:nvSpPr>
        <p:spPr bwMode="auto">
          <a:xfrm>
            <a:off x="3612490" y="3947450"/>
            <a:ext cx="452773" cy="248929"/>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EEEEEE"/>
          </a:solidFill>
          <a:ln w="28575">
            <a:noFill/>
          </a:ln>
          <a:extLst/>
        </p:spPr>
        <p:txBody>
          <a:bodyPr vert="horz" wrap="square" lIns="91390" tIns="45695" rIns="91390" bIns="45695" numCol="1" anchor="t" anchorCtr="0" compatLnSpc="1">
            <a:prstTxWarp prst="textNoShape">
              <a:avLst/>
            </a:prstTxWarp>
          </a:bodyPr>
          <a:lstStyle/>
          <a:p>
            <a:pPr defTabSz="932194"/>
            <a:endParaRPr lang="en-US" sz="1050" kern="0" dirty="0">
              <a:solidFill>
                <a:srgbClr val="333333"/>
              </a:solidFill>
            </a:endParaRPr>
          </a:p>
        </p:txBody>
      </p:sp>
      <p:sp>
        <p:nvSpPr>
          <p:cNvPr id="162" name="Freeform 539"/>
          <p:cNvSpPr>
            <a:spLocks noChangeAspect="1"/>
          </p:cNvSpPr>
          <p:nvPr/>
        </p:nvSpPr>
        <p:spPr bwMode="auto">
          <a:xfrm>
            <a:off x="6995775" y="1791972"/>
            <a:ext cx="535624" cy="29448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EEEEEE"/>
          </a:solidFill>
          <a:ln w="28575">
            <a:noFill/>
          </a:ln>
          <a:extLst/>
        </p:spPr>
        <p:txBody>
          <a:bodyPr vert="horz" wrap="square" lIns="91390" tIns="45695" rIns="91390" bIns="45695" numCol="1" anchor="t" anchorCtr="0" compatLnSpc="1">
            <a:prstTxWarp prst="textNoShape">
              <a:avLst/>
            </a:prstTxWarp>
          </a:bodyPr>
          <a:lstStyle/>
          <a:p>
            <a:pPr defTabSz="932194"/>
            <a:endParaRPr lang="en-US" sz="1050" kern="0" dirty="0">
              <a:solidFill>
                <a:srgbClr val="333333"/>
              </a:solidFill>
            </a:endParaRPr>
          </a:p>
        </p:txBody>
      </p:sp>
      <p:sp>
        <p:nvSpPr>
          <p:cNvPr id="163" name="TextBox 162"/>
          <p:cNvSpPr txBox="1"/>
          <p:nvPr/>
        </p:nvSpPr>
        <p:spPr>
          <a:xfrm>
            <a:off x="9873574" y="2839796"/>
            <a:ext cx="1089619" cy="489125"/>
          </a:xfrm>
          <a:prstGeom prst="rect">
            <a:avLst/>
          </a:prstGeom>
          <a:noFill/>
        </p:spPr>
        <p:txBody>
          <a:bodyPr wrap="square" lIns="182780" tIns="146224" rIns="182780" bIns="146224" rtlCol="0">
            <a:spAutoFit/>
          </a:bodyPr>
          <a:lstStyle/>
          <a:p>
            <a:pPr defTabSz="932194">
              <a:lnSpc>
                <a:spcPct val="90000"/>
              </a:lnSpc>
              <a:spcBef>
                <a:spcPct val="0"/>
              </a:spcBef>
              <a:spcAft>
                <a:spcPts val="600"/>
              </a:spcAft>
            </a:pPr>
            <a:r>
              <a:rPr lang="en-US" sz="1400" kern="0" spc="-30" dirty="0">
                <a:solidFill>
                  <a:schemeClr val="bg2"/>
                </a:solidFill>
                <a:latin typeface="Segoe UI Semilight" panose="020B0402040204020203" pitchFamily="34" charset="0"/>
                <a:cs typeface="Segoe UI Semilight" panose="020B0402040204020203" pitchFamily="34" charset="0"/>
              </a:rPr>
              <a:t>Apps</a:t>
            </a:r>
          </a:p>
        </p:txBody>
      </p:sp>
      <p:grpSp>
        <p:nvGrpSpPr>
          <p:cNvPr id="164" name="Group 163"/>
          <p:cNvGrpSpPr/>
          <p:nvPr/>
        </p:nvGrpSpPr>
        <p:grpSpPr>
          <a:xfrm>
            <a:off x="4507925" y="2221564"/>
            <a:ext cx="3111770" cy="1725468"/>
            <a:chOff x="4508874" y="2221077"/>
            <a:chExt cx="3113022" cy="1726163"/>
          </a:xfrm>
        </p:grpSpPr>
        <p:sp>
          <p:nvSpPr>
            <p:cNvPr id="165" name="Freeform 12"/>
            <p:cNvSpPr>
              <a:spLocks/>
            </p:cNvSpPr>
            <p:nvPr/>
          </p:nvSpPr>
          <p:spPr bwMode="auto">
            <a:xfrm>
              <a:off x="4508874"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chemeClr val="tx1"/>
            </a:solidFill>
            <a:ln>
              <a:noFill/>
            </a:ln>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178" name="Freeform 13"/>
            <p:cNvSpPr>
              <a:spLocks/>
            </p:cNvSpPr>
            <p:nvPr/>
          </p:nvSpPr>
          <p:spPr bwMode="auto">
            <a:xfrm>
              <a:off x="4903745"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chemeClr val="tx1"/>
            </a:solidFill>
            <a:ln>
              <a:noFill/>
            </a:ln>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183"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chemeClr val="tx1"/>
            </a:solidFill>
            <a:ln>
              <a:noFill/>
            </a:ln>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194"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chemeClr val="tx1"/>
            </a:solidFill>
            <a:ln>
              <a:noFill/>
            </a:ln>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195" name="Freeform 16"/>
            <p:cNvSpPr>
              <a:spLocks noEditPoints="1"/>
            </p:cNvSpPr>
            <p:nvPr/>
          </p:nvSpPr>
          <p:spPr bwMode="auto">
            <a:xfrm>
              <a:off x="5069687" y="3003551"/>
              <a:ext cx="208337" cy="208337"/>
            </a:xfrm>
            <a:custGeom>
              <a:avLst/>
              <a:gdLst>
                <a:gd name="T0" fmla="*/ 172 w 344"/>
                <a:gd name="T1" fmla="*/ 344 h 344"/>
                <a:gd name="T2" fmla="*/ 172 w 344"/>
                <a:gd name="T3" fmla="*/ 344 h 344"/>
                <a:gd name="T4" fmla="*/ 142 w 344"/>
                <a:gd name="T5" fmla="*/ 334 h 344"/>
                <a:gd name="T6" fmla="*/ 124 w 344"/>
                <a:gd name="T7" fmla="*/ 310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2 w 344"/>
                <a:gd name="T33" fmla="*/ 34 h 344"/>
                <a:gd name="T34" fmla="*/ 126 w 344"/>
                <a:gd name="T35" fmla="*/ 26 h 344"/>
                <a:gd name="T36" fmla="*/ 144 w 344"/>
                <a:gd name="T37" fmla="*/ 10 h 344"/>
                <a:gd name="T38" fmla="*/ 172 w 344"/>
                <a:gd name="T39" fmla="*/ 0 h 344"/>
                <a:gd name="T40" fmla="*/ 180 w 344"/>
                <a:gd name="T41" fmla="*/ 2 h 344"/>
                <a:gd name="T42" fmla="*/ 202 w 344"/>
                <a:gd name="T43" fmla="*/ 10 h 344"/>
                <a:gd name="T44" fmla="*/ 218 w 344"/>
                <a:gd name="T45" fmla="*/ 28 h 344"/>
                <a:gd name="T46" fmla="*/ 222 w 344"/>
                <a:gd name="T47" fmla="*/ 34 h 344"/>
                <a:gd name="T48" fmla="*/ 232 w 344"/>
                <a:gd name="T49" fmla="*/ 54 h 344"/>
                <a:gd name="T50" fmla="*/ 254 w 344"/>
                <a:gd name="T51" fmla="*/ 82 h 344"/>
                <a:gd name="T52" fmla="*/ 290 w 344"/>
                <a:gd name="T53" fmla="*/ 112 h 344"/>
                <a:gd name="T54" fmla="*/ 314 w 344"/>
                <a:gd name="T55" fmla="*/ 124 h 344"/>
                <a:gd name="T56" fmla="*/ 328 w 344"/>
                <a:gd name="T57" fmla="*/ 134 h 344"/>
                <a:gd name="T58" fmla="*/ 342 w 344"/>
                <a:gd name="T59" fmla="*/ 160 h 344"/>
                <a:gd name="T60" fmla="*/ 344 w 344"/>
                <a:gd name="T61" fmla="*/ 176 h 344"/>
                <a:gd name="T62" fmla="*/ 340 w 344"/>
                <a:gd name="T63" fmla="*/ 190 h 344"/>
                <a:gd name="T64" fmla="*/ 322 w 344"/>
                <a:gd name="T65" fmla="*/ 214 h 344"/>
                <a:gd name="T66" fmla="*/ 308 w 344"/>
                <a:gd name="T67" fmla="*/ 222 h 344"/>
                <a:gd name="T68" fmla="*/ 292 w 344"/>
                <a:gd name="T69" fmla="*/ 230 h 344"/>
                <a:gd name="T70" fmla="*/ 262 w 344"/>
                <a:gd name="T71" fmla="*/ 252 h 344"/>
                <a:gd name="T72" fmla="*/ 240 w 344"/>
                <a:gd name="T73" fmla="*/ 280 h 344"/>
                <a:gd name="T74" fmla="*/ 220 w 344"/>
                <a:gd name="T75" fmla="*/ 312 h 344"/>
                <a:gd name="T76" fmla="*/ 212 w 344"/>
                <a:gd name="T77" fmla="*/ 326 h 344"/>
                <a:gd name="T78" fmla="*/ 188 w 344"/>
                <a:gd name="T79" fmla="*/ 342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0"/>
                  </a:lnTo>
                  <a:lnTo>
                    <a:pt x="124" y="310"/>
                  </a:lnTo>
                  <a:lnTo>
                    <a:pt x="118" y="300"/>
                  </a:lnTo>
                  <a:lnTo>
                    <a:pt x="112" y="290"/>
                  </a:lnTo>
                  <a:lnTo>
                    <a:pt x="102" y="278"/>
                  </a:lnTo>
                  <a:lnTo>
                    <a:pt x="88" y="262"/>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2" y="34"/>
                  </a:lnTo>
                  <a:lnTo>
                    <a:pt x="122" y="34"/>
                  </a:lnTo>
                  <a:lnTo>
                    <a:pt x="126" y="26"/>
                  </a:lnTo>
                  <a:lnTo>
                    <a:pt x="132" y="20"/>
                  </a:lnTo>
                  <a:lnTo>
                    <a:pt x="144" y="10"/>
                  </a:lnTo>
                  <a:lnTo>
                    <a:pt x="158" y="4"/>
                  </a:lnTo>
                  <a:lnTo>
                    <a:pt x="172" y="0"/>
                  </a:lnTo>
                  <a:lnTo>
                    <a:pt x="172" y="0"/>
                  </a:lnTo>
                  <a:lnTo>
                    <a:pt x="180" y="2"/>
                  </a:lnTo>
                  <a:lnTo>
                    <a:pt x="188" y="2"/>
                  </a:lnTo>
                  <a:lnTo>
                    <a:pt x="202" y="10"/>
                  </a:lnTo>
                  <a:lnTo>
                    <a:pt x="214" y="20"/>
                  </a:lnTo>
                  <a:lnTo>
                    <a:pt x="218" y="28"/>
                  </a:lnTo>
                  <a:lnTo>
                    <a:pt x="222" y="34"/>
                  </a:lnTo>
                  <a:lnTo>
                    <a:pt x="222" y="34"/>
                  </a:lnTo>
                  <a:lnTo>
                    <a:pt x="226" y="44"/>
                  </a:lnTo>
                  <a:lnTo>
                    <a:pt x="232" y="54"/>
                  </a:lnTo>
                  <a:lnTo>
                    <a:pt x="242" y="68"/>
                  </a:lnTo>
                  <a:lnTo>
                    <a:pt x="254" y="82"/>
                  </a:lnTo>
                  <a:lnTo>
                    <a:pt x="270" y="96"/>
                  </a:lnTo>
                  <a:lnTo>
                    <a:pt x="290" y="112"/>
                  </a:lnTo>
                  <a:lnTo>
                    <a:pt x="314" y="124"/>
                  </a:lnTo>
                  <a:lnTo>
                    <a:pt x="314" y="124"/>
                  </a:lnTo>
                  <a:lnTo>
                    <a:pt x="320" y="128"/>
                  </a:lnTo>
                  <a:lnTo>
                    <a:pt x="328" y="134"/>
                  </a:lnTo>
                  <a:lnTo>
                    <a:pt x="336" y="146"/>
                  </a:lnTo>
                  <a:lnTo>
                    <a:pt x="342" y="160"/>
                  </a:lnTo>
                  <a:lnTo>
                    <a:pt x="344" y="176"/>
                  </a:lnTo>
                  <a:lnTo>
                    <a:pt x="344" y="176"/>
                  </a:lnTo>
                  <a:lnTo>
                    <a:pt x="342" y="182"/>
                  </a:lnTo>
                  <a:lnTo>
                    <a:pt x="340" y="190"/>
                  </a:lnTo>
                  <a:lnTo>
                    <a:pt x="334" y="204"/>
                  </a:lnTo>
                  <a:lnTo>
                    <a:pt x="322" y="214"/>
                  </a:lnTo>
                  <a:lnTo>
                    <a:pt x="316" y="218"/>
                  </a:lnTo>
                  <a:lnTo>
                    <a:pt x="308" y="222"/>
                  </a:lnTo>
                  <a:lnTo>
                    <a:pt x="308" y="222"/>
                  </a:lnTo>
                  <a:lnTo>
                    <a:pt x="292" y="230"/>
                  </a:lnTo>
                  <a:lnTo>
                    <a:pt x="276" y="240"/>
                  </a:lnTo>
                  <a:lnTo>
                    <a:pt x="262" y="252"/>
                  </a:lnTo>
                  <a:lnTo>
                    <a:pt x="250" y="266"/>
                  </a:lnTo>
                  <a:lnTo>
                    <a:pt x="240" y="280"/>
                  </a:lnTo>
                  <a:lnTo>
                    <a:pt x="230" y="292"/>
                  </a:lnTo>
                  <a:lnTo>
                    <a:pt x="220" y="312"/>
                  </a:lnTo>
                  <a:lnTo>
                    <a:pt x="220" y="312"/>
                  </a:lnTo>
                  <a:lnTo>
                    <a:pt x="212" y="326"/>
                  </a:lnTo>
                  <a:lnTo>
                    <a:pt x="202" y="336"/>
                  </a:lnTo>
                  <a:lnTo>
                    <a:pt x="188" y="342"/>
                  </a:lnTo>
                  <a:lnTo>
                    <a:pt x="172" y="344"/>
                  </a:lnTo>
                  <a:lnTo>
                    <a:pt x="172" y="344"/>
                  </a:lnTo>
                  <a:close/>
                  <a:moveTo>
                    <a:pt x="146" y="172"/>
                  </a:moveTo>
                  <a:lnTo>
                    <a:pt x="146" y="172"/>
                  </a:lnTo>
                  <a:lnTo>
                    <a:pt x="170" y="196"/>
                  </a:lnTo>
                  <a:lnTo>
                    <a:pt x="170" y="196"/>
                  </a:lnTo>
                  <a:lnTo>
                    <a:pt x="182" y="184"/>
                  </a:lnTo>
                  <a:lnTo>
                    <a:pt x="196" y="170"/>
                  </a:lnTo>
                  <a:lnTo>
                    <a:pt x="196" y="170"/>
                  </a:lnTo>
                  <a:lnTo>
                    <a:pt x="172" y="148"/>
                  </a:lnTo>
                  <a:lnTo>
                    <a:pt x="172" y="148"/>
                  </a:lnTo>
                  <a:lnTo>
                    <a:pt x="146" y="172"/>
                  </a:lnTo>
                  <a:lnTo>
                    <a:pt x="146" y="172"/>
                  </a:lnTo>
                  <a:close/>
                </a:path>
              </a:pathLst>
            </a:custGeom>
            <a:solidFill>
              <a:schemeClr val="tx1"/>
            </a:solidFill>
            <a:ln>
              <a:noFill/>
            </a:ln>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196" name="Freeform 17"/>
            <p:cNvSpPr>
              <a:spLocks noEditPoints="1"/>
            </p:cNvSpPr>
            <p:nvPr/>
          </p:nvSpPr>
          <p:spPr bwMode="auto">
            <a:xfrm>
              <a:off x="5628079" y="2221077"/>
              <a:ext cx="208337" cy="208337"/>
            </a:xfrm>
            <a:custGeom>
              <a:avLst/>
              <a:gdLst>
                <a:gd name="T0" fmla="*/ 172 w 344"/>
                <a:gd name="T1" fmla="*/ 344 h 344"/>
                <a:gd name="T2" fmla="*/ 172 w 344"/>
                <a:gd name="T3" fmla="*/ 344 h 344"/>
                <a:gd name="T4" fmla="*/ 142 w 344"/>
                <a:gd name="T5" fmla="*/ 334 h 344"/>
                <a:gd name="T6" fmla="*/ 124 w 344"/>
                <a:gd name="T7" fmla="*/ 310 h 344"/>
                <a:gd name="T8" fmla="*/ 118 w 344"/>
                <a:gd name="T9" fmla="*/ 300 h 344"/>
                <a:gd name="T10" fmla="*/ 102 w 344"/>
                <a:gd name="T11" fmla="*/ 276 h 344"/>
                <a:gd name="T12" fmla="*/ 74 w 344"/>
                <a:gd name="T13" fmla="*/ 248 h 344"/>
                <a:gd name="T14" fmla="*/ 28 w 344"/>
                <a:gd name="T15" fmla="*/ 218 h 344"/>
                <a:gd name="T16" fmla="*/ 16 w 344"/>
                <a:gd name="T17" fmla="*/ 210 h 344"/>
                <a:gd name="T18" fmla="*/ 2 w 344"/>
                <a:gd name="T19" fmla="*/ 186 h 344"/>
                <a:gd name="T20" fmla="*/ 0 w 344"/>
                <a:gd name="T21" fmla="*/ 170 h 344"/>
                <a:gd name="T22" fmla="*/ 8 w 344"/>
                <a:gd name="T23" fmla="*/ 144 h 344"/>
                <a:gd name="T24" fmla="*/ 30 w 344"/>
                <a:gd name="T25" fmla="*/ 124 h 344"/>
                <a:gd name="T26" fmla="*/ 54 w 344"/>
                <a:gd name="T27" fmla="*/ 110 h 344"/>
                <a:gd name="T28" fmla="*/ 90 w 344"/>
                <a:gd name="T29" fmla="*/ 82 h 344"/>
                <a:gd name="T30" fmla="*/ 112 w 344"/>
                <a:gd name="T31" fmla="*/ 54 h 344"/>
                <a:gd name="T32" fmla="*/ 124 w 344"/>
                <a:gd name="T33" fmla="*/ 34 h 344"/>
                <a:gd name="T34" fmla="*/ 126 w 344"/>
                <a:gd name="T35" fmla="*/ 26 h 344"/>
                <a:gd name="T36" fmla="*/ 144 w 344"/>
                <a:gd name="T37" fmla="*/ 10 h 344"/>
                <a:gd name="T38" fmla="*/ 172 w 344"/>
                <a:gd name="T39" fmla="*/ 0 h 344"/>
                <a:gd name="T40" fmla="*/ 180 w 344"/>
                <a:gd name="T41" fmla="*/ 0 h 344"/>
                <a:gd name="T42" fmla="*/ 202 w 344"/>
                <a:gd name="T43" fmla="*/ 10 h 344"/>
                <a:gd name="T44" fmla="*/ 218 w 344"/>
                <a:gd name="T45" fmla="*/ 26 h 344"/>
                <a:gd name="T46" fmla="*/ 222 w 344"/>
                <a:gd name="T47" fmla="*/ 34 h 344"/>
                <a:gd name="T48" fmla="*/ 234 w 344"/>
                <a:gd name="T49" fmla="*/ 54 h 344"/>
                <a:gd name="T50" fmla="*/ 254 w 344"/>
                <a:gd name="T51" fmla="*/ 82 h 344"/>
                <a:gd name="T52" fmla="*/ 290 w 344"/>
                <a:gd name="T53" fmla="*/ 110 h 344"/>
                <a:gd name="T54" fmla="*/ 314 w 344"/>
                <a:gd name="T55" fmla="*/ 124 h 344"/>
                <a:gd name="T56" fmla="*/ 328 w 344"/>
                <a:gd name="T57" fmla="*/ 132 h 344"/>
                <a:gd name="T58" fmla="*/ 342 w 344"/>
                <a:gd name="T59" fmla="*/ 160 h 344"/>
                <a:gd name="T60" fmla="*/ 344 w 344"/>
                <a:gd name="T61" fmla="*/ 174 h 344"/>
                <a:gd name="T62" fmla="*/ 342 w 344"/>
                <a:gd name="T63" fmla="*/ 190 h 344"/>
                <a:gd name="T64" fmla="*/ 322 w 344"/>
                <a:gd name="T65" fmla="*/ 214 h 344"/>
                <a:gd name="T66" fmla="*/ 308 w 344"/>
                <a:gd name="T67" fmla="*/ 222 h 344"/>
                <a:gd name="T68" fmla="*/ 292 w 344"/>
                <a:gd name="T69" fmla="*/ 230 h 344"/>
                <a:gd name="T70" fmla="*/ 262 w 344"/>
                <a:gd name="T71" fmla="*/ 252 h 344"/>
                <a:gd name="T72" fmla="*/ 240 w 344"/>
                <a:gd name="T73" fmla="*/ 280 h 344"/>
                <a:gd name="T74" fmla="*/ 220 w 344"/>
                <a:gd name="T75" fmla="*/ 312 h 344"/>
                <a:gd name="T76" fmla="*/ 212 w 344"/>
                <a:gd name="T77" fmla="*/ 324 h 344"/>
                <a:gd name="T78" fmla="*/ 188 w 344"/>
                <a:gd name="T79" fmla="*/ 342 h 344"/>
                <a:gd name="T80" fmla="*/ 172 w 344"/>
                <a:gd name="T81" fmla="*/ 344 h 344"/>
                <a:gd name="T82" fmla="*/ 146 w 344"/>
                <a:gd name="T83" fmla="*/ 172 h 344"/>
                <a:gd name="T84" fmla="*/ 170 w 344"/>
                <a:gd name="T85" fmla="*/ 196 h 344"/>
                <a:gd name="T86" fmla="*/ 196 w 344"/>
                <a:gd name="T87" fmla="*/ 170 h 344"/>
                <a:gd name="T88" fmla="*/ 172 w 344"/>
                <a:gd name="T89" fmla="*/ 146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0"/>
                  </a:lnTo>
                  <a:lnTo>
                    <a:pt x="124" y="310"/>
                  </a:lnTo>
                  <a:lnTo>
                    <a:pt x="118" y="300"/>
                  </a:lnTo>
                  <a:lnTo>
                    <a:pt x="112" y="290"/>
                  </a:lnTo>
                  <a:lnTo>
                    <a:pt x="102" y="276"/>
                  </a:lnTo>
                  <a:lnTo>
                    <a:pt x="90" y="262"/>
                  </a:lnTo>
                  <a:lnTo>
                    <a:pt x="74" y="248"/>
                  </a:lnTo>
                  <a:lnTo>
                    <a:pt x="54" y="232"/>
                  </a:lnTo>
                  <a:lnTo>
                    <a:pt x="28" y="218"/>
                  </a:lnTo>
                  <a:lnTo>
                    <a:pt x="28" y="218"/>
                  </a:lnTo>
                  <a:lnTo>
                    <a:pt x="16" y="210"/>
                  </a:lnTo>
                  <a:lnTo>
                    <a:pt x="8" y="198"/>
                  </a:lnTo>
                  <a:lnTo>
                    <a:pt x="2" y="186"/>
                  </a:lnTo>
                  <a:lnTo>
                    <a:pt x="0" y="170"/>
                  </a:lnTo>
                  <a:lnTo>
                    <a:pt x="0" y="170"/>
                  </a:lnTo>
                  <a:lnTo>
                    <a:pt x="2" y="156"/>
                  </a:lnTo>
                  <a:lnTo>
                    <a:pt x="8" y="144"/>
                  </a:lnTo>
                  <a:lnTo>
                    <a:pt x="18" y="132"/>
                  </a:lnTo>
                  <a:lnTo>
                    <a:pt x="30" y="124"/>
                  </a:lnTo>
                  <a:lnTo>
                    <a:pt x="30" y="124"/>
                  </a:lnTo>
                  <a:lnTo>
                    <a:pt x="54" y="110"/>
                  </a:lnTo>
                  <a:lnTo>
                    <a:pt x="74" y="96"/>
                  </a:lnTo>
                  <a:lnTo>
                    <a:pt x="90" y="82"/>
                  </a:lnTo>
                  <a:lnTo>
                    <a:pt x="102" y="68"/>
                  </a:lnTo>
                  <a:lnTo>
                    <a:pt x="112" y="54"/>
                  </a:lnTo>
                  <a:lnTo>
                    <a:pt x="118" y="44"/>
                  </a:lnTo>
                  <a:lnTo>
                    <a:pt x="124" y="34"/>
                  </a:lnTo>
                  <a:lnTo>
                    <a:pt x="124" y="34"/>
                  </a:lnTo>
                  <a:lnTo>
                    <a:pt x="126" y="26"/>
                  </a:lnTo>
                  <a:lnTo>
                    <a:pt x="132" y="20"/>
                  </a:lnTo>
                  <a:lnTo>
                    <a:pt x="144" y="10"/>
                  </a:lnTo>
                  <a:lnTo>
                    <a:pt x="158" y="2"/>
                  </a:lnTo>
                  <a:lnTo>
                    <a:pt x="172" y="0"/>
                  </a:lnTo>
                  <a:lnTo>
                    <a:pt x="172" y="0"/>
                  </a:lnTo>
                  <a:lnTo>
                    <a:pt x="180" y="0"/>
                  </a:lnTo>
                  <a:lnTo>
                    <a:pt x="188" y="2"/>
                  </a:lnTo>
                  <a:lnTo>
                    <a:pt x="202" y="10"/>
                  </a:lnTo>
                  <a:lnTo>
                    <a:pt x="214" y="20"/>
                  </a:lnTo>
                  <a:lnTo>
                    <a:pt x="218" y="26"/>
                  </a:lnTo>
                  <a:lnTo>
                    <a:pt x="222" y="34"/>
                  </a:lnTo>
                  <a:lnTo>
                    <a:pt x="222" y="34"/>
                  </a:lnTo>
                  <a:lnTo>
                    <a:pt x="226" y="44"/>
                  </a:lnTo>
                  <a:lnTo>
                    <a:pt x="234" y="54"/>
                  </a:lnTo>
                  <a:lnTo>
                    <a:pt x="242" y="68"/>
                  </a:lnTo>
                  <a:lnTo>
                    <a:pt x="254" y="82"/>
                  </a:lnTo>
                  <a:lnTo>
                    <a:pt x="270" y="96"/>
                  </a:lnTo>
                  <a:lnTo>
                    <a:pt x="290" y="110"/>
                  </a:lnTo>
                  <a:lnTo>
                    <a:pt x="314" y="124"/>
                  </a:lnTo>
                  <a:lnTo>
                    <a:pt x="314" y="124"/>
                  </a:lnTo>
                  <a:lnTo>
                    <a:pt x="322" y="128"/>
                  </a:lnTo>
                  <a:lnTo>
                    <a:pt x="328" y="132"/>
                  </a:lnTo>
                  <a:lnTo>
                    <a:pt x="338" y="144"/>
                  </a:lnTo>
                  <a:lnTo>
                    <a:pt x="342" y="160"/>
                  </a:lnTo>
                  <a:lnTo>
                    <a:pt x="344" y="174"/>
                  </a:lnTo>
                  <a:lnTo>
                    <a:pt x="344" y="174"/>
                  </a:lnTo>
                  <a:lnTo>
                    <a:pt x="344" y="182"/>
                  </a:lnTo>
                  <a:lnTo>
                    <a:pt x="342" y="190"/>
                  </a:lnTo>
                  <a:lnTo>
                    <a:pt x="334" y="204"/>
                  </a:lnTo>
                  <a:lnTo>
                    <a:pt x="322" y="214"/>
                  </a:lnTo>
                  <a:lnTo>
                    <a:pt x="316" y="218"/>
                  </a:lnTo>
                  <a:lnTo>
                    <a:pt x="308" y="222"/>
                  </a:lnTo>
                  <a:lnTo>
                    <a:pt x="308" y="222"/>
                  </a:lnTo>
                  <a:lnTo>
                    <a:pt x="292" y="230"/>
                  </a:lnTo>
                  <a:lnTo>
                    <a:pt x="276" y="240"/>
                  </a:lnTo>
                  <a:lnTo>
                    <a:pt x="262" y="252"/>
                  </a:lnTo>
                  <a:lnTo>
                    <a:pt x="250" y="266"/>
                  </a:lnTo>
                  <a:lnTo>
                    <a:pt x="240" y="280"/>
                  </a:lnTo>
                  <a:lnTo>
                    <a:pt x="232" y="292"/>
                  </a:lnTo>
                  <a:lnTo>
                    <a:pt x="220" y="312"/>
                  </a:lnTo>
                  <a:lnTo>
                    <a:pt x="220" y="312"/>
                  </a:lnTo>
                  <a:lnTo>
                    <a:pt x="212" y="324"/>
                  </a:lnTo>
                  <a:lnTo>
                    <a:pt x="202" y="334"/>
                  </a:lnTo>
                  <a:lnTo>
                    <a:pt x="188" y="342"/>
                  </a:lnTo>
                  <a:lnTo>
                    <a:pt x="172" y="344"/>
                  </a:lnTo>
                  <a:lnTo>
                    <a:pt x="172" y="344"/>
                  </a:lnTo>
                  <a:close/>
                  <a:moveTo>
                    <a:pt x="146" y="172"/>
                  </a:moveTo>
                  <a:lnTo>
                    <a:pt x="146" y="172"/>
                  </a:lnTo>
                  <a:lnTo>
                    <a:pt x="170" y="196"/>
                  </a:lnTo>
                  <a:lnTo>
                    <a:pt x="170" y="196"/>
                  </a:lnTo>
                  <a:lnTo>
                    <a:pt x="182" y="182"/>
                  </a:lnTo>
                  <a:lnTo>
                    <a:pt x="196" y="170"/>
                  </a:lnTo>
                  <a:lnTo>
                    <a:pt x="196" y="170"/>
                  </a:lnTo>
                  <a:lnTo>
                    <a:pt x="172" y="146"/>
                  </a:lnTo>
                  <a:lnTo>
                    <a:pt x="172" y="146"/>
                  </a:lnTo>
                  <a:lnTo>
                    <a:pt x="146" y="172"/>
                  </a:lnTo>
                  <a:lnTo>
                    <a:pt x="146" y="172"/>
                  </a:lnTo>
                  <a:close/>
                </a:path>
              </a:pathLst>
            </a:custGeom>
            <a:solidFill>
              <a:schemeClr val="tx1"/>
            </a:solidFill>
            <a:ln>
              <a:noFill/>
            </a:ln>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197"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chemeClr val="tx1"/>
            </a:solidFill>
            <a:ln>
              <a:noFill/>
            </a:ln>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198" name="Freeform 19"/>
            <p:cNvSpPr>
              <a:spLocks noEditPoints="1"/>
            </p:cNvSpPr>
            <p:nvPr/>
          </p:nvSpPr>
          <p:spPr bwMode="auto">
            <a:xfrm>
              <a:off x="5091490"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chemeClr val="tx1"/>
            </a:solidFill>
            <a:ln>
              <a:noFill/>
            </a:ln>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199"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chemeClr val="tx1"/>
            </a:solidFill>
            <a:ln>
              <a:noFill/>
            </a:ln>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grpSp>
          <p:nvGrpSpPr>
            <p:cNvPr id="200" name="Group 199"/>
            <p:cNvGrpSpPr/>
            <p:nvPr/>
          </p:nvGrpSpPr>
          <p:grpSpPr>
            <a:xfrm>
              <a:off x="5413104" y="2621197"/>
              <a:ext cx="1326042" cy="1326043"/>
              <a:chOff x="5413104" y="2598477"/>
              <a:chExt cx="1326042" cy="1326043"/>
            </a:xfrm>
          </p:grpSpPr>
          <p:sp>
            <p:nvSpPr>
              <p:cNvPr id="201"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chemeClr val="accent1"/>
              </a:solidFill>
              <a:ln>
                <a:noFill/>
              </a:ln>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202"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chemeClr val="accent1"/>
              </a:solidFill>
              <a:ln>
                <a:noFill/>
              </a:ln>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203"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chemeClr val="accent1"/>
              </a:solidFill>
              <a:ln>
                <a:noFill/>
              </a:ln>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204"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chemeClr val="accent1"/>
              </a:solidFill>
              <a:ln>
                <a:noFill/>
              </a:ln>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205"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chemeClr val="accent1"/>
              </a:solidFill>
              <a:ln>
                <a:noFill/>
              </a:ln>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206"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chemeClr val="accent1"/>
              </a:solidFill>
              <a:ln>
                <a:noFill/>
              </a:ln>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207"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chemeClr val="accent1"/>
              </a:solidFill>
              <a:ln>
                <a:noFill/>
              </a:ln>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208" name="Oval 207"/>
              <p:cNvSpPr/>
              <p:nvPr/>
            </p:nvSpPr>
            <p:spPr bwMode="auto">
              <a:xfrm>
                <a:off x="5413104" y="2598477"/>
                <a:ext cx="1326042" cy="1326043"/>
              </a:xfrm>
              <a:prstGeom prst="ellipse">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algn="ctr" defTabSz="932103" fontAlgn="base">
                  <a:lnSpc>
                    <a:spcPct val="90000"/>
                  </a:lnSpc>
                  <a:spcBef>
                    <a:spcPct val="0"/>
                  </a:spcBef>
                  <a:spcAft>
                    <a:spcPct val="0"/>
                  </a:spcAft>
                </a:pPr>
                <a:endParaRPr lang="en-US" sz="2399" kern="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209" name="Group 208"/>
          <p:cNvGrpSpPr/>
          <p:nvPr/>
        </p:nvGrpSpPr>
        <p:grpSpPr>
          <a:xfrm>
            <a:off x="9320629" y="2820211"/>
            <a:ext cx="598335" cy="462820"/>
            <a:chOff x="5007615" y="2323753"/>
            <a:chExt cx="649029" cy="502032"/>
          </a:xfrm>
          <a:solidFill>
            <a:schemeClr val="accent1"/>
          </a:solidFill>
        </p:grpSpPr>
        <p:sp>
          <p:nvSpPr>
            <p:cNvPr id="210" name="Freeform 209"/>
            <p:cNvSpPr>
              <a:spLocks/>
            </p:cNvSpPr>
            <p:nvPr/>
          </p:nvSpPr>
          <p:spPr bwMode="auto">
            <a:xfrm>
              <a:off x="5175285" y="2455306"/>
              <a:ext cx="313688" cy="314768"/>
            </a:xfrm>
            <a:custGeom>
              <a:avLst/>
              <a:gdLst>
                <a:gd name="connsiteX0" fmla="*/ 193673 w 319670"/>
                <a:gd name="connsiteY0" fmla="*/ 280605 h 320770"/>
                <a:gd name="connsiteX1" fmla="*/ 165888 w 319670"/>
                <a:gd name="connsiteY1" fmla="*/ 281661 h 320770"/>
                <a:gd name="connsiteX2" fmla="*/ 167460 w 319670"/>
                <a:gd name="connsiteY2" fmla="*/ 307015 h 320770"/>
                <a:gd name="connsiteX3" fmla="*/ 181091 w 319670"/>
                <a:gd name="connsiteY3" fmla="*/ 305430 h 320770"/>
                <a:gd name="connsiteX4" fmla="*/ 193673 w 319670"/>
                <a:gd name="connsiteY4" fmla="*/ 280605 h 320770"/>
                <a:gd name="connsiteX5" fmla="*/ 127923 w 319670"/>
                <a:gd name="connsiteY5" fmla="*/ 280054 h 320770"/>
                <a:gd name="connsiteX6" fmla="*/ 141657 w 319670"/>
                <a:gd name="connsiteY6" fmla="*/ 305957 h 320770"/>
                <a:gd name="connsiteX7" fmla="*/ 154333 w 319670"/>
                <a:gd name="connsiteY7" fmla="*/ 307015 h 320770"/>
                <a:gd name="connsiteX8" fmla="*/ 152749 w 319670"/>
                <a:gd name="connsiteY8" fmla="*/ 281640 h 320770"/>
                <a:gd name="connsiteX9" fmla="*/ 127923 w 319670"/>
                <a:gd name="connsiteY9" fmla="*/ 280054 h 320770"/>
                <a:gd name="connsiteX10" fmla="*/ 226960 w 319670"/>
                <a:gd name="connsiteY10" fmla="*/ 275378 h 320770"/>
                <a:gd name="connsiteX11" fmla="*/ 209629 w 319670"/>
                <a:gd name="connsiteY11" fmla="*/ 278547 h 320770"/>
                <a:gd name="connsiteX12" fmla="*/ 198075 w 319670"/>
                <a:gd name="connsiteY12" fmla="*/ 301788 h 320770"/>
                <a:gd name="connsiteX13" fmla="*/ 204377 w 319670"/>
                <a:gd name="connsiteY13" fmla="*/ 300203 h 320770"/>
                <a:gd name="connsiteX14" fmla="*/ 226960 w 319670"/>
                <a:gd name="connsiteY14" fmla="*/ 275378 h 320770"/>
                <a:gd name="connsiteX15" fmla="*/ 94911 w 319670"/>
                <a:gd name="connsiteY15" fmla="*/ 274277 h 320770"/>
                <a:gd name="connsiteX16" fmla="*/ 120163 w 319670"/>
                <a:gd name="connsiteY16" fmla="*/ 301828 h 320770"/>
                <a:gd name="connsiteX17" fmla="*/ 124897 w 319670"/>
                <a:gd name="connsiteY17" fmla="*/ 302888 h 320770"/>
                <a:gd name="connsiteX18" fmla="*/ 112797 w 319670"/>
                <a:gd name="connsiteY18" fmla="*/ 277456 h 320770"/>
                <a:gd name="connsiteX19" fmla="*/ 94911 w 319670"/>
                <a:gd name="connsiteY19" fmla="*/ 274277 h 320770"/>
                <a:gd name="connsiteX20" fmla="*/ 261623 w 319670"/>
                <a:gd name="connsiteY20" fmla="*/ 266024 h 320770"/>
                <a:gd name="connsiteX21" fmla="*/ 247511 w 319670"/>
                <a:gd name="connsiteY21" fmla="*/ 270781 h 320770"/>
                <a:gd name="connsiteX22" fmla="*/ 235489 w 319670"/>
                <a:gd name="connsiteY22" fmla="*/ 286107 h 320770"/>
                <a:gd name="connsiteX23" fmla="*/ 261623 w 319670"/>
                <a:gd name="connsiteY23" fmla="*/ 266024 h 320770"/>
                <a:gd name="connsiteX24" fmla="*/ 53646 w 319670"/>
                <a:gd name="connsiteY24" fmla="*/ 261072 h 320770"/>
                <a:gd name="connsiteX25" fmla="*/ 90509 w 319670"/>
                <a:gd name="connsiteY25" fmla="*/ 289683 h 320770"/>
                <a:gd name="connsiteX26" fmla="*/ 74184 w 319670"/>
                <a:gd name="connsiteY26" fmla="*/ 268490 h 320770"/>
                <a:gd name="connsiteX27" fmla="*/ 53646 w 319670"/>
                <a:gd name="connsiteY27" fmla="*/ 261072 h 320770"/>
                <a:gd name="connsiteX28" fmla="*/ 213205 w 319670"/>
                <a:gd name="connsiteY28" fmla="*/ 224209 h 320770"/>
                <a:gd name="connsiteX29" fmla="*/ 163687 w 319670"/>
                <a:gd name="connsiteY29" fmla="*/ 228957 h 320770"/>
                <a:gd name="connsiteX30" fmla="*/ 165267 w 319670"/>
                <a:gd name="connsiteY30" fmla="*/ 269051 h 320770"/>
                <a:gd name="connsiteX31" fmla="*/ 200035 w 319670"/>
                <a:gd name="connsiteY31" fmla="*/ 266413 h 320770"/>
                <a:gd name="connsiteX32" fmla="*/ 213205 w 319670"/>
                <a:gd name="connsiteY32" fmla="*/ 224209 h 320770"/>
                <a:gd name="connsiteX33" fmla="*/ 108941 w 319670"/>
                <a:gd name="connsiteY33" fmla="*/ 224209 h 320770"/>
                <a:gd name="connsiteX34" fmla="*/ 122109 w 319670"/>
                <a:gd name="connsiteY34" fmla="*/ 265864 h 320770"/>
                <a:gd name="connsiteX35" fmla="*/ 152132 w 319670"/>
                <a:gd name="connsiteY35" fmla="*/ 268500 h 320770"/>
                <a:gd name="connsiteX36" fmla="*/ 150552 w 319670"/>
                <a:gd name="connsiteY36" fmla="*/ 228954 h 320770"/>
                <a:gd name="connsiteX37" fmla="*/ 108941 w 319670"/>
                <a:gd name="connsiteY37" fmla="*/ 224209 h 320770"/>
                <a:gd name="connsiteX38" fmla="*/ 58322 w 319670"/>
                <a:gd name="connsiteY38" fmla="*/ 209903 h 320770"/>
                <a:gd name="connsiteX39" fmla="*/ 82669 w 319670"/>
                <a:gd name="connsiteY39" fmla="*/ 257461 h 320770"/>
                <a:gd name="connsiteX40" fmla="*/ 107016 w 319670"/>
                <a:gd name="connsiteY40" fmla="*/ 263273 h 320770"/>
                <a:gd name="connsiteX41" fmla="*/ 94842 w 319670"/>
                <a:gd name="connsiteY41" fmla="*/ 221000 h 320770"/>
                <a:gd name="connsiteX42" fmla="*/ 58322 w 319670"/>
                <a:gd name="connsiteY42" fmla="*/ 209903 h 320770"/>
                <a:gd name="connsiteX43" fmla="*/ 264925 w 319670"/>
                <a:gd name="connsiteY43" fmla="*/ 209078 h 320770"/>
                <a:gd name="connsiteX44" fmla="*/ 227505 w 319670"/>
                <a:gd name="connsiteY44" fmla="*/ 221190 h 320770"/>
                <a:gd name="connsiteX45" fmla="*/ 214856 w 319670"/>
                <a:gd name="connsiteY45" fmla="*/ 264374 h 320770"/>
                <a:gd name="connsiteX46" fmla="*/ 239100 w 319670"/>
                <a:gd name="connsiteY46" fmla="*/ 259634 h 320770"/>
                <a:gd name="connsiteX47" fmla="*/ 264925 w 319670"/>
                <a:gd name="connsiteY47" fmla="*/ 209078 h 320770"/>
                <a:gd name="connsiteX48" fmla="*/ 303989 w 319670"/>
                <a:gd name="connsiteY48" fmla="*/ 187895 h 320770"/>
                <a:gd name="connsiteX49" fmla="*/ 280765 w 319670"/>
                <a:gd name="connsiteY49" fmla="*/ 201624 h 320770"/>
                <a:gd name="connsiteX50" fmla="*/ 258597 w 319670"/>
                <a:gd name="connsiteY50" fmla="*/ 253370 h 320770"/>
                <a:gd name="connsiteX51" fmla="*/ 279710 w 319670"/>
                <a:gd name="connsiteY51" fmla="*/ 244921 h 320770"/>
                <a:gd name="connsiteX52" fmla="*/ 303989 w 319670"/>
                <a:gd name="connsiteY52" fmla="*/ 187895 h 320770"/>
                <a:gd name="connsiteX53" fmla="*/ 15131 w 319670"/>
                <a:gd name="connsiteY53" fmla="*/ 186244 h 320770"/>
                <a:gd name="connsiteX54" fmla="*/ 35764 w 319670"/>
                <a:gd name="connsiteY54" fmla="*/ 239029 h 320770"/>
                <a:gd name="connsiteX55" fmla="*/ 63274 w 319670"/>
                <a:gd name="connsiteY55" fmla="*/ 251169 h 320770"/>
                <a:gd name="connsiteX56" fmla="*/ 42641 w 319670"/>
                <a:gd name="connsiteY56" fmla="*/ 202607 h 320770"/>
                <a:gd name="connsiteX57" fmla="*/ 15131 w 319670"/>
                <a:gd name="connsiteY57" fmla="*/ 186244 h 320770"/>
                <a:gd name="connsiteX58" fmla="*/ 220633 w 319670"/>
                <a:gd name="connsiteY58" fmla="*/ 169463 h 320770"/>
                <a:gd name="connsiteX59" fmla="*/ 162861 w 319670"/>
                <a:gd name="connsiteY59" fmla="*/ 176816 h 320770"/>
                <a:gd name="connsiteX60" fmla="*/ 163386 w 319670"/>
                <a:gd name="connsiteY60" fmla="*/ 215680 h 320770"/>
                <a:gd name="connsiteX61" fmla="*/ 216431 w 319670"/>
                <a:gd name="connsiteY61" fmla="*/ 209903 h 320770"/>
                <a:gd name="connsiteX62" fmla="*/ 220633 w 319670"/>
                <a:gd name="connsiteY62" fmla="*/ 169463 h 320770"/>
                <a:gd name="connsiteX63" fmla="*/ 101513 w 319670"/>
                <a:gd name="connsiteY63" fmla="*/ 169463 h 320770"/>
                <a:gd name="connsiteX64" fmla="*/ 105748 w 319670"/>
                <a:gd name="connsiteY64" fmla="*/ 210428 h 320770"/>
                <a:gd name="connsiteX65" fmla="*/ 150207 w 319670"/>
                <a:gd name="connsiteY65" fmla="*/ 215680 h 320770"/>
                <a:gd name="connsiteX66" fmla="*/ 149678 w 319670"/>
                <a:gd name="connsiteY66" fmla="*/ 176291 h 320770"/>
                <a:gd name="connsiteX67" fmla="*/ 101513 w 319670"/>
                <a:gd name="connsiteY67" fmla="*/ 169463 h 320770"/>
                <a:gd name="connsiteX68" fmla="*/ 51121 w 319670"/>
                <a:gd name="connsiteY68" fmla="*/ 149931 h 320770"/>
                <a:gd name="connsiteX69" fmla="*/ 50069 w 319670"/>
                <a:gd name="connsiteY69" fmla="*/ 159953 h 320770"/>
                <a:gd name="connsiteX70" fmla="*/ 53752 w 319670"/>
                <a:gd name="connsiteY70" fmla="*/ 193713 h 320770"/>
                <a:gd name="connsiteX71" fmla="*/ 92160 w 319670"/>
                <a:gd name="connsiteY71" fmla="*/ 207427 h 320770"/>
                <a:gd name="connsiteX72" fmla="*/ 89003 w 319670"/>
                <a:gd name="connsiteY72" fmla="*/ 166283 h 320770"/>
                <a:gd name="connsiteX73" fmla="*/ 51121 w 319670"/>
                <a:gd name="connsiteY73" fmla="*/ 149931 h 320770"/>
                <a:gd name="connsiteX74" fmla="*/ 271850 w 319670"/>
                <a:gd name="connsiteY74" fmla="*/ 148830 h 320770"/>
                <a:gd name="connsiteX75" fmla="*/ 233420 w 319670"/>
                <a:gd name="connsiteY75" fmla="*/ 165717 h 320770"/>
                <a:gd name="connsiteX76" fmla="*/ 230262 w 319670"/>
                <a:gd name="connsiteY76" fmla="*/ 206877 h 320770"/>
                <a:gd name="connsiteX77" fmla="*/ 269218 w 319670"/>
                <a:gd name="connsiteY77" fmla="*/ 193157 h 320770"/>
                <a:gd name="connsiteX78" fmla="*/ 272903 w 319670"/>
                <a:gd name="connsiteY78" fmla="*/ 159912 h 320770"/>
                <a:gd name="connsiteX79" fmla="*/ 271850 w 319670"/>
                <a:gd name="connsiteY79" fmla="*/ 148830 h 320770"/>
                <a:gd name="connsiteX80" fmla="*/ 302793 w 319670"/>
                <a:gd name="connsiteY80" fmla="*/ 126547 h 320770"/>
                <a:gd name="connsiteX81" fmla="*/ 284431 w 319670"/>
                <a:gd name="connsiteY81" fmla="*/ 141328 h 320770"/>
                <a:gd name="connsiteX82" fmla="*/ 286005 w 319670"/>
                <a:gd name="connsiteY82" fmla="*/ 159805 h 320770"/>
                <a:gd name="connsiteX83" fmla="*/ 283907 w 319670"/>
                <a:gd name="connsiteY83" fmla="*/ 185144 h 320770"/>
                <a:gd name="connsiteX84" fmla="*/ 306465 w 319670"/>
                <a:gd name="connsiteY84" fmla="*/ 169835 h 320770"/>
                <a:gd name="connsiteX85" fmla="*/ 306465 w 319670"/>
                <a:gd name="connsiteY85" fmla="*/ 160333 h 320770"/>
                <a:gd name="connsiteX86" fmla="*/ 302793 w 319670"/>
                <a:gd name="connsiteY86" fmla="*/ 126547 h 320770"/>
                <a:gd name="connsiteX87" fmla="*/ 17427 w 319670"/>
                <a:gd name="connsiteY87" fmla="*/ 125172 h 320770"/>
                <a:gd name="connsiteX88" fmla="*/ 13205 w 319670"/>
                <a:gd name="connsiteY88" fmla="*/ 160446 h 320770"/>
                <a:gd name="connsiteX89" fmla="*/ 13205 w 319670"/>
                <a:gd name="connsiteY89" fmla="*/ 168870 h 320770"/>
                <a:gd name="connsiteX90" fmla="*/ 39065 w 319670"/>
                <a:gd name="connsiteY90" fmla="*/ 186244 h 320770"/>
                <a:gd name="connsiteX91" fmla="*/ 36954 w 319670"/>
                <a:gd name="connsiteY91" fmla="*/ 159920 h 320770"/>
                <a:gd name="connsiteX92" fmla="*/ 38537 w 319670"/>
                <a:gd name="connsiteY92" fmla="*/ 142546 h 320770"/>
                <a:gd name="connsiteX93" fmla="*/ 17427 w 319670"/>
                <a:gd name="connsiteY93" fmla="*/ 125172 h 320770"/>
                <a:gd name="connsiteX94" fmla="*/ 215883 w 319670"/>
                <a:gd name="connsiteY94" fmla="*/ 122420 h 320770"/>
                <a:gd name="connsiteX95" fmla="*/ 165486 w 319670"/>
                <a:gd name="connsiteY95" fmla="*/ 128769 h 320770"/>
                <a:gd name="connsiteX96" fmla="*/ 163386 w 319670"/>
                <a:gd name="connsiteY96" fmla="*/ 128769 h 320770"/>
                <a:gd name="connsiteX97" fmla="*/ 162861 w 319670"/>
                <a:gd name="connsiteY97" fmla="*/ 155221 h 320770"/>
                <a:gd name="connsiteX98" fmla="*/ 162861 w 319670"/>
                <a:gd name="connsiteY98" fmla="*/ 163686 h 320770"/>
                <a:gd name="connsiteX99" fmla="*/ 220083 w 319670"/>
                <a:gd name="connsiteY99" fmla="*/ 155750 h 320770"/>
                <a:gd name="connsiteX100" fmla="*/ 215883 w 319670"/>
                <a:gd name="connsiteY100" fmla="*/ 122420 h 320770"/>
                <a:gd name="connsiteX101" fmla="*/ 106825 w 319670"/>
                <a:gd name="connsiteY101" fmla="*/ 120220 h 320770"/>
                <a:gd name="connsiteX102" fmla="*/ 102064 w 319670"/>
                <a:gd name="connsiteY102" fmla="*/ 156248 h 320770"/>
                <a:gd name="connsiteX103" fmla="*/ 149678 w 319670"/>
                <a:gd name="connsiteY103" fmla="*/ 163136 h 320770"/>
                <a:gd name="connsiteX104" fmla="*/ 149678 w 319670"/>
                <a:gd name="connsiteY104" fmla="*/ 155188 h 320770"/>
                <a:gd name="connsiteX105" fmla="*/ 150207 w 319670"/>
                <a:gd name="connsiteY105" fmla="*/ 128167 h 320770"/>
                <a:gd name="connsiteX106" fmla="*/ 106825 w 319670"/>
                <a:gd name="connsiteY106" fmla="*/ 120220 h 320770"/>
                <a:gd name="connsiteX107" fmla="*/ 259617 w 319670"/>
                <a:gd name="connsiteY107" fmla="*/ 103988 h 320770"/>
                <a:gd name="connsiteX108" fmla="*/ 228611 w 319670"/>
                <a:gd name="connsiteY108" fmla="*/ 118717 h 320770"/>
                <a:gd name="connsiteX109" fmla="*/ 233341 w 319670"/>
                <a:gd name="connsiteY109" fmla="*/ 151856 h 320770"/>
                <a:gd name="connsiteX110" fmla="*/ 269602 w 319670"/>
                <a:gd name="connsiteY110" fmla="*/ 135024 h 320770"/>
                <a:gd name="connsiteX111" fmla="*/ 259617 w 319670"/>
                <a:gd name="connsiteY111" fmla="*/ 103988 h 320770"/>
                <a:gd name="connsiteX112" fmla="*/ 65249 w 319670"/>
                <a:gd name="connsiteY112" fmla="*/ 99862 h 320770"/>
                <a:gd name="connsiteX113" fmla="*/ 52545 w 319670"/>
                <a:gd name="connsiteY113" fmla="*/ 136118 h 320770"/>
                <a:gd name="connsiteX114" fmla="*/ 89068 w 319670"/>
                <a:gd name="connsiteY114" fmla="*/ 152407 h 320770"/>
                <a:gd name="connsiteX115" fmla="*/ 94361 w 319670"/>
                <a:gd name="connsiteY115" fmla="*/ 115625 h 320770"/>
                <a:gd name="connsiteX116" fmla="*/ 65249 w 319670"/>
                <a:gd name="connsiteY116" fmla="*/ 99862 h 320770"/>
                <a:gd name="connsiteX117" fmla="*/ 285381 w 319670"/>
                <a:gd name="connsiteY117" fmla="*/ 83906 h 320770"/>
                <a:gd name="connsiteX118" fmla="*/ 270702 w 319670"/>
                <a:gd name="connsiteY118" fmla="*/ 96554 h 320770"/>
                <a:gd name="connsiteX119" fmla="*/ 281711 w 319670"/>
                <a:gd name="connsiteY119" fmla="*/ 127648 h 320770"/>
                <a:gd name="connsiteX120" fmla="*/ 298487 w 319670"/>
                <a:gd name="connsiteY120" fmla="*/ 112365 h 320770"/>
                <a:gd name="connsiteX121" fmla="*/ 285381 w 319670"/>
                <a:gd name="connsiteY121" fmla="*/ 83906 h 320770"/>
                <a:gd name="connsiteX122" fmla="*/ 39411 w 319670"/>
                <a:gd name="connsiteY122" fmla="*/ 75928 h 320770"/>
                <a:gd name="connsiteX123" fmla="*/ 21458 w 319670"/>
                <a:gd name="connsiteY123" fmla="*/ 111317 h 320770"/>
                <a:gd name="connsiteX124" fmla="*/ 40995 w 319670"/>
                <a:gd name="connsiteY124" fmla="*/ 128748 h 320770"/>
                <a:gd name="connsiteX125" fmla="*/ 54196 w 319670"/>
                <a:gd name="connsiteY125" fmla="*/ 91774 h 320770"/>
                <a:gd name="connsiteX126" fmla="*/ 39411 w 319670"/>
                <a:gd name="connsiteY126" fmla="*/ 75928 h 320770"/>
                <a:gd name="connsiteX127" fmla="*/ 201616 w 319670"/>
                <a:gd name="connsiteY127" fmla="*/ 73452 h 320770"/>
                <a:gd name="connsiteX128" fmla="*/ 165267 w 319670"/>
                <a:gd name="connsiteY128" fmla="*/ 78187 h 320770"/>
                <a:gd name="connsiteX129" fmla="*/ 164740 w 319670"/>
                <a:gd name="connsiteY129" fmla="*/ 78187 h 320770"/>
                <a:gd name="connsiteX130" fmla="*/ 163687 w 319670"/>
                <a:gd name="connsiteY130" fmla="*/ 115543 h 320770"/>
                <a:gd name="connsiteX131" fmla="*/ 165267 w 319670"/>
                <a:gd name="connsiteY131" fmla="*/ 115543 h 320770"/>
                <a:gd name="connsiteX132" fmla="*/ 213205 w 319670"/>
                <a:gd name="connsiteY132" fmla="*/ 109756 h 320770"/>
                <a:gd name="connsiteX133" fmla="*/ 201616 w 319670"/>
                <a:gd name="connsiteY133" fmla="*/ 73452 h 320770"/>
                <a:gd name="connsiteX134" fmla="*/ 121592 w 319670"/>
                <a:gd name="connsiteY134" fmla="*/ 70701 h 320770"/>
                <a:gd name="connsiteX135" fmla="*/ 109491 w 319670"/>
                <a:gd name="connsiteY135" fmla="*/ 107084 h 320770"/>
                <a:gd name="connsiteX136" fmla="*/ 150530 w 319670"/>
                <a:gd name="connsiteY136" fmla="*/ 114993 h 320770"/>
                <a:gd name="connsiteX137" fmla="*/ 151582 w 319670"/>
                <a:gd name="connsiteY137" fmla="*/ 77028 h 320770"/>
                <a:gd name="connsiteX138" fmla="*/ 121592 w 319670"/>
                <a:gd name="connsiteY138" fmla="*/ 70701 h 320770"/>
                <a:gd name="connsiteX139" fmla="*/ 233321 w 319670"/>
                <a:gd name="connsiteY139" fmla="*/ 59697 h 320770"/>
                <a:gd name="connsiteX140" fmla="*/ 214306 w 319670"/>
                <a:gd name="connsiteY140" fmla="*/ 69207 h 320770"/>
                <a:gd name="connsiteX141" fmla="*/ 225926 w 319670"/>
                <a:gd name="connsiteY141" fmla="*/ 106189 h 320770"/>
                <a:gd name="connsiteX142" fmla="*/ 253921 w 319670"/>
                <a:gd name="connsiteY142" fmla="*/ 92453 h 320770"/>
                <a:gd name="connsiteX143" fmla="*/ 233321 w 319670"/>
                <a:gd name="connsiteY143" fmla="*/ 59697 h 320770"/>
                <a:gd name="connsiteX144" fmla="*/ 92595 w 319670"/>
                <a:gd name="connsiteY144" fmla="*/ 55846 h 320770"/>
                <a:gd name="connsiteX145" fmla="*/ 70977 w 319670"/>
                <a:gd name="connsiteY145" fmla="*/ 88088 h 320770"/>
                <a:gd name="connsiteX146" fmla="*/ 97341 w 319670"/>
                <a:gd name="connsiteY146" fmla="*/ 102888 h 320770"/>
                <a:gd name="connsiteX147" fmla="*/ 108941 w 319670"/>
                <a:gd name="connsiteY147" fmla="*/ 65360 h 320770"/>
                <a:gd name="connsiteX148" fmla="*/ 92595 w 319670"/>
                <a:gd name="connsiteY148" fmla="*/ 55846 h 320770"/>
                <a:gd name="connsiteX149" fmla="*/ 251144 w 319670"/>
                <a:gd name="connsiteY149" fmla="*/ 44842 h 320770"/>
                <a:gd name="connsiteX150" fmla="*/ 243742 w 319670"/>
                <a:gd name="connsiteY150" fmla="*/ 51712 h 320770"/>
                <a:gd name="connsiteX151" fmla="*/ 264890 w 319670"/>
                <a:gd name="connsiteY151" fmla="*/ 85007 h 320770"/>
                <a:gd name="connsiteX152" fmla="*/ 277579 w 319670"/>
                <a:gd name="connsiteY152" fmla="*/ 72851 h 320770"/>
                <a:gd name="connsiteX153" fmla="*/ 251144 w 319670"/>
                <a:gd name="connsiteY153" fmla="*/ 44842 h 320770"/>
                <a:gd name="connsiteX154" fmla="*/ 75908 w 319670"/>
                <a:gd name="connsiteY154" fmla="*/ 39614 h 320770"/>
                <a:gd name="connsiteX155" fmla="*/ 47868 w 319670"/>
                <a:gd name="connsiteY155" fmla="*/ 65510 h 320770"/>
                <a:gd name="connsiteX156" fmla="*/ 60565 w 319670"/>
                <a:gd name="connsiteY156" fmla="*/ 79779 h 320770"/>
                <a:gd name="connsiteX157" fmla="*/ 82256 w 319670"/>
                <a:gd name="connsiteY157" fmla="*/ 47013 h 320770"/>
                <a:gd name="connsiteX158" fmla="*/ 75908 w 319670"/>
                <a:gd name="connsiteY158" fmla="*/ 39614 h 320770"/>
                <a:gd name="connsiteX159" fmla="*/ 224484 w 319670"/>
                <a:gd name="connsiteY159" fmla="*/ 28060 h 320770"/>
                <a:gd name="connsiteX160" fmla="*/ 236003 w 319670"/>
                <a:gd name="connsiteY160" fmla="*/ 41815 h 320770"/>
                <a:gd name="connsiteX161" fmla="*/ 240716 w 319670"/>
                <a:gd name="connsiteY161" fmla="*/ 37583 h 320770"/>
                <a:gd name="connsiteX162" fmla="*/ 224484 w 319670"/>
                <a:gd name="connsiteY162" fmla="*/ 28060 h 320770"/>
                <a:gd name="connsiteX163" fmla="*/ 101238 w 319670"/>
                <a:gd name="connsiteY163" fmla="*/ 25309 h 320770"/>
                <a:gd name="connsiteX164" fmla="*/ 86933 w 319670"/>
                <a:gd name="connsiteY164" fmla="*/ 32662 h 320770"/>
                <a:gd name="connsiteX165" fmla="*/ 90642 w 319670"/>
                <a:gd name="connsiteY165" fmla="*/ 36863 h 320770"/>
                <a:gd name="connsiteX166" fmla="*/ 101238 w 319670"/>
                <a:gd name="connsiteY166" fmla="*/ 25309 h 320770"/>
                <a:gd name="connsiteX167" fmla="*/ 189546 w 319670"/>
                <a:gd name="connsiteY167" fmla="*/ 16506 h 320770"/>
                <a:gd name="connsiteX168" fmla="*/ 209532 w 319670"/>
                <a:gd name="connsiteY168" fmla="*/ 56946 h 320770"/>
                <a:gd name="connsiteX169" fmla="*/ 225310 w 319670"/>
                <a:gd name="connsiteY169" fmla="*/ 49068 h 320770"/>
                <a:gd name="connsiteX170" fmla="*/ 194280 w 319670"/>
                <a:gd name="connsiteY170" fmla="*/ 17556 h 320770"/>
                <a:gd name="connsiteX171" fmla="*/ 189546 w 319670"/>
                <a:gd name="connsiteY171" fmla="*/ 16506 h 320770"/>
                <a:gd name="connsiteX172" fmla="*/ 132600 w 319670"/>
                <a:gd name="connsiteY172" fmla="*/ 15955 h 320770"/>
                <a:gd name="connsiteX173" fmla="*/ 128938 w 319670"/>
                <a:gd name="connsiteY173" fmla="*/ 16483 h 320770"/>
                <a:gd name="connsiteX174" fmla="*/ 100688 w 319670"/>
                <a:gd name="connsiteY174" fmla="*/ 46010 h 320770"/>
                <a:gd name="connsiteX175" fmla="*/ 114290 w 319670"/>
                <a:gd name="connsiteY175" fmla="*/ 53920 h 320770"/>
                <a:gd name="connsiteX176" fmla="*/ 132600 w 319670"/>
                <a:gd name="connsiteY176" fmla="*/ 15955 h 320770"/>
                <a:gd name="connsiteX177" fmla="*/ 167974 w 319670"/>
                <a:gd name="connsiteY177" fmla="*/ 13204 h 320770"/>
                <a:gd name="connsiteX178" fmla="*/ 165337 w 319670"/>
                <a:gd name="connsiteY178" fmla="*/ 64924 h 320770"/>
                <a:gd name="connsiteX179" fmla="*/ 196974 w 319670"/>
                <a:gd name="connsiteY179" fmla="*/ 60702 h 320770"/>
                <a:gd name="connsiteX180" fmla="*/ 173247 w 319670"/>
                <a:gd name="connsiteY180" fmla="*/ 13732 h 320770"/>
                <a:gd name="connsiteX181" fmla="*/ 167974 w 319670"/>
                <a:gd name="connsiteY181" fmla="*/ 13204 h 320770"/>
                <a:gd name="connsiteX182" fmla="*/ 149585 w 319670"/>
                <a:gd name="connsiteY182" fmla="*/ 13204 h 320770"/>
                <a:gd name="connsiteX183" fmla="*/ 126273 w 319670"/>
                <a:gd name="connsiteY183" fmla="*/ 58551 h 320770"/>
                <a:gd name="connsiteX184" fmla="*/ 152764 w 319670"/>
                <a:gd name="connsiteY184" fmla="*/ 63823 h 320770"/>
                <a:gd name="connsiteX185" fmla="*/ 154883 w 319670"/>
                <a:gd name="connsiteY185" fmla="*/ 13204 h 320770"/>
                <a:gd name="connsiteX186" fmla="*/ 149585 w 319670"/>
                <a:gd name="connsiteY186" fmla="*/ 13204 h 320770"/>
                <a:gd name="connsiteX187" fmla="*/ 160099 w 319670"/>
                <a:gd name="connsiteY187" fmla="*/ 0 h 320770"/>
                <a:gd name="connsiteX188" fmla="*/ 248047 w 319670"/>
                <a:gd name="connsiteY188" fmla="*/ 26906 h 320770"/>
                <a:gd name="connsiteX189" fmla="*/ 259107 w 319670"/>
                <a:gd name="connsiteY189" fmla="*/ 34293 h 320770"/>
                <a:gd name="connsiteX190" fmla="*/ 285965 w 319670"/>
                <a:gd name="connsiteY190" fmla="*/ 61727 h 320770"/>
                <a:gd name="connsiteX191" fmla="*/ 293865 w 319670"/>
                <a:gd name="connsiteY191" fmla="*/ 72806 h 320770"/>
                <a:gd name="connsiteX192" fmla="*/ 308084 w 319670"/>
                <a:gd name="connsiteY192" fmla="*/ 100768 h 320770"/>
                <a:gd name="connsiteX193" fmla="*/ 313350 w 319670"/>
                <a:gd name="connsiteY193" fmla="*/ 115013 h 320770"/>
                <a:gd name="connsiteX194" fmla="*/ 319670 w 319670"/>
                <a:gd name="connsiteY194" fmla="*/ 157747 h 320770"/>
                <a:gd name="connsiteX195" fmla="*/ 319670 w 319670"/>
                <a:gd name="connsiteY195" fmla="*/ 160385 h 320770"/>
                <a:gd name="connsiteX196" fmla="*/ 319144 w 319670"/>
                <a:gd name="connsiteY196" fmla="*/ 176212 h 320770"/>
                <a:gd name="connsiteX197" fmla="*/ 302291 w 319670"/>
                <a:gd name="connsiteY197" fmla="*/ 232664 h 320770"/>
                <a:gd name="connsiteX198" fmla="*/ 288598 w 319670"/>
                <a:gd name="connsiteY198" fmla="*/ 254822 h 320770"/>
                <a:gd name="connsiteX199" fmla="*/ 160099 w 319670"/>
                <a:gd name="connsiteY199" fmla="*/ 320242 h 320770"/>
                <a:gd name="connsiteX200" fmla="*/ 159572 w 319670"/>
                <a:gd name="connsiteY200" fmla="*/ 320242 h 320770"/>
                <a:gd name="connsiteX201" fmla="*/ 155359 w 319670"/>
                <a:gd name="connsiteY201" fmla="*/ 320770 h 320770"/>
                <a:gd name="connsiteX202" fmla="*/ 155359 w 319670"/>
                <a:gd name="connsiteY202" fmla="*/ 320242 h 320770"/>
                <a:gd name="connsiteX203" fmla="*/ 26332 w 319670"/>
                <a:gd name="connsiteY203" fmla="*/ 248491 h 320770"/>
                <a:gd name="connsiteX204" fmla="*/ 13693 w 319670"/>
                <a:gd name="connsiteY204" fmla="*/ 225278 h 320770"/>
                <a:gd name="connsiteX205" fmla="*/ 527 w 319670"/>
                <a:gd name="connsiteY205" fmla="*/ 174630 h 320770"/>
                <a:gd name="connsiteX206" fmla="*/ 0 w 319670"/>
                <a:gd name="connsiteY206" fmla="*/ 160385 h 320770"/>
                <a:gd name="connsiteX207" fmla="*/ 0 w 319670"/>
                <a:gd name="connsiteY207" fmla="*/ 156164 h 320770"/>
                <a:gd name="connsiteX208" fmla="*/ 6847 w 319670"/>
                <a:gd name="connsiteY208" fmla="*/ 113958 h 320770"/>
                <a:gd name="connsiteX209" fmla="*/ 12113 w 319670"/>
                <a:gd name="connsiteY209" fmla="*/ 99185 h 320770"/>
                <a:gd name="connsiteX210" fmla="*/ 32125 w 319670"/>
                <a:gd name="connsiteY210" fmla="*/ 64365 h 320770"/>
                <a:gd name="connsiteX211" fmla="*/ 41078 w 319670"/>
                <a:gd name="connsiteY211" fmla="*/ 52758 h 320770"/>
                <a:gd name="connsiteX212" fmla="*/ 68990 w 319670"/>
                <a:gd name="connsiteY212" fmla="*/ 28489 h 320770"/>
                <a:gd name="connsiteX213" fmla="*/ 80576 w 319670"/>
                <a:gd name="connsiteY213" fmla="*/ 21103 h 320770"/>
                <a:gd name="connsiteX214" fmla="*/ 160099 w 319670"/>
                <a:gd name="connsiteY214" fmla="*/ 0 h 320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Lst>
              <a:rect l="l" t="t" r="r" b="b"/>
              <a:pathLst>
                <a:path w="319670" h="320770">
                  <a:moveTo>
                    <a:pt x="193673" y="280605"/>
                  </a:moveTo>
                  <a:cubicBezTo>
                    <a:pt x="184761" y="281133"/>
                    <a:pt x="175324" y="281661"/>
                    <a:pt x="165888" y="281661"/>
                  </a:cubicBezTo>
                  <a:cubicBezTo>
                    <a:pt x="166412" y="292225"/>
                    <a:pt x="166936" y="300676"/>
                    <a:pt x="167460" y="307015"/>
                  </a:cubicBezTo>
                  <a:cubicBezTo>
                    <a:pt x="172179" y="306486"/>
                    <a:pt x="176373" y="305958"/>
                    <a:pt x="181091" y="305430"/>
                  </a:cubicBezTo>
                  <a:cubicBezTo>
                    <a:pt x="183188" y="301733"/>
                    <a:pt x="188430" y="292753"/>
                    <a:pt x="193673" y="280605"/>
                  </a:cubicBezTo>
                  <a:close/>
                  <a:moveTo>
                    <a:pt x="127923" y="280054"/>
                  </a:moveTo>
                  <a:cubicBezTo>
                    <a:pt x="133734" y="293270"/>
                    <a:pt x="139016" y="302257"/>
                    <a:pt x="141657" y="305957"/>
                  </a:cubicBezTo>
                  <a:cubicBezTo>
                    <a:pt x="145882" y="306486"/>
                    <a:pt x="150108" y="307015"/>
                    <a:pt x="154333" y="307015"/>
                  </a:cubicBezTo>
                  <a:cubicBezTo>
                    <a:pt x="153805" y="300671"/>
                    <a:pt x="153277" y="291684"/>
                    <a:pt x="152749" y="281640"/>
                  </a:cubicBezTo>
                  <a:cubicBezTo>
                    <a:pt x="144298" y="281640"/>
                    <a:pt x="135846" y="280583"/>
                    <a:pt x="127923" y="280054"/>
                  </a:cubicBezTo>
                  <a:close/>
                  <a:moveTo>
                    <a:pt x="226960" y="275378"/>
                  </a:moveTo>
                  <a:cubicBezTo>
                    <a:pt x="221183" y="276962"/>
                    <a:pt x="215406" y="277491"/>
                    <a:pt x="209629" y="278547"/>
                  </a:cubicBezTo>
                  <a:cubicBezTo>
                    <a:pt x="205427" y="288055"/>
                    <a:pt x="201226" y="295978"/>
                    <a:pt x="198075" y="301788"/>
                  </a:cubicBezTo>
                  <a:cubicBezTo>
                    <a:pt x="200175" y="301260"/>
                    <a:pt x="202276" y="300731"/>
                    <a:pt x="204377" y="300203"/>
                  </a:cubicBezTo>
                  <a:cubicBezTo>
                    <a:pt x="208053" y="296506"/>
                    <a:pt x="216982" y="288055"/>
                    <a:pt x="226960" y="275378"/>
                  </a:cubicBezTo>
                  <a:close/>
                  <a:moveTo>
                    <a:pt x="94911" y="274277"/>
                  </a:moveTo>
                  <a:cubicBezTo>
                    <a:pt x="107537" y="290172"/>
                    <a:pt x="118584" y="300239"/>
                    <a:pt x="120163" y="301828"/>
                  </a:cubicBezTo>
                  <a:cubicBezTo>
                    <a:pt x="121741" y="302358"/>
                    <a:pt x="123319" y="302358"/>
                    <a:pt x="124897" y="302888"/>
                  </a:cubicBezTo>
                  <a:cubicBezTo>
                    <a:pt x="121215" y="296530"/>
                    <a:pt x="117006" y="288053"/>
                    <a:pt x="112797" y="277456"/>
                  </a:cubicBezTo>
                  <a:cubicBezTo>
                    <a:pt x="106485" y="276927"/>
                    <a:pt x="100698" y="275337"/>
                    <a:pt x="94911" y="274277"/>
                  </a:cubicBezTo>
                  <a:close/>
                  <a:moveTo>
                    <a:pt x="261623" y="266024"/>
                  </a:moveTo>
                  <a:cubicBezTo>
                    <a:pt x="256919" y="267610"/>
                    <a:pt x="252215" y="269195"/>
                    <a:pt x="247511" y="270781"/>
                  </a:cubicBezTo>
                  <a:cubicBezTo>
                    <a:pt x="243329" y="276066"/>
                    <a:pt x="239670" y="281351"/>
                    <a:pt x="235489" y="286107"/>
                  </a:cubicBezTo>
                  <a:cubicBezTo>
                    <a:pt x="244897" y="280294"/>
                    <a:pt x="253783" y="273952"/>
                    <a:pt x="261623" y="266024"/>
                  </a:cubicBezTo>
                  <a:close/>
                  <a:moveTo>
                    <a:pt x="53646" y="261072"/>
                  </a:moveTo>
                  <a:cubicBezTo>
                    <a:pt x="64178" y="272729"/>
                    <a:pt x="76817" y="282266"/>
                    <a:pt x="90509" y="289683"/>
                  </a:cubicBezTo>
                  <a:cubicBezTo>
                    <a:pt x="85243" y="283855"/>
                    <a:pt x="79977" y="276438"/>
                    <a:pt x="74184" y="268490"/>
                  </a:cubicBezTo>
                  <a:cubicBezTo>
                    <a:pt x="66811" y="266371"/>
                    <a:pt x="59965" y="264252"/>
                    <a:pt x="53646" y="261072"/>
                  </a:cubicBezTo>
                  <a:close/>
                  <a:moveTo>
                    <a:pt x="213205" y="224209"/>
                  </a:moveTo>
                  <a:cubicBezTo>
                    <a:pt x="197402" y="226846"/>
                    <a:pt x="180544" y="228429"/>
                    <a:pt x="163687" y="228957"/>
                  </a:cubicBezTo>
                  <a:cubicBezTo>
                    <a:pt x="163687" y="243201"/>
                    <a:pt x="164740" y="256917"/>
                    <a:pt x="165267" y="269051"/>
                  </a:cubicBezTo>
                  <a:cubicBezTo>
                    <a:pt x="176857" y="268523"/>
                    <a:pt x="188446" y="267996"/>
                    <a:pt x="200035" y="266413"/>
                  </a:cubicBezTo>
                  <a:cubicBezTo>
                    <a:pt x="204777" y="254279"/>
                    <a:pt x="209518" y="240035"/>
                    <a:pt x="213205" y="224209"/>
                  </a:cubicBezTo>
                  <a:close/>
                  <a:moveTo>
                    <a:pt x="108941" y="224209"/>
                  </a:moveTo>
                  <a:cubicBezTo>
                    <a:pt x="112628" y="240027"/>
                    <a:pt x="117369" y="253736"/>
                    <a:pt x="122109" y="265864"/>
                  </a:cubicBezTo>
                  <a:cubicBezTo>
                    <a:pt x="131590" y="267446"/>
                    <a:pt x="141598" y="267973"/>
                    <a:pt x="152132" y="268500"/>
                  </a:cubicBezTo>
                  <a:cubicBezTo>
                    <a:pt x="151606" y="256373"/>
                    <a:pt x="151079" y="243191"/>
                    <a:pt x="150552" y="228954"/>
                  </a:cubicBezTo>
                  <a:cubicBezTo>
                    <a:pt x="135804" y="228427"/>
                    <a:pt x="122109" y="226845"/>
                    <a:pt x="108941" y="224209"/>
                  </a:cubicBezTo>
                  <a:close/>
                  <a:moveTo>
                    <a:pt x="58322" y="209903"/>
                  </a:moveTo>
                  <a:cubicBezTo>
                    <a:pt x="64673" y="227869"/>
                    <a:pt x="73671" y="243722"/>
                    <a:pt x="82669" y="257461"/>
                  </a:cubicBezTo>
                  <a:cubicBezTo>
                    <a:pt x="90608" y="260103"/>
                    <a:pt x="98547" y="261688"/>
                    <a:pt x="107016" y="263273"/>
                  </a:cubicBezTo>
                  <a:cubicBezTo>
                    <a:pt x="102252" y="251120"/>
                    <a:pt x="98018" y="236852"/>
                    <a:pt x="94842" y="221000"/>
                  </a:cubicBezTo>
                  <a:cubicBezTo>
                    <a:pt x="82140" y="218358"/>
                    <a:pt x="69966" y="214131"/>
                    <a:pt x="58322" y="209903"/>
                  </a:cubicBezTo>
                  <a:close/>
                  <a:moveTo>
                    <a:pt x="264925" y="209078"/>
                  </a:moveTo>
                  <a:cubicBezTo>
                    <a:pt x="253330" y="213818"/>
                    <a:pt x="240681" y="218031"/>
                    <a:pt x="227505" y="221190"/>
                  </a:cubicBezTo>
                  <a:cubicBezTo>
                    <a:pt x="224343" y="236989"/>
                    <a:pt x="219599" y="251735"/>
                    <a:pt x="214856" y="264374"/>
                  </a:cubicBezTo>
                  <a:cubicBezTo>
                    <a:pt x="223289" y="263320"/>
                    <a:pt x="231194" y="261214"/>
                    <a:pt x="239100" y="259634"/>
                  </a:cubicBezTo>
                  <a:cubicBezTo>
                    <a:pt x="248586" y="245415"/>
                    <a:pt x="258073" y="228037"/>
                    <a:pt x="264925" y="209078"/>
                  </a:cubicBezTo>
                  <a:close/>
                  <a:moveTo>
                    <a:pt x="303989" y="187895"/>
                  </a:moveTo>
                  <a:cubicBezTo>
                    <a:pt x="297128" y="192647"/>
                    <a:pt x="289211" y="197399"/>
                    <a:pt x="280765" y="201624"/>
                  </a:cubicBezTo>
                  <a:cubicBezTo>
                    <a:pt x="275487" y="220632"/>
                    <a:pt x="267570" y="238057"/>
                    <a:pt x="258597" y="253370"/>
                  </a:cubicBezTo>
                  <a:cubicBezTo>
                    <a:pt x="265987" y="250729"/>
                    <a:pt x="273376" y="248089"/>
                    <a:pt x="279710" y="244921"/>
                  </a:cubicBezTo>
                  <a:cubicBezTo>
                    <a:pt x="291850" y="228025"/>
                    <a:pt x="300295" y="209016"/>
                    <a:pt x="303989" y="187895"/>
                  </a:cubicBezTo>
                  <a:close/>
                  <a:moveTo>
                    <a:pt x="15131" y="186244"/>
                  </a:moveTo>
                  <a:cubicBezTo>
                    <a:pt x="18834" y="205247"/>
                    <a:pt x="25712" y="223193"/>
                    <a:pt x="35764" y="239029"/>
                  </a:cubicBezTo>
                  <a:cubicBezTo>
                    <a:pt x="44229" y="243251"/>
                    <a:pt x="53751" y="247474"/>
                    <a:pt x="63274" y="251169"/>
                  </a:cubicBezTo>
                  <a:cubicBezTo>
                    <a:pt x="54810" y="236917"/>
                    <a:pt x="47403" y="220554"/>
                    <a:pt x="42641" y="202607"/>
                  </a:cubicBezTo>
                  <a:cubicBezTo>
                    <a:pt x="32590" y="197857"/>
                    <a:pt x="23596" y="192578"/>
                    <a:pt x="15131" y="186244"/>
                  </a:cubicBezTo>
                  <a:close/>
                  <a:moveTo>
                    <a:pt x="220633" y="169463"/>
                  </a:moveTo>
                  <a:cubicBezTo>
                    <a:pt x="202251" y="174190"/>
                    <a:pt x="182819" y="176291"/>
                    <a:pt x="162861" y="176816"/>
                  </a:cubicBezTo>
                  <a:cubicBezTo>
                    <a:pt x="162861" y="189946"/>
                    <a:pt x="162861" y="203076"/>
                    <a:pt x="163386" y="215680"/>
                  </a:cubicBezTo>
                  <a:cubicBezTo>
                    <a:pt x="181768" y="215680"/>
                    <a:pt x="199625" y="213580"/>
                    <a:pt x="216431" y="209903"/>
                  </a:cubicBezTo>
                  <a:cubicBezTo>
                    <a:pt x="218532" y="197298"/>
                    <a:pt x="220108" y="183643"/>
                    <a:pt x="220633" y="169463"/>
                  </a:cubicBezTo>
                  <a:close/>
                  <a:moveTo>
                    <a:pt x="101513" y="169463"/>
                  </a:moveTo>
                  <a:cubicBezTo>
                    <a:pt x="102043" y="183643"/>
                    <a:pt x="103631" y="197298"/>
                    <a:pt x="105748" y="210428"/>
                  </a:cubicBezTo>
                  <a:cubicBezTo>
                    <a:pt x="120038" y="213054"/>
                    <a:pt x="134858" y="215155"/>
                    <a:pt x="150207" y="215680"/>
                  </a:cubicBezTo>
                  <a:cubicBezTo>
                    <a:pt x="149678" y="203076"/>
                    <a:pt x="149678" y="189946"/>
                    <a:pt x="149678" y="176291"/>
                  </a:cubicBezTo>
                  <a:cubicBezTo>
                    <a:pt x="132741" y="175765"/>
                    <a:pt x="116862" y="173139"/>
                    <a:pt x="101513" y="169463"/>
                  </a:cubicBezTo>
                  <a:close/>
                  <a:moveTo>
                    <a:pt x="51121" y="149931"/>
                  </a:moveTo>
                  <a:cubicBezTo>
                    <a:pt x="50595" y="153623"/>
                    <a:pt x="50069" y="156788"/>
                    <a:pt x="50069" y="159953"/>
                  </a:cubicBezTo>
                  <a:cubicBezTo>
                    <a:pt x="50069" y="171558"/>
                    <a:pt x="51647" y="183163"/>
                    <a:pt x="53752" y="193713"/>
                  </a:cubicBezTo>
                  <a:cubicBezTo>
                    <a:pt x="65853" y="198988"/>
                    <a:pt x="78480" y="203735"/>
                    <a:pt x="92160" y="207427"/>
                  </a:cubicBezTo>
                  <a:cubicBezTo>
                    <a:pt x="90055" y="194240"/>
                    <a:pt x="88477" y="180525"/>
                    <a:pt x="89003" y="166283"/>
                  </a:cubicBezTo>
                  <a:cubicBezTo>
                    <a:pt x="75324" y="161536"/>
                    <a:pt x="62170" y="156261"/>
                    <a:pt x="51121" y="149931"/>
                  </a:cubicBezTo>
                  <a:close/>
                  <a:moveTo>
                    <a:pt x="271850" y="148830"/>
                  </a:moveTo>
                  <a:cubicBezTo>
                    <a:pt x="260269" y="155690"/>
                    <a:pt x="247634" y="161495"/>
                    <a:pt x="233420" y="165717"/>
                  </a:cubicBezTo>
                  <a:cubicBezTo>
                    <a:pt x="233947" y="179965"/>
                    <a:pt x="232367" y="193685"/>
                    <a:pt x="230262" y="206877"/>
                  </a:cubicBezTo>
                  <a:cubicBezTo>
                    <a:pt x="244475" y="203183"/>
                    <a:pt x="257110" y="198434"/>
                    <a:pt x="269218" y="193157"/>
                  </a:cubicBezTo>
                  <a:cubicBezTo>
                    <a:pt x="271850" y="182603"/>
                    <a:pt x="272903" y="171521"/>
                    <a:pt x="272903" y="159912"/>
                  </a:cubicBezTo>
                  <a:cubicBezTo>
                    <a:pt x="272903" y="156218"/>
                    <a:pt x="272376" y="152524"/>
                    <a:pt x="271850" y="148830"/>
                  </a:cubicBezTo>
                  <a:close/>
                  <a:moveTo>
                    <a:pt x="302793" y="126547"/>
                  </a:moveTo>
                  <a:cubicBezTo>
                    <a:pt x="297022" y="131826"/>
                    <a:pt x="290727" y="136577"/>
                    <a:pt x="284431" y="141328"/>
                  </a:cubicBezTo>
                  <a:cubicBezTo>
                    <a:pt x="284956" y="147135"/>
                    <a:pt x="286005" y="153470"/>
                    <a:pt x="286005" y="159805"/>
                  </a:cubicBezTo>
                  <a:cubicBezTo>
                    <a:pt x="286005" y="168251"/>
                    <a:pt x="285481" y="176698"/>
                    <a:pt x="283907" y="185144"/>
                  </a:cubicBezTo>
                  <a:cubicBezTo>
                    <a:pt x="292301" y="180393"/>
                    <a:pt x="299645" y="175642"/>
                    <a:pt x="306465" y="169835"/>
                  </a:cubicBezTo>
                  <a:cubicBezTo>
                    <a:pt x="306465" y="166668"/>
                    <a:pt x="306465" y="163500"/>
                    <a:pt x="306465" y="160333"/>
                  </a:cubicBezTo>
                  <a:cubicBezTo>
                    <a:pt x="306465" y="148719"/>
                    <a:pt x="305416" y="137105"/>
                    <a:pt x="302793" y="126547"/>
                  </a:cubicBezTo>
                  <a:close/>
                  <a:moveTo>
                    <a:pt x="17427" y="125172"/>
                  </a:moveTo>
                  <a:cubicBezTo>
                    <a:pt x="14789" y="136754"/>
                    <a:pt x="13205" y="148337"/>
                    <a:pt x="13205" y="160446"/>
                  </a:cubicBezTo>
                  <a:cubicBezTo>
                    <a:pt x="13205" y="163079"/>
                    <a:pt x="13205" y="165711"/>
                    <a:pt x="13205" y="168870"/>
                  </a:cubicBezTo>
                  <a:cubicBezTo>
                    <a:pt x="21122" y="175188"/>
                    <a:pt x="29565" y="180979"/>
                    <a:pt x="39065" y="186244"/>
                  </a:cubicBezTo>
                  <a:cubicBezTo>
                    <a:pt x="37482" y="177821"/>
                    <a:pt x="36954" y="168870"/>
                    <a:pt x="36954" y="159920"/>
                  </a:cubicBezTo>
                  <a:cubicBezTo>
                    <a:pt x="37482" y="154128"/>
                    <a:pt x="38009" y="148337"/>
                    <a:pt x="38537" y="142546"/>
                  </a:cubicBezTo>
                  <a:cubicBezTo>
                    <a:pt x="30621" y="137281"/>
                    <a:pt x="23760" y="131489"/>
                    <a:pt x="17427" y="125172"/>
                  </a:cubicBezTo>
                  <a:close/>
                  <a:moveTo>
                    <a:pt x="215883" y="122420"/>
                  </a:moveTo>
                  <a:cubicBezTo>
                    <a:pt x="200134" y="126653"/>
                    <a:pt x="183335" y="128769"/>
                    <a:pt x="165486" y="128769"/>
                  </a:cubicBezTo>
                  <a:cubicBezTo>
                    <a:pt x="164961" y="128769"/>
                    <a:pt x="164436" y="128769"/>
                    <a:pt x="163386" y="128769"/>
                  </a:cubicBezTo>
                  <a:cubicBezTo>
                    <a:pt x="163386" y="137763"/>
                    <a:pt x="163386" y="146228"/>
                    <a:pt x="162861" y="155221"/>
                  </a:cubicBezTo>
                  <a:cubicBezTo>
                    <a:pt x="162861" y="157866"/>
                    <a:pt x="162861" y="161041"/>
                    <a:pt x="162861" y="163686"/>
                  </a:cubicBezTo>
                  <a:cubicBezTo>
                    <a:pt x="183335" y="163157"/>
                    <a:pt x="202234" y="160512"/>
                    <a:pt x="220083" y="155750"/>
                  </a:cubicBezTo>
                  <a:cubicBezTo>
                    <a:pt x="219558" y="144640"/>
                    <a:pt x="217983" y="133530"/>
                    <a:pt x="215883" y="122420"/>
                  </a:cubicBezTo>
                  <a:close/>
                  <a:moveTo>
                    <a:pt x="106825" y="120220"/>
                  </a:moveTo>
                  <a:cubicBezTo>
                    <a:pt x="104180" y="131876"/>
                    <a:pt x="102593" y="144062"/>
                    <a:pt x="102064" y="156248"/>
                  </a:cubicBezTo>
                  <a:cubicBezTo>
                    <a:pt x="116877" y="159957"/>
                    <a:pt x="132748" y="162606"/>
                    <a:pt x="149678" y="163136"/>
                  </a:cubicBezTo>
                  <a:cubicBezTo>
                    <a:pt x="149678" y="160487"/>
                    <a:pt x="149678" y="157837"/>
                    <a:pt x="149678" y="155188"/>
                  </a:cubicBezTo>
                  <a:cubicBezTo>
                    <a:pt x="150207" y="146181"/>
                    <a:pt x="150207" y="137174"/>
                    <a:pt x="150207" y="128167"/>
                  </a:cubicBezTo>
                  <a:cubicBezTo>
                    <a:pt x="134864" y="127107"/>
                    <a:pt x="120051" y="124458"/>
                    <a:pt x="106825" y="120220"/>
                  </a:cubicBezTo>
                  <a:close/>
                  <a:moveTo>
                    <a:pt x="259617" y="103988"/>
                  </a:moveTo>
                  <a:cubicBezTo>
                    <a:pt x="250157" y="109775"/>
                    <a:pt x="240173" y="115035"/>
                    <a:pt x="228611" y="118717"/>
                  </a:cubicBezTo>
                  <a:cubicBezTo>
                    <a:pt x="230713" y="129238"/>
                    <a:pt x="232290" y="140810"/>
                    <a:pt x="233341" y="151856"/>
                  </a:cubicBezTo>
                  <a:cubicBezTo>
                    <a:pt x="246479" y="147648"/>
                    <a:pt x="258566" y="141862"/>
                    <a:pt x="269602" y="135024"/>
                  </a:cubicBezTo>
                  <a:cubicBezTo>
                    <a:pt x="267500" y="124503"/>
                    <a:pt x="263821" y="113983"/>
                    <a:pt x="259617" y="103988"/>
                  </a:cubicBezTo>
                  <a:close/>
                  <a:moveTo>
                    <a:pt x="65249" y="99862"/>
                  </a:moveTo>
                  <a:cubicBezTo>
                    <a:pt x="59956" y="111422"/>
                    <a:pt x="55192" y="123507"/>
                    <a:pt x="52545" y="136118"/>
                  </a:cubicBezTo>
                  <a:cubicBezTo>
                    <a:pt x="63661" y="142423"/>
                    <a:pt x="75835" y="148203"/>
                    <a:pt x="89068" y="152407"/>
                  </a:cubicBezTo>
                  <a:cubicBezTo>
                    <a:pt x="90126" y="139796"/>
                    <a:pt x="91714" y="127185"/>
                    <a:pt x="94361" y="115625"/>
                  </a:cubicBezTo>
                  <a:cubicBezTo>
                    <a:pt x="83774" y="111422"/>
                    <a:pt x="73718" y="106167"/>
                    <a:pt x="65249" y="99862"/>
                  </a:cubicBezTo>
                  <a:close/>
                  <a:moveTo>
                    <a:pt x="285381" y="83906"/>
                  </a:moveTo>
                  <a:cubicBezTo>
                    <a:pt x="280663" y="88122"/>
                    <a:pt x="275944" y="92338"/>
                    <a:pt x="270702" y="96554"/>
                  </a:cubicBezTo>
                  <a:cubicBezTo>
                    <a:pt x="275420" y="106567"/>
                    <a:pt x="279090" y="116581"/>
                    <a:pt x="281711" y="127648"/>
                  </a:cubicBezTo>
                  <a:cubicBezTo>
                    <a:pt x="288002" y="122905"/>
                    <a:pt x="293769" y="117635"/>
                    <a:pt x="298487" y="112365"/>
                  </a:cubicBezTo>
                  <a:cubicBezTo>
                    <a:pt x="295342" y="102351"/>
                    <a:pt x="290624" y="92865"/>
                    <a:pt x="285381" y="83906"/>
                  </a:cubicBezTo>
                  <a:close/>
                  <a:moveTo>
                    <a:pt x="39411" y="75928"/>
                  </a:moveTo>
                  <a:cubicBezTo>
                    <a:pt x="32019" y="87020"/>
                    <a:pt x="25683" y="98640"/>
                    <a:pt x="21458" y="111317"/>
                  </a:cubicBezTo>
                  <a:cubicBezTo>
                    <a:pt x="26739" y="117656"/>
                    <a:pt x="33603" y="122938"/>
                    <a:pt x="40995" y="128748"/>
                  </a:cubicBezTo>
                  <a:cubicBezTo>
                    <a:pt x="44163" y="115543"/>
                    <a:pt x="48916" y="103394"/>
                    <a:pt x="54196" y="91774"/>
                  </a:cubicBezTo>
                  <a:cubicBezTo>
                    <a:pt x="48916" y="87020"/>
                    <a:pt x="43635" y="81738"/>
                    <a:pt x="39411" y="75928"/>
                  </a:cubicBezTo>
                  <a:close/>
                  <a:moveTo>
                    <a:pt x="201616" y="73452"/>
                  </a:moveTo>
                  <a:cubicBezTo>
                    <a:pt x="190553" y="76083"/>
                    <a:pt x="178437" y="78187"/>
                    <a:pt x="165267" y="78187"/>
                  </a:cubicBezTo>
                  <a:cubicBezTo>
                    <a:pt x="165267" y="78187"/>
                    <a:pt x="165267" y="78187"/>
                    <a:pt x="164740" y="78187"/>
                  </a:cubicBezTo>
                  <a:cubicBezTo>
                    <a:pt x="164740" y="89762"/>
                    <a:pt x="164214" y="102390"/>
                    <a:pt x="163687" y="115543"/>
                  </a:cubicBezTo>
                  <a:cubicBezTo>
                    <a:pt x="164214" y="115543"/>
                    <a:pt x="164740" y="115543"/>
                    <a:pt x="165267" y="115543"/>
                  </a:cubicBezTo>
                  <a:cubicBezTo>
                    <a:pt x="182125" y="115543"/>
                    <a:pt x="198455" y="113438"/>
                    <a:pt x="213205" y="109756"/>
                  </a:cubicBezTo>
                  <a:cubicBezTo>
                    <a:pt x="210044" y="96602"/>
                    <a:pt x="205830" y="84501"/>
                    <a:pt x="201616" y="73452"/>
                  </a:cubicBezTo>
                  <a:close/>
                  <a:moveTo>
                    <a:pt x="121592" y="70701"/>
                  </a:moveTo>
                  <a:cubicBezTo>
                    <a:pt x="116857" y="81774"/>
                    <a:pt x="113174" y="94429"/>
                    <a:pt x="109491" y="107084"/>
                  </a:cubicBezTo>
                  <a:cubicBezTo>
                    <a:pt x="122119" y="111302"/>
                    <a:pt x="136324" y="113938"/>
                    <a:pt x="150530" y="114993"/>
                  </a:cubicBezTo>
                  <a:cubicBezTo>
                    <a:pt x="151056" y="101811"/>
                    <a:pt x="151582" y="88629"/>
                    <a:pt x="151582" y="77028"/>
                  </a:cubicBezTo>
                  <a:cubicBezTo>
                    <a:pt x="141060" y="75974"/>
                    <a:pt x="131063" y="73865"/>
                    <a:pt x="121592" y="70701"/>
                  </a:cubicBezTo>
                  <a:close/>
                  <a:moveTo>
                    <a:pt x="233321" y="59697"/>
                  </a:moveTo>
                  <a:cubicBezTo>
                    <a:pt x="227511" y="63395"/>
                    <a:pt x="221172" y="66565"/>
                    <a:pt x="214306" y="69207"/>
                  </a:cubicBezTo>
                  <a:cubicBezTo>
                    <a:pt x="218531" y="80302"/>
                    <a:pt x="222757" y="92981"/>
                    <a:pt x="225926" y="106189"/>
                  </a:cubicBezTo>
                  <a:cubicBezTo>
                    <a:pt x="235962" y="102491"/>
                    <a:pt x="245469" y="97736"/>
                    <a:pt x="253921" y="92453"/>
                  </a:cubicBezTo>
                  <a:cubicBezTo>
                    <a:pt x="247582" y="80302"/>
                    <a:pt x="240716" y="69207"/>
                    <a:pt x="233321" y="59697"/>
                  </a:cubicBezTo>
                  <a:close/>
                  <a:moveTo>
                    <a:pt x="92595" y="55846"/>
                  </a:moveTo>
                  <a:cubicBezTo>
                    <a:pt x="85214" y="65360"/>
                    <a:pt x="77832" y="76460"/>
                    <a:pt x="70977" y="88088"/>
                  </a:cubicBezTo>
                  <a:cubicBezTo>
                    <a:pt x="78886" y="93902"/>
                    <a:pt x="87323" y="98660"/>
                    <a:pt x="97341" y="102888"/>
                  </a:cubicBezTo>
                  <a:cubicBezTo>
                    <a:pt x="100505" y="89674"/>
                    <a:pt x="104723" y="76988"/>
                    <a:pt x="108941" y="65360"/>
                  </a:cubicBezTo>
                  <a:cubicBezTo>
                    <a:pt x="103141" y="62717"/>
                    <a:pt x="97341" y="59546"/>
                    <a:pt x="92595" y="55846"/>
                  </a:cubicBezTo>
                  <a:close/>
                  <a:moveTo>
                    <a:pt x="251144" y="44842"/>
                  </a:moveTo>
                  <a:cubicBezTo>
                    <a:pt x="248500" y="47484"/>
                    <a:pt x="246385" y="49598"/>
                    <a:pt x="243742" y="51712"/>
                  </a:cubicBezTo>
                  <a:cubicBezTo>
                    <a:pt x="251144" y="61225"/>
                    <a:pt x="258546" y="72323"/>
                    <a:pt x="264890" y="85007"/>
                  </a:cubicBezTo>
                  <a:cubicBezTo>
                    <a:pt x="269649" y="80779"/>
                    <a:pt x="273878" y="77079"/>
                    <a:pt x="277579" y="72851"/>
                  </a:cubicBezTo>
                  <a:cubicBezTo>
                    <a:pt x="270177" y="62282"/>
                    <a:pt x="261189" y="52769"/>
                    <a:pt x="251144" y="44842"/>
                  </a:cubicBezTo>
                  <a:close/>
                  <a:moveTo>
                    <a:pt x="75908" y="39614"/>
                  </a:moveTo>
                  <a:cubicBezTo>
                    <a:pt x="65327" y="47013"/>
                    <a:pt x="55804" y="55469"/>
                    <a:pt x="47868" y="65510"/>
                  </a:cubicBezTo>
                  <a:cubicBezTo>
                    <a:pt x="51043" y="70795"/>
                    <a:pt x="55804" y="75551"/>
                    <a:pt x="60565" y="79779"/>
                  </a:cubicBezTo>
                  <a:cubicBezTo>
                    <a:pt x="67443" y="67624"/>
                    <a:pt x="74850" y="56526"/>
                    <a:pt x="82256" y="47013"/>
                  </a:cubicBezTo>
                  <a:cubicBezTo>
                    <a:pt x="80140" y="44899"/>
                    <a:pt x="78024" y="42257"/>
                    <a:pt x="75908" y="39614"/>
                  </a:cubicBezTo>
                  <a:close/>
                  <a:moveTo>
                    <a:pt x="224484" y="28060"/>
                  </a:moveTo>
                  <a:cubicBezTo>
                    <a:pt x="228150" y="32293"/>
                    <a:pt x="231815" y="36525"/>
                    <a:pt x="236003" y="41815"/>
                  </a:cubicBezTo>
                  <a:cubicBezTo>
                    <a:pt x="237574" y="40228"/>
                    <a:pt x="239145" y="38641"/>
                    <a:pt x="240716" y="37583"/>
                  </a:cubicBezTo>
                  <a:cubicBezTo>
                    <a:pt x="235480" y="33880"/>
                    <a:pt x="230244" y="31234"/>
                    <a:pt x="224484" y="28060"/>
                  </a:cubicBezTo>
                  <a:close/>
                  <a:moveTo>
                    <a:pt x="101238" y="25309"/>
                  </a:moveTo>
                  <a:cubicBezTo>
                    <a:pt x="95940" y="27410"/>
                    <a:pt x="91172" y="30036"/>
                    <a:pt x="86933" y="32662"/>
                  </a:cubicBezTo>
                  <a:cubicBezTo>
                    <a:pt x="87993" y="34237"/>
                    <a:pt x="89582" y="35288"/>
                    <a:pt x="90642" y="36863"/>
                  </a:cubicBezTo>
                  <a:cubicBezTo>
                    <a:pt x="94350" y="32662"/>
                    <a:pt x="97529" y="28985"/>
                    <a:pt x="101238" y="25309"/>
                  </a:cubicBezTo>
                  <a:close/>
                  <a:moveTo>
                    <a:pt x="189546" y="16506"/>
                  </a:moveTo>
                  <a:cubicBezTo>
                    <a:pt x="195332" y="25959"/>
                    <a:pt x="202695" y="39614"/>
                    <a:pt x="209532" y="56946"/>
                  </a:cubicBezTo>
                  <a:cubicBezTo>
                    <a:pt x="215317" y="54845"/>
                    <a:pt x="220576" y="52219"/>
                    <a:pt x="225310" y="49068"/>
                  </a:cubicBezTo>
                  <a:cubicBezTo>
                    <a:pt x="210584" y="31736"/>
                    <a:pt x="197961" y="20707"/>
                    <a:pt x="194280" y="17556"/>
                  </a:cubicBezTo>
                  <a:cubicBezTo>
                    <a:pt x="192702" y="17031"/>
                    <a:pt x="191124" y="16506"/>
                    <a:pt x="189546" y="16506"/>
                  </a:cubicBezTo>
                  <a:close/>
                  <a:moveTo>
                    <a:pt x="132600" y="15955"/>
                  </a:moveTo>
                  <a:cubicBezTo>
                    <a:pt x="131554" y="15955"/>
                    <a:pt x="130507" y="15955"/>
                    <a:pt x="128938" y="16483"/>
                  </a:cubicBezTo>
                  <a:cubicBezTo>
                    <a:pt x="128938" y="17010"/>
                    <a:pt x="115859" y="27556"/>
                    <a:pt x="100688" y="46010"/>
                  </a:cubicBezTo>
                  <a:cubicBezTo>
                    <a:pt x="104873" y="48647"/>
                    <a:pt x="109058" y="51283"/>
                    <a:pt x="114290" y="53920"/>
                  </a:cubicBezTo>
                  <a:cubicBezTo>
                    <a:pt x="121091" y="37574"/>
                    <a:pt x="127892" y="24919"/>
                    <a:pt x="132600" y="15955"/>
                  </a:cubicBezTo>
                  <a:close/>
                  <a:moveTo>
                    <a:pt x="167974" y="13204"/>
                  </a:moveTo>
                  <a:cubicBezTo>
                    <a:pt x="167447" y="22704"/>
                    <a:pt x="166392" y="40647"/>
                    <a:pt x="165337" y="64924"/>
                  </a:cubicBezTo>
                  <a:cubicBezTo>
                    <a:pt x="176410" y="64924"/>
                    <a:pt x="186956" y="63341"/>
                    <a:pt x="196974" y="60702"/>
                  </a:cubicBezTo>
                  <a:cubicBezTo>
                    <a:pt x="187483" y="38009"/>
                    <a:pt x="177465" y="21121"/>
                    <a:pt x="173247" y="13732"/>
                  </a:cubicBezTo>
                  <a:cubicBezTo>
                    <a:pt x="171665" y="13732"/>
                    <a:pt x="169556" y="13732"/>
                    <a:pt x="167974" y="13204"/>
                  </a:cubicBezTo>
                  <a:close/>
                  <a:moveTo>
                    <a:pt x="149585" y="13204"/>
                  </a:moveTo>
                  <a:cubicBezTo>
                    <a:pt x="145346" y="20059"/>
                    <a:pt x="135810" y="36405"/>
                    <a:pt x="126273" y="58551"/>
                  </a:cubicBezTo>
                  <a:cubicBezTo>
                    <a:pt x="134220" y="61187"/>
                    <a:pt x="143227" y="63296"/>
                    <a:pt x="152764" y="63823"/>
                  </a:cubicBezTo>
                  <a:cubicBezTo>
                    <a:pt x="153294" y="40623"/>
                    <a:pt x="154354" y="22696"/>
                    <a:pt x="154883" y="13204"/>
                  </a:cubicBezTo>
                  <a:cubicBezTo>
                    <a:pt x="153294" y="13204"/>
                    <a:pt x="151175" y="13204"/>
                    <a:pt x="149585" y="13204"/>
                  </a:cubicBezTo>
                  <a:close/>
                  <a:moveTo>
                    <a:pt x="160099" y="0"/>
                  </a:moveTo>
                  <a:cubicBezTo>
                    <a:pt x="192750" y="0"/>
                    <a:pt x="222769" y="10024"/>
                    <a:pt x="248047" y="26906"/>
                  </a:cubicBezTo>
                  <a:cubicBezTo>
                    <a:pt x="251734" y="29017"/>
                    <a:pt x="255420" y="31655"/>
                    <a:pt x="259107" y="34293"/>
                  </a:cubicBezTo>
                  <a:cubicBezTo>
                    <a:pt x="269113" y="42206"/>
                    <a:pt x="278066" y="51703"/>
                    <a:pt x="285965" y="61727"/>
                  </a:cubicBezTo>
                  <a:cubicBezTo>
                    <a:pt x="288598" y="65420"/>
                    <a:pt x="291232" y="69113"/>
                    <a:pt x="293865" y="72806"/>
                  </a:cubicBezTo>
                  <a:cubicBezTo>
                    <a:pt x="299658" y="81775"/>
                    <a:pt x="304398" y="90744"/>
                    <a:pt x="308084" y="100768"/>
                  </a:cubicBezTo>
                  <a:cubicBezTo>
                    <a:pt x="310191" y="105516"/>
                    <a:pt x="311771" y="110264"/>
                    <a:pt x="313350" y="115013"/>
                  </a:cubicBezTo>
                  <a:cubicBezTo>
                    <a:pt x="317564" y="128730"/>
                    <a:pt x="319670" y="142975"/>
                    <a:pt x="319670" y="157747"/>
                  </a:cubicBezTo>
                  <a:cubicBezTo>
                    <a:pt x="319670" y="158275"/>
                    <a:pt x="319670" y="159330"/>
                    <a:pt x="319670" y="160385"/>
                  </a:cubicBezTo>
                  <a:cubicBezTo>
                    <a:pt x="319670" y="165661"/>
                    <a:pt x="319670" y="170937"/>
                    <a:pt x="319144" y="176212"/>
                  </a:cubicBezTo>
                  <a:cubicBezTo>
                    <a:pt x="317037" y="196260"/>
                    <a:pt x="311244" y="215253"/>
                    <a:pt x="302291" y="232664"/>
                  </a:cubicBezTo>
                  <a:cubicBezTo>
                    <a:pt x="298605" y="240577"/>
                    <a:pt x="293865" y="247964"/>
                    <a:pt x="288598" y="254822"/>
                  </a:cubicBezTo>
                  <a:cubicBezTo>
                    <a:pt x="259633" y="294391"/>
                    <a:pt x="212763" y="320242"/>
                    <a:pt x="160099" y="320242"/>
                  </a:cubicBezTo>
                  <a:cubicBezTo>
                    <a:pt x="159572" y="320242"/>
                    <a:pt x="159572" y="320242"/>
                    <a:pt x="159572" y="320242"/>
                  </a:cubicBezTo>
                  <a:cubicBezTo>
                    <a:pt x="159572" y="320242"/>
                    <a:pt x="159572" y="320242"/>
                    <a:pt x="155359" y="320770"/>
                  </a:cubicBezTo>
                  <a:cubicBezTo>
                    <a:pt x="155359" y="320770"/>
                    <a:pt x="155359" y="320242"/>
                    <a:pt x="155359" y="320242"/>
                  </a:cubicBezTo>
                  <a:cubicBezTo>
                    <a:pt x="101642" y="318660"/>
                    <a:pt x="54244" y="290698"/>
                    <a:pt x="26332" y="248491"/>
                  </a:cubicBezTo>
                  <a:cubicBezTo>
                    <a:pt x="21593" y="241105"/>
                    <a:pt x="17379" y="233191"/>
                    <a:pt x="13693" y="225278"/>
                  </a:cubicBezTo>
                  <a:cubicBezTo>
                    <a:pt x="6847" y="209450"/>
                    <a:pt x="2107" y="192567"/>
                    <a:pt x="527" y="174630"/>
                  </a:cubicBezTo>
                  <a:cubicBezTo>
                    <a:pt x="0" y="169881"/>
                    <a:pt x="0" y="165133"/>
                    <a:pt x="0" y="160385"/>
                  </a:cubicBezTo>
                  <a:cubicBezTo>
                    <a:pt x="0" y="158802"/>
                    <a:pt x="0" y="157219"/>
                    <a:pt x="0" y="156164"/>
                  </a:cubicBezTo>
                  <a:cubicBezTo>
                    <a:pt x="527" y="141392"/>
                    <a:pt x="2634" y="127147"/>
                    <a:pt x="6847" y="113958"/>
                  </a:cubicBezTo>
                  <a:cubicBezTo>
                    <a:pt x="8427" y="108682"/>
                    <a:pt x="10006" y="103934"/>
                    <a:pt x="12113" y="99185"/>
                  </a:cubicBezTo>
                  <a:cubicBezTo>
                    <a:pt x="17379" y="86523"/>
                    <a:pt x="23699" y="74916"/>
                    <a:pt x="32125" y="64365"/>
                  </a:cubicBezTo>
                  <a:cubicBezTo>
                    <a:pt x="34758" y="60144"/>
                    <a:pt x="37918" y="56451"/>
                    <a:pt x="41078" y="52758"/>
                  </a:cubicBezTo>
                  <a:cubicBezTo>
                    <a:pt x="49505" y="43789"/>
                    <a:pt x="58984" y="35348"/>
                    <a:pt x="68990" y="28489"/>
                  </a:cubicBezTo>
                  <a:cubicBezTo>
                    <a:pt x="72677" y="25851"/>
                    <a:pt x="76363" y="23213"/>
                    <a:pt x="80576" y="21103"/>
                  </a:cubicBezTo>
                  <a:cubicBezTo>
                    <a:pt x="103748" y="7913"/>
                    <a:pt x="131133" y="0"/>
                    <a:pt x="160099" y="0"/>
                  </a:cubicBezTo>
                  <a:close/>
                </a:path>
              </a:pathLst>
            </a:custGeom>
            <a:grpFill/>
            <a:ln>
              <a:noFill/>
            </a:ln>
            <a:extLst/>
          </p:spPr>
          <p:txBody>
            <a:bodyPr vert="horz" wrap="square" lIns="91403" tIns="45701" rIns="91403" bIns="45701" numCol="1" anchor="t" anchorCtr="0" compatLnSpc="1">
              <a:prstTxWarp prst="textNoShape">
                <a:avLst/>
              </a:prstTxWarp>
              <a:noAutofit/>
            </a:bodyPr>
            <a:lstStyle/>
            <a:p>
              <a:pPr defTabSz="896203"/>
              <a:endParaRPr lang="en-US" sz="1799" kern="0" dirty="0">
                <a:solidFill>
                  <a:sysClr val="windowText" lastClr="000000"/>
                </a:solidFill>
              </a:endParaRPr>
            </a:p>
          </p:txBody>
        </p:sp>
        <p:sp>
          <p:nvSpPr>
            <p:cNvPr id="211" name="Freeform 210"/>
            <p:cNvSpPr>
              <a:spLocks/>
            </p:cNvSpPr>
            <p:nvPr/>
          </p:nvSpPr>
          <p:spPr bwMode="auto">
            <a:xfrm>
              <a:off x="5007615" y="2323753"/>
              <a:ext cx="649029" cy="502032"/>
            </a:xfrm>
            <a:custGeom>
              <a:avLst/>
              <a:gdLst>
                <a:gd name="connsiteX0" fmla="*/ 33287 w 649029"/>
                <a:gd name="connsiteY0" fmla="*/ 88963 h 502032"/>
                <a:gd name="connsiteX1" fmla="*/ 21098 w 649029"/>
                <a:gd name="connsiteY1" fmla="*/ 102250 h 502032"/>
                <a:gd name="connsiteX2" fmla="*/ 21098 w 649029"/>
                <a:gd name="connsiteY2" fmla="*/ 467370 h 502032"/>
                <a:gd name="connsiteX3" fmla="*/ 33287 w 649029"/>
                <a:gd name="connsiteY3" fmla="*/ 480657 h 502032"/>
                <a:gd name="connsiteX4" fmla="*/ 615742 w 649029"/>
                <a:gd name="connsiteY4" fmla="*/ 480657 h 502032"/>
                <a:gd name="connsiteX5" fmla="*/ 627932 w 649029"/>
                <a:gd name="connsiteY5" fmla="*/ 467370 h 502032"/>
                <a:gd name="connsiteX6" fmla="*/ 627932 w 649029"/>
                <a:gd name="connsiteY6" fmla="*/ 102250 h 502032"/>
                <a:gd name="connsiteX7" fmla="*/ 615742 w 649029"/>
                <a:gd name="connsiteY7" fmla="*/ 88963 h 502032"/>
                <a:gd name="connsiteX8" fmla="*/ 71744 w 649029"/>
                <a:gd name="connsiteY8" fmla="*/ 21375 h 502032"/>
                <a:gd name="connsiteX9" fmla="*/ 61676 w 649029"/>
                <a:gd name="connsiteY9" fmla="*/ 31460 h 502032"/>
                <a:gd name="connsiteX10" fmla="*/ 61676 w 649029"/>
                <a:gd name="connsiteY10" fmla="*/ 67588 h 502032"/>
                <a:gd name="connsiteX11" fmla="*/ 281061 w 649029"/>
                <a:gd name="connsiteY11" fmla="*/ 67588 h 502032"/>
                <a:gd name="connsiteX12" fmla="*/ 281061 w 649029"/>
                <a:gd name="connsiteY12" fmla="*/ 31460 h 502032"/>
                <a:gd name="connsiteX13" fmla="*/ 270993 w 649029"/>
                <a:gd name="connsiteY13" fmla="*/ 21375 h 502032"/>
                <a:gd name="connsiteX14" fmla="*/ 71826 w 649029"/>
                <a:gd name="connsiteY14" fmla="*/ 0 h 502032"/>
                <a:gd name="connsiteX15" fmla="*/ 271010 w 649029"/>
                <a:gd name="connsiteY15" fmla="*/ 0 h 502032"/>
                <a:gd name="connsiteX16" fmla="*/ 302265 w 649029"/>
                <a:gd name="connsiteY16" fmla="*/ 31399 h 502032"/>
                <a:gd name="connsiteX17" fmla="*/ 302265 w 649029"/>
                <a:gd name="connsiteY17" fmla="*/ 59604 h 502032"/>
                <a:gd name="connsiteX18" fmla="*/ 614285 w 649029"/>
                <a:gd name="connsiteY18" fmla="*/ 59604 h 502032"/>
                <a:gd name="connsiteX19" fmla="*/ 625873 w 649029"/>
                <a:gd name="connsiteY19" fmla="*/ 64461 h 502032"/>
                <a:gd name="connsiteX20" fmla="*/ 629657 w 649029"/>
                <a:gd name="connsiteY20" fmla="*/ 73573 h 502032"/>
                <a:gd name="connsiteX21" fmla="*/ 639294 w 649029"/>
                <a:gd name="connsiteY21" fmla="*/ 77692 h 502032"/>
                <a:gd name="connsiteX22" fmla="*/ 649029 w 649029"/>
                <a:gd name="connsiteY22" fmla="*/ 102152 h 502032"/>
                <a:gd name="connsiteX23" fmla="*/ 649029 w 649029"/>
                <a:gd name="connsiteY23" fmla="*/ 467468 h 502032"/>
                <a:gd name="connsiteX24" fmla="*/ 615651 w 649029"/>
                <a:gd name="connsiteY24" fmla="*/ 502032 h 502032"/>
                <a:gd name="connsiteX25" fmla="*/ 33379 w 649029"/>
                <a:gd name="connsiteY25" fmla="*/ 502032 h 502032"/>
                <a:gd name="connsiteX26" fmla="*/ 0 w 649029"/>
                <a:gd name="connsiteY26" fmla="*/ 467468 h 502032"/>
                <a:gd name="connsiteX27" fmla="*/ 0 w 649029"/>
                <a:gd name="connsiteY27" fmla="*/ 102152 h 502032"/>
                <a:gd name="connsiteX28" fmla="*/ 9735 w 649029"/>
                <a:gd name="connsiteY28" fmla="*/ 77692 h 502032"/>
                <a:gd name="connsiteX29" fmla="*/ 19371 w 649029"/>
                <a:gd name="connsiteY29" fmla="*/ 73574 h 502032"/>
                <a:gd name="connsiteX30" fmla="*/ 23155 w 649029"/>
                <a:gd name="connsiteY30" fmla="*/ 64461 h 502032"/>
                <a:gd name="connsiteX31" fmla="*/ 34744 w 649029"/>
                <a:gd name="connsiteY31" fmla="*/ 59604 h 502032"/>
                <a:gd name="connsiteX32" fmla="*/ 40571 w 649029"/>
                <a:gd name="connsiteY32" fmla="*/ 59604 h 502032"/>
                <a:gd name="connsiteX33" fmla="*/ 40571 w 649029"/>
                <a:gd name="connsiteY33" fmla="*/ 31399 h 502032"/>
                <a:gd name="connsiteX34" fmla="*/ 71826 w 649029"/>
                <a:gd name="connsiteY34" fmla="*/ 0 h 502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49029" h="502032">
                  <a:moveTo>
                    <a:pt x="33287" y="88963"/>
                  </a:moveTo>
                  <a:cubicBezTo>
                    <a:pt x="26398" y="88963"/>
                    <a:pt x="21098" y="94809"/>
                    <a:pt x="21098" y="102250"/>
                  </a:cubicBezTo>
                  <a:lnTo>
                    <a:pt x="21098" y="467370"/>
                  </a:lnTo>
                  <a:cubicBezTo>
                    <a:pt x="21098" y="474811"/>
                    <a:pt x="26398" y="480657"/>
                    <a:pt x="33287" y="480657"/>
                  </a:cubicBezTo>
                  <a:lnTo>
                    <a:pt x="615742" y="480657"/>
                  </a:lnTo>
                  <a:cubicBezTo>
                    <a:pt x="622632" y="480657"/>
                    <a:pt x="627932" y="474811"/>
                    <a:pt x="627932" y="467370"/>
                  </a:cubicBezTo>
                  <a:lnTo>
                    <a:pt x="627932" y="102250"/>
                  </a:lnTo>
                  <a:cubicBezTo>
                    <a:pt x="627932" y="94809"/>
                    <a:pt x="622632" y="88963"/>
                    <a:pt x="615742" y="88963"/>
                  </a:cubicBezTo>
                  <a:close/>
                  <a:moveTo>
                    <a:pt x="71744" y="21375"/>
                  </a:moveTo>
                  <a:cubicBezTo>
                    <a:pt x="66445" y="21375"/>
                    <a:pt x="61676" y="26152"/>
                    <a:pt x="61676" y="31460"/>
                  </a:cubicBezTo>
                  <a:lnTo>
                    <a:pt x="61676" y="67588"/>
                  </a:lnTo>
                  <a:lnTo>
                    <a:pt x="281061" y="67588"/>
                  </a:lnTo>
                  <a:lnTo>
                    <a:pt x="281061" y="31460"/>
                  </a:lnTo>
                  <a:cubicBezTo>
                    <a:pt x="281061" y="26152"/>
                    <a:pt x="276292" y="21375"/>
                    <a:pt x="270993" y="21375"/>
                  </a:cubicBezTo>
                  <a:close/>
                  <a:moveTo>
                    <a:pt x="71826" y="0"/>
                  </a:moveTo>
                  <a:lnTo>
                    <a:pt x="271010" y="0"/>
                  </a:lnTo>
                  <a:cubicBezTo>
                    <a:pt x="287962" y="0"/>
                    <a:pt x="302265" y="14369"/>
                    <a:pt x="302265" y="31399"/>
                  </a:cubicBezTo>
                  <a:lnTo>
                    <a:pt x="302265" y="59604"/>
                  </a:lnTo>
                  <a:lnTo>
                    <a:pt x="614285" y="59604"/>
                  </a:lnTo>
                  <a:cubicBezTo>
                    <a:pt x="618788" y="59604"/>
                    <a:pt x="622894" y="61467"/>
                    <a:pt x="625873" y="64461"/>
                  </a:cubicBezTo>
                  <a:lnTo>
                    <a:pt x="629657" y="73573"/>
                  </a:lnTo>
                  <a:lnTo>
                    <a:pt x="639294" y="77692"/>
                  </a:lnTo>
                  <a:cubicBezTo>
                    <a:pt x="645320" y="83940"/>
                    <a:pt x="649029" y="92581"/>
                    <a:pt x="649029" y="102152"/>
                  </a:cubicBezTo>
                  <a:lnTo>
                    <a:pt x="649029" y="467468"/>
                  </a:lnTo>
                  <a:cubicBezTo>
                    <a:pt x="649029" y="486611"/>
                    <a:pt x="634194" y="502032"/>
                    <a:pt x="615651" y="502032"/>
                  </a:cubicBezTo>
                  <a:lnTo>
                    <a:pt x="33379" y="502032"/>
                  </a:lnTo>
                  <a:cubicBezTo>
                    <a:pt x="14835" y="502032"/>
                    <a:pt x="0" y="486611"/>
                    <a:pt x="0" y="467468"/>
                  </a:cubicBezTo>
                  <a:lnTo>
                    <a:pt x="0" y="102152"/>
                  </a:lnTo>
                  <a:cubicBezTo>
                    <a:pt x="0" y="92581"/>
                    <a:pt x="3709" y="83940"/>
                    <a:pt x="9735" y="77692"/>
                  </a:cubicBezTo>
                  <a:lnTo>
                    <a:pt x="19371" y="73574"/>
                  </a:lnTo>
                  <a:lnTo>
                    <a:pt x="23155" y="64461"/>
                  </a:lnTo>
                  <a:cubicBezTo>
                    <a:pt x="26135" y="61467"/>
                    <a:pt x="30241" y="59604"/>
                    <a:pt x="34744" y="59604"/>
                  </a:cubicBezTo>
                  <a:lnTo>
                    <a:pt x="40571" y="59604"/>
                  </a:lnTo>
                  <a:lnTo>
                    <a:pt x="40571" y="31399"/>
                  </a:lnTo>
                  <a:cubicBezTo>
                    <a:pt x="40571" y="14369"/>
                    <a:pt x="54344" y="0"/>
                    <a:pt x="718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noAutofit/>
            </a:bodyPr>
            <a:lstStyle/>
            <a:p>
              <a:pPr defTabSz="896203"/>
              <a:endParaRPr lang="en-US" sz="1799" kern="0" dirty="0">
                <a:solidFill>
                  <a:sysClr val="windowText" lastClr="000000"/>
                </a:solidFill>
              </a:endParaRPr>
            </a:p>
          </p:txBody>
        </p:sp>
      </p:grpSp>
      <p:grpSp>
        <p:nvGrpSpPr>
          <p:cNvPr id="212" name="Group 211"/>
          <p:cNvGrpSpPr/>
          <p:nvPr/>
        </p:nvGrpSpPr>
        <p:grpSpPr>
          <a:xfrm>
            <a:off x="2840477" y="1740661"/>
            <a:ext cx="750586" cy="2730989"/>
            <a:chOff x="-4887913" y="2606675"/>
            <a:chExt cx="750888" cy="2732088"/>
          </a:xfrm>
          <a:solidFill>
            <a:schemeClr val="accent1"/>
          </a:solidFill>
        </p:grpSpPr>
        <p:sp>
          <p:nvSpPr>
            <p:cNvPr id="213" name="Freeform 5"/>
            <p:cNvSpPr>
              <a:spLocks/>
            </p:cNvSpPr>
            <p:nvPr/>
          </p:nvSpPr>
          <p:spPr bwMode="auto">
            <a:xfrm>
              <a:off x="-4884738" y="2606675"/>
              <a:ext cx="282575" cy="2732088"/>
            </a:xfrm>
            <a:custGeom>
              <a:avLst/>
              <a:gdLst>
                <a:gd name="T0" fmla="*/ 300 w 356"/>
                <a:gd name="T1" fmla="*/ 3442 h 3442"/>
                <a:gd name="T2" fmla="*/ 17 w 356"/>
                <a:gd name="T3" fmla="*/ 3442 h 3442"/>
                <a:gd name="T4" fmla="*/ 17 w 356"/>
                <a:gd name="T5" fmla="*/ 3442 h 3442"/>
                <a:gd name="T6" fmla="*/ 11 w 356"/>
                <a:gd name="T7" fmla="*/ 3441 h 3442"/>
                <a:gd name="T8" fmla="*/ 5 w 356"/>
                <a:gd name="T9" fmla="*/ 3436 h 3442"/>
                <a:gd name="T10" fmla="*/ 2 w 356"/>
                <a:gd name="T11" fmla="*/ 3432 h 3442"/>
                <a:gd name="T12" fmla="*/ 0 w 356"/>
                <a:gd name="T13" fmla="*/ 3424 h 3442"/>
                <a:gd name="T14" fmla="*/ 0 w 356"/>
                <a:gd name="T15" fmla="*/ 3424 h 3442"/>
                <a:gd name="T16" fmla="*/ 2 w 356"/>
                <a:gd name="T17" fmla="*/ 3418 h 3442"/>
                <a:gd name="T18" fmla="*/ 5 w 356"/>
                <a:gd name="T19" fmla="*/ 3414 h 3442"/>
                <a:gd name="T20" fmla="*/ 11 w 356"/>
                <a:gd name="T21" fmla="*/ 3410 h 3442"/>
                <a:gd name="T22" fmla="*/ 17 w 356"/>
                <a:gd name="T23" fmla="*/ 3408 h 3442"/>
                <a:gd name="T24" fmla="*/ 300 w 356"/>
                <a:gd name="T25" fmla="*/ 3408 h 3442"/>
                <a:gd name="T26" fmla="*/ 300 w 356"/>
                <a:gd name="T27" fmla="*/ 3408 h 3442"/>
                <a:gd name="T28" fmla="*/ 304 w 356"/>
                <a:gd name="T29" fmla="*/ 3408 h 3442"/>
                <a:gd name="T30" fmla="*/ 309 w 356"/>
                <a:gd name="T31" fmla="*/ 3407 h 3442"/>
                <a:gd name="T32" fmla="*/ 316 w 356"/>
                <a:gd name="T33" fmla="*/ 3402 h 3442"/>
                <a:gd name="T34" fmla="*/ 322 w 356"/>
                <a:gd name="T35" fmla="*/ 3395 h 3442"/>
                <a:gd name="T36" fmla="*/ 324 w 356"/>
                <a:gd name="T37" fmla="*/ 3391 h 3442"/>
                <a:gd name="T38" fmla="*/ 324 w 356"/>
                <a:gd name="T39" fmla="*/ 3385 h 3442"/>
                <a:gd name="T40" fmla="*/ 324 w 356"/>
                <a:gd name="T41" fmla="*/ 56 h 3442"/>
                <a:gd name="T42" fmla="*/ 324 w 356"/>
                <a:gd name="T43" fmla="*/ 56 h 3442"/>
                <a:gd name="T44" fmla="*/ 324 w 356"/>
                <a:gd name="T45" fmla="*/ 51 h 3442"/>
                <a:gd name="T46" fmla="*/ 322 w 356"/>
                <a:gd name="T47" fmla="*/ 47 h 3442"/>
                <a:gd name="T48" fmla="*/ 316 w 356"/>
                <a:gd name="T49" fmla="*/ 40 h 3442"/>
                <a:gd name="T50" fmla="*/ 309 w 356"/>
                <a:gd name="T51" fmla="*/ 35 h 3442"/>
                <a:gd name="T52" fmla="*/ 304 w 356"/>
                <a:gd name="T53" fmla="*/ 34 h 3442"/>
                <a:gd name="T54" fmla="*/ 300 w 356"/>
                <a:gd name="T55" fmla="*/ 32 h 3442"/>
                <a:gd name="T56" fmla="*/ 17 w 356"/>
                <a:gd name="T57" fmla="*/ 32 h 3442"/>
                <a:gd name="T58" fmla="*/ 17 w 356"/>
                <a:gd name="T59" fmla="*/ 32 h 3442"/>
                <a:gd name="T60" fmla="*/ 11 w 356"/>
                <a:gd name="T61" fmla="*/ 32 h 3442"/>
                <a:gd name="T62" fmla="*/ 5 w 356"/>
                <a:gd name="T63" fmla="*/ 28 h 3442"/>
                <a:gd name="T64" fmla="*/ 2 w 356"/>
                <a:gd name="T65" fmla="*/ 24 h 3442"/>
                <a:gd name="T66" fmla="*/ 0 w 356"/>
                <a:gd name="T67" fmla="*/ 16 h 3442"/>
                <a:gd name="T68" fmla="*/ 0 w 356"/>
                <a:gd name="T69" fmla="*/ 16 h 3442"/>
                <a:gd name="T70" fmla="*/ 2 w 356"/>
                <a:gd name="T71" fmla="*/ 10 h 3442"/>
                <a:gd name="T72" fmla="*/ 5 w 356"/>
                <a:gd name="T73" fmla="*/ 4 h 3442"/>
                <a:gd name="T74" fmla="*/ 11 w 356"/>
                <a:gd name="T75" fmla="*/ 1 h 3442"/>
                <a:gd name="T76" fmla="*/ 17 w 356"/>
                <a:gd name="T77" fmla="*/ 0 h 3442"/>
                <a:gd name="T78" fmla="*/ 300 w 356"/>
                <a:gd name="T79" fmla="*/ 0 h 3442"/>
                <a:gd name="T80" fmla="*/ 300 w 356"/>
                <a:gd name="T81" fmla="*/ 0 h 3442"/>
                <a:gd name="T82" fmla="*/ 312 w 356"/>
                <a:gd name="T83" fmla="*/ 1 h 3442"/>
                <a:gd name="T84" fmla="*/ 322 w 356"/>
                <a:gd name="T85" fmla="*/ 4 h 3442"/>
                <a:gd name="T86" fmla="*/ 331 w 356"/>
                <a:gd name="T87" fmla="*/ 9 h 3442"/>
                <a:gd name="T88" fmla="*/ 340 w 356"/>
                <a:gd name="T89" fmla="*/ 16 h 3442"/>
                <a:gd name="T90" fmla="*/ 347 w 356"/>
                <a:gd name="T91" fmla="*/ 25 h 3442"/>
                <a:gd name="T92" fmla="*/ 351 w 356"/>
                <a:gd name="T93" fmla="*/ 34 h 3442"/>
                <a:gd name="T94" fmla="*/ 356 w 356"/>
                <a:gd name="T95" fmla="*/ 44 h 3442"/>
                <a:gd name="T96" fmla="*/ 356 w 356"/>
                <a:gd name="T97" fmla="*/ 56 h 3442"/>
                <a:gd name="T98" fmla="*/ 356 w 356"/>
                <a:gd name="T99" fmla="*/ 3385 h 3442"/>
                <a:gd name="T100" fmla="*/ 356 w 356"/>
                <a:gd name="T101" fmla="*/ 3385 h 3442"/>
                <a:gd name="T102" fmla="*/ 356 w 356"/>
                <a:gd name="T103" fmla="*/ 3396 h 3442"/>
                <a:gd name="T104" fmla="*/ 351 w 356"/>
                <a:gd name="T105" fmla="*/ 3407 h 3442"/>
                <a:gd name="T106" fmla="*/ 347 w 356"/>
                <a:gd name="T107" fmla="*/ 3417 h 3442"/>
                <a:gd name="T108" fmla="*/ 340 w 356"/>
                <a:gd name="T109" fmla="*/ 3424 h 3442"/>
                <a:gd name="T110" fmla="*/ 331 w 356"/>
                <a:gd name="T111" fmla="*/ 3432 h 3442"/>
                <a:gd name="T112" fmla="*/ 322 w 356"/>
                <a:gd name="T113" fmla="*/ 3438 h 3442"/>
                <a:gd name="T114" fmla="*/ 312 w 356"/>
                <a:gd name="T115" fmla="*/ 3441 h 3442"/>
                <a:gd name="T116" fmla="*/ 300 w 356"/>
                <a:gd name="T117" fmla="*/ 3442 h 3442"/>
                <a:gd name="T118" fmla="*/ 300 w 356"/>
                <a:gd name="T119" fmla="*/ 3442 h 3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6" h="3442">
                  <a:moveTo>
                    <a:pt x="300" y="3442"/>
                  </a:moveTo>
                  <a:lnTo>
                    <a:pt x="17" y="3442"/>
                  </a:lnTo>
                  <a:lnTo>
                    <a:pt x="17" y="3442"/>
                  </a:lnTo>
                  <a:lnTo>
                    <a:pt x="11" y="3441"/>
                  </a:lnTo>
                  <a:lnTo>
                    <a:pt x="5" y="3436"/>
                  </a:lnTo>
                  <a:lnTo>
                    <a:pt x="2" y="3432"/>
                  </a:lnTo>
                  <a:lnTo>
                    <a:pt x="0" y="3424"/>
                  </a:lnTo>
                  <a:lnTo>
                    <a:pt x="0" y="3424"/>
                  </a:lnTo>
                  <a:lnTo>
                    <a:pt x="2" y="3418"/>
                  </a:lnTo>
                  <a:lnTo>
                    <a:pt x="5" y="3414"/>
                  </a:lnTo>
                  <a:lnTo>
                    <a:pt x="11" y="3410"/>
                  </a:lnTo>
                  <a:lnTo>
                    <a:pt x="17" y="3408"/>
                  </a:lnTo>
                  <a:lnTo>
                    <a:pt x="300" y="3408"/>
                  </a:lnTo>
                  <a:lnTo>
                    <a:pt x="300" y="3408"/>
                  </a:lnTo>
                  <a:lnTo>
                    <a:pt x="304" y="3408"/>
                  </a:lnTo>
                  <a:lnTo>
                    <a:pt x="309" y="3407"/>
                  </a:lnTo>
                  <a:lnTo>
                    <a:pt x="316" y="3402"/>
                  </a:lnTo>
                  <a:lnTo>
                    <a:pt x="322" y="3395"/>
                  </a:lnTo>
                  <a:lnTo>
                    <a:pt x="324" y="3391"/>
                  </a:lnTo>
                  <a:lnTo>
                    <a:pt x="324" y="3385"/>
                  </a:lnTo>
                  <a:lnTo>
                    <a:pt x="324" y="56"/>
                  </a:lnTo>
                  <a:lnTo>
                    <a:pt x="324" y="56"/>
                  </a:lnTo>
                  <a:lnTo>
                    <a:pt x="324" y="51"/>
                  </a:lnTo>
                  <a:lnTo>
                    <a:pt x="322" y="47"/>
                  </a:lnTo>
                  <a:lnTo>
                    <a:pt x="316" y="40"/>
                  </a:lnTo>
                  <a:lnTo>
                    <a:pt x="309" y="35"/>
                  </a:lnTo>
                  <a:lnTo>
                    <a:pt x="304" y="34"/>
                  </a:lnTo>
                  <a:lnTo>
                    <a:pt x="300" y="32"/>
                  </a:lnTo>
                  <a:lnTo>
                    <a:pt x="17" y="32"/>
                  </a:lnTo>
                  <a:lnTo>
                    <a:pt x="17" y="32"/>
                  </a:lnTo>
                  <a:lnTo>
                    <a:pt x="11" y="32"/>
                  </a:lnTo>
                  <a:lnTo>
                    <a:pt x="5" y="28"/>
                  </a:lnTo>
                  <a:lnTo>
                    <a:pt x="2" y="24"/>
                  </a:lnTo>
                  <a:lnTo>
                    <a:pt x="0" y="16"/>
                  </a:lnTo>
                  <a:lnTo>
                    <a:pt x="0" y="16"/>
                  </a:lnTo>
                  <a:lnTo>
                    <a:pt x="2" y="10"/>
                  </a:lnTo>
                  <a:lnTo>
                    <a:pt x="5" y="4"/>
                  </a:lnTo>
                  <a:lnTo>
                    <a:pt x="11" y="1"/>
                  </a:lnTo>
                  <a:lnTo>
                    <a:pt x="17" y="0"/>
                  </a:lnTo>
                  <a:lnTo>
                    <a:pt x="300" y="0"/>
                  </a:lnTo>
                  <a:lnTo>
                    <a:pt x="300" y="0"/>
                  </a:lnTo>
                  <a:lnTo>
                    <a:pt x="312" y="1"/>
                  </a:lnTo>
                  <a:lnTo>
                    <a:pt x="322" y="4"/>
                  </a:lnTo>
                  <a:lnTo>
                    <a:pt x="331" y="9"/>
                  </a:lnTo>
                  <a:lnTo>
                    <a:pt x="340" y="16"/>
                  </a:lnTo>
                  <a:lnTo>
                    <a:pt x="347" y="25"/>
                  </a:lnTo>
                  <a:lnTo>
                    <a:pt x="351" y="34"/>
                  </a:lnTo>
                  <a:lnTo>
                    <a:pt x="356" y="44"/>
                  </a:lnTo>
                  <a:lnTo>
                    <a:pt x="356" y="56"/>
                  </a:lnTo>
                  <a:lnTo>
                    <a:pt x="356" y="3385"/>
                  </a:lnTo>
                  <a:lnTo>
                    <a:pt x="356" y="3385"/>
                  </a:lnTo>
                  <a:lnTo>
                    <a:pt x="356" y="3396"/>
                  </a:lnTo>
                  <a:lnTo>
                    <a:pt x="351" y="3407"/>
                  </a:lnTo>
                  <a:lnTo>
                    <a:pt x="347" y="3417"/>
                  </a:lnTo>
                  <a:lnTo>
                    <a:pt x="340" y="3424"/>
                  </a:lnTo>
                  <a:lnTo>
                    <a:pt x="331" y="3432"/>
                  </a:lnTo>
                  <a:lnTo>
                    <a:pt x="322" y="3438"/>
                  </a:lnTo>
                  <a:lnTo>
                    <a:pt x="312" y="3441"/>
                  </a:lnTo>
                  <a:lnTo>
                    <a:pt x="300" y="3442"/>
                  </a:lnTo>
                  <a:lnTo>
                    <a:pt x="300" y="34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214" name="Freeform 7"/>
            <p:cNvSpPr>
              <a:spLocks/>
            </p:cNvSpPr>
            <p:nvPr/>
          </p:nvSpPr>
          <p:spPr bwMode="auto">
            <a:xfrm>
              <a:off x="-4887913" y="3983038"/>
              <a:ext cx="750888" cy="26988"/>
            </a:xfrm>
            <a:custGeom>
              <a:avLst/>
              <a:gdLst>
                <a:gd name="T0" fmla="*/ 930 w 946"/>
                <a:gd name="T1" fmla="*/ 32 h 32"/>
                <a:gd name="T2" fmla="*/ 18 w 946"/>
                <a:gd name="T3" fmla="*/ 32 h 32"/>
                <a:gd name="T4" fmla="*/ 18 w 946"/>
                <a:gd name="T5" fmla="*/ 32 h 32"/>
                <a:gd name="T6" fmla="*/ 10 w 946"/>
                <a:gd name="T7" fmla="*/ 31 h 32"/>
                <a:gd name="T8" fmla="*/ 6 w 946"/>
                <a:gd name="T9" fmla="*/ 28 h 32"/>
                <a:gd name="T10" fmla="*/ 1 w 946"/>
                <a:gd name="T11" fmla="*/ 22 h 32"/>
                <a:gd name="T12" fmla="*/ 0 w 946"/>
                <a:gd name="T13" fmla="*/ 16 h 32"/>
                <a:gd name="T14" fmla="*/ 0 w 946"/>
                <a:gd name="T15" fmla="*/ 16 h 32"/>
                <a:gd name="T16" fmla="*/ 1 w 946"/>
                <a:gd name="T17" fmla="*/ 10 h 32"/>
                <a:gd name="T18" fmla="*/ 6 w 946"/>
                <a:gd name="T19" fmla="*/ 4 h 32"/>
                <a:gd name="T20" fmla="*/ 10 w 946"/>
                <a:gd name="T21" fmla="*/ 1 h 32"/>
                <a:gd name="T22" fmla="*/ 18 w 946"/>
                <a:gd name="T23" fmla="*/ 0 h 32"/>
                <a:gd name="T24" fmla="*/ 930 w 946"/>
                <a:gd name="T25" fmla="*/ 0 h 32"/>
                <a:gd name="T26" fmla="*/ 930 w 946"/>
                <a:gd name="T27" fmla="*/ 0 h 32"/>
                <a:gd name="T28" fmla="*/ 936 w 946"/>
                <a:gd name="T29" fmla="*/ 1 h 32"/>
                <a:gd name="T30" fmla="*/ 942 w 946"/>
                <a:gd name="T31" fmla="*/ 4 h 32"/>
                <a:gd name="T32" fmla="*/ 945 w 946"/>
                <a:gd name="T33" fmla="*/ 10 h 32"/>
                <a:gd name="T34" fmla="*/ 946 w 946"/>
                <a:gd name="T35" fmla="*/ 16 h 32"/>
                <a:gd name="T36" fmla="*/ 946 w 946"/>
                <a:gd name="T37" fmla="*/ 16 h 32"/>
                <a:gd name="T38" fmla="*/ 945 w 946"/>
                <a:gd name="T39" fmla="*/ 22 h 32"/>
                <a:gd name="T40" fmla="*/ 942 w 946"/>
                <a:gd name="T41" fmla="*/ 28 h 32"/>
                <a:gd name="T42" fmla="*/ 936 w 946"/>
                <a:gd name="T43" fmla="*/ 31 h 32"/>
                <a:gd name="T44" fmla="*/ 930 w 946"/>
                <a:gd name="T45" fmla="*/ 32 h 32"/>
                <a:gd name="T46" fmla="*/ 930 w 946"/>
                <a:gd name="T4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46" h="32">
                  <a:moveTo>
                    <a:pt x="930" y="32"/>
                  </a:moveTo>
                  <a:lnTo>
                    <a:pt x="18" y="32"/>
                  </a:lnTo>
                  <a:lnTo>
                    <a:pt x="18" y="32"/>
                  </a:lnTo>
                  <a:lnTo>
                    <a:pt x="10" y="31"/>
                  </a:lnTo>
                  <a:lnTo>
                    <a:pt x="6" y="28"/>
                  </a:lnTo>
                  <a:lnTo>
                    <a:pt x="1" y="22"/>
                  </a:lnTo>
                  <a:lnTo>
                    <a:pt x="0" y="16"/>
                  </a:lnTo>
                  <a:lnTo>
                    <a:pt x="0" y="16"/>
                  </a:lnTo>
                  <a:lnTo>
                    <a:pt x="1" y="10"/>
                  </a:lnTo>
                  <a:lnTo>
                    <a:pt x="6" y="4"/>
                  </a:lnTo>
                  <a:lnTo>
                    <a:pt x="10" y="1"/>
                  </a:lnTo>
                  <a:lnTo>
                    <a:pt x="18" y="0"/>
                  </a:lnTo>
                  <a:lnTo>
                    <a:pt x="930" y="0"/>
                  </a:lnTo>
                  <a:lnTo>
                    <a:pt x="930" y="0"/>
                  </a:lnTo>
                  <a:lnTo>
                    <a:pt x="936" y="1"/>
                  </a:lnTo>
                  <a:lnTo>
                    <a:pt x="942" y="4"/>
                  </a:lnTo>
                  <a:lnTo>
                    <a:pt x="945" y="10"/>
                  </a:lnTo>
                  <a:lnTo>
                    <a:pt x="946" y="16"/>
                  </a:lnTo>
                  <a:lnTo>
                    <a:pt x="946" y="16"/>
                  </a:lnTo>
                  <a:lnTo>
                    <a:pt x="945" y="22"/>
                  </a:lnTo>
                  <a:lnTo>
                    <a:pt x="942" y="28"/>
                  </a:lnTo>
                  <a:lnTo>
                    <a:pt x="936" y="31"/>
                  </a:lnTo>
                  <a:lnTo>
                    <a:pt x="930" y="32"/>
                  </a:lnTo>
                  <a:lnTo>
                    <a:pt x="930"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215" name="Freeform 8"/>
            <p:cNvSpPr>
              <a:spLocks/>
            </p:cNvSpPr>
            <p:nvPr/>
          </p:nvSpPr>
          <p:spPr bwMode="auto">
            <a:xfrm>
              <a:off x="-4237038" y="3905250"/>
              <a:ext cx="100013" cy="184150"/>
            </a:xfrm>
            <a:custGeom>
              <a:avLst/>
              <a:gdLst>
                <a:gd name="T0" fmla="*/ 16 w 126"/>
                <a:gd name="T1" fmla="*/ 232 h 232"/>
                <a:gd name="T2" fmla="*/ 16 w 126"/>
                <a:gd name="T3" fmla="*/ 232 h 232"/>
                <a:gd name="T4" fmla="*/ 10 w 126"/>
                <a:gd name="T5" fmla="*/ 231 h 232"/>
                <a:gd name="T6" fmla="*/ 4 w 126"/>
                <a:gd name="T7" fmla="*/ 226 h 232"/>
                <a:gd name="T8" fmla="*/ 4 w 126"/>
                <a:gd name="T9" fmla="*/ 226 h 232"/>
                <a:gd name="T10" fmla="*/ 1 w 126"/>
                <a:gd name="T11" fmla="*/ 222 h 232"/>
                <a:gd name="T12" fmla="*/ 0 w 126"/>
                <a:gd name="T13" fmla="*/ 215 h 232"/>
                <a:gd name="T14" fmla="*/ 1 w 126"/>
                <a:gd name="T15" fmla="*/ 209 h 232"/>
                <a:gd name="T16" fmla="*/ 4 w 126"/>
                <a:gd name="T17" fmla="*/ 204 h 232"/>
                <a:gd name="T18" fmla="*/ 94 w 126"/>
                <a:gd name="T19" fmla="*/ 115 h 232"/>
                <a:gd name="T20" fmla="*/ 4 w 126"/>
                <a:gd name="T21" fmla="*/ 28 h 232"/>
                <a:gd name="T22" fmla="*/ 4 w 126"/>
                <a:gd name="T23" fmla="*/ 28 h 232"/>
                <a:gd name="T24" fmla="*/ 1 w 126"/>
                <a:gd name="T25" fmla="*/ 24 h 232"/>
                <a:gd name="T26" fmla="*/ 0 w 126"/>
                <a:gd name="T27" fmla="*/ 16 h 232"/>
                <a:gd name="T28" fmla="*/ 1 w 126"/>
                <a:gd name="T29" fmla="*/ 10 h 232"/>
                <a:gd name="T30" fmla="*/ 4 w 126"/>
                <a:gd name="T31" fmla="*/ 4 h 232"/>
                <a:gd name="T32" fmla="*/ 4 w 126"/>
                <a:gd name="T33" fmla="*/ 4 h 232"/>
                <a:gd name="T34" fmla="*/ 10 w 126"/>
                <a:gd name="T35" fmla="*/ 2 h 232"/>
                <a:gd name="T36" fmla="*/ 16 w 126"/>
                <a:gd name="T37" fmla="*/ 0 h 232"/>
                <a:gd name="T38" fmla="*/ 23 w 126"/>
                <a:gd name="T39" fmla="*/ 2 h 232"/>
                <a:gd name="T40" fmla="*/ 28 w 126"/>
                <a:gd name="T41" fmla="*/ 4 h 232"/>
                <a:gd name="T42" fmla="*/ 117 w 126"/>
                <a:gd name="T43" fmla="*/ 94 h 232"/>
                <a:gd name="T44" fmla="*/ 117 w 126"/>
                <a:gd name="T45" fmla="*/ 94 h 232"/>
                <a:gd name="T46" fmla="*/ 120 w 126"/>
                <a:gd name="T47" fmla="*/ 98 h 232"/>
                <a:gd name="T48" fmla="*/ 123 w 126"/>
                <a:gd name="T49" fmla="*/ 104 h 232"/>
                <a:gd name="T50" fmla="*/ 126 w 126"/>
                <a:gd name="T51" fmla="*/ 110 h 232"/>
                <a:gd name="T52" fmla="*/ 126 w 126"/>
                <a:gd name="T53" fmla="*/ 116 h 232"/>
                <a:gd name="T54" fmla="*/ 126 w 126"/>
                <a:gd name="T55" fmla="*/ 116 h 232"/>
                <a:gd name="T56" fmla="*/ 126 w 126"/>
                <a:gd name="T57" fmla="*/ 122 h 232"/>
                <a:gd name="T58" fmla="*/ 123 w 126"/>
                <a:gd name="T59" fmla="*/ 128 h 232"/>
                <a:gd name="T60" fmla="*/ 120 w 126"/>
                <a:gd name="T61" fmla="*/ 134 h 232"/>
                <a:gd name="T62" fmla="*/ 117 w 126"/>
                <a:gd name="T63" fmla="*/ 138 h 232"/>
                <a:gd name="T64" fmla="*/ 28 w 126"/>
                <a:gd name="T65" fmla="*/ 226 h 232"/>
                <a:gd name="T66" fmla="*/ 28 w 126"/>
                <a:gd name="T67" fmla="*/ 226 h 232"/>
                <a:gd name="T68" fmla="*/ 23 w 126"/>
                <a:gd name="T69" fmla="*/ 231 h 232"/>
                <a:gd name="T70" fmla="*/ 16 w 126"/>
                <a:gd name="T71" fmla="*/ 232 h 232"/>
                <a:gd name="T72" fmla="*/ 16 w 126"/>
                <a:gd name="T73" fmla="*/ 23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6" h="232">
                  <a:moveTo>
                    <a:pt x="16" y="232"/>
                  </a:moveTo>
                  <a:lnTo>
                    <a:pt x="16" y="232"/>
                  </a:lnTo>
                  <a:lnTo>
                    <a:pt x="10" y="231"/>
                  </a:lnTo>
                  <a:lnTo>
                    <a:pt x="4" y="226"/>
                  </a:lnTo>
                  <a:lnTo>
                    <a:pt x="4" y="226"/>
                  </a:lnTo>
                  <a:lnTo>
                    <a:pt x="1" y="222"/>
                  </a:lnTo>
                  <a:lnTo>
                    <a:pt x="0" y="215"/>
                  </a:lnTo>
                  <a:lnTo>
                    <a:pt x="1" y="209"/>
                  </a:lnTo>
                  <a:lnTo>
                    <a:pt x="4" y="204"/>
                  </a:lnTo>
                  <a:lnTo>
                    <a:pt x="94" y="115"/>
                  </a:lnTo>
                  <a:lnTo>
                    <a:pt x="4" y="28"/>
                  </a:lnTo>
                  <a:lnTo>
                    <a:pt x="4" y="28"/>
                  </a:lnTo>
                  <a:lnTo>
                    <a:pt x="1" y="24"/>
                  </a:lnTo>
                  <a:lnTo>
                    <a:pt x="0" y="16"/>
                  </a:lnTo>
                  <a:lnTo>
                    <a:pt x="1" y="10"/>
                  </a:lnTo>
                  <a:lnTo>
                    <a:pt x="4" y="4"/>
                  </a:lnTo>
                  <a:lnTo>
                    <a:pt x="4" y="4"/>
                  </a:lnTo>
                  <a:lnTo>
                    <a:pt x="10" y="2"/>
                  </a:lnTo>
                  <a:lnTo>
                    <a:pt x="16" y="0"/>
                  </a:lnTo>
                  <a:lnTo>
                    <a:pt x="23" y="2"/>
                  </a:lnTo>
                  <a:lnTo>
                    <a:pt x="28" y="4"/>
                  </a:lnTo>
                  <a:lnTo>
                    <a:pt x="117" y="94"/>
                  </a:lnTo>
                  <a:lnTo>
                    <a:pt x="117" y="94"/>
                  </a:lnTo>
                  <a:lnTo>
                    <a:pt x="120" y="98"/>
                  </a:lnTo>
                  <a:lnTo>
                    <a:pt x="123" y="104"/>
                  </a:lnTo>
                  <a:lnTo>
                    <a:pt x="126" y="110"/>
                  </a:lnTo>
                  <a:lnTo>
                    <a:pt x="126" y="116"/>
                  </a:lnTo>
                  <a:lnTo>
                    <a:pt x="126" y="116"/>
                  </a:lnTo>
                  <a:lnTo>
                    <a:pt x="126" y="122"/>
                  </a:lnTo>
                  <a:lnTo>
                    <a:pt x="123" y="128"/>
                  </a:lnTo>
                  <a:lnTo>
                    <a:pt x="120" y="134"/>
                  </a:lnTo>
                  <a:lnTo>
                    <a:pt x="117" y="138"/>
                  </a:lnTo>
                  <a:lnTo>
                    <a:pt x="28" y="226"/>
                  </a:lnTo>
                  <a:lnTo>
                    <a:pt x="28" y="226"/>
                  </a:lnTo>
                  <a:lnTo>
                    <a:pt x="23" y="231"/>
                  </a:lnTo>
                  <a:lnTo>
                    <a:pt x="16" y="232"/>
                  </a:lnTo>
                  <a:lnTo>
                    <a:pt x="16" y="2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grpSp>
      <p:grpSp>
        <p:nvGrpSpPr>
          <p:cNvPr id="216" name="Group 215"/>
          <p:cNvGrpSpPr/>
          <p:nvPr/>
        </p:nvGrpSpPr>
        <p:grpSpPr>
          <a:xfrm>
            <a:off x="3562926" y="3472040"/>
            <a:ext cx="312612" cy="182489"/>
            <a:chOff x="-4411663" y="4275138"/>
            <a:chExt cx="312738" cy="182563"/>
          </a:xfrm>
          <a:solidFill>
            <a:schemeClr val="accent1"/>
          </a:solidFill>
        </p:grpSpPr>
        <p:sp>
          <p:nvSpPr>
            <p:cNvPr id="217" name="Freeform 9"/>
            <p:cNvSpPr>
              <a:spLocks/>
            </p:cNvSpPr>
            <p:nvPr/>
          </p:nvSpPr>
          <p:spPr bwMode="auto">
            <a:xfrm>
              <a:off x="-4411663" y="4352925"/>
              <a:ext cx="312738" cy="26988"/>
            </a:xfrm>
            <a:custGeom>
              <a:avLst/>
              <a:gdLst>
                <a:gd name="T0" fmla="*/ 377 w 394"/>
                <a:gd name="T1" fmla="*/ 33 h 33"/>
                <a:gd name="T2" fmla="*/ 16 w 394"/>
                <a:gd name="T3" fmla="*/ 33 h 33"/>
                <a:gd name="T4" fmla="*/ 16 w 394"/>
                <a:gd name="T5" fmla="*/ 33 h 33"/>
                <a:gd name="T6" fmla="*/ 10 w 394"/>
                <a:gd name="T7" fmla="*/ 32 h 33"/>
                <a:gd name="T8" fmla="*/ 4 w 394"/>
                <a:gd name="T9" fmla="*/ 28 h 33"/>
                <a:gd name="T10" fmla="*/ 1 w 394"/>
                <a:gd name="T11" fmla="*/ 23 h 33"/>
                <a:gd name="T12" fmla="*/ 0 w 394"/>
                <a:gd name="T13" fmla="*/ 17 h 33"/>
                <a:gd name="T14" fmla="*/ 0 w 394"/>
                <a:gd name="T15" fmla="*/ 17 h 33"/>
                <a:gd name="T16" fmla="*/ 1 w 394"/>
                <a:gd name="T17" fmla="*/ 10 h 33"/>
                <a:gd name="T18" fmla="*/ 4 w 394"/>
                <a:gd name="T19" fmla="*/ 6 h 33"/>
                <a:gd name="T20" fmla="*/ 10 w 394"/>
                <a:gd name="T21" fmla="*/ 1 h 33"/>
                <a:gd name="T22" fmla="*/ 16 w 394"/>
                <a:gd name="T23" fmla="*/ 0 h 33"/>
                <a:gd name="T24" fmla="*/ 377 w 394"/>
                <a:gd name="T25" fmla="*/ 0 h 33"/>
                <a:gd name="T26" fmla="*/ 377 w 394"/>
                <a:gd name="T27" fmla="*/ 0 h 33"/>
                <a:gd name="T28" fmla="*/ 383 w 394"/>
                <a:gd name="T29" fmla="*/ 1 h 33"/>
                <a:gd name="T30" fmla="*/ 389 w 394"/>
                <a:gd name="T31" fmla="*/ 6 h 33"/>
                <a:gd name="T32" fmla="*/ 392 w 394"/>
                <a:gd name="T33" fmla="*/ 10 h 33"/>
                <a:gd name="T34" fmla="*/ 394 w 394"/>
                <a:gd name="T35" fmla="*/ 17 h 33"/>
                <a:gd name="T36" fmla="*/ 394 w 394"/>
                <a:gd name="T37" fmla="*/ 17 h 33"/>
                <a:gd name="T38" fmla="*/ 392 w 394"/>
                <a:gd name="T39" fmla="*/ 23 h 33"/>
                <a:gd name="T40" fmla="*/ 389 w 394"/>
                <a:gd name="T41" fmla="*/ 28 h 33"/>
                <a:gd name="T42" fmla="*/ 383 w 394"/>
                <a:gd name="T43" fmla="*/ 32 h 33"/>
                <a:gd name="T44" fmla="*/ 377 w 394"/>
                <a:gd name="T45" fmla="*/ 33 h 33"/>
                <a:gd name="T46" fmla="*/ 377 w 394"/>
                <a:gd name="T4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94" h="33">
                  <a:moveTo>
                    <a:pt x="377" y="33"/>
                  </a:moveTo>
                  <a:lnTo>
                    <a:pt x="16" y="33"/>
                  </a:lnTo>
                  <a:lnTo>
                    <a:pt x="16" y="33"/>
                  </a:lnTo>
                  <a:lnTo>
                    <a:pt x="10" y="32"/>
                  </a:lnTo>
                  <a:lnTo>
                    <a:pt x="4" y="28"/>
                  </a:lnTo>
                  <a:lnTo>
                    <a:pt x="1" y="23"/>
                  </a:lnTo>
                  <a:lnTo>
                    <a:pt x="0" y="17"/>
                  </a:lnTo>
                  <a:lnTo>
                    <a:pt x="0" y="17"/>
                  </a:lnTo>
                  <a:lnTo>
                    <a:pt x="1" y="10"/>
                  </a:lnTo>
                  <a:lnTo>
                    <a:pt x="4" y="6"/>
                  </a:lnTo>
                  <a:lnTo>
                    <a:pt x="10" y="1"/>
                  </a:lnTo>
                  <a:lnTo>
                    <a:pt x="16" y="0"/>
                  </a:lnTo>
                  <a:lnTo>
                    <a:pt x="377" y="0"/>
                  </a:lnTo>
                  <a:lnTo>
                    <a:pt x="377" y="0"/>
                  </a:lnTo>
                  <a:lnTo>
                    <a:pt x="383" y="1"/>
                  </a:lnTo>
                  <a:lnTo>
                    <a:pt x="389" y="6"/>
                  </a:lnTo>
                  <a:lnTo>
                    <a:pt x="392" y="10"/>
                  </a:lnTo>
                  <a:lnTo>
                    <a:pt x="394" y="17"/>
                  </a:lnTo>
                  <a:lnTo>
                    <a:pt x="394" y="17"/>
                  </a:lnTo>
                  <a:lnTo>
                    <a:pt x="392" y="23"/>
                  </a:lnTo>
                  <a:lnTo>
                    <a:pt x="389" y="28"/>
                  </a:lnTo>
                  <a:lnTo>
                    <a:pt x="383" y="32"/>
                  </a:lnTo>
                  <a:lnTo>
                    <a:pt x="377" y="33"/>
                  </a:lnTo>
                  <a:lnTo>
                    <a:pt x="377"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218" name="Freeform 10"/>
            <p:cNvSpPr>
              <a:spLocks/>
            </p:cNvSpPr>
            <p:nvPr/>
          </p:nvSpPr>
          <p:spPr bwMode="auto">
            <a:xfrm>
              <a:off x="-4198938" y="4275138"/>
              <a:ext cx="100013" cy="182563"/>
            </a:xfrm>
            <a:custGeom>
              <a:avLst/>
              <a:gdLst>
                <a:gd name="T0" fmla="*/ 18 w 127"/>
                <a:gd name="T1" fmla="*/ 231 h 231"/>
                <a:gd name="T2" fmla="*/ 18 w 127"/>
                <a:gd name="T3" fmla="*/ 231 h 231"/>
                <a:gd name="T4" fmla="*/ 10 w 127"/>
                <a:gd name="T5" fmla="*/ 231 h 231"/>
                <a:gd name="T6" fmla="*/ 6 w 127"/>
                <a:gd name="T7" fmla="*/ 226 h 231"/>
                <a:gd name="T8" fmla="*/ 6 w 127"/>
                <a:gd name="T9" fmla="*/ 226 h 231"/>
                <a:gd name="T10" fmla="*/ 2 w 127"/>
                <a:gd name="T11" fmla="*/ 221 h 231"/>
                <a:gd name="T12" fmla="*/ 0 w 127"/>
                <a:gd name="T13" fmla="*/ 215 h 231"/>
                <a:gd name="T14" fmla="*/ 2 w 127"/>
                <a:gd name="T15" fmla="*/ 209 h 231"/>
                <a:gd name="T16" fmla="*/ 6 w 127"/>
                <a:gd name="T17" fmla="*/ 203 h 231"/>
                <a:gd name="T18" fmla="*/ 94 w 127"/>
                <a:gd name="T19" fmla="*/ 115 h 231"/>
                <a:gd name="T20" fmla="*/ 6 w 127"/>
                <a:gd name="T21" fmla="*/ 28 h 231"/>
                <a:gd name="T22" fmla="*/ 6 w 127"/>
                <a:gd name="T23" fmla="*/ 28 h 231"/>
                <a:gd name="T24" fmla="*/ 2 w 127"/>
                <a:gd name="T25" fmla="*/ 22 h 231"/>
                <a:gd name="T26" fmla="*/ 0 w 127"/>
                <a:gd name="T27" fmla="*/ 16 h 231"/>
                <a:gd name="T28" fmla="*/ 2 w 127"/>
                <a:gd name="T29" fmla="*/ 11 h 231"/>
                <a:gd name="T30" fmla="*/ 6 w 127"/>
                <a:gd name="T31" fmla="*/ 5 h 231"/>
                <a:gd name="T32" fmla="*/ 6 w 127"/>
                <a:gd name="T33" fmla="*/ 5 h 231"/>
                <a:gd name="T34" fmla="*/ 10 w 127"/>
                <a:gd name="T35" fmla="*/ 2 h 231"/>
                <a:gd name="T36" fmla="*/ 18 w 127"/>
                <a:gd name="T37" fmla="*/ 0 h 231"/>
                <a:gd name="T38" fmla="*/ 24 w 127"/>
                <a:gd name="T39" fmla="*/ 2 h 231"/>
                <a:gd name="T40" fmla="*/ 30 w 127"/>
                <a:gd name="T41" fmla="*/ 5 h 231"/>
                <a:gd name="T42" fmla="*/ 118 w 127"/>
                <a:gd name="T43" fmla="*/ 93 h 231"/>
                <a:gd name="T44" fmla="*/ 118 w 127"/>
                <a:gd name="T45" fmla="*/ 93 h 231"/>
                <a:gd name="T46" fmla="*/ 122 w 127"/>
                <a:gd name="T47" fmla="*/ 99 h 231"/>
                <a:gd name="T48" fmla="*/ 125 w 127"/>
                <a:gd name="T49" fmla="*/ 103 h 231"/>
                <a:gd name="T50" fmla="*/ 127 w 127"/>
                <a:gd name="T51" fmla="*/ 109 h 231"/>
                <a:gd name="T52" fmla="*/ 127 w 127"/>
                <a:gd name="T53" fmla="*/ 116 h 231"/>
                <a:gd name="T54" fmla="*/ 127 w 127"/>
                <a:gd name="T55" fmla="*/ 116 h 231"/>
                <a:gd name="T56" fmla="*/ 127 w 127"/>
                <a:gd name="T57" fmla="*/ 122 h 231"/>
                <a:gd name="T58" fmla="*/ 125 w 127"/>
                <a:gd name="T59" fmla="*/ 128 h 231"/>
                <a:gd name="T60" fmla="*/ 122 w 127"/>
                <a:gd name="T61" fmla="*/ 132 h 231"/>
                <a:gd name="T62" fmla="*/ 118 w 127"/>
                <a:gd name="T63" fmla="*/ 138 h 231"/>
                <a:gd name="T64" fmla="*/ 28 w 127"/>
                <a:gd name="T65" fmla="*/ 226 h 231"/>
                <a:gd name="T66" fmla="*/ 28 w 127"/>
                <a:gd name="T67" fmla="*/ 226 h 231"/>
                <a:gd name="T68" fmla="*/ 24 w 127"/>
                <a:gd name="T69" fmla="*/ 231 h 231"/>
                <a:gd name="T70" fmla="*/ 18 w 127"/>
                <a:gd name="T71" fmla="*/ 231 h 231"/>
                <a:gd name="T72" fmla="*/ 18 w 127"/>
                <a:gd name="T73" fmla="*/ 231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31">
                  <a:moveTo>
                    <a:pt x="18" y="231"/>
                  </a:moveTo>
                  <a:lnTo>
                    <a:pt x="18" y="231"/>
                  </a:lnTo>
                  <a:lnTo>
                    <a:pt x="10" y="231"/>
                  </a:lnTo>
                  <a:lnTo>
                    <a:pt x="6" y="226"/>
                  </a:lnTo>
                  <a:lnTo>
                    <a:pt x="6" y="226"/>
                  </a:lnTo>
                  <a:lnTo>
                    <a:pt x="2" y="221"/>
                  </a:lnTo>
                  <a:lnTo>
                    <a:pt x="0" y="215"/>
                  </a:lnTo>
                  <a:lnTo>
                    <a:pt x="2" y="209"/>
                  </a:lnTo>
                  <a:lnTo>
                    <a:pt x="6" y="203"/>
                  </a:lnTo>
                  <a:lnTo>
                    <a:pt x="94" y="115"/>
                  </a:lnTo>
                  <a:lnTo>
                    <a:pt x="6" y="28"/>
                  </a:lnTo>
                  <a:lnTo>
                    <a:pt x="6" y="28"/>
                  </a:lnTo>
                  <a:lnTo>
                    <a:pt x="2" y="22"/>
                  </a:lnTo>
                  <a:lnTo>
                    <a:pt x="0" y="16"/>
                  </a:lnTo>
                  <a:lnTo>
                    <a:pt x="2" y="11"/>
                  </a:lnTo>
                  <a:lnTo>
                    <a:pt x="6" y="5"/>
                  </a:lnTo>
                  <a:lnTo>
                    <a:pt x="6" y="5"/>
                  </a:lnTo>
                  <a:lnTo>
                    <a:pt x="10" y="2"/>
                  </a:lnTo>
                  <a:lnTo>
                    <a:pt x="18" y="0"/>
                  </a:lnTo>
                  <a:lnTo>
                    <a:pt x="24" y="2"/>
                  </a:lnTo>
                  <a:lnTo>
                    <a:pt x="30" y="5"/>
                  </a:lnTo>
                  <a:lnTo>
                    <a:pt x="118" y="93"/>
                  </a:lnTo>
                  <a:lnTo>
                    <a:pt x="118" y="93"/>
                  </a:lnTo>
                  <a:lnTo>
                    <a:pt x="122" y="99"/>
                  </a:lnTo>
                  <a:lnTo>
                    <a:pt x="125" y="103"/>
                  </a:lnTo>
                  <a:lnTo>
                    <a:pt x="127" y="109"/>
                  </a:lnTo>
                  <a:lnTo>
                    <a:pt x="127" y="116"/>
                  </a:lnTo>
                  <a:lnTo>
                    <a:pt x="127" y="116"/>
                  </a:lnTo>
                  <a:lnTo>
                    <a:pt x="127" y="122"/>
                  </a:lnTo>
                  <a:lnTo>
                    <a:pt x="125" y="128"/>
                  </a:lnTo>
                  <a:lnTo>
                    <a:pt x="122" y="132"/>
                  </a:lnTo>
                  <a:lnTo>
                    <a:pt x="118" y="138"/>
                  </a:lnTo>
                  <a:lnTo>
                    <a:pt x="28" y="226"/>
                  </a:lnTo>
                  <a:lnTo>
                    <a:pt x="28" y="226"/>
                  </a:lnTo>
                  <a:lnTo>
                    <a:pt x="24" y="231"/>
                  </a:lnTo>
                  <a:lnTo>
                    <a:pt x="18" y="231"/>
                  </a:lnTo>
                  <a:lnTo>
                    <a:pt x="18" y="2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grpSp>
      <p:grpSp>
        <p:nvGrpSpPr>
          <p:cNvPr id="219" name="Group 218"/>
          <p:cNvGrpSpPr/>
          <p:nvPr/>
        </p:nvGrpSpPr>
        <p:grpSpPr>
          <a:xfrm>
            <a:off x="4097063" y="2637625"/>
            <a:ext cx="312612" cy="184076"/>
            <a:chOff x="-2597151" y="4195763"/>
            <a:chExt cx="312738" cy="184150"/>
          </a:xfrm>
          <a:solidFill>
            <a:schemeClr val="bg2">
              <a:lumMod val="25000"/>
              <a:lumOff val="75000"/>
            </a:schemeClr>
          </a:solidFill>
        </p:grpSpPr>
        <p:sp>
          <p:nvSpPr>
            <p:cNvPr id="220" name="Freeform 13"/>
            <p:cNvSpPr>
              <a:spLocks/>
            </p:cNvSpPr>
            <p:nvPr/>
          </p:nvSpPr>
          <p:spPr bwMode="auto">
            <a:xfrm>
              <a:off x="-2490788" y="4275138"/>
              <a:ext cx="206375" cy="25400"/>
            </a:xfrm>
            <a:custGeom>
              <a:avLst/>
              <a:gdLst>
                <a:gd name="T0" fmla="*/ 244 w 260"/>
                <a:gd name="T1" fmla="*/ 33 h 33"/>
                <a:gd name="T2" fmla="*/ 16 w 260"/>
                <a:gd name="T3" fmla="*/ 33 h 33"/>
                <a:gd name="T4" fmla="*/ 16 w 260"/>
                <a:gd name="T5" fmla="*/ 33 h 33"/>
                <a:gd name="T6" fmla="*/ 11 w 260"/>
                <a:gd name="T7" fmla="*/ 31 h 33"/>
                <a:gd name="T8" fmla="*/ 5 w 260"/>
                <a:gd name="T9" fmla="*/ 28 h 33"/>
                <a:gd name="T10" fmla="*/ 2 w 260"/>
                <a:gd name="T11" fmla="*/ 22 h 33"/>
                <a:gd name="T12" fmla="*/ 0 w 260"/>
                <a:gd name="T13" fmla="*/ 16 h 33"/>
                <a:gd name="T14" fmla="*/ 0 w 260"/>
                <a:gd name="T15" fmla="*/ 16 h 33"/>
                <a:gd name="T16" fmla="*/ 2 w 260"/>
                <a:gd name="T17" fmla="*/ 11 h 33"/>
                <a:gd name="T18" fmla="*/ 5 w 260"/>
                <a:gd name="T19" fmla="*/ 5 h 33"/>
                <a:gd name="T20" fmla="*/ 11 w 260"/>
                <a:gd name="T21" fmla="*/ 2 h 33"/>
                <a:gd name="T22" fmla="*/ 16 w 260"/>
                <a:gd name="T23" fmla="*/ 0 h 33"/>
                <a:gd name="T24" fmla="*/ 244 w 260"/>
                <a:gd name="T25" fmla="*/ 0 h 33"/>
                <a:gd name="T26" fmla="*/ 244 w 260"/>
                <a:gd name="T27" fmla="*/ 0 h 33"/>
                <a:gd name="T28" fmla="*/ 250 w 260"/>
                <a:gd name="T29" fmla="*/ 2 h 33"/>
                <a:gd name="T30" fmla="*/ 256 w 260"/>
                <a:gd name="T31" fmla="*/ 5 h 33"/>
                <a:gd name="T32" fmla="*/ 259 w 260"/>
                <a:gd name="T33" fmla="*/ 11 h 33"/>
                <a:gd name="T34" fmla="*/ 260 w 260"/>
                <a:gd name="T35" fmla="*/ 16 h 33"/>
                <a:gd name="T36" fmla="*/ 260 w 260"/>
                <a:gd name="T37" fmla="*/ 16 h 33"/>
                <a:gd name="T38" fmla="*/ 259 w 260"/>
                <a:gd name="T39" fmla="*/ 22 h 33"/>
                <a:gd name="T40" fmla="*/ 256 w 260"/>
                <a:gd name="T41" fmla="*/ 28 h 33"/>
                <a:gd name="T42" fmla="*/ 250 w 260"/>
                <a:gd name="T43" fmla="*/ 31 h 33"/>
                <a:gd name="T44" fmla="*/ 244 w 260"/>
                <a:gd name="T45" fmla="*/ 33 h 33"/>
                <a:gd name="T46" fmla="*/ 244 w 260"/>
                <a:gd name="T4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0" h="33">
                  <a:moveTo>
                    <a:pt x="244" y="33"/>
                  </a:moveTo>
                  <a:lnTo>
                    <a:pt x="16" y="33"/>
                  </a:lnTo>
                  <a:lnTo>
                    <a:pt x="16" y="33"/>
                  </a:lnTo>
                  <a:lnTo>
                    <a:pt x="11" y="31"/>
                  </a:lnTo>
                  <a:lnTo>
                    <a:pt x="5" y="28"/>
                  </a:lnTo>
                  <a:lnTo>
                    <a:pt x="2" y="22"/>
                  </a:lnTo>
                  <a:lnTo>
                    <a:pt x="0" y="16"/>
                  </a:lnTo>
                  <a:lnTo>
                    <a:pt x="0" y="16"/>
                  </a:lnTo>
                  <a:lnTo>
                    <a:pt x="2" y="11"/>
                  </a:lnTo>
                  <a:lnTo>
                    <a:pt x="5" y="5"/>
                  </a:lnTo>
                  <a:lnTo>
                    <a:pt x="11" y="2"/>
                  </a:lnTo>
                  <a:lnTo>
                    <a:pt x="16" y="0"/>
                  </a:lnTo>
                  <a:lnTo>
                    <a:pt x="244" y="0"/>
                  </a:lnTo>
                  <a:lnTo>
                    <a:pt x="244" y="0"/>
                  </a:lnTo>
                  <a:lnTo>
                    <a:pt x="250" y="2"/>
                  </a:lnTo>
                  <a:lnTo>
                    <a:pt x="256" y="5"/>
                  </a:lnTo>
                  <a:lnTo>
                    <a:pt x="259" y="11"/>
                  </a:lnTo>
                  <a:lnTo>
                    <a:pt x="260" y="16"/>
                  </a:lnTo>
                  <a:lnTo>
                    <a:pt x="260" y="16"/>
                  </a:lnTo>
                  <a:lnTo>
                    <a:pt x="259" y="22"/>
                  </a:lnTo>
                  <a:lnTo>
                    <a:pt x="256" y="28"/>
                  </a:lnTo>
                  <a:lnTo>
                    <a:pt x="250" y="31"/>
                  </a:lnTo>
                  <a:lnTo>
                    <a:pt x="244" y="33"/>
                  </a:lnTo>
                  <a:lnTo>
                    <a:pt x="244"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221" name="Freeform 14"/>
            <p:cNvSpPr>
              <a:spLocks/>
            </p:cNvSpPr>
            <p:nvPr/>
          </p:nvSpPr>
          <p:spPr bwMode="auto">
            <a:xfrm>
              <a:off x="-2597151" y="4275138"/>
              <a:ext cx="92075" cy="25400"/>
            </a:xfrm>
            <a:custGeom>
              <a:avLst/>
              <a:gdLst>
                <a:gd name="T0" fmla="*/ 98 w 114"/>
                <a:gd name="T1" fmla="*/ 33 h 33"/>
                <a:gd name="T2" fmla="*/ 16 w 114"/>
                <a:gd name="T3" fmla="*/ 33 h 33"/>
                <a:gd name="T4" fmla="*/ 16 w 114"/>
                <a:gd name="T5" fmla="*/ 33 h 33"/>
                <a:gd name="T6" fmla="*/ 8 w 114"/>
                <a:gd name="T7" fmla="*/ 31 h 33"/>
                <a:gd name="T8" fmla="*/ 4 w 114"/>
                <a:gd name="T9" fmla="*/ 28 h 33"/>
                <a:gd name="T10" fmla="*/ 0 w 114"/>
                <a:gd name="T11" fmla="*/ 22 h 33"/>
                <a:gd name="T12" fmla="*/ 0 w 114"/>
                <a:gd name="T13" fmla="*/ 16 h 33"/>
                <a:gd name="T14" fmla="*/ 0 w 114"/>
                <a:gd name="T15" fmla="*/ 16 h 33"/>
                <a:gd name="T16" fmla="*/ 0 w 114"/>
                <a:gd name="T17" fmla="*/ 11 h 33"/>
                <a:gd name="T18" fmla="*/ 4 w 114"/>
                <a:gd name="T19" fmla="*/ 5 h 33"/>
                <a:gd name="T20" fmla="*/ 8 w 114"/>
                <a:gd name="T21" fmla="*/ 2 h 33"/>
                <a:gd name="T22" fmla="*/ 16 w 114"/>
                <a:gd name="T23" fmla="*/ 0 h 33"/>
                <a:gd name="T24" fmla="*/ 98 w 114"/>
                <a:gd name="T25" fmla="*/ 0 h 33"/>
                <a:gd name="T26" fmla="*/ 98 w 114"/>
                <a:gd name="T27" fmla="*/ 0 h 33"/>
                <a:gd name="T28" fmla="*/ 104 w 114"/>
                <a:gd name="T29" fmla="*/ 2 h 33"/>
                <a:gd name="T30" fmla="*/ 110 w 114"/>
                <a:gd name="T31" fmla="*/ 5 h 33"/>
                <a:gd name="T32" fmla="*/ 113 w 114"/>
                <a:gd name="T33" fmla="*/ 11 h 33"/>
                <a:gd name="T34" fmla="*/ 114 w 114"/>
                <a:gd name="T35" fmla="*/ 16 h 33"/>
                <a:gd name="T36" fmla="*/ 114 w 114"/>
                <a:gd name="T37" fmla="*/ 16 h 33"/>
                <a:gd name="T38" fmla="*/ 113 w 114"/>
                <a:gd name="T39" fmla="*/ 22 h 33"/>
                <a:gd name="T40" fmla="*/ 110 w 114"/>
                <a:gd name="T41" fmla="*/ 28 h 33"/>
                <a:gd name="T42" fmla="*/ 104 w 114"/>
                <a:gd name="T43" fmla="*/ 31 h 33"/>
                <a:gd name="T44" fmla="*/ 98 w 114"/>
                <a:gd name="T45" fmla="*/ 33 h 33"/>
                <a:gd name="T46" fmla="*/ 98 w 114"/>
                <a:gd name="T4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4" h="33">
                  <a:moveTo>
                    <a:pt x="98" y="33"/>
                  </a:moveTo>
                  <a:lnTo>
                    <a:pt x="16" y="33"/>
                  </a:lnTo>
                  <a:lnTo>
                    <a:pt x="16" y="33"/>
                  </a:lnTo>
                  <a:lnTo>
                    <a:pt x="8" y="31"/>
                  </a:lnTo>
                  <a:lnTo>
                    <a:pt x="4" y="28"/>
                  </a:lnTo>
                  <a:lnTo>
                    <a:pt x="0" y="22"/>
                  </a:lnTo>
                  <a:lnTo>
                    <a:pt x="0" y="16"/>
                  </a:lnTo>
                  <a:lnTo>
                    <a:pt x="0" y="16"/>
                  </a:lnTo>
                  <a:lnTo>
                    <a:pt x="0" y="11"/>
                  </a:lnTo>
                  <a:lnTo>
                    <a:pt x="4" y="5"/>
                  </a:lnTo>
                  <a:lnTo>
                    <a:pt x="8" y="2"/>
                  </a:lnTo>
                  <a:lnTo>
                    <a:pt x="16" y="0"/>
                  </a:lnTo>
                  <a:lnTo>
                    <a:pt x="98" y="0"/>
                  </a:lnTo>
                  <a:lnTo>
                    <a:pt x="98" y="0"/>
                  </a:lnTo>
                  <a:lnTo>
                    <a:pt x="104" y="2"/>
                  </a:lnTo>
                  <a:lnTo>
                    <a:pt x="110" y="5"/>
                  </a:lnTo>
                  <a:lnTo>
                    <a:pt x="113" y="11"/>
                  </a:lnTo>
                  <a:lnTo>
                    <a:pt x="114" y="16"/>
                  </a:lnTo>
                  <a:lnTo>
                    <a:pt x="114" y="16"/>
                  </a:lnTo>
                  <a:lnTo>
                    <a:pt x="113" y="22"/>
                  </a:lnTo>
                  <a:lnTo>
                    <a:pt x="110" y="28"/>
                  </a:lnTo>
                  <a:lnTo>
                    <a:pt x="104" y="31"/>
                  </a:lnTo>
                  <a:lnTo>
                    <a:pt x="98" y="33"/>
                  </a:lnTo>
                  <a:lnTo>
                    <a:pt x="98"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222" name="Freeform 15"/>
            <p:cNvSpPr>
              <a:spLocks/>
            </p:cNvSpPr>
            <p:nvPr/>
          </p:nvSpPr>
          <p:spPr bwMode="auto">
            <a:xfrm>
              <a:off x="-2384426" y="4195763"/>
              <a:ext cx="100013" cy="184150"/>
            </a:xfrm>
            <a:custGeom>
              <a:avLst/>
              <a:gdLst>
                <a:gd name="T0" fmla="*/ 16 w 126"/>
                <a:gd name="T1" fmla="*/ 232 h 232"/>
                <a:gd name="T2" fmla="*/ 16 w 126"/>
                <a:gd name="T3" fmla="*/ 232 h 232"/>
                <a:gd name="T4" fmla="*/ 10 w 126"/>
                <a:gd name="T5" fmla="*/ 231 h 232"/>
                <a:gd name="T6" fmla="*/ 6 w 126"/>
                <a:gd name="T7" fmla="*/ 227 h 232"/>
                <a:gd name="T8" fmla="*/ 6 w 126"/>
                <a:gd name="T9" fmla="*/ 227 h 232"/>
                <a:gd name="T10" fmla="*/ 1 w 126"/>
                <a:gd name="T11" fmla="*/ 222 h 232"/>
                <a:gd name="T12" fmla="*/ 0 w 126"/>
                <a:gd name="T13" fmla="*/ 216 h 232"/>
                <a:gd name="T14" fmla="*/ 1 w 126"/>
                <a:gd name="T15" fmla="*/ 209 h 232"/>
                <a:gd name="T16" fmla="*/ 6 w 126"/>
                <a:gd name="T17" fmla="*/ 205 h 232"/>
                <a:gd name="T18" fmla="*/ 94 w 126"/>
                <a:gd name="T19" fmla="*/ 115 h 232"/>
                <a:gd name="T20" fmla="*/ 6 w 126"/>
                <a:gd name="T21" fmla="*/ 28 h 232"/>
                <a:gd name="T22" fmla="*/ 6 w 126"/>
                <a:gd name="T23" fmla="*/ 28 h 232"/>
                <a:gd name="T24" fmla="*/ 1 w 126"/>
                <a:gd name="T25" fmla="*/ 24 h 232"/>
                <a:gd name="T26" fmla="*/ 0 w 126"/>
                <a:gd name="T27" fmla="*/ 16 h 232"/>
                <a:gd name="T28" fmla="*/ 1 w 126"/>
                <a:gd name="T29" fmla="*/ 11 h 232"/>
                <a:gd name="T30" fmla="*/ 6 w 126"/>
                <a:gd name="T31" fmla="*/ 5 h 232"/>
                <a:gd name="T32" fmla="*/ 6 w 126"/>
                <a:gd name="T33" fmla="*/ 5 h 232"/>
                <a:gd name="T34" fmla="*/ 10 w 126"/>
                <a:gd name="T35" fmla="*/ 2 h 232"/>
                <a:gd name="T36" fmla="*/ 16 w 126"/>
                <a:gd name="T37" fmla="*/ 0 h 232"/>
                <a:gd name="T38" fmla="*/ 23 w 126"/>
                <a:gd name="T39" fmla="*/ 2 h 232"/>
                <a:gd name="T40" fmla="*/ 28 w 126"/>
                <a:gd name="T41" fmla="*/ 5 h 232"/>
                <a:gd name="T42" fmla="*/ 117 w 126"/>
                <a:gd name="T43" fmla="*/ 94 h 232"/>
                <a:gd name="T44" fmla="*/ 117 w 126"/>
                <a:gd name="T45" fmla="*/ 94 h 232"/>
                <a:gd name="T46" fmla="*/ 122 w 126"/>
                <a:gd name="T47" fmla="*/ 99 h 232"/>
                <a:gd name="T48" fmla="*/ 125 w 126"/>
                <a:gd name="T49" fmla="*/ 105 h 232"/>
                <a:gd name="T50" fmla="*/ 126 w 126"/>
                <a:gd name="T51" fmla="*/ 111 h 232"/>
                <a:gd name="T52" fmla="*/ 126 w 126"/>
                <a:gd name="T53" fmla="*/ 116 h 232"/>
                <a:gd name="T54" fmla="*/ 126 w 126"/>
                <a:gd name="T55" fmla="*/ 116 h 232"/>
                <a:gd name="T56" fmla="*/ 126 w 126"/>
                <a:gd name="T57" fmla="*/ 122 h 232"/>
                <a:gd name="T58" fmla="*/ 125 w 126"/>
                <a:gd name="T59" fmla="*/ 128 h 232"/>
                <a:gd name="T60" fmla="*/ 122 w 126"/>
                <a:gd name="T61" fmla="*/ 134 h 232"/>
                <a:gd name="T62" fmla="*/ 117 w 126"/>
                <a:gd name="T63" fmla="*/ 138 h 232"/>
                <a:gd name="T64" fmla="*/ 28 w 126"/>
                <a:gd name="T65" fmla="*/ 227 h 232"/>
                <a:gd name="T66" fmla="*/ 28 w 126"/>
                <a:gd name="T67" fmla="*/ 227 h 232"/>
                <a:gd name="T68" fmla="*/ 23 w 126"/>
                <a:gd name="T69" fmla="*/ 231 h 232"/>
                <a:gd name="T70" fmla="*/ 16 w 126"/>
                <a:gd name="T71" fmla="*/ 232 h 232"/>
                <a:gd name="T72" fmla="*/ 16 w 126"/>
                <a:gd name="T73" fmla="*/ 23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6" h="232">
                  <a:moveTo>
                    <a:pt x="16" y="232"/>
                  </a:moveTo>
                  <a:lnTo>
                    <a:pt x="16" y="232"/>
                  </a:lnTo>
                  <a:lnTo>
                    <a:pt x="10" y="231"/>
                  </a:lnTo>
                  <a:lnTo>
                    <a:pt x="6" y="227"/>
                  </a:lnTo>
                  <a:lnTo>
                    <a:pt x="6" y="227"/>
                  </a:lnTo>
                  <a:lnTo>
                    <a:pt x="1" y="222"/>
                  </a:lnTo>
                  <a:lnTo>
                    <a:pt x="0" y="216"/>
                  </a:lnTo>
                  <a:lnTo>
                    <a:pt x="1" y="209"/>
                  </a:lnTo>
                  <a:lnTo>
                    <a:pt x="6" y="205"/>
                  </a:lnTo>
                  <a:lnTo>
                    <a:pt x="94" y="115"/>
                  </a:lnTo>
                  <a:lnTo>
                    <a:pt x="6" y="28"/>
                  </a:lnTo>
                  <a:lnTo>
                    <a:pt x="6" y="28"/>
                  </a:lnTo>
                  <a:lnTo>
                    <a:pt x="1" y="24"/>
                  </a:lnTo>
                  <a:lnTo>
                    <a:pt x="0" y="16"/>
                  </a:lnTo>
                  <a:lnTo>
                    <a:pt x="1" y="11"/>
                  </a:lnTo>
                  <a:lnTo>
                    <a:pt x="6" y="5"/>
                  </a:lnTo>
                  <a:lnTo>
                    <a:pt x="6" y="5"/>
                  </a:lnTo>
                  <a:lnTo>
                    <a:pt x="10" y="2"/>
                  </a:lnTo>
                  <a:lnTo>
                    <a:pt x="16" y="0"/>
                  </a:lnTo>
                  <a:lnTo>
                    <a:pt x="23" y="2"/>
                  </a:lnTo>
                  <a:lnTo>
                    <a:pt x="28" y="5"/>
                  </a:lnTo>
                  <a:lnTo>
                    <a:pt x="117" y="94"/>
                  </a:lnTo>
                  <a:lnTo>
                    <a:pt x="117" y="94"/>
                  </a:lnTo>
                  <a:lnTo>
                    <a:pt x="122" y="99"/>
                  </a:lnTo>
                  <a:lnTo>
                    <a:pt x="125" y="105"/>
                  </a:lnTo>
                  <a:lnTo>
                    <a:pt x="126" y="111"/>
                  </a:lnTo>
                  <a:lnTo>
                    <a:pt x="126" y="116"/>
                  </a:lnTo>
                  <a:lnTo>
                    <a:pt x="126" y="116"/>
                  </a:lnTo>
                  <a:lnTo>
                    <a:pt x="126" y="122"/>
                  </a:lnTo>
                  <a:lnTo>
                    <a:pt x="125" y="128"/>
                  </a:lnTo>
                  <a:lnTo>
                    <a:pt x="122" y="134"/>
                  </a:lnTo>
                  <a:lnTo>
                    <a:pt x="117" y="138"/>
                  </a:lnTo>
                  <a:lnTo>
                    <a:pt x="28" y="227"/>
                  </a:lnTo>
                  <a:lnTo>
                    <a:pt x="28" y="227"/>
                  </a:lnTo>
                  <a:lnTo>
                    <a:pt x="23" y="231"/>
                  </a:lnTo>
                  <a:lnTo>
                    <a:pt x="16" y="232"/>
                  </a:lnTo>
                  <a:lnTo>
                    <a:pt x="16" y="2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grpSp>
      <p:grpSp>
        <p:nvGrpSpPr>
          <p:cNvPr id="223" name="Group 222"/>
          <p:cNvGrpSpPr/>
          <p:nvPr/>
        </p:nvGrpSpPr>
        <p:grpSpPr>
          <a:xfrm>
            <a:off x="8335266" y="1740661"/>
            <a:ext cx="789983" cy="2730989"/>
            <a:chOff x="8337755" y="1739981"/>
            <a:chExt cx="790301" cy="2732088"/>
          </a:xfrm>
          <a:solidFill>
            <a:schemeClr val="accent1"/>
          </a:solidFill>
        </p:grpSpPr>
        <p:sp>
          <p:nvSpPr>
            <p:cNvPr id="224" name="Freeform 6"/>
            <p:cNvSpPr>
              <a:spLocks/>
            </p:cNvSpPr>
            <p:nvPr/>
          </p:nvSpPr>
          <p:spPr bwMode="auto">
            <a:xfrm>
              <a:off x="8845481" y="1739981"/>
              <a:ext cx="282575" cy="2732088"/>
            </a:xfrm>
            <a:custGeom>
              <a:avLst/>
              <a:gdLst>
                <a:gd name="T0" fmla="*/ 339 w 355"/>
                <a:gd name="T1" fmla="*/ 3442 h 3442"/>
                <a:gd name="T2" fmla="*/ 55 w 355"/>
                <a:gd name="T3" fmla="*/ 3442 h 3442"/>
                <a:gd name="T4" fmla="*/ 55 w 355"/>
                <a:gd name="T5" fmla="*/ 3442 h 3442"/>
                <a:gd name="T6" fmla="*/ 45 w 355"/>
                <a:gd name="T7" fmla="*/ 3441 h 3442"/>
                <a:gd name="T8" fmla="*/ 35 w 355"/>
                <a:gd name="T9" fmla="*/ 3438 h 3442"/>
                <a:gd name="T10" fmla="*/ 24 w 355"/>
                <a:gd name="T11" fmla="*/ 3432 h 3442"/>
                <a:gd name="T12" fmla="*/ 16 w 355"/>
                <a:gd name="T13" fmla="*/ 3424 h 3442"/>
                <a:gd name="T14" fmla="*/ 10 w 355"/>
                <a:gd name="T15" fmla="*/ 3417 h 3442"/>
                <a:gd name="T16" fmla="*/ 4 w 355"/>
                <a:gd name="T17" fmla="*/ 3407 h 3442"/>
                <a:gd name="T18" fmla="*/ 1 w 355"/>
                <a:gd name="T19" fmla="*/ 3396 h 3442"/>
                <a:gd name="T20" fmla="*/ 0 w 355"/>
                <a:gd name="T21" fmla="*/ 3385 h 3442"/>
                <a:gd name="T22" fmla="*/ 0 w 355"/>
                <a:gd name="T23" fmla="*/ 56 h 3442"/>
                <a:gd name="T24" fmla="*/ 0 w 355"/>
                <a:gd name="T25" fmla="*/ 56 h 3442"/>
                <a:gd name="T26" fmla="*/ 1 w 355"/>
                <a:gd name="T27" fmla="*/ 44 h 3442"/>
                <a:gd name="T28" fmla="*/ 4 w 355"/>
                <a:gd name="T29" fmla="*/ 34 h 3442"/>
                <a:gd name="T30" fmla="*/ 10 w 355"/>
                <a:gd name="T31" fmla="*/ 25 h 3442"/>
                <a:gd name="T32" fmla="*/ 16 w 355"/>
                <a:gd name="T33" fmla="*/ 16 h 3442"/>
                <a:gd name="T34" fmla="*/ 24 w 355"/>
                <a:gd name="T35" fmla="*/ 9 h 3442"/>
                <a:gd name="T36" fmla="*/ 35 w 355"/>
                <a:gd name="T37" fmla="*/ 4 h 3442"/>
                <a:gd name="T38" fmla="*/ 45 w 355"/>
                <a:gd name="T39" fmla="*/ 1 h 3442"/>
                <a:gd name="T40" fmla="*/ 55 w 355"/>
                <a:gd name="T41" fmla="*/ 0 h 3442"/>
                <a:gd name="T42" fmla="*/ 339 w 355"/>
                <a:gd name="T43" fmla="*/ 0 h 3442"/>
                <a:gd name="T44" fmla="*/ 339 w 355"/>
                <a:gd name="T45" fmla="*/ 0 h 3442"/>
                <a:gd name="T46" fmla="*/ 346 w 355"/>
                <a:gd name="T47" fmla="*/ 1 h 3442"/>
                <a:gd name="T48" fmla="*/ 351 w 355"/>
                <a:gd name="T49" fmla="*/ 4 h 3442"/>
                <a:gd name="T50" fmla="*/ 354 w 355"/>
                <a:gd name="T51" fmla="*/ 10 h 3442"/>
                <a:gd name="T52" fmla="*/ 355 w 355"/>
                <a:gd name="T53" fmla="*/ 16 h 3442"/>
                <a:gd name="T54" fmla="*/ 355 w 355"/>
                <a:gd name="T55" fmla="*/ 16 h 3442"/>
                <a:gd name="T56" fmla="*/ 354 w 355"/>
                <a:gd name="T57" fmla="*/ 24 h 3442"/>
                <a:gd name="T58" fmla="*/ 351 w 355"/>
                <a:gd name="T59" fmla="*/ 28 h 3442"/>
                <a:gd name="T60" fmla="*/ 346 w 355"/>
                <a:gd name="T61" fmla="*/ 32 h 3442"/>
                <a:gd name="T62" fmla="*/ 339 w 355"/>
                <a:gd name="T63" fmla="*/ 32 h 3442"/>
                <a:gd name="T64" fmla="*/ 55 w 355"/>
                <a:gd name="T65" fmla="*/ 32 h 3442"/>
                <a:gd name="T66" fmla="*/ 55 w 355"/>
                <a:gd name="T67" fmla="*/ 32 h 3442"/>
                <a:gd name="T68" fmla="*/ 51 w 355"/>
                <a:gd name="T69" fmla="*/ 34 h 3442"/>
                <a:gd name="T70" fmla="*/ 47 w 355"/>
                <a:gd name="T71" fmla="*/ 35 h 3442"/>
                <a:gd name="T72" fmla="*/ 39 w 355"/>
                <a:gd name="T73" fmla="*/ 40 h 3442"/>
                <a:gd name="T74" fmla="*/ 35 w 355"/>
                <a:gd name="T75" fmla="*/ 47 h 3442"/>
                <a:gd name="T76" fmla="*/ 33 w 355"/>
                <a:gd name="T77" fmla="*/ 51 h 3442"/>
                <a:gd name="T78" fmla="*/ 33 w 355"/>
                <a:gd name="T79" fmla="*/ 56 h 3442"/>
                <a:gd name="T80" fmla="*/ 33 w 355"/>
                <a:gd name="T81" fmla="*/ 3385 h 3442"/>
                <a:gd name="T82" fmla="*/ 33 w 355"/>
                <a:gd name="T83" fmla="*/ 3385 h 3442"/>
                <a:gd name="T84" fmla="*/ 33 w 355"/>
                <a:gd name="T85" fmla="*/ 3391 h 3442"/>
                <a:gd name="T86" fmla="*/ 35 w 355"/>
                <a:gd name="T87" fmla="*/ 3395 h 3442"/>
                <a:gd name="T88" fmla="*/ 39 w 355"/>
                <a:gd name="T89" fmla="*/ 3402 h 3442"/>
                <a:gd name="T90" fmla="*/ 47 w 355"/>
                <a:gd name="T91" fmla="*/ 3407 h 3442"/>
                <a:gd name="T92" fmla="*/ 51 w 355"/>
                <a:gd name="T93" fmla="*/ 3408 h 3442"/>
                <a:gd name="T94" fmla="*/ 55 w 355"/>
                <a:gd name="T95" fmla="*/ 3408 h 3442"/>
                <a:gd name="T96" fmla="*/ 339 w 355"/>
                <a:gd name="T97" fmla="*/ 3408 h 3442"/>
                <a:gd name="T98" fmla="*/ 339 w 355"/>
                <a:gd name="T99" fmla="*/ 3408 h 3442"/>
                <a:gd name="T100" fmla="*/ 346 w 355"/>
                <a:gd name="T101" fmla="*/ 3410 h 3442"/>
                <a:gd name="T102" fmla="*/ 351 w 355"/>
                <a:gd name="T103" fmla="*/ 3414 h 3442"/>
                <a:gd name="T104" fmla="*/ 354 w 355"/>
                <a:gd name="T105" fmla="*/ 3418 h 3442"/>
                <a:gd name="T106" fmla="*/ 355 w 355"/>
                <a:gd name="T107" fmla="*/ 3424 h 3442"/>
                <a:gd name="T108" fmla="*/ 355 w 355"/>
                <a:gd name="T109" fmla="*/ 3424 h 3442"/>
                <a:gd name="T110" fmla="*/ 354 w 355"/>
                <a:gd name="T111" fmla="*/ 3432 h 3442"/>
                <a:gd name="T112" fmla="*/ 351 w 355"/>
                <a:gd name="T113" fmla="*/ 3436 h 3442"/>
                <a:gd name="T114" fmla="*/ 346 w 355"/>
                <a:gd name="T115" fmla="*/ 3441 h 3442"/>
                <a:gd name="T116" fmla="*/ 339 w 355"/>
                <a:gd name="T117" fmla="*/ 3442 h 3442"/>
                <a:gd name="T118" fmla="*/ 339 w 355"/>
                <a:gd name="T119" fmla="*/ 3442 h 3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5" h="3442">
                  <a:moveTo>
                    <a:pt x="339" y="3442"/>
                  </a:moveTo>
                  <a:lnTo>
                    <a:pt x="55" y="3442"/>
                  </a:lnTo>
                  <a:lnTo>
                    <a:pt x="55" y="3442"/>
                  </a:lnTo>
                  <a:lnTo>
                    <a:pt x="45" y="3441"/>
                  </a:lnTo>
                  <a:lnTo>
                    <a:pt x="35" y="3438"/>
                  </a:lnTo>
                  <a:lnTo>
                    <a:pt x="24" y="3432"/>
                  </a:lnTo>
                  <a:lnTo>
                    <a:pt x="16" y="3424"/>
                  </a:lnTo>
                  <a:lnTo>
                    <a:pt x="10" y="3417"/>
                  </a:lnTo>
                  <a:lnTo>
                    <a:pt x="4" y="3407"/>
                  </a:lnTo>
                  <a:lnTo>
                    <a:pt x="1" y="3396"/>
                  </a:lnTo>
                  <a:lnTo>
                    <a:pt x="0" y="3385"/>
                  </a:lnTo>
                  <a:lnTo>
                    <a:pt x="0" y="56"/>
                  </a:lnTo>
                  <a:lnTo>
                    <a:pt x="0" y="56"/>
                  </a:lnTo>
                  <a:lnTo>
                    <a:pt x="1" y="44"/>
                  </a:lnTo>
                  <a:lnTo>
                    <a:pt x="4" y="34"/>
                  </a:lnTo>
                  <a:lnTo>
                    <a:pt x="10" y="25"/>
                  </a:lnTo>
                  <a:lnTo>
                    <a:pt x="16" y="16"/>
                  </a:lnTo>
                  <a:lnTo>
                    <a:pt x="24" y="9"/>
                  </a:lnTo>
                  <a:lnTo>
                    <a:pt x="35" y="4"/>
                  </a:lnTo>
                  <a:lnTo>
                    <a:pt x="45" y="1"/>
                  </a:lnTo>
                  <a:lnTo>
                    <a:pt x="55" y="0"/>
                  </a:lnTo>
                  <a:lnTo>
                    <a:pt x="339" y="0"/>
                  </a:lnTo>
                  <a:lnTo>
                    <a:pt x="339" y="0"/>
                  </a:lnTo>
                  <a:lnTo>
                    <a:pt x="346" y="1"/>
                  </a:lnTo>
                  <a:lnTo>
                    <a:pt x="351" y="4"/>
                  </a:lnTo>
                  <a:lnTo>
                    <a:pt x="354" y="10"/>
                  </a:lnTo>
                  <a:lnTo>
                    <a:pt x="355" y="16"/>
                  </a:lnTo>
                  <a:lnTo>
                    <a:pt x="355" y="16"/>
                  </a:lnTo>
                  <a:lnTo>
                    <a:pt x="354" y="24"/>
                  </a:lnTo>
                  <a:lnTo>
                    <a:pt x="351" y="28"/>
                  </a:lnTo>
                  <a:lnTo>
                    <a:pt x="346" y="32"/>
                  </a:lnTo>
                  <a:lnTo>
                    <a:pt x="339" y="32"/>
                  </a:lnTo>
                  <a:lnTo>
                    <a:pt x="55" y="32"/>
                  </a:lnTo>
                  <a:lnTo>
                    <a:pt x="55" y="32"/>
                  </a:lnTo>
                  <a:lnTo>
                    <a:pt x="51" y="34"/>
                  </a:lnTo>
                  <a:lnTo>
                    <a:pt x="47" y="35"/>
                  </a:lnTo>
                  <a:lnTo>
                    <a:pt x="39" y="40"/>
                  </a:lnTo>
                  <a:lnTo>
                    <a:pt x="35" y="47"/>
                  </a:lnTo>
                  <a:lnTo>
                    <a:pt x="33" y="51"/>
                  </a:lnTo>
                  <a:lnTo>
                    <a:pt x="33" y="56"/>
                  </a:lnTo>
                  <a:lnTo>
                    <a:pt x="33" y="3385"/>
                  </a:lnTo>
                  <a:lnTo>
                    <a:pt x="33" y="3385"/>
                  </a:lnTo>
                  <a:lnTo>
                    <a:pt x="33" y="3391"/>
                  </a:lnTo>
                  <a:lnTo>
                    <a:pt x="35" y="3395"/>
                  </a:lnTo>
                  <a:lnTo>
                    <a:pt x="39" y="3402"/>
                  </a:lnTo>
                  <a:lnTo>
                    <a:pt x="47" y="3407"/>
                  </a:lnTo>
                  <a:lnTo>
                    <a:pt x="51" y="3408"/>
                  </a:lnTo>
                  <a:lnTo>
                    <a:pt x="55" y="3408"/>
                  </a:lnTo>
                  <a:lnTo>
                    <a:pt x="339" y="3408"/>
                  </a:lnTo>
                  <a:lnTo>
                    <a:pt x="339" y="3408"/>
                  </a:lnTo>
                  <a:lnTo>
                    <a:pt x="346" y="3410"/>
                  </a:lnTo>
                  <a:lnTo>
                    <a:pt x="351" y="3414"/>
                  </a:lnTo>
                  <a:lnTo>
                    <a:pt x="354" y="3418"/>
                  </a:lnTo>
                  <a:lnTo>
                    <a:pt x="355" y="3424"/>
                  </a:lnTo>
                  <a:lnTo>
                    <a:pt x="355" y="3424"/>
                  </a:lnTo>
                  <a:lnTo>
                    <a:pt x="354" y="3432"/>
                  </a:lnTo>
                  <a:lnTo>
                    <a:pt x="351" y="3436"/>
                  </a:lnTo>
                  <a:lnTo>
                    <a:pt x="346" y="3441"/>
                  </a:lnTo>
                  <a:lnTo>
                    <a:pt x="339" y="3442"/>
                  </a:lnTo>
                  <a:lnTo>
                    <a:pt x="339" y="34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225" name="Freeform 11"/>
            <p:cNvSpPr>
              <a:spLocks/>
            </p:cNvSpPr>
            <p:nvPr/>
          </p:nvSpPr>
          <p:spPr bwMode="auto">
            <a:xfrm>
              <a:off x="8337755" y="3141744"/>
              <a:ext cx="512763" cy="25400"/>
            </a:xfrm>
            <a:custGeom>
              <a:avLst/>
              <a:gdLst>
                <a:gd name="T0" fmla="*/ 630 w 647"/>
                <a:gd name="T1" fmla="*/ 32 h 32"/>
                <a:gd name="T2" fmla="*/ 16 w 647"/>
                <a:gd name="T3" fmla="*/ 32 h 32"/>
                <a:gd name="T4" fmla="*/ 16 w 647"/>
                <a:gd name="T5" fmla="*/ 32 h 32"/>
                <a:gd name="T6" fmla="*/ 11 w 647"/>
                <a:gd name="T7" fmla="*/ 31 h 32"/>
                <a:gd name="T8" fmla="*/ 5 w 647"/>
                <a:gd name="T9" fmla="*/ 28 h 32"/>
                <a:gd name="T10" fmla="*/ 2 w 647"/>
                <a:gd name="T11" fmla="*/ 22 h 32"/>
                <a:gd name="T12" fmla="*/ 0 w 647"/>
                <a:gd name="T13" fmla="*/ 16 h 32"/>
                <a:gd name="T14" fmla="*/ 0 w 647"/>
                <a:gd name="T15" fmla="*/ 16 h 32"/>
                <a:gd name="T16" fmla="*/ 2 w 647"/>
                <a:gd name="T17" fmla="*/ 10 h 32"/>
                <a:gd name="T18" fmla="*/ 5 w 647"/>
                <a:gd name="T19" fmla="*/ 4 h 32"/>
                <a:gd name="T20" fmla="*/ 11 w 647"/>
                <a:gd name="T21" fmla="*/ 1 h 32"/>
                <a:gd name="T22" fmla="*/ 16 w 647"/>
                <a:gd name="T23" fmla="*/ 0 h 32"/>
                <a:gd name="T24" fmla="*/ 630 w 647"/>
                <a:gd name="T25" fmla="*/ 0 h 32"/>
                <a:gd name="T26" fmla="*/ 630 w 647"/>
                <a:gd name="T27" fmla="*/ 0 h 32"/>
                <a:gd name="T28" fmla="*/ 638 w 647"/>
                <a:gd name="T29" fmla="*/ 1 h 32"/>
                <a:gd name="T30" fmla="*/ 642 w 647"/>
                <a:gd name="T31" fmla="*/ 4 h 32"/>
                <a:gd name="T32" fmla="*/ 647 w 647"/>
                <a:gd name="T33" fmla="*/ 10 h 32"/>
                <a:gd name="T34" fmla="*/ 647 w 647"/>
                <a:gd name="T35" fmla="*/ 16 h 32"/>
                <a:gd name="T36" fmla="*/ 647 w 647"/>
                <a:gd name="T37" fmla="*/ 16 h 32"/>
                <a:gd name="T38" fmla="*/ 647 w 647"/>
                <a:gd name="T39" fmla="*/ 22 h 32"/>
                <a:gd name="T40" fmla="*/ 642 w 647"/>
                <a:gd name="T41" fmla="*/ 28 h 32"/>
                <a:gd name="T42" fmla="*/ 638 w 647"/>
                <a:gd name="T43" fmla="*/ 31 h 32"/>
                <a:gd name="T44" fmla="*/ 630 w 647"/>
                <a:gd name="T45" fmla="*/ 32 h 32"/>
                <a:gd name="T46" fmla="*/ 630 w 647"/>
                <a:gd name="T4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47" h="32">
                  <a:moveTo>
                    <a:pt x="630" y="32"/>
                  </a:moveTo>
                  <a:lnTo>
                    <a:pt x="16" y="32"/>
                  </a:lnTo>
                  <a:lnTo>
                    <a:pt x="16" y="32"/>
                  </a:lnTo>
                  <a:lnTo>
                    <a:pt x="11" y="31"/>
                  </a:lnTo>
                  <a:lnTo>
                    <a:pt x="5" y="28"/>
                  </a:lnTo>
                  <a:lnTo>
                    <a:pt x="2" y="22"/>
                  </a:lnTo>
                  <a:lnTo>
                    <a:pt x="0" y="16"/>
                  </a:lnTo>
                  <a:lnTo>
                    <a:pt x="0" y="16"/>
                  </a:lnTo>
                  <a:lnTo>
                    <a:pt x="2" y="10"/>
                  </a:lnTo>
                  <a:lnTo>
                    <a:pt x="5" y="4"/>
                  </a:lnTo>
                  <a:lnTo>
                    <a:pt x="11" y="1"/>
                  </a:lnTo>
                  <a:lnTo>
                    <a:pt x="16" y="0"/>
                  </a:lnTo>
                  <a:lnTo>
                    <a:pt x="630" y="0"/>
                  </a:lnTo>
                  <a:lnTo>
                    <a:pt x="630" y="0"/>
                  </a:lnTo>
                  <a:lnTo>
                    <a:pt x="638" y="1"/>
                  </a:lnTo>
                  <a:lnTo>
                    <a:pt x="642" y="4"/>
                  </a:lnTo>
                  <a:lnTo>
                    <a:pt x="647" y="10"/>
                  </a:lnTo>
                  <a:lnTo>
                    <a:pt x="647" y="16"/>
                  </a:lnTo>
                  <a:lnTo>
                    <a:pt x="647" y="16"/>
                  </a:lnTo>
                  <a:lnTo>
                    <a:pt x="647" y="22"/>
                  </a:lnTo>
                  <a:lnTo>
                    <a:pt x="642" y="28"/>
                  </a:lnTo>
                  <a:lnTo>
                    <a:pt x="638" y="31"/>
                  </a:lnTo>
                  <a:lnTo>
                    <a:pt x="630" y="32"/>
                  </a:lnTo>
                  <a:lnTo>
                    <a:pt x="630"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226" name="Freeform 12"/>
            <p:cNvSpPr>
              <a:spLocks/>
            </p:cNvSpPr>
            <p:nvPr/>
          </p:nvSpPr>
          <p:spPr bwMode="auto">
            <a:xfrm>
              <a:off x="8752092" y="3062369"/>
              <a:ext cx="98425" cy="184150"/>
            </a:xfrm>
            <a:custGeom>
              <a:avLst/>
              <a:gdLst>
                <a:gd name="T0" fmla="*/ 16 w 125"/>
                <a:gd name="T1" fmla="*/ 232 h 232"/>
                <a:gd name="T2" fmla="*/ 16 w 125"/>
                <a:gd name="T3" fmla="*/ 232 h 232"/>
                <a:gd name="T4" fmla="*/ 10 w 125"/>
                <a:gd name="T5" fmla="*/ 231 h 232"/>
                <a:gd name="T6" fmla="*/ 4 w 125"/>
                <a:gd name="T7" fmla="*/ 226 h 232"/>
                <a:gd name="T8" fmla="*/ 4 w 125"/>
                <a:gd name="T9" fmla="*/ 226 h 232"/>
                <a:gd name="T10" fmla="*/ 0 w 125"/>
                <a:gd name="T11" fmla="*/ 222 h 232"/>
                <a:gd name="T12" fmla="*/ 0 w 125"/>
                <a:gd name="T13" fmla="*/ 216 h 232"/>
                <a:gd name="T14" fmla="*/ 0 w 125"/>
                <a:gd name="T15" fmla="*/ 209 h 232"/>
                <a:gd name="T16" fmla="*/ 4 w 125"/>
                <a:gd name="T17" fmla="*/ 204 h 232"/>
                <a:gd name="T18" fmla="*/ 92 w 125"/>
                <a:gd name="T19" fmla="*/ 114 h 232"/>
                <a:gd name="T20" fmla="*/ 4 w 125"/>
                <a:gd name="T21" fmla="*/ 28 h 232"/>
                <a:gd name="T22" fmla="*/ 4 w 125"/>
                <a:gd name="T23" fmla="*/ 28 h 232"/>
                <a:gd name="T24" fmla="*/ 0 w 125"/>
                <a:gd name="T25" fmla="*/ 23 h 232"/>
                <a:gd name="T26" fmla="*/ 0 w 125"/>
                <a:gd name="T27" fmla="*/ 16 h 232"/>
                <a:gd name="T28" fmla="*/ 0 w 125"/>
                <a:gd name="T29" fmla="*/ 10 h 232"/>
                <a:gd name="T30" fmla="*/ 4 w 125"/>
                <a:gd name="T31" fmla="*/ 4 h 232"/>
                <a:gd name="T32" fmla="*/ 4 w 125"/>
                <a:gd name="T33" fmla="*/ 4 h 232"/>
                <a:gd name="T34" fmla="*/ 10 w 125"/>
                <a:gd name="T35" fmla="*/ 1 h 232"/>
                <a:gd name="T36" fmla="*/ 16 w 125"/>
                <a:gd name="T37" fmla="*/ 0 h 232"/>
                <a:gd name="T38" fmla="*/ 22 w 125"/>
                <a:gd name="T39" fmla="*/ 1 h 232"/>
                <a:gd name="T40" fmla="*/ 28 w 125"/>
                <a:gd name="T41" fmla="*/ 4 h 232"/>
                <a:gd name="T42" fmla="*/ 116 w 125"/>
                <a:gd name="T43" fmla="*/ 94 h 232"/>
                <a:gd name="T44" fmla="*/ 116 w 125"/>
                <a:gd name="T45" fmla="*/ 94 h 232"/>
                <a:gd name="T46" fmla="*/ 120 w 125"/>
                <a:gd name="T47" fmla="*/ 98 h 232"/>
                <a:gd name="T48" fmla="*/ 123 w 125"/>
                <a:gd name="T49" fmla="*/ 104 h 232"/>
                <a:gd name="T50" fmla="*/ 125 w 125"/>
                <a:gd name="T51" fmla="*/ 110 h 232"/>
                <a:gd name="T52" fmla="*/ 125 w 125"/>
                <a:gd name="T53" fmla="*/ 116 h 232"/>
                <a:gd name="T54" fmla="*/ 125 w 125"/>
                <a:gd name="T55" fmla="*/ 116 h 232"/>
                <a:gd name="T56" fmla="*/ 125 w 125"/>
                <a:gd name="T57" fmla="*/ 122 h 232"/>
                <a:gd name="T58" fmla="*/ 123 w 125"/>
                <a:gd name="T59" fmla="*/ 128 h 232"/>
                <a:gd name="T60" fmla="*/ 120 w 125"/>
                <a:gd name="T61" fmla="*/ 134 h 232"/>
                <a:gd name="T62" fmla="*/ 116 w 125"/>
                <a:gd name="T63" fmla="*/ 138 h 232"/>
                <a:gd name="T64" fmla="*/ 28 w 125"/>
                <a:gd name="T65" fmla="*/ 226 h 232"/>
                <a:gd name="T66" fmla="*/ 28 w 125"/>
                <a:gd name="T67" fmla="*/ 226 h 232"/>
                <a:gd name="T68" fmla="*/ 22 w 125"/>
                <a:gd name="T69" fmla="*/ 231 h 232"/>
                <a:gd name="T70" fmla="*/ 16 w 125"/>
                <a:gd name="T71" fmla="*/ 232 h 232"/>
                <a:gd name="T72" fmla="*/ 16 w 125"/>
                <a:gd name="T73" fmla="*/ 23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5" h="232">
                  <a:moveTo>
                    <a:pt x="16" y="232"/>
                  </a:moveTo>
                  <a:lnTo>
                    <a:pt x="16" y="232"/>
                  </a:lnTo>
                  <a:lnTo>
                    <a:pt x="10" y="231"/>
                  </a:lnTo>
                  <a:lnTo>
                    <a:pt x="4" y="226"/>
                  </a:lnTo>
                  <a:lnTo>
                    <a:pt x="4" y="226"/>
                  </a:lnTo>
                  <a:lnTo>
                    <a:pt x="0" y="222"/>
                  </a:lnTo>
                  <a:lnTo>
                    <a:pt x="0" y="216"/>
                  </a:lnTo>
                  <a:lnTo>
                    <a:pt x="0" y="209"/>
                  </a:lnTo>
                  <a:lnTo>
                    <a:pt x="4" y="204"/>
                  </a:lnTo>
                  <a:lnTo>
                    <a:pt x="92" y="114"/>
                  </a:lnTo>
                  <a:lnTo>
                    <a:pt x="4" y="28"/>
                  </a:lnTo>
                  <a:lnTo>
                    <a:pt x="4" y="28"/>
                  </a:lnTo>
                  <a:lnTo>
                    <a:pt x="0" y="23"/>
                  </a:lnTo>
                  <a:lnTo>
                    <a:pt x="0" y="16"/>
                  </a:lnTo>
                  <a:lnTo>
                    <a:pt x="0" y="10"/>
                  </a:lnTo>
                  <a:lnTo>
                    <a:pt x="4" y="4"/>
                  </a:lnTo>
                  <a:lnTo>
                    <a:pt x="4" y="4"/>
                  </a:lnTo>
                  <a:lnTo>
                    <a:pt x="10" y="1"/>
                  </a:lnTo>
                  <a:lnTo>
                    <a:pt x="16" y="0"/>
                  </a:lnTo>
                  <a:lnTo>
                    <a:pt x="22" y="1"/>
                  </a:lnTo>
                  <a:lnTo>
                    <a:pt x="28" y="4"/>
                  </a:lnTo>
                  <a:lnTo>
                    <a:pt x="116" y="94"/>
                  </a:lnTo>
                  <a:lnTo>
                    <a:pt x="116" y="94"/>
                  </a:lnTo>
                  <a:lnTo>
                    <a:pt x="120" y="98"/>
                  </a:lnTo>
                  <a:lnTo>
                    <a:pt x="123" y="104"/>
                  </a:lnTo>
                  <a:lnTo>
                    <a:pt x="125" y="110"/>
                  </a:lnTo>
                  <a:lnTo>
                    <a:pt x="125" y="116"/>
                  </a:lnTo>
                  <a:lnTo>
                    <a:pt x="125" y="116"/>
                  </a:lnTo>
                  <a:lnTo>
                    <a:pt x="125" y="122"/>
                  </a:lnTo>
                  <a:lnTo>
                    <a:pt x="123" y="128"/>
                  </a:lnTo>
                  <a:lnTo>
                    <a:pt x="120" y="134"/>
                  </a:lnTo>
                  <a:lnTo>
                    <a:pt x="116" y="138"/>
                  </a:lnTo>
                  <a:lnTo>
                    <a:pt x="28" y="226"/>
                  </a:lnTo>
                  <a:lnTo>
                    <a:pt x="28" y="226"/>
                  </a:lnTo>
                  <a:lnTo>
                    <a:pt x="22" y="231"/>
                  </a:lnTo>
                  <a:lnTo>
                    <a:pt x="16" y="232"/>
                  </a:lnTo>
                  <a:lnTo>
                    <a:pt x="16" y="2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grpSp>
      <p:grpSp>
        <p:nvGrpSpPr>
          <p:cNvPr id="227" name="Group 226"/>
          <p:cNvGrpSpPr/>
          <p:nvPr/>
        </p:nvGrpSpPr>
        <p:grpSpPr>
          <a:xfrm>
            <a:off x="8222130" y="3424487"/>
            <a:ext cx="312612" cy="184076"/>
            <a:chOff x="-2597151" y="4195763"/>
            <a:chExt cx="312738" cy="184150"/>
          </a:xfrm>
          <a:solidFill>
            <a:schemeClr val="accent1"/>
          </a:solidFill>
        </p:grpSpPr>
        <p:sp>
          <p:nvSpPr>
            <p:cNvPr id="228" name="Freeform 13"/>
            <p:cNvSpPr>
              <a:spLocks/>
            </p:cNvSpPr>
            <p:nvPr/>
          </p:nvSpPr>
          <p:spPr bwMode="auto">
            <a:xfrm>
              <a:off x="-2490788" y="4275138"/>
              <a:ext cx="206375" cy="25400"/>
            </a:xfrm>
            <a:custGeom>
              <a:avLst/>
              <a:gdLst>
                <a:gd name="T0" fmla="*/ 244 w 260"/>
                <a:gd name="T1" fmla="*/ 33 h 33"/>
                <a:gd name="T2" fmla="*/ 16 w 260"/>
                <a:gd name="T3" fmla="*/ 33 h 33"/>
                <a:gd name="T4" fmla="*/ 16 w 260"/>
                <a:gd name="T5" fmla="*/ 33 h 33"/>
                <a:gd name="T6" fmla="*/ 11 w 260"/>
                <a:gd name="T7" fmla="*/ 31 h 33"/>
                <a:gd name="T8" fmla="*/ 5 w 260"/>
                <a:gd name="T9" fmla="*/ 28 h 33"/>
                <a:gd name="T10" fmla="*/ 2 w 260"/>
                <a:gd name="T11" fmla="*/ 22 h 33"/>
                <a:gd name="T12" fmla="*/ 0 w 260"/>
                <a:gd name="T13" fmla="*/ 16 h 33"/>
                <a:gd name="T14" fmla="*/ 0 w 260"/>
                <a:gd name="T15" fmla="*/ 16 h 33"/>
                <a:gd name="T16" fmla="*/ 2 w 260"/>
                <a:gd name="T17" fmla="*/ 11 h 33"/>
                <a:gd name="T18" fmla="*/ 5 w 260"/>
                <a:gd name="T19" fmla="*/ 5 h 33"/>
                <a:gd name="T20" fmla="*/ 11 w 260"/>
                <a:gd name="T21" fmla="*/ 2 h 33"/>
                <a:gd name="T22" fmla="*/ 16 w 260"/>
                <a:gd name="T23" fmla="*/ 0 h 33"/>
                <a:gd name="T24" fmla="*/ 244 w 260"/>
                <a:gd name="T25" fmla="*/ 0 h 33"/>
                <a:gd name="T26" fmla="*/ 244 w 260"/>
                <a:gd name="T27" fmla="*/ 0 h 33"/>
                <a:gd name="T28" fmla="*/ 250 w 260"/>
                <a:gd name="T29" fmla="*/ 2 h 33"/>
                <a:gd name="T30" fmla="*/ 256 w 260"/>
                <a:gd name="T31" fmla="*/ 5 h 33"/>
                <a:gd name="T32" fmla="*/ 259 w 260"/>
                <a:gd name="T33" fmla="*/ 11 h 33"/>
                <a:gd name="T34" fmla="*/ 260 w 260"/>
                <a:gd name="T35" fmla="*/ 16 h 33"/>
                <a:gd name="T36" fmla="*/ 260 w 260"/>
                <a:gd name="T37" fmla="*/ 16 h 33"/>
                <a:gd name="T38" fmla="*/ 259 w 260"/>
                <a:gd name="T39" fmla="*/ 22 h 33"/>
                <a:gd name="T40" fmla="*/ 256 w 260"/>
                <a:gd name="T41" fmla="*/ 28 h 33"/>
                <a:gd name="T42" fmla="*/ 250 w 260"/>
                <a:gd name="T43" fmla="*/ 31 h 33"/>
                <a:gd name="T44" fmla="*/ 244 w 260"/>
                <a:gd name="T45" fmla="*/ 33 h 33"/>
                <a:gd name="T46" fmla="*/ 244 w 260"/>
                <a:gd name="T4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0" h="33">
                  <a:moveTo>
                    <a:pt x="244" y="33"/>
                  </a:moveTo>
                  <a:lnTo>
                    <a:pt x="16" y="33"/>
                  </a:lnTo>
                  <a:lnTo>
                    <a:pt x="16" y="33"/>
                  </a:lnTo>
                  <a:lnTo>
                    <a:pt x="11" y="31"/>
                  </a:lnTo>
                  <a:lnTo>
                    <a:pt x="5" y="28"/>
                  </a:lnTo>
                  <a:lnTo>
                    <a:pt x="2" y="22"/>
                  </a:lnTo>
                  <a:lnTo>
                    <a:pt x="0" y="16"/>
                  </a:lnTo>
                  <a:lnTo>
                    <a:pt x="0" y="16"/>
                  </a:lnTo>
                  <a:lnTo>
                    <a:pt x="2" y="11"/>
                  </a:lnTo>
                  <a:lnTo>
                    <a:pt x="5" y="5"/>
                  </a:lnTo>
                  <a:lnTo>
                    <a:pt x="11" y="2"/>
                  </a:lnTo>
                  <a:lnTo>
                    <a:pt x="16" y="0"/>
                  </a:lnTo>
                  <a:lnTo>
                    <a:pt x="244" y="0"/>
                  </a:lnTo>
                  <a:lnTo>
                    <a:pt x="244" y="0"/>
                  </a:lnTo>
                  <a:lnTo>
                    <a:pt x="250" y="2"/>
                  </a:lnTo>
                  <a:lnTo>
                    <a:pt x="256" y="5"/>
                  </a:lnTo>
                  <a:lnTo>
                    <a:pt x="259" y="11"/>
                  </a:lnTo>
                  <a:lnTo>
                    <a:pt x="260" y="16"/>
                  </a:lnTo>
                  <a:lnTo>
                    <a:pt x="260" y="16"/>
                  </a:lnTo>
                  <a:lnTo>
                    <a:pt x="259" y="22"/>
                  </a:lnTo>
                  <a:lnTo>
                    <a:pt x="256" y="28"/>
                  </a:lnTo>
                  <a:lnTo>
                    <a:pt x="250" y="31"/>
                  </a:lnTo>
                  <a:lnTo>
                    <a:pt x="244" y="33"/>
                  </a:lnTo>
                  <a:lnTo>
                    <a:pt x="244"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229" name="Freeform 14"/>
            <p:cNvSpPr>
              <a:spLocks/>
            </p:cNvSpPr>
            <p:nvPr/>
          </p:nvSpPr>
          <p:spPr bwMode="auto">
            <a:xfrm>
              <a:off x="-2597151" y="4275138"/>
              <a:ext cx="92075" cy="25400"/>
            </a:xfrm>
            <a:custGeom>
              <a:avLst/>
              <a:gdLst>
                <a:gd name="T0" fmla="*/ 98 w 114"/>
                <a:gd name="T1" fmla="*/ 33 h 33"/>
                <a:gd name="T2" fmla="*/ 16 w 114"/>
                <a:gd name="T3" fmla="*/ 33 h 33"/>
                <a:gd name="T4" fmla="*/ 16 w 114"/>
                <a:gd name="T5" fmla="*/ 33 h 33"/>
                <a:gd name="T6" fmla="*/ 8 w 114"/>
                <a:gd name="T7" fmla="*/ 31 h 33"/>
                <a:gd name="T8" fmla="*/ 4 w 114"/>
                <a:gd name="T9" fmla="*/ 28 h 33"/>
                <a:gd name="T10" fmla="*/ 0 w 114"/>
                <a:gd name="T11" fmla="*/ 22 h 33"/>
                <a:gd name="T12" fmla="*/ 0 w 114"/>
                <a:gd name="T13" fmla="*/ 16 h 33"/>
                <a:gd name="T14" fmla="*/ 0 w 114"/>
                <a:gd name="T15" fmla="*/ 16 h 33"/>
                <a:gd name="T16" fmla="*/ 0 w 114"/>
                <a:gd name="T17" fmla="*/ 11 h 33"/>
                <a:gd name="T18" fmla="*/ 4 w 114"/>
                <a:gd name="T19" fmla="*/ 5 h 33"/>
                <a:gd name="T20" fmla="*/ 8 w 114"/>
                <a:gd name="T21" fmla="*/ 2 h 33"/>
                <a:gd name="T22" fmla="*/ 16 w 114"/>
                <a:gd name="T23" fmla="*/ 0 h 33"/>
                <a:gd name="T24" fmla="*/ 98 w 114"/>
                <a:gd name="T25" fmla="*/ 0 h 33"/>
                <a:gd name="T26" fmla="*/ 98 w 114"/>
                <a:gd name="T27" fmla="*/ 0 h 33"/>
                <a:gd name="T28" fmla="*/ 104 w 114"/>
                <a:gd name="T29" fmla="*/ 2 h 33"/>
                <a:gd name="T30" fmla="*/ 110 w 114"/>
                <a:gd name="T31" fmla="*/ 5 h 33"/>
                <a:gd name="T32" fmla="*/ 113 w 114"/>
                <a:gd name="T33" fmla="*/ 11 h 33"/>
                <a:gd name="T34" fmla="*/ 114 w 114"/>
                <a:gd name="T35" fmla="*/ 16 h 33"/>
                <a:gd name="T36" fmla="*/ 114 w 114"/>
                <a:gd name="T37" fmla="*/ 16 h 33"/>
                <a:gd name="T38" fmla="*/ 113 w 114"/>
                <a:gd name="T39" fmla="*/ 22 h 33"/>
                <a:gd name="T40" fmla="*/ 110 w 114"/>
                <a:gd name="T41" fmla="*/ 28 h 33"/>
                <a:gd name="T42" fmla="*/ 104 w 114"/>
                <a:gd name="T43" fmla="*/ 31 h 33"/>
                <a:gd name="T44" fmla="*/ 98 w 114"/>
                <a:gd name="T45" fmla="*/ 33 h 33"/>
                <a:gd name="T46" fmla="*/ 98 w 114"/>
                <a:gd name="T4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4" h="33">
                  <a:moveTo>
                    <a:pt x="98" y="33"/>
                  </a:moveTo>
                  <a:lnTo>
                    <a:pt x="16" y="33"/>
                  </a:lnTo>
                  <a:lnTo>
                    <a:pt x="16" y="33"/>
                  </a:lnTo>
                  <a:lnTo>
                    <a:pt x="8" y="31"/>
                  </a:lnTo>
                  <a:lnTo>
                    <a:pt x="4" y="28"/>
                  </a:lnTo>
                  <a:lnTo>
                    <a:pt x="0" y="22"/>
                  </a:lnTo>
                  <a:lnTo>
                    <a:pt x="0" y="16"/>
                  </a:lnTo>
                  <a:lnTo>
                    <a:pt x="0" y="16"/>
                  </a:lnTo>
                  <a:lnTo>
                    <a:pt x="0" y="11"/>
                  </a:lnTo>
                  <a:lnTo>
                    <a:pt x="4" y="5"/>
                  </a:lnTo>
                  <a:lnTo>
                    <a:pt x="8" y="2"/>
                  </a:lnTo>
                  <a:lnTo>
                    <a:pt x="16" y="0"/>
                  </a:lnTo>
                  <a:lnTo>
                    <a:pt x="98" y="0"/>
                  </a:lnTo>
                  <a:lnTo>
                    <a:pt x="98" y="0"/>
                  </a:lnTo>
                  <a:lnTo>
                    <a:pt x="104" y="2"/>
                  </a:lnTo>
                  <a:lnTo>
                    <a:pt x="110" y="5"/>
                  </a:lnTo>
                  <a:lnTo>
                    <a:pt x="113" y="11"/>
                  </a:lnTo>
                  <a:lnTo>
                    <a:pt x="114" y="16"/>
                  </a:lnTo>
                  <a:lnTo>
                    <a:pt x="114" y="16"/>
                  </a:lnTo>
                  <a:lnTo>
                    <a:pt x="113" y="22"/>
                  </a:lnTo>
                  <a:lnTo>
                    <a:pt x="110" y="28"/>
                  </a:lnTo>
                  <a:lnTo>
                    <a:pt x="104" y="31"/>
                  </a:lnTo>
                  <a:lnTo>
                    <a:pt x="98" y="33"/>
                  </a:lnTo>
                  <a:lnTo>
                    <a:pt x="98"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230" name="Freeform 15"/>
            <p:cNvSpPr>
              <a:spLocks/>
            </p:cNvSpPr>
            <p:nvPr/>
          </p:nvSpPr>
          <p:spPr bwMode="auto">
            <a:xfrm>
              <a:off x="-2384426" y="4195763"/>
              <a:ext cx="100013" cy="184150"/>
            </a:xfrm>
            <a:custGeom>
              <a:avLst/>
              <a:gdLst>
                <a:gd name="T0" fmla="*/ 16 w 126"/>
                <a:gd name="T1" fmla="*/ 232 h 232"/>
                <a:gd name="T2" fmla="*/ 16 w 126"/>
                <a:gd name="T3" fmla="*/ 232 h 232"/>
                <a:gd name="T4" fmla="*/ 10 w 126"/>
                <a:gd name="T5" fmla="*/ 231 h 232"/>
                <a:gd name="T6" fmla="*/ 6 w 126"/>
                <a:gd name="T7" fmla="*/ 227 h 232"/>
                <a:gd name="T8" fmla="*/ 6 w 126"/>
                <a:gd name="T9" fmla="*/ 227 h 232"/>
                <a:gd name="T10" fmla="*/ 1 w 126"/>
                <a:gd name="T11" fmla="*/ 222 h 232"/>
                <a:gd name="T12" fmla="*/ 0 w 126"/>
                <a:gd name="T13" fmla="*/ 216 h 232"/>
                <a:gd name="T14" fmla="*/ 1 w 126"/>
                <a:gd name="T15" fmla="*/ 209 h 232"/>
                <a:gd name="T16" fmla="*/ 6 w 126"/>
                <a:gd name="T17" fmla="*/ 205 h 232"/>
                <a:gd name="T18" fmla="*/ 94 w 126"/>
                <a:gd name="T19" fmla="*/ 115 h 232"/>
                <a:gd name="T20" fmla="*/ 6 w 126"/>
                <a:gd name="T21" fmla="*/ 28 h 232"/>
                <a:gd name="T22" fmla="*/ 6 w 126"/>
                <a:gd name="T23" fmla="*/ 28 h 232"/>
                <a:gd name="T24" fmla="*/ 1 w 126"/>
                <a:gd name="T25" fmla="*/ 24 h 232"/>
                <a:gd name="T26" fmla="*/ 0 w 126"/>
                <a:gd name="T27" fmla="*/ 16 h 232"/>
                <a:gd name="T28" fmla="*/ 1 w 126"/>
                <a:gd name="T29" fmla="*/ 11 h 232"/>
                <a:gd name="T30" fmla="*/ 6 w 126"/>
                <a:gd name="T31" fmla="*/ 5 h 232"/>
                <a:gd name="T32" fmla="*/ 6 w 126"/>
                <a:gd name="T33" fmla="*/ 5 h 232"/>
                <a:gd name="T34" fmla="*/ 10 w 126"/>
                <a:gd name="T35" fmla="*/ 2 h 232"/>
                <a:gd name="T36" fmla="*/ 16 w 126"/>
                <a:gd name="T37" fmla="*/ 0 h 232"/>
                <a:gd name="T38" fmla="*/ 23 w 126"/>
                <a:gd name="T39" fmla="*/ 2 h 232"/>
                <a:gd name="T40" fmla="*/ 28 w 126"/>
                <a:gd name="T41" fmla="*/ 5 h 232"/>
                <a:gd name="T42" fmla="*/ 117 w 126"/>
                <a:gd name="T43" fmla="*/ 94 h 232"/>
                <a:gd name="T44" fmla="*/ 117 w 126"/>
                <a:gd name="T45" fmla="*/ 94 h 232"/>
                <a:gd name="T46" fmla="*/ 122 w 126"/>
                <a:gd name="T47" fmla="*/ 99 h 232"/>
                <a:gd name="T48" fmla="*/ 125 w 126"/>
                <a:gd name="T49" fmla="*/ 105 h 232"/>
                <a:gd name="T50" fmla="*/ 126 w 126"/>
                <a:gd name="T51" fmla="*/ 111 h 232"/>
                <a:gd name="T52" fmla="*/ 126 w 126"/>
                <a:gd name="T53" fmla="*/ 116 h 232"/>
                <a:gd name="T54" fmla="*/ 126 w 126"/>
                <a:gd name="T55" fmla="*/ 116 h 232"/>
                <a:gd name="T56" fmla="*/ 126 w 126"/>
                <a:gd name="T57" fmla="*/ 122 h 232"/>
                <a:gd name="T58" fmla="*/ 125 w 126"/>
                <a:gd name="T59" fmla="*/ 128 h 232"/>
                <a:gd name="T60" fmla="*/ 122 w 126"/>
                <a:gd name="T61" fmla="*/ 134 h 232"/>
                <a:gd name="T62" fmla="*/ 117 w 126"/>
                <a:gd name="T63" fmla="*/ 138 h 232"/>
                <a:gd name="T64" fmla="*/ 28 w 126"/>
                <a:gd name="T65" fmla="*/ 227 h 232"/>
                <a:gd name="T66" fmla="*/ 28 w 126"/>
                <a:gd name="T67" fmla="*/ 227 h 232"/>
                <a:gd name="T68" fmla="*/ 23 w 126"/>
                <a:gd name="T69" fmla="*/ 231 h 232"/>
                <a:gd name="T70" fmla="*/ 16 w 126"/>
                <a:gd name="T71" fmla="*/ 232 h 232"/>
                <a:gd name="T72" fmla="*/ 16 w 126"/>
                <a:gd name="T73" fmla="*/ 23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6" h="232">
                  <a:moveTo>
                    <a:pt x="16" y="232"/>
                  </a:moveTo>
                  <a:lnTo>
                    <a:pt x="16" y="232"/>
                  </a:lnTo>
                  <a:lnTo>
                    <a:pt x="10" y="231"/>
                  </a:lnTo>
                  <a:lnTo>
                    <a:pt x="6" y="227"/>
                  </a:lnTo>
                  <a:lnTo>
                    <a:pt x="6" y="227"/>
                  </a:lnTo>
                  <a:lnTo>
                    <a:pt x="1" y="222"/>
                  </a:lnTo>
                  <a:lnTo>
                    <a:pt x="0" y="216"/>
                  </a:lnTo>
                  <a:lnTo>
                    <a:pt x="1" y="209"/>
                  </a:lnTo>
                  <a:lnTo>
                    <a:pt x="6" y="205"/>
                  </a:lnTo>
                  <a:lnTo>
                    <a:pt x="94" y="115"/>
                  </a:lnTo>
                  <a:lnTo>
                    <a:pt x="6" y="28"/>
                  </a:lnTo>
                  <a:lnTo>
                    <a:pt x="6" y="28"/>
                  </a:lnTo>
                  <a:lnTo>
                    <a:pt x="1" y="24"/>
                  </a:lnTo>
                  <a:lnTo>
                    <a:pt x="0" y="16"/>
                  </a:lnTo>
                  <a:lnTo>
                    <a:pt x="1" y="11"/>
                  </a:lnTo>
                  <a:lnTo>
                    <a:pt x="6" y="5"/>
                  </a:lnTo>
                  <a:lnTo>
                    <a:pt x="6" y="5"/>
                  </a:lnTo>
                  <a:lnTo>
                    <a:pt x="10" y="2"/>
                  </a:lnTo>
                  <a:lnTo>
                    <a:pt x="16" y="0"/>
                  </a:lnTo>
                  <a:lnTo>
                    <a:pt x="23" y="2"/>
                  </a:lnTo>
                  <a:lnTo>
                    <a:pt x="28" y="5"/>
                  </a:lnTo>
                  <a:lnTo>
                    <a:pt x="117" y="94"/>
                  </a:lnTo>
                  <a:lnTo>
                    <a:pt x="117" y="94"/>
                  </a:lnTo>
                  <a:lnTo>
                    <a:pt x="122" y="99"/>
                  </a:lnTo>
                  <a:lnTo>
                    <a:pt x="125" y="105"/>
                  </a:lnTo>
                  <a:lnTo>
                    <a:pt x="126" y="111"/>
                  </a:lnTo>
                  <a:lnTo>
                    <a:pt x="126" y="116"/>
                  </a:lnTo>
                  <a:lnTo>
                    <a:pt x="126" y="116"/>
                  </a:lnTo>
                  <a:lnTo>
                    <a:pt x="126" y="122"/>
                  </a:lnTo>
                  <a:lnTo>
                    <a:pt x="125" y="128"/>
                  </a:lnTo>
                  <a:lnTo>
                    <a:pt x="122" y="134"/>
                  </a:lnTo>
                  <a:lnTo>
                    <a:pt x="117" y="138"/>
                  </a:lnTo>
                  <a:lnTo>
                    <a:pt x="28" y="227"/>
                  </a:lnTo>
                  <a:lnTo>
                    <a:pt x="28" y="227"/>
                  </a:lnTo>
                  <a:lnTo>
                    <a:pt x="23" y="231"/>
                  </a:lnTo>
                  <a:lnTo>
                    <a:pt x="16" y="232"/>
                  </a:lnTo>
                  <a:lnTo>
                    <a:pt x="16" y="2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grpSp>
      <p:pic>
        <p:nvPicPr>
          <p:cNvPr id="231" name="Picture 23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40415" y="2750380"/>
            <a:ext cx="760722" cy="890095"/>
          </a:xfrm>
          <a:prstGeom prst="rect">
            <a:avLst/>
          </a:prstGeom>
        </p:spPr>
      </p:pic>
      <p:pic>
        <p:nvPicPr>
          <p:cNvPr id="232" name="Picture 23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15499" y="3964279"/>
            <a:ext cx="844797" cy="988469"/>
          </a:xfrm>
          <a:prstGeom prst="rect">
            <a:avLst/>
          </a:prstGeom>
        </p:spPr>
      </p:pic>
      <p:pic>
        <p:nvPicPr>
          <p:cNvPr id="233" name="Picture 23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122313" y="1429605"/>
            <a:ext cx="672137" cy="786446"/>
          </a:xfrm>
          <a:prstGeom prst="rect">
            <a:avLst/>
          </a:prstGeom>
        </p:spPr>
      </p:pic>
    </p:spTree>
    <p:extLst>
      <p:ext uri="{BB962C8B-B14F-4D97-AF65-F5344CB8AC3E}">
        <p14:creationId xmlns:p14="http://schemas.microsoft.com/office/powerpoint/2010/main" val="1214445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ere are some examples of how </a:t>
            </a:r>
            <a:br>
              <a:rPr lang="en-US" dirty="0"/>
            </a:br>
            <a:r>
              <a:rPr lang="en-US" dirty="0"/>
              <a:t>our customers are staying ahead </a:t>
            </a:r>
          </a:p>
        </p:txBody>
      </p:sp>
      <p:grpSp>
        <p:nvGrpSpPr>
          <p:cNvPr id="9" name="Group 8"/>
          <p:cNvGrpSpPr/>
          <p:nvPr/>
        </p:nvGrpSpPr>
        <p:grpSpPr>
          <a:xfrm>
            <a:off x="9919756" y="2683558"/>
            <a:ext cx="1915922" cy="1774083"/>
            <a:chOff x="9922882" y="2683258"/>
            <a:chExt cx="1916693" cy="1774796"/>
          </a:xfrm>
        </p:grpSpPr>
        <p:sp>
          <p:nvSpPr>
            <p:cNvPr id="52" name="Rectangle 51"/>
            <p:cNvSpPr/>
            <p:nvPr/>
          </p:nvSpPr>
          <p:spPr bwMode="auto">
            <a:xfrm>
              <a:off x="9922882" y="3977042"/>
              <a:ext cx="1916693" cy="48101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4005">
                <a:spcAft>
                  <a:spcPts val="1200"/>
                </a:spcAft>
                <a:buSzPct val="90000"/>
              </a:pPr>
              <a:r>
                <a:rPr lang="en-US" sz="1400" kern="0" dirty="0">
                  <a:solidFill>
                    <a:schemeClr val="bg1"/>
                  </a:solidFill>
                </a:rPr>
                <a:t>Exploring new business opportunities with </a:t>
              </a:r>
              <a:r>
                <a:rPr lang="en-US" sz="1400" b="1" kern="0" dirty="0">
                  <a:solidFill>
                    <a:schemeClr val="bg1"/>
                  </a:solidFill>
                </a:rPr>
                <a:t>data-driven services</a:t>
              </a:r>
            </a:p>
          </p:txBody>
        </p:sp>
        <p:grpSp>
          <p:nvGrpSpPr>
            <p:cNvPr id="5" name="Group 4"/>
            <p:cNvGrpSpPr/>
            <p:nvPr/>
          </p:nvGrpSpPr>
          <p:grpSpPr>
            <a:xfrm>
              <a:off x="10138840" y="2683258"/>
              <a:ext cx="1293820" cy="856568"/>
              <a:chOff x="9996890" y="2240429"/>
              <a:chExt cx="1381772" cy="914796"/>
            </a:xfrm>
          </p:grpSpPr>
          <p:sp>
            <p:nvSpPr>
              <p:cNvPr id="69" name="Line 19"/>
              <p:cNvSpPr>
                <a:spLocks noChangeShapeType="1"/>
              </p:cNvSpPr>
              <p:nvPr/>
            </p:nvSpPr>
            <p:spPr bwMode="auto">
              <a:xfrm flipV="1">
                <a:off x="10148547" y="2404029"/>
                <a:ext cx="249019" cy="312050"/>
              </a:xfrm>
              <a:prstGeom prst="line">
                <a:avLst/>
              </a:prstGeom>
              <a:noFill/>
              <a:ln w="34925"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72" name="Line 22"/>
              <p:cNvSpPr>
                <a:spLocks noChangeShapeType="1"/>
              </p:cNvSpPr>
              <p:nvPr/>
            </p:nvSpPr>
            <p:spPr bwMode="auto">
              <a:xfrm>
                <a:off x="10505871" y="2404031"/>
                <a:ext cx="350073" cy="570544"/>
              </a:xfrm>
              <a:prstGeom prst="line">
                <a:avLst/>
              </a:prstGeom>
              <a:noFill/>
              <a:ln w="34925"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57" name="Oval 16"/>
              <p:cNvSpPr>
                <a:spLocks noChangeArrowheads="1"/>
              </p:cNvSpPr>
              <p:nvPr/>
            </p:nvSpPr>
            <p:spPr bwMode="auto">
              <a:xfrm>
                <a:off x="10373753" y="2240429"/>
                <a:ext cx="182880" cy="182880"/>
              </a:xfrm>
              <a:prstGeom prst="ellipse">
                <a:avLst/>
              </a:prstGeom>
              <a:noFill/>
              <a:ln w="34925"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68" name="Oval 18"/>
              <p:cNvSpPr>
                <a:spLocks noChangeArrowheads="1"/>
              </p:cNvSpPr>
              <p:nvPr/>
            </p:nvSpPr>
            <p:spPr bwMode="auto">
              <a:xfrm>
                <a:off x="9996890" y="2697453"/>
                <a:ext cx="182880" cy="182880"/>
              </a:xfrm>
              <a:prstGeom prst="ellipse">
                <a:avLst/>
              </a:prstGeom>
              <a:noFill/>
              <a:ln w="34925"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73" name="Line 19"/>
              <p:cNvSpPr>
                <a:spLocks noChangeShapeType="1"/>
              </p:cNvSpPr>
              <p:nvPr/>
            </p:nvSpPr>
            <p:spPr bwMode="auto">
              <a:xfrm flipV="1">
                <a:off x="10990642" y="2689303"/>
                <a:ext cx="249019" cy="312050"/>
              </a:xfrm>
              <a:prstGeom prst="line">
                <a:avLst/>
              </a:prstGeom>
              <a:noFill/>
              <a:ln w="34925"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56" name="Oval 15"/>
              <p:cNvSpPr>
                <a:spLocks noChangeArrowheads="1"/>
              </p:cNvSpPr>
              <p:nvPr/>
            </p:nvSpPr>
            <p:spPr bwMode="auto">
              <a:xfrm>
                <a:off x="11195782" y="2541006"/>
                <a:ext cx="182880" cy="182880"/>
              </a:xfrm>
              <a:prstGeom prst="ellipse">
                <a:avLst/>
              </a:prstGeom>
              <a:noFill/>
              <a:ln w="34925"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67" name="Oval 17"/>
              <p:cNvSpPr>
                <a:spLocks noChangeArrowheads="1"/>
              </p:cNvSpPr>
              <p:nvPr/>
            </p:nvSpPr>
            <p:spPr bwMode="auto">
              <a:xfrm>
                <a:off x="10825725" y="2972345"/>
                <a:ext cx="182880" cy="182880"/>
              </a:xfrm>
              <a:prstGeom prst="ellipse">
                <a:avLst/>
              </a:prstGeom>
              <a:noFill/>
              <a:ln w="34925"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grpSp>
      </p:grpSp>
      <p:grpSp>
        <p:nvGrpSpPr>
          <p:cNvPr id="3" name="Group 2"/>
          <p:cNvGrpSpPr/>
          <p:nvPr/>
        </p:nvGrpSpPr>
        <p:grpSpPr>
          <a:xfrm>
            <a:off x="425235" y="2441241"/>
            <a:ext cx="1902441" cy="2559290"/>
            <a:chOff x="424542" y="2440842"/>
            <a:chExt cx="1903206" cy="2560320"/>
          </a:xfrm>
        </p:grpSpPr>
        <p:sp>
          <p:nvSpPr>
            <p:cNvPr id="47" name="Rectangle 46"/>
            <p:cNvSpPr/>
            <p:nvPr/>
          </p:nvSpPr>
          <p:spPr bwMode="auto">
            <a:xfrm>
              <a:off x="424542" y="3977041"/>
              <a:ext cx="1694329" cy="8022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4005">
                <a:spcAft>
                  <a:spcPts val="1200"/>
                </a:spcAft>
                <a:buSzPct val="90000"/>
              </a:pPr>
              <a:r>
                <a:rPr lang="en-US" sz="1400" kern="0" dirty="0">
                  <a:solidFill>
                    <a:schemeClr val="bg1"/>
                  </a:solidFill>
                </a:rPr>
                <a:t>Improving visibility</a:t>
              </a:r>
              <a:br>
                <a:rPr lang="en-US" sz="1400" kern="0" dirty="0">
                  <a:solidFill>
                    <a:schemeClr val="bg1"/>
                  </a:solidFill>
                </a:rPr>
              </a:br>
              <a:r>
                <a:rPr lang="en-US" sz="1400" kern="0" dirty="0">
                  <a:solidFill>
                    <a:schemeClr val="bg1"/>
                  </a:solidFill>
                </a:rPr>
                <a:t>and making accurate predictions with </a:t>
              </a:r>
              <a:r>
                <a:rPr lang="en-US" sz="1400" b="1" kern="0" dirty="0">
                  <a:solidFill>
                    <a:schemeClr val="bg1"/>
                  </a:solidFill>
                </a:rPr>
                <a:t>remote monitoring</a:t>
              </a:r>
            </a:p>
            <a:p>
              <a:pPr marL="91404" indent="-91404" defTabSz="914005">
                <a:spcAft>
                  <a:spcPts val="1200"/>
                </a:spcAft>
                <a:buClr>
                  <a:srgbClr val="0078D7"/>
                </a:buClr>
                <a:buSzPct val="90000"/>
                <a:buFont typeface="Arial" panose="020B0604020202020204" pitchFamily="34" charset="0"/>
                <a:buChar char="•"/>
              </a:pPr>
              <a:endParaRPr lang="en-US" sz="1400" kern="0" dirty="0">
                <a:solidFill>
                  <a:schemeClr val="bg1"/>
                </a:solidFill>
              </a:endParaRPr>
            </a:p>
            <a:p>
              <a:pPr defTabSz="914005">
                <a:spcAft>
                  <a:spcPts val="1200"/>
                </a:spcAft>
                <a:buSzPct val="90000"/>
              </a:pPr>
              <a:endParaRPr lang="en-US" sz="1400" kern="0" dirty="0">
                <a:solidFill>
                  <a:schemeClr val="bg1"/>
                </a:solidFill>
              </a:endParaRPr>
            </a:p>
          </p:txBody>
        </p:sp>
        <p:grpSp>
          <p:nvGrpSpPr>
            <p:cNvPr id="36" name="Group 35"/>
            <p:cNvGrpSpPr/>
            <p:nvPr/>
          </p:nvGrpSpPr>
          <p:grpSpPr>
            <a:xfrm>
              <a:off x="478014" y="2556750"/>
              <a:ext cx="1111100" cy="1109584"/>
              <a:chOff x="-4075112" y="-1241425"/>
              <a:chExt cx="1162050" cy="1160463"/>
            </a:xfrm>
          </p:grpSpPr>
          <p:sp>
            <p:nvSpPr>
              <p:cNvPr id="37" name="Oval 7"/>
              <p:cNvSpPr>
                <a:spLocks noChangeArrowheads="1"/>
              </p:cNvSpPr>
              <p:nvPr/>
            </p:nvSpPr>
            <p:spPr bwMode="auto">
              <a:xfrm>
                <a:off x="-4075112" y="-1241425"/>
                <a:ext cx="744538" cy="755650"/>
              </a:xfrm>
              <a:prstGeom prst="ellipse">
                <a:avLst/>
              </a:prstGeom>
              <a:noFill/>
              <a:ln w="349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38" name="Line 8"/>
              <p:cNvSpPr>
                <a:spLocks noChangeShapeType="1"/>
              </p:cNvSpPr>
              <p:nvPr/>
            </p:nvSpPr>
            <p:spPr bwMode="auto">
              <a:xfrm>
                <a:off x="-3443287" y="-598487"/>
                <a:ext cx="112713" cy="112713"/>
              </a:xfrm>
              <a:prstGeom prst="line">
                <a:avLst/>
              </a:prstGeom>
              <a:noFill/>
              <a:ln w="34925"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39" name="Freeform 9"/>
              <p:cNvSpPr>
                <a:spLocks/>
              </p:cNvSpPr>
              <p:nvPr/>
            </p:nvSpPr>
            <p:spPr bwMode="auto">
              <a:xfrm>
                <a:off x="-3387725" y="-542925"/>
                <a:ext cx="474663" cy="461963"/>
              </a:xfrm>
              <a:custGeom>
                <a:avLst/>
                <a:gdLst>
                  <a:gd name="T0" fmla="*/ 299 w 299"/>
                  <a:gd name="T1" fmla="*/ 220 h 291"/>
                  <a:gd name="T2" fmla="*/ 228 w 299"/>
                  <a:gd name="T3" fmla="*/ 291 h 291"/>
                  <a:gd name="T4" fmla="*/ 0 w 299"/>
                  <a:gd name="T5" fmla="*/ 64 h 291"/>
                  <a:gd name="T6" fmla="*/ 71 w 299"/>
                  <a:gd name="T7" fmla="*/ 0 h 291"/>
                  <a:gd name="T8" fmla="*/ 299 w 299"/>
                  <a:gd name="T9" fmla="*/ 220 h 291"/>
                </a:gdLst>
                <a:ahLst/>
                <a:cxnLst>
                  <a:cxn ang="0">
                    <a:pos x="T0" y="T1"/>
                  </a:cxn>
                  <a:cxn ang="0">
                    <a:pos x="T2" y="T3"/>
                  </a:cxn>
                  <a:cxn ang="0">
                    <a:pos x="T4" y="T5"/>
                  </a:cxn>
                  <a:cxn ang="0">
                    <a:pos x="T6" y="T7"/>
                  </a:cxn>
                  <a:cxn ang="0">
                    <a:pos x="T8" y="T9"/>
                  </a:cxn>
                </a:cxnLst>
                <a:rect l="0" t="0" r="r" b="b"/>
                <a:pathLst>
                  <a:path w="299" h="291">
                    <a:moveTo>
                      <a:pt x="299" y="220"/>
                    </a:moveTo>
                    <a:lnTo>
                      <a:pt x="228" y="291"/>
                    </a:lnTo>
                    <a:lnTo>
                      <a:pt x="0" y="64"/>
                    </a:lnTo>
                    <a:lnTo>
                      <a:pt x="71" y="0"/>
                    </a:lnTo>
                    <a:lnTo>
                      <a:pt x="299" y="220"/>
                    </a:lnTo>
                    <a:close/>
                  </a:path>
                </a:pathLst>
              </a:custGeom>
              <a:noFill/>
              <a:ln w="34925"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grpSp>
        <p:cxnSp>
          <p:nvCxnSpPr>
            <p:cNvPr id="7" name="Straight Connector 6"/>
            <p:cNvCxnSpPr/>
            <p:nvPr/>
          </p:nvCxnSpPr>
          <p:spPr>
            <a:xfrm>
              <a:off x="2327748" y="2440842"/>
              <a:ext cx="0" cy="2560320"/>
            </a:xfrm>
            <a:prstGeom prst="line">
              <a:avLst/>
            </a:prstGeom>
            <a:ln>
              <a:solidFill>
                <a:srgbClr val="D2D2D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 name="Group 3"/>
          <p:cNvGrpSpPr/>
          <p:nvPr/>
        </p:nvGrpSpPr>
        <p:grpSpPr>
          <a:xfrm>
            <a:off x="2536470" y="2441241"/>
            <a:ext cx="2232956" cy="2559290"/>
            <a:chOff x="2536625" y="2440842"/>
            <a:chExt cx="2233855" cy="2560320"/>
          </a:xfrm>
        </p:grpSpPr>
        <p:cxnSp>
          <p:nvCxnSpPr>
            <p:cNvPr id="74" name="Straight Connector 73"/>
            <p:cNvCxnSpPr/>
            <p:nvPr/>
          </p:nvCxnSpPr>
          <p:spPr>
            <a:xfrm>
              <a:off x="4770480" y="2440842"/>
              <a:ext cx="0" cy="2560320"/>
            </a:xfrm>
            <a:prstGeom prst="line">
              <a:avLst/>
            </a:prstGeom>
            <a:ln>
              <a:solidFill>
                <a:srgbClr val="D2D2D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9" name="Rectangle 48"/>
            <p:cNvSpPr/>
            <p:nvPr/>
          </p:nvSpPr>
          <p:spPr bwMode="auto">
            <a:xfrm>
              <a:off x="2536625" y="3977042"/>
              <a:ext cx="2024978" cy="80227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4005">
                <a:spcAft>
                  <a:spcPts val="1200"/>
                </a:spcAft>
                <a:buSzPct val="90000"/>
              </a:pPr>
              <a:r>
                <a:rPr lang="en-US" sz="1400" kern="0" dirty="0">
                  <a:solidFill>
                    <a:schemeClr val="bg1"/>
                  </a:solidFill>
                </a:rPr>
                <a:t>Getting the right products to the right places with </a:t>
              </a:r>
              <a:r>
                <a:rPr lang="en-US" sz="1400" b="1" kern="0" dirty="0">
                  <a:solidFill>
                    <a:schemeClr val="bg1"/>
                  </a:solidFill>
                </a:rPr>
                <a:t>inventory management</a:t>
              </a:r>
            </a:p>
          </p:txBody>
        </p:sp>
        <p:grpSp>
          <p:nvGrpSpPr>
            <p:cNvPr id="33" name="Group 32"/>
            <p:cNvGrpSpPr/>
            <p:nvPr/>
          </p:nvGrpSpPr>
          <p:grpSpPr>
            <a:xfrm>
              <a:off x="3179731" y="2563043"/>
              <a:ext cx="738766" cy="1096998"/>
              <a:chOff x="-2406650" y="179388"/>
              <a:chExt cx="788988" cy="1171575"/>
            </a:xfrm>
          </p:grpSpPr>
          <p:sp>
            <p:nvSpPr>
              <p:cNvPr id="34" name="Oval 5"/>
              <p:cNvSpPr>
                <a:spLocks noChangeArrowheads="1"/>
              </p:cNvSpPr>
              <p:nvPr/>
            </p:nvSpPr>
            <p:spPr bwMode="auto">
              <a:xfrm>
                <a:off x="-2124075" y="460375"/>
                <a:ext cx="225425" cy="225425"/>
              </a:xfrm>
              <a:prstGeom prst="ellipse">
                <a:avLst/>
              </a:prstGeom>
              <a:noFill/>
              <a:ln w="34925"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35" name="Freeform 6"/>
              <p:cNvSpPr>
                <a:spLocks/>
              </p:cNvSpPr>
              <p:nvPr/>
            </p:nvSpPr>
            <p:spPr bwMode="auto">
              <a:xfrm>
                <a:off x="-2406650" y="179388"/>
                <a:ext cx="788988" cy="1171575"/>
              </a:xfrm>
              <a:custGeom>
                <a:avLst/>
                <a:gdLst>
                  <a:gd name="T0" fmla="*/ 70 w 70"/>
                  <a:gd name="T1" fmla="*/ 37 h 104"/>
                  <a:gd name="T2" fmla="*/ 35 w 70"/>
                  <a:gd name="T3" fmla="*/ 0 h 104"/>
                  <a:gd name="T4" fmla="*/ 0 w 70"/>
                  <a:gd name="T5" fmla="*/ 37 h 104"/>
                  <a:gd name="T6" fmla="*/ 35 w 70"/>
                  <a:gd name="T7" fmla="*/ 104 h 104"/>
                  <a:gd name="T8" fmla="*/ 70 w 70"/>
                  <a:gd name="T9" fmla="*/ 37 h 104"/>
                </a:gdLst>
                <a:ahLst/>
                <a:cxnLst>
                  <a:cxn ang="0">
                    <a:pos x="T0" y="T1"/>
                  </a:cxn>
                  <a:cxn ang="0">
                    <a:pos x="T2" y="T3"/>
                  </a:cxn>
                  <a:cxn ang="0">
                    <a:pos x="T4" y="T5"/>
                  </a:cxn>
                  <a:cxn ang="0">
                    <a:pos x="T6" y="T7"/>
                  </a:cxn>
                  <a:cxn ang="0">
                    <a:pos x="T8" y="T9"/>
                  </a:cxn>
                </a:cxnLst>
                <a:rect l="0" t="0" r="r" b="b"/>
                <a:pathLst>
                  <a:path w="70" h="104">
                    <a:moveTo>
                      <a:pt x="70" y="37"/>
                    </a:moveTo>
                    <a:cubicBezTo>
                      <a:pt x="70" y="17"/>
                      <a:pt x="54" y="0"/>
                      <a:pt x="35" y="0"/>
                    </a:cubicBezTo>
                    <a:cubicBezTo>
                      <a:pt x="16" y="0"/>
                      <a:pt x="0" y="17"/>
                      <a:pt x="0" y="37"/>
                    </a:cubicBezTo>
                    <a:cubicBezTo>
                      <a:pt x="0" y="62"/>
                      <a:pt x="35" y="104"/>
                      <a:pt x="35" y="104"/>
                    </a:cubicBezTo>
                    <a:cubicBezTo>
                      <a:pt x="35" y="104"/>
                      <a:pt x="70" y="62"/>
                      <a:pt x="70" y="37"/>
                    </a:cubicBezTo>
                    <a:close/>
                  </a:path>
                </a:pathLst>
              </a:custGeom>
              <a:noFill/>
              <a:ln w="349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grpSp>
      </p:grpSp>
      <p:grpSp>
        <p:nvGrpSpPr>
          <p:cNvPr id="6" name="Group 5"/>
          <p:cNvGrpSpPr/>
          <p:nvPr/>
        </p:nvGrpSpPr>
        <p:grpSpPr>
          <a:xfrm>
            <a:off x="4978218" y="2441241"/>
            <a:ext cx="2200550" cy="2559290"/>
            <a:chOff x="4979357" y="2440842"/>
            <a:chExt cx="2201435" cy="2560320"/>
          </a:xfrm>
        </p:grpSpPr>
        <p:cxnSp>
          <p:nvCxnSpPr>
            <p:cNvPr id="75" name="Straight Connector 74"/>
            <p:cNvCxnSpPr/>
            <p:nvPr/>
          </p:nvCxnSpPr>
          <p:spPr>
            <a:xfrm>
              <a:off x="7180792" y="2440842"/>
              <a:ext cx="0" cy="2560320"/>
            </a:xfrm>
            <a:prstGeom prst="line">
              <a:avLst/>
            </a:prstGeom>
            <a:ln>
              <a:solidFill>
                <a:srgbClr val="D2D2D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0" name="Rectangle 49"/>
            <p:cNvSpPr/>
            <p:nvPr/>
          </p:nvSpPr>
          <p:spPr bwMode="auto">
            <a:xfrm>
              <a:off x="4979357" y="3977041"/>
              <a:ext cx="1992558" cy="9620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4005">
                <a:spcAft>
                  <a:spcPts val="1200"/>
                </a:spcAft>
                <a:buSzPct val="90000"/>
              </a:pPr>
              <a:r>
                <a:rPr lang="en-US" sz="1400" kern="0" dirty="0">
                  <a:solidFill>
                    <a:schemeClr val="bg1"/>
                  </a:solidFill>
                </a:rPr>
                <a:t>Offering customers exactly what they want, when they want it, with </a:t>
              </a:r>
              <a:r>
                <a:rPr lang="en-US" sz="1400" b="1" kern="0" dirty="0">
                  <a:solidFill>
                    <a:schemeClr val="bg1"/>
                  </a:solidFill>
                </a:rPr>
                <a:t>personalization</a:t>
              </a:r>
            </a:p>
          </p:txBody>
        </p:sp>
        <p:grpSp>
          <p:nvGrpSpPr>
            <p:cNvPr id="40" name="Group 39"/>
            <p:cNvGrpSpPr/>
            <p:nvPr/>
          </p:nvGrpSpPr>
          <p:grpSpPr>
            <a:xfrm>
              <a:off x="5347610" y="2482848"/>
              <a:ext cx="1256052" cy="1171324"/>
              <a:chOff x="-1357312" y="-1714500"/>
              <a:chExt cx="1341438" cy="1250951"/>
            </a:xfrm>
          </p:grpSpPr>
          <p:sp>
            <p:nvSpPr>
              <p:cNvPr id="42" name="Freeform 11"/>
              <p:cNvSpPr>
                <a:spLocks/>
              </p:cNvSpPr>
              <p:nvPr/>
            </p:nvSpPr>
            <p:spPr bwMode="auto">
              <a:xfrm>
                <a:off x="-985837" y="-1714500"/>
                <a:ext cx="969963" cy="1239838"/>
              </a:xfrm>
              <a:custGeom>
                <a:avLst/>
                <a:gdLst>
                  <a:gd name="T0" fmla="*/ 6 w 86"/>
                  <a:gd name="T1" fmla="*/ 52 h 110"/>
                  <a:gd name="T2" fmla="*/ 24 w 86"/>
                  <a:gd name="T3" fmla="*/ 25 h 110"/>
                  <a:gd name="T4" fmla="*/ 24 w 86"/>
                  <a:gd name="T5" fmla="*/ 10 h 110"/>
                  <a:gd name="T6" fmla="*/ 31 w 86"/>
                  <a:gd name="T7" fmla="*/ 3 h 110"/>
                  <a:gd name="T8" fmla="*/ 43 w 86"/>
                  <a:gd name="T9" fmla="*/ 6 h 110"/>
                  <a:gd name="T10" fmla="*/ 50 w 86"/>
                  <a:gd name="T11" fmla="*/ 26 h 110"/>
                  <a:gd name="T12" fmla="*/ 47 w 86"/>
                  <a:gd name="T13" fmla="*/ 43 h 110"/>
                  <a:gd name="T14" fmla="*/ 76 w 86"/>
                  <a:gd name="T15" fmla="*/ 43 h 110"/>
                  <a:gd name="T16" fmla="*/ 86 w 86"/>
                  <a:gd name="T17" fmla="*/ 52 h 110"/>
                  <a:gd name="T18" fmla="*/ 78 w 86"/>
                  <a:gd name="T19" fmla="*/ 63 h 110"/>
                  <a:gd name="T20" fmla="*/ 83 w 86"/>
                  <a:gd name="T21" fmla="*/ 69 h 110"/>
                  <a:gd name="T22" fmla="*/ 76 w 86"/>
                  <a:gd name="T23" fmla="*/ 76 h 110"/>
                  <a:gd name="T24" fmla="*/ 81 w 86"/>
                  <a:gd name="T25" fmla="*/ 82 h 110"/>
                  <a:gd name="T26" fmla="*/ 75 w 86"/>
                  <a:gd name="T27" fmla="*/ 90 h 110"/>
                  <a:gd name="T28" fmla="*/ 78 w 86"/>
                  <a:gd name="T29" fmla="*/ 97 h 110"/>
                  <a:gd name="T30" fmla="*/ 63 w 86"/>
                  <a:gd name="T31" fmla="*/ 108 h 110"/>
                  <a:gd name="T32" fmla="*/ 14 w 86"/>
                  <a:gd name="T33" fmla="*/ 108 h 110"/>
                  <a:gd name="T34" fmla="*/ 0 w 86"/>
                  <a:gd name="T35" fmla="*/ 104 h 110"/>
                  <a:gd name="T36" fmla="*/ 0 w 86"/>
                  <a:gd name="T37" fmla="*/ 61 h 110"/>
                  <a:gd name="T38" fmla="*/ 6 w 86"/>
                  <a:gd name="T39" fmla="*/ 52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110">
                    <a:moveTo>
                      <a:pt x="6" y="52"/>
                    </a:moveTo>
                    <a:cubicBezTo>
                      <a:pt x="6" y="52"/>
                      <a:pt x="22" y="33"/>
                      <a:pt x="24" y="25"/>
                    </a:cubicBezTo>
                    <a:cubicBezTo>
                      <a:pt x="25" y="21"/>
                      <a:pt x="24" y="10"/>
                      <a:pt x="24" y="10"/>
                    </a:cubicBezTo>
                    <a:cubicBezTo>
                      <a:pt x="24" y="10"/>
                      <a:pt x="22" y="6"/>
                      <a:pt x="31" y="3"/>
                    </a:cubicBezTo>
                    <a:cubicBezTo>
                      <a:pt x="40" y="0"/>
                      <a:pt x="43" y="6"/>
                      <a:pt x="43" y="6"/>
                    </a:cubicBezTo>
                    <a:cubicBezTo>
                      <a:pt x="43" y="6"/>
                      <a:pt x="49" y="15"/>
                      <a:pt x="50" y="26"/>
                    </a:cubicBezTo>
                    <a:cubicBezTo>
                      <a:pt x="50" y="37"/>
                      <a:pt x="47" y="43"/>
                      <a:pt x="47" y="43"/>
                    </a:cubicBezTo>
                    <a:cubicBezTo>
                      <a:pt x="76" y="43"/>
                      <a:pt x="76" y="43"/>
                      <a:pt x="76" y="43"/>
                    </a:cubicBezTo>
                    <a:cubicBezTo>
                      <a:pt x="76" y="43"/>
                      <a:pt x="85" y="43"/>
                      <a:pt x="86" y="52"/>
                    </a:cubicBezTo>
                    <a:cubicBezTo>
                      <a:pt x="86" y="61"/>
                      <a:pt x="78" y="63"/>
                      <a:pt x="78" y="63"/>
                    </a:cubicBezTo>
                    <a:cubicBezTo>
                      <a:pt x="78" y="63"/>
                      <a:pt x="83" y="65"/>
                      <a:pt x="83" y="69"/>
                    </a:cubicBezTo>
                    <a:cubicBezTo>
                      <a:pt x="83" y="74"/>
                      <a:pt x="76" y="76"/>
                      <a:pt x="76" y="76"/>
                    </a:cubicBezTo>
                    <a:cubicBezTo>
                      <a:pt x="76" y="76"/>
                      <a:pt x="81" y="79"/>
                      <a:pt x="81" y="82"/>
                    </a:cubicBezTo>
                    <a:cubicBezTo>
                      <a:pt x="81" y="88"/>
                      <a:pt x="75" y="90"/>
                      <a:pt x="75" y="90"/>
                    </a:cubicBezTo>
                    <a:cubicBezTo>
                      <a:pt x="75" y="90"/>
                      <a:pt x="78" y="91"/>
                      <a:pt x="78" y="97"/>
                    </a:cubicBezTo>
                    <a:cubicBezTo>
                      <a:pt x="78" y="103"/>
                      <a:pt x="74" y="108"/>
                      <a:pt x="63" y="108"/>
                    </a:cubicBezTo>
                    <a:cubicBezTo>
                      <a:pt x="52" y="108"/>
                      <a:pt x="19" y="110"/>
                      <a:pt x="14" y="108"/>
                    </a:cubicBezTo>
                    <a:cubicBezTo>
                      <a:pt x="0" y="104"/>
                      <a:pt x="0" y="104"/>
                      <a:pt x="0" y="104"/>
                    </a:cubicBezTo>
                    <a:cubicBezTo>
                      <a:pt x="0" y="61"/>
                      <a:pt x="0" y="61"/>
                      <a:pt x="0" y="61"/>
                    </a:cubicBezTo>
                    <a:lnTo>
                      <a:pt x="6" y="52"/>
                    </a:lnTo>
                    <a:close/>
                  </a:path>
                </a:pathLst>
              </a:custGeom>
              <a:noFill/>
              <a:ln w="349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41" name="Freeform 10"/>
              <p:cNvSpPr>
                <a:spLocks/>
              </p:cNvSpPr>
              <p:nvPr/>
            </p:nvSpPr>
            <p:spPr bwMode="auto">
              <a:xfrm>
                <a:off x="-1357312" y="-1128712"/>
                <a:ext cx="360363" cy="665163"/>
              </a:xfrm>
              <a:custGeom>
                <a:avLst/>
                <a:gdLst>
                  <a:gd name="T0" fmla="*/ 24 w 32"/>
                  <a:gd name="T1" fmla="*/ 59 h 59"/>
                  <a:gd name="T2" fmla="*/ 7 w 32"/>
                  <a:gd name="T3" fmla="*/ 59 h 59"/>
                  <a:gd name="T4" fmla="*/ 0 w 32"/>
                  <a:gd name="T5" fmla="*/ 52 h 59"/>
                  <a:gd name="T6" fmla="*/ 0 w 32"/>
                  <a:gd name="T7" fmla="*/ 8 h 59"/>
                  <a:gd name="T8" fmla="*/ 7 w 32"/>
                  <a:gd name="T9" fmla="*/ 0 h 59"/>
                  <a:gd name="T10" fmla="*/ 24 w 32"/>
                  <a:gd name="T11" fmla="*/ 0 h 59"/>
                  <a:gd name="T12" fmla="*/ 32 w 32"/>
                  <a:gd name="T13" fmla="*/ 8 h 59"/>
                  <a:gd name="T14" fmla="*/ 32 w 32"/>
                  <a:gd name="T15" fmla="*/ 52 h 59"/>
                  <a:gd name="T16" fmla="*/ 24 w 32"/>
                  <a:gd name="T17"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59">
                    <a:moveTo>
                      <a:pt x="24" y="59"/>
                    </a:moveTo>
                    <a:cubicBezTo>
                      <a:pt x="7" y="59"/>
                      <a:pt x="7" y="59"/>
                      <a:pt x="7" y="59"/>
                    </a:cubicBezTo>
                    <a:cubicBezTo>
                      <a:pt x="3" y="59"/>
                      <a:pt x="0" y="56"/>
                      <a:pt x="0" y="52"/>
                    </a:cubicBezTo>
                    <a:cubicBezTo>
                      <a:pt x="0" y="8"/>
                      <a:pt x="0" y="8"/>
                      <a:pt x="0" y="8"/>
                    </a:cubicBezTo>
                    <a:cubicBezTo>
                      <a:pt x="0" y="4"/>
                      <a:pt x="3" y="0"/>
                      <a:pt x="7" y="0"/>
                    </a:cubicBezTo>
                    <a:cubicBezTo>
                      <a:pt x="24" y="0"/>
                      <a:pt x="24" y="0"/>
                      <a:pt x="24" y="0"/>
                    </a:cubicBezTo>
                    <a:cubicBezTo>
                      <a:pt x="28" y="0"/>
                      <a:pt x="32" y="4"/>
                      <a:pt x="32" y="8"/>
                    </a:cubicBezTo>
                    <a:cubicBezTo>
                      <a:pt x="32" y="52"/>
                      <a:pt x="32" y="52"/>
                      <a:pt x="32" y="52"/>
                    </a:cubicBezTo>
                    <a:cubicBezTo>
                      <a:pt x="32" y="56"/>
                      <a:pt x="28" y="59"/>
                      <a:pt x="24" y="59"/>
                    </a:cubicBezTo>
                    <a:close/>
                  </a:path>
                </a:pathLst>
              </a:custGeom>
              <a:noFill/>
              <a:ln w="34925"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grpSp>
      </p:grpSp>
      <p:grpSp>
        <p:nvGrpSpPr>
          <p:cNvPr id="8" name="Group 7"/>
          <p:cNvGrpSpPr/>
          <p:nvPr/>
        </p:nvGrpSpPr>
        <p:grpSpPr>
          <a:xfrm>
            <a:off x="7387562" y="2441241"/>
            <a:ext cx="2323399" cy="2559290"/>
            <a:chOff x="7389670" y="2440842"/>
            <a:chExt cx="2324334" cy="2560320"/>
          </a:xfrm>
        </p:grpSpPr>
        <p:cxnSp>
          <p:nvCxnSpPr>
            <p:cNvPr id="76" name="Straight Connector 75"/>
            <p:cNvCxnSpPr/>
            <p:nvPr/>
          </p:nvCxnSpPr>
          <p:spPr>
            <a:xfrm>
              <a:off x="9714004" y="2440842"/>
              <a:ext cx="0" cy="2560320"/>
            </a:xfrm>
            <a:prstGeom prst="line">
              <a:avLst/>
            </a:prstGeom>
            <a:ln>
              <a:solidFill>
                <a:srgbClr val="D2D2D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1" name="Rectangle 50"/>
            <p:cNvSpPr/>
            <p:nvPr/>
          </p:nvSpPr>
          <p:spPr bwMode="auto">
            <a:xfrm>
              <a:off x="7389670" y="3977041"/>
              <a:ext cx="2115457" cy="7191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4005">
                <a:spcAft>
                  <a:spcPts val="1200"/>
                </a:spcAft>
                <a:buSzPct val="90000"/>
              </a:pPr>
              <a:r>
                <a:rPr lang="en-US" sz="1400" kern="0" dirty="0">
                  <a:solidFill>
                    <a:schemeClr val="bg1"/>
                  </a:solidFill>
                </a:rPr>
                <a:t>Fixing problems proactively before they start with </a:t>
              </a:r>
              <a:r>
                <a:rPr lang="en-US" sz="1400" b="1" kern="0" dirty="0">
                  <a:solidFill>
                    <a:schemeClr val="bg1"/>
                  </a:solidFill>
                </a:rPr>
                <a:t>predictive maintenance</a:t>
              </a:r>
            </a:p>
          </p:txBody>
        </p:sp>
        <p:grpSp>
          <p:nvGrpSpPr>
            <p:cNvPr id="43" name="Group 42"/>
            <p:cNvGrpSpPr/>
            <p:nvPr/>
          </p:nvGrpSpPr>
          <p:grpSpPr>
            <a:xfrm>
              <a:off x="7851331" y="2514732"/>
              <a:ext cx="1192136" cy="1193620"/>
              <a:chOff x="-5133975" y="584200"/>
              <a:chExt cx="1273175" cy="1274763"/>
            </a:xfrm>
          </p:grpSpPr>
          <p:sp>
            <p:nvSpPr>
              <p:cNvPr id="44" name="Freeform 12"/>
              <p:cNvSpPr>
                <a:spLocks/>
              </p:cNvSpPr>
              <p:nvPr/>
            </p:nvSpPr>
            <p:spPr bwMode="auto">
              <a:xfrm>
                <a:off x="-5133975" y="584200"/>
                <a:ext cx="1273175" cy="1274763"/>
              </a:xfrm>
              <a:custGeom>
                <a:avLst/>
                <a:gdLst>
                  <a:gd name="T0" fmla="*/ 93 w 113"/>
                  <a:gd name="T1" fmla="*/ 20 h 113"/>
                  <a:gd name="T2" fmla="*/ 93 w 113"/>
                  <a:gd name="T3" fmla="*/ 93 h 113"/>
                  <a:gd name="T4" fmla="*/ 20 w 113"/>
                  <a:gd name="T5" fmla="*/ 93 h 113"/>
                  <a:gd name="T6" fmla="*/ 20 w 113"/>
                  <a:gd name="T7" fmla="*/ 20 h 113"/>
                  <a:gd name="T8" fmla="*/ 93 w 113"/>
                  <a:gd name="T9" fmla="*/ 20 h 113"/>
                </a:gdLst>
                <a:ahLst/>
                <a:cxnLst>
                  <a:cxn ang="0">
                    <a:pos x="T0" y="T1"/>
                  </a:cxn>
                  <a:cxn ang="0">
                    <a:pos x="T2" y="T3"/>
                  </a:cxn>
                  <a:cxn ang="0">
                    <a:pos x="T4" y="T5"/>
                  </a:cxn>
                  <a:cxn ang="0">
                    <a:pos x="T6" y="T7"/>
                  </a:cxn>
                  <a:cxn ang="0">
                    <a:pos x="T8" y="T9"/>
                  </a:cxn>
                </a:cxnLst>
                <a:rect l="0" t="0" r="r" b="b"/>
                <a:pathLst>
                  <a:path w="113" h="113">
                    <a:moveTo>
                      <a:pt x="93" y="20"/>
                    </a:moveTo>
                    <a:cubicBezTo>
                      <a:pt x="113" y="40"/>
                      <a:pt x="113" y="73"/>
                      <a:pt x="93" y="93"/>
                    </a:cubicBezTo>
                    <a:cubicBezTo>
                      <a:pt x="73" y="113"/>
                      <a:pt x="40" y="113"/>
                      <a:pt x="20" y="93"/>
                    </a:cubicBezTo>
                    <a:cubicBezTo>
                      <a:pt x="0" y="73"/>
                      <a:pt x="0" y="40"/>
                      <a:pt x="20" y="20"/>
                    </a:cubicBezTo>
                    <a:cubicBezTo>
                      <a:pt x="40" y="0"/>
                      <a:pt x="73" y="0"/>
                      <a:pt x="93" y="20"/>
                    </a:cubicBezTo>
                    <a:close/>
                  </a:path>
                </a:pathLst>
              </a:custGeom>
              <a:noFill/>
              <a:ln w="349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45" name="Line 13"/>
              <p:cNvSpPr>
                <a:spLocks noChangeShapeType="1"/>
              </p:cNvSpPr>
              <p:nvPr/>
            </p:nvSpPr>
            <p:spPr bwMode="auto">
              <a:xfrm>
                <a:off x="-4503737" y="935038"/>
                <a:ext cx="0" cy="415925"/>
              </a:xfrm>
              <a:prstGeom prst="line">
                <a:avLst/>
              </a:prstGeom>
              <a:noFill/>
              <a:ln w="34925" cap="flat">
                <a:solidFill>
                  <a:srgbClr val="002050"/>
                </a:solidFill>
                <a:prstDash val="solid"/>
                <a:miter lim="800000"/>
                <a:headEnd/>
                <a:tailEnd/>
              </a:ln>
              <a:extLst>
                <a:ext uri="{909E8E84-426E-40DD-AFC4-6F175D3DCCD1}">
                  <a14:hiddenFill xmlns:a14="http://schemas.microsoft.com/office/drawing/2010/main">
                    <a:noFill/>
                  </a14:hiddenFill>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46" name="Line 14"/>
              <p:cNvSpPr>
                <a:spLocks noChangeShapeType="1"/>
              </p:cNvSpPr>
              <p:nvPr/>
            </p:nvSpPr>
            <p:spPr bwMode="auto">
              <a:xfrm>
                <a:off x="-4503737" y="1430338"/>
                <a:ext cx="0" cy="68263"/>
              </a:xfrm>
              <a:prstGeom prst="line">
                <a:avLst/>
              </a:prstGeom>
              <a:noFill/>
              <a:ln w="34925" cap="flat">
                <a:solidFill>
                  <a:srgbClr val="002050"/>
                </a:solidFill>
                <a:prstDash val="solid"/>
                <a:miter lim="800000"/>
                <a:headEnd/>
                <a:tailEnd/>
              </a:ln>
              <a:extLst>
                <a:ext uri="{909E8E84-426E-40DD-AFC4-6F175D3DCCD1}">
                  <a14:hiddenFill xmlns:a14="http://schemas.microsoft.com/office/drawing/2010/main">
                    <a:noFill/>
                  </a14:hiddenFill>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grpSp>
      </p:grpSp>
    </p:spTree>
    <p:extLst>
      <p:ext uri="{BB962C8B-B14F-4D97-AF65-F5344CB8AC3E}">
        <p14:creationId xmlns:p14="http://schemas.microsoft.com/office/powerpoint/2010/main" val="2349693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nodeType="withEffect">
                                  <p:stCondLst>
                                    <p:cond delay="50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par>
                                <p:cTn id="11" presetID="10" presetClass="entr" presetSubtype="0" fill="hold" nodeType="withEffect">
                                  <p:stCondLst>
                                    <p:cond delay="75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nodeType="withEffect">
                                  <p:stCondLst>
                                    <p:cond delay="1000"/>
                                  </p:stCondLst>
                                  <p:childTnLst>
                                    <p:set>
                                      <p:cBhvr>
                                        <p:cTn id="15" dur="1" fill="hold">
                                          <p:stCondLst>
                                            <p:cond delay="0"/>
                                          </p:stCondLst>
                                        </p:cTn>
                                        <p:tgtEl>
                                          <p:spTgt spid="8"/>
                                        </p:tgtEl>
                                        <p:attrNameLst>
                                          <p:attrName>style.visibility</p:attrName>
                                        </p:attrNameLst>
                                      </p:cBhvr>
                                      <p:to>
                                        <p:strVal val="visible"/>
                                      </p:to>
                                    </p:set>
                                    <p:animEffect transition="in" filter="fade">
                                      <p:cBhvr>
                                        <p:cTn id="16" dur="500"/>
                                        <p:tgtEl>
                                          <p:spTgt spid="8"/>
                                        </p:tgtEl>
                                      </p:cBhvr>
                                    </p:animEffect>
                                  </p:childTnLst>
                                </p:cTn>
                              </p:par>
                              <p:par>
                                <p:cTn id="17" presetID="10" presetClass="entr" presetSubtype="0" fill="hold" nodeType="withEffect">
                                  <p:stCondLst>
                                    <p:cond delay="125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26"/>
          <p:cNvSpPr>
            <a:spLocks noGrp="1"/>
          </p:cNvSpPr>
          <p:nvPr>
            <p:ph type="title"/>
          </p:nvPr>
        </p:nvSpPr>
        <p:spPr/>
        <p:txBody>
          <a:bodyPr/>
          <a:lstStyle/>
          <a:p>
            <a:r>
              <a:rPr lang="en-US" dirty="0"/>
              <a:t>Easily turn data into intelligent action</a:t>
            </a:r>
          </a:p>
        </p:txBody>
      </p:sp>
      <p:grpSp>
        <p:nvGrpSpPr>
          <p:cNvPr id="364" name="Group 363"/>
          <p:cNvGrpSpPr/>
          <p:nvPr/>
        </p:nvGrpSpPr>
        <p:grpSpPr>
          <a:xfrm>
            <a:off x="9397773" y="1287129"/>
            <a:ext cx="2196413" cy="4523388"/>
            <a:chOff x="9588714" y="1666194"/>
            <a:chExt cx="2241039" cy="4615293"/>
          </a:xfrm>
        </p:grpSpPr>
        <p:sp>
          <p:nvSpPr>
            <p:cNvPr id="365" name="Rectangle 364"/>
            <p:cNvSpPr/>
            <p:nvPr/>
          </p:nvSpPr>
          <p:spPr>
            <a:xfrm>
              <a:off x="10329146" y="5953575"/>
              <a:ext cx="1500607" cy="327912"/>
            </a:xfrm>
            <a:prstGeom prst="rect">
              <a:avLst/>
            </a:prstGeom>
          </p:spPr>
          <p:txBody>
            <a:bodyPr wrap="none" lIns="0" tIns="0" rIns="0" bIns="0" anchor="ctr">
              <a:noAutofit/>
            </a:bodyPr>
            <a:lstStyle/>
            <a:p>
              <a:pPr defTabSz="896117">
                <a:lnSpc>
                  <a:spcPct val="90000"/>
                </a:lnSpc>
              </a:pPr>
              <a:r>
                <a:rPr lang="en-US" sz="2352" kern="0" dirty="0">
                  <a:solidFill>
                    <a:srgbClr val="002050"/>
                  </a:solidFill>
                  <a:latin typeface="Segoe UI Light"/>
                </a:rPr>
                <a:t>Action</a:t>
              </a:r>
            </a:p>
          </p:txBody>
        </p:sp>
        <p:sp>
          <p:nvSpPr>
            <p:cNvPr id="366" name="Freeform 365"/>
            <p:cNvSpPr/>
            <p:nvPr/>
          </p:nvSpPr>
          <p:spPr bwMode="auto">
            <a:xfrm flipH="1">
              <a:off x="9588714" y="1666194"/>
              <a:ext cx="123857" cy="4199169"/>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cap="flat" cmpd="sng" algn="ctr">
              <a:solidFill>
                <a:srgbClr val="0078D7"/>
              </a:solidFill>
              <a:prstDash val="solid"/>
              <a:headEnd type="none" w="med" len="med"/>
              <a:tailEnd type="none" w="med" len="med"/>
            </a:ln>
            <a:effectLst/>
          </p:spPr>
          <p:txBody>
            <a:bodyPr rtlCol="0" anchor="ctr"/>
            <a:lstStyle/>
            <a:p>
              <a:pPr algn="ctr" defTabSz="896117">
                <a:defRPr/>
              </a:pPr>
              <a:endParaRPr lang="en-US" sz="1764" kern="0" dirty="0">
                <a:solidFill>
                  <a:srgbClr val="FFFFFF"/>
                </a:solidFill>
                <a:latin typeface="Segoe UI"/>
              </a:endParaRPr>
            </a:p>
          </p:txBody>
        </p:sp>
        <p:sp>
          <p:nvSpPr>
            <p:cNvPr id="367" name="TextBox 366"/>
            <p:cNvSpPr txBox="1"/>
            <p:nvPr/>
          </p:nvSpPr>
          <p:spPr>
            <a:xfrm>
              <a:off x="10381650" y="1978779"/>
              <a:ext cx="1090058" cy="461622"/>
            </a:xfrm>
            <a:prstGeom prst="rect">
              <a:avLst/>
            </a:prstGeom>
            <a:noFill/>
          </p:spPr>
          <p:txBody>
            <a:bodyPr wrap="square" lIns="179212" tIns="143370" rIns="179212" bIns="143370" rtlCol="0">
              <a:spAutoFit/>
            </a:bodyPr>
            <a:lstStyle/>
            <a:p>
              <a:pPr defTabSz="913918">
                <a:lnSpc>
                  <a:spcPct val="90000"/>
                </a:lnSpc>
                <a:spcBef>
                  <a:spcPct val="0"/>
                </a:spcBef>
                <a:spcAft>
                  <a:spcPts val="588"/>
                </a:spcAft>
              </a:pPr>
              <a:r>
                <a:rPr lang="en-US" sz="1176" kern="0" spc="-29" dirty="0">
                  <a:solidFill>
                    <a:srgbClr val="002050"/>
                  </a:solidFill>
                  <a:latin typeface="Segoe UI Semilight" panose="020B0402040204020203" pitchFamily="34" charset="0"/>
                  <a:cs typeface="Segoe UI Semilight" panose="020B0402040204020203" pitchFamily="34" charset="0"/>
                </a:rPr>
                <a:t>People</a:t>
              </a:r>
            </a:p>
          </p:txBody>
        </p:sp>
        <p:sp>
          <p:nvSpPr>
            <p:cNvPr id="368" name="TextBox 367"/>
            <p:cNvSpPr txBox="1"/>
            <p:nvPr/>
          </p:nvSpPr>
          <p:spPr>
            <a:xfrm>
              <a:off x="10650440" y="5204331"/>
              <a:ext cx="868271" cy="332399"/>
            </a:xfrm>
            <a:prstGeom prst="rect">
              <a:avLst/>
            </a:prstGeom>
            <a:noFill/>
          </p:spPr>
          <p:txBody>
            <a:bodyPr wrap="square" lIns="0" tIns="0" rIns="0" bIns="0" rtlCol="0">
              <a:spAutoFit/>
            </a:bodyPr>
            <a:lstStyle/>
            <a:p>
              <a:pPr defTabSz="913918">
                <a:lnSpc>
                  <a:spcPct val="90000"/>
                </a:lnSpc>
                <a:spcBef>
                  <a:spcPct val="0"/>
                </a:spcBef>
                <a:spcAft>
                  <a:spcPts val="588"/>
                </a:spcAft>
              </a:pPr>
              <a:r>
                <a:rPr lang="en-US" sz="1176" kern="0" spc="-29" dirty="0">
                  <a:solidFill>
                    <a:srgbClr val="002050"/>
                  </a:solidFill>
                  <a:latin typeface="Segoe UI Semilight" panose="020B0402040204020203" pitchFamily="34" charset="0"/>
                  <a:cs typeface="Segoe UI Semilight" panose="020B0402040204020203" pitchFamily="34" charset="0"/>
                </a:rPr>
                <a:t>Automated </a:t>
              </a:r>
              <a:br>
                <a:rPr lang="en-US" sz="1176" kern="0" spc="-29" dirty="0">
                  <a:solidFill>
                    <a:srgbClr val="002050"/>
                  </a:solidFill>
                  <a:latin typeface="Segoe UI Semilight" panose="020B0402040204020203" pitchFamily="34" charset="0"/>
                  <a:cs typeface="Segoe UI Semilight" panose="020B0402040204020203" pitchFamily="34" charset="0"/>
                </a:rPr>
              </a:br>
              <a:r>
                <a:rPr lang="en-US" sz="1176" kern="0" spc="-29" dirty="0">
                  <a:solidFill>
                    <a:srgbClr val="002050"/>
                  </a:solidFill>
                  <a:latin typeface="Segoe UI Semilight" panose="020B0402040204020203" pitchFamily="34" charset="0"/>
                  <a:cs typeface="Segoe UI Semilight" panose="020B0402040204020203" pitchFamily="34" charset="0"/>
                </a:rPr>
                <a:t>Systems</a:t>
              </a:r>
            </a:p>
          </p:txBody>
        </p:sp>
        <p:grpSp>
          <p:nvGrpSpPr>
            <p:cNvPr id="369" name="Group 368"/>
            <p:cNvGrpSpPr/>
            <p:nvPr/>
          </p:nvGrpSpPr>
          <p:grpSpPr>
            <a:xfrm>
              <a:off x="9984119" y="2016920"/>
              <a:ext cx="377227" cy="385340"/>
              <a:chOff x="6112510" y="6954657"/>
              <a:chExt cx="1181100" cy="1206500"/>
            </a:xfrm>
            <a:solidFill>
              <a:srgbClr val="0078D7"/>
            </a:solidFill>
          </p:grpSpPr>
          <p:sp>
            <p:nvSpPr>
              <p:cNvPr id="387" name="Freeform 5"/>
              <p:cNvSpPr>
                <a:spLocks noEditPoints="1"/>
              </p:cNvSpPr>
              <p:nvPr/>
            </p:nvSpPr>
            <p:spPr bwMode="auto">
              <a:xfrm>
                <a:off x="6233160" y="6954657"/>
                <a:ext cx="485775" cy="482600"/>
              </a:xfrm>
              <a:custGeom>
                <a:avLst/>
                <a:gdLst>
                  <a:gd name="T0" fmla="*/ 154 w 306"/>
                  <a:gd name="T1" fmla="*/ 304 h 304"/>
                  <a:gd name="T2" fmla="*/ 122 w 306"/>
                  <a:gd name="T3" fmla="*/ 302 h 304"/>
                  <a:gd name="T4" fmla="*/ 94 w 306"/>
                  <a:gd name="T5" fmla="*/ 292 h 304"/>
                  <a:gd name="T6" fmla="*/ 68 w 306"/>
                  <a:gd name="T7" fmla="*/ 278 h 304"/>
                  <a:gd name="T8" fmla="*/ 46 w 306"/>
                  <a:gd name="T9" fmla="*/ 260 h 304"/>
                  <a:gd name="T10" fmla="*/ 26 w 306"/>
                  <a:gd name="T11" fmla="*/ 238 h 304"/>
                  <a:gd name="T12" fmla="*/ 12 w 306"/>
                  <a:gd name="T13" fmla="*/ 212 h 304"/>
                  <a:gd name="T14" fmla="*/ 4 w 306"/>
                  <a:gd name="T15" fmla="*/ 182 h 304"/>
                  <a:gd name="T16" fmla="*/ 0 w 306"/>
                  <a:gd name="T17" fmla="*/ 152 h 304"/>
                  <a:gd name="T18" fmla="*/ 2 w 306"/>
                  <a:gd name="T19" fmla="*/ 136 h 304"/>
                  <a:gd name="T20" fmla="*/ 8 w 306"/>
                  <a:gd name="T21" fmla="*/ 106 h 304"/>
                  <a:gd name="T22" fmla="*/ 20 w 306"/>
                  <a:gd name="T23" fmla="*/ 80 h 304"/>
                  <a:gd name="T24" fmla="*/ 36 w 306"/>
                  <a:gd name="T25" fmla="*/ 56 h 304"/>
                  <a:gd name="T26" fmla="*/ 56 w 306"/>
                  <a:gd name="T27" fmla="*/ 34 h 304"/>
                  <a:gd name="T28" fmla="*/ 80 w 306"/>
                  <a:gd name="T29" fmla="*/ 18 h 304"/>
                  <a:gd name="T30" fmla="*/ 108 w 306"/>
                  <a:gd name="T31" fmla="*/ 6 h 304"/>
                  <a:gd name="T32" fmla="*/ 138 w 306"/>
                  <a:gd name="T33" fmla="*/ 0 h 304"/>
                  <a:gd name="T34" fmla="*/ 154 w 306"/>
                  <a:gd name="T35" fmla="*/ 0 h 304"/>
                  <a:gd name="T36" fmla="*/ 184 w 306"/>
                  <a:gd name="T37" fmla="*/ 2 h 304"/>
                  <a:gd name="T38" fmla="*/ 212 w 306"/>
                  <a:gd name="T39" fmla="*/ 12 h 304"/>
                  <a:gd name="T40" fmla="*/ 238 w 306"/>
                  <a:gd name="T41" fmla="*/ 26 h 304"/>
                  <a:gd name="T42" fmla="*/ 260 w 306"/>
                  <a:gd name="T43" fmla="*/ 44 h 304"/>
                  <a:gd name="T44" fmla="*/ 280 w 306"/>
                  <a:gd name="T45" fmla="*/ 66 h 304"/>
                  <a:gd name="T46" fmla="*/ 294 w 306"/>
                  <a:gd name="T47" fmla="*/ 92 h 304"/>
                  <a:gd name="T48" fmla="*/ 302 w 306"/>
                  <a:gd name="T49" fmla="*/ 122 h 304"/>
                  <a:gd name="T50" fmla="*/ 306 w 306"/>
                  <a:gd name="T51" fmla="*/ 152 h 304"/>
                  <a:gd name="T52" fmla="*/ 304 w 306"/>
                  <a:gd name="T53" fmla="*/ 168 h 304"/>
                  <a:gd name="T54" fmla="*/ 298 w 306"/>
                  <a:gd name="T55" fmla="*/ 198 h 304"/>
                  <a:gd name="T56" fmla="*/ 288 w 306"/>
                  <a:gd name="T57" fmla="*/ 224 h 304"/>
                  <a:gd name="T58" fmla="*/ 270 w 306"/>
                  <a:gd name="T59" fmla="*/ 248 h 304"/>
                  <a:gd name="T60" fmla="*/ 250 w 306"/>
                  <a:gd name="T61" fmla="*/ 270 h 304"/>
                  <a:gd name="T62" fmla="*/ 226 w 306"/>
                  <a:gd name="T63" fmla="*/ 286 h 304"/>
                  <a:gd name="T64" fmla="*/ 198 w 306"/>
                  <a:gd name="T65" fmla="*/ 298 h 304"/>
                  <a:gd name="T66" fmla="*/ 168 w 306"/>
                  <a:gd name="T67" fmla="*/ 304 h 304"/>
                  <a:gd name="T68" fmla="*/ 154 w 306"/>
                  <a:gd name="T69" fmla="*/ 304 h 304"/>
                  <a:gd name="T70" fmla="*/ 154 w 306"/>
                  <a:gd name="T71" fmla="*/ 28 h 304"/>
                  <a:gd name="T72" fmla="*/ 128 w 306"/>
                  <a:gd name="T73" fmla="*/ 30 h 304"/>
                  <a:gd name="T74" fmla="*/ 104 w 306"/>
                  <a:gd name="T75" fmla="*/ 38 h 304"/>
                  <a:gd name="T76" fmla="*/ 66 w 306"/>
                  <a:gd name="T77" fmla="*/ 64 h 304"/>
                  <a:gd name="T78" fmla="*/ 38 w 306"/>
                  <a:gd name="T79" fmla="*/ 104 h 304"/>
                  <a:gd name="T80" fmla="*/ 32 w 306"/>
                  <a:gd name="T81" fmla="*/ 128 h 304"/>
                  <a:gd name="T82" fmla="*/ 28 w 306"/>
                  <a:gd name="T83" fmla="*/ 152 h 304"/>
                  <a:gd name="T84" fmla="*/ 30 w 306"/>
                  <a:gd name="T85" fmla="*/ 164 h 304"/>
                  <a:gd name="T86" fmla="*/ 34 w 306"/>
                  <a:gd name="T87" fmla="*/ 190 h 304"/>
                  <a:gd name="T88" fmla="*/ 50 w 306"/>
                  <a:gd name="T89" fmla="*/ 222 h 304"/>
                  <a:gd name="T90" fmla="*/ 84 w 306"/>
                  <a:gd name="T91" fmla="*/ 256 h 304"/>
                  <a:gd name="T92" fmla="*/ 116 w 306"/>
                  <a:gd name="T93" fmla="*/ 270 h 304"/>
                  <a:gd name="T94" fmla="*/ 140 w 306"/>
                  <a:gd name="T95" fmla="*/ 276 h 304"/>
                  <a:gd name="T96" fmla="*/ 154 w 306"/>
                  <a:gd name="T97" fmla="*/ 276 h 304"/>
                  <a:gd name="T98" fmla="*/ 178 w 306"/>
                  <a:gd name="T99" fmla="*/ 274 h 304"/>
                  <a:gd name="T100" fmla="*/ 202 w 306"/>
                  <a:gd name="T101" fmla="*/ 266 h 304"/>
                  <a:gd name="T102" fmla="*/ 242 w 306"/>
                  <a:gd name="T103" fmla="*/ 240 h 304"/>
                  <a:gd name="T104" fmla="*/ 268 w 306"/>
                  <a:gd name="T105" fmla="*/ 200 h 304"/>
                  <a:gd name="T106" fmla="*/ 274 w 306"/>
                  <a:gd name="T107" fmla="*/ 178 h 304"/>
                  <a:gd name="T108" fmla="*/ 278 w 306"/>
                  <a:gd name="T109" fmla="*/ 152 h 304"/>
                  <a:gd name="T110" fmla="*/ 276 w 306"/>
                  <a:gd name="T111" fmla="*/ 140 h 304"/>
                  <a:gd name="T112" fmla="*/ 272 w 306"/>
                  <a:gd name="T113" fmla="*/ 116 h 304"/>
                  <a:gd name="T114" fmla="*/ 256 w 306"/>
                  <a:gd name="T115" fmla="*/ 82 h 304"/>
                  <a:gd name="T116" fmla="*/ 222 w 306"/>
                  <a:gd name="T117" fmla="*/ 50 h 304"/>
                  <a:gd name="T118" fmla="*/ 190 w 306"/>
                  <a:gd name="T119" fmla="*/ 34 h 304"/>
                  <a:gd name="T120" fmla="*/ 166 w 306"/>
                  <a:gd name="T121" fmla="*/ 28 h 304"/>
                  <a:gd name="T122" fmla="*/ 154 w 306"/>
                  <a:gd name="T123" fmla="*/ 28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6" h="304">
                    <a:moveTo>
                      <a:pt x="154" y="304"/>
                    </a:moveTo>
                    <a:lnTo>
                      <a:pt x="154" y="304"/>
                    </a:lnTo>
                    <a:lnTo>
                      <a:pt x="138" y="304"/>
                    </a:lnTo>
                    <a:lnTo>
                      <a:pt x="122" y="302"/>
                    </a:lnTo>
                    <a:lnTo>
                      <a:pt x="108" y="298"/>
                    </a:lnTo>
                    <a:lnTo>
                      <a:pt x="94" y="292"/>
                    </a:lnTo>
                    <a:lnTo>
                      <a:pt x="80" y="286"/>
                    </a:lnTo>
                    <a:lnTo>
                      <a:pt x="68" y="278"/>
                    </a:lnTo>
                    <a:lnTo>
                      <a:pt x="56" y="270"/>
                    </a:lnTo>
                    <a:lnTo>
                      <a:pt x="46" y="260"/>
                    </a:lnTo>
                    <a:lnTo>
                      <a:pt x="36" y="248"/>
                    </a:lnTo>
                    <a:lnTo>
                      <a:pt x="26" y="238"/>
                    </a:lnTo>
                    <a:lnTo>
                      <a:pt x="20" y="224"/>
                    </a:lnTo>
                    <a:lnTo>
                      <a:pt x="12" y="212"/>
                    </a:lnTo>
                    <a:lnTo>
                      <a:pt x="8" y="198"/>
                    </a:lnTo>
                    <a:lnTo>
                      <a:pt x="4" y="182"/>
                    </a:lnTo>
                    <a:lnTo>
                      <a:pt x="2" y="168"/>
                    </a:lnTo>
                    <a:lnTo>
                      <a:pt x="0" y="152"/>
                    </a:lnTo>
                    <a:lnTo>
                      <a:pt x="0" y="152"/>
                    </a:lnTo>
                    <a:lnTo>
                      <a:pt x="2" y="136"/>
                    </a:lnTo>
                    <a:lnTo>
                      <a:pt x="4" y="122"/>
                    </a:lnTo>
                    <a:lnTo>
                      <a:pt x="8" y="106"/>
                    </a:lnTo>
                    <a:lnTo>
                      <a:pt x="12" y="92"/>
                    </a:lnTo>
                    <a:lnTo>
                      <a:pt x="20" y="80"/>
                    </a:lnTo>
                    <a:lnTo>
                      <a:pt x="26" y="66"/>
                    </a:lnTo>
                    <a:lnTo>
                      <a:pt x="36" y="56"/>
                    </a:lnTo>
                    <a:lnTo>
                      <a:pt x="46" y="44"/>
                    </a:lnTo>
                    <a:lnTo>
                      <a:pt x="56" y="34"/>
                    </a:lnTo>
                    <a:lnTo>
                      <a:pt x="68" y="26"/>
                    </a:lnTo>
                    <a:lnTo>
                      <a:pt x="80" y="18"/>
                    </a:lnTo>
                    <a:lnTo>
                      <a:pt x="94" y="12"/>
                    </a:lnTo>
                    <a:lnTo>
                      <a:pt x="108" y="6"/>
                    </a:lnTo>
                    <a:lnTo>
                      <a:pt x="122" y="2"/>
                    </a:lnTo>
                    <a:lnTo>
                      <a:pt x="138" y="0"/>
                    </a:lnTo>
                    <a:lnTo>
                      <a:pt x="154" y="0"/>
                    </a:lnTo>
                    <a:lnTo>
                      <a:pt x="154" y="0"/>
                    </a:lnTo>
                    <a:lnTo>
                      <a:pt x="168" y="0"/>
                    </a:lnTo>
                    <a:lnTo>
                      <a:pt x="184" y="2"/>
                    </a:lnTo>
                    <a:lnTo>
                      <a:pt x="198" y="6"/>
                    </a:lnTo>
                    <a:lnTo>
                      <a:pt x="212" y="12"/>
                    </a:lnTo>
                    <a:lnTo>
                      <a:pt x="226" y="18"/>
                    </a:lnTo>
                    <a:lnTo>
                      <a:pt x="238" y="26"/>
                    </a:lnTo>
                    <a:lnTo>
                      <a:pt x="250" y="34"/>
                    </a:lnTo>
                    <a:lnTo>
                      <a:pt x="260" y="44"/>
                    </a:lnTo>
                    <a:lnTo>
                      <a:pt x="270" y="56"/>
                    </a:lnTo>
                    <a:lnTo>
                      <a:pt x="280" y="66"/>
                    </a:lnTo>
                    <a:lnTo>
                      <a:pt x="288" y="80"/>
                    </a:lnTo>
                    <a:lnTo>
                      <a:pt x="294" y="92"/>
                    </a:lnTo>
                    <a:lnTo>
                      <a:pt x="298" y="106"/>
                    </a:lnTo>
                    <a:lnTo>
                      <a:pt x="302" y="122"/>
                    </a:lnTo>
                    <a:lnTo>
                      <a:pt x="304" y="136"/>
                    </a:lnTo>
                    <a:lnTo>
                      <a:pt x="306" y="152"/>
                    </a:lnTo>
                    <a:lnTo>
                      <a:pt x="306" y="152"/>
                    </a:lnTo>
                    <a:lnTo>
                      <a:pt x="304" y="168"/>
                    </a:lnTo>
                    <a:lnTo>
                      <a:pt x="302" y="182"/>
                    </a:lnTo>
                    <a:lnTo>
                      <a:pt x="298" y="198"/>
                    </a:lnTo>
                    <a:lnTo>
                      <a:pt x="294" y="212"/>
                    </a:lnTo>
                    <a:lnTo>
                      <a:pt x="288" y="224"/>
                    </a:lnTo>
                    <a:lnTo>
                      <a:pt x="280" y="238"/>
                    </a:lnTo>
                    <a:lnTo>
                      <a:pt x="270" y="248"/>
                    </a:lnTo>
                    <a:lnTo>
                      <a:pt x="260" y="260"/>
                    </a:lnTo>
                    <a:lnTo>
                      <a:pt x="250" y="270"/>
                    </a:lnTo>
                    <a:lnTo>
                      <a:pt x="238" y="278"/>
                    </a:lnTo>
                    <a:lnTo>
                      <a:pt x="226" y="286"/>
                    </a:lnTo>
                    <a:lnTo>
                      <a:pt x="212" y="292"/>
                    </a:lnTo>
                    <a:lnTo>
                      <a:pt x="198" y="298"/>
                    </a:lnTo>
                    <a:lnTo>
                      <a:pt x="184" y="302"/>
                    </a:lnTo>
                    <a:lnTo>
                      <a:pt x="168" y="304"/>
                    </a:lnTo>
                    <a:lnTo>
                      <a:pt x="154" y="304"/>
                    </a:lnTo>
                    <a:lnTo>
                      <a:pt x="154" y="304"/>
                    </a:lnTo>
                    <a:close/>
                    <a:moveTo>
                      <a:pt x="154" y="28"/>
                    </a:moveTo>
                    <a:lnTo>
                      <a:pt x="154" y="28"/>
                    </a:lnTo>
                    <a:lnTo>
                      <a:pt x="140" y="28"/>
                    </a:lnTo>
                    <a:lnTo>
                      <a:pt x="128" y="30"/>
                    </a:lnTo>
                    <a:lnTo>
                      <a:pt x="116" y="34"/>
                    </a:lnTo>
                    <a:lnTo>
                      <a:pt x="104" y="38"/>
                    </a:lnTo>
                    <a:lnTo>
                      <a:pt x="84" y="50"/>
                    </a:lnTo>
                    <a:lnTo>
                      <a:pt x="66" y="64"/>
                    </a:lnTo>
                    <a:lnTo>
                      <a:pt x="50" y="82"/>
                    </a:lnTo>
                    <a:lnTo>
                      <a:pt x="38" y="104"/>
                    </a:lnTo>
                    <a:lnTo>
                      <a:pt x="34" y="116"/>
                    </a:lnTo>
                    <a:lnTo>
                      <a:pt x="32" y="128"/>
                    </a:lnTo>
                    <a:lnTo>
                      <a:pt x="30" y="140"/>
                    </a:lnTo>
                    <a:lnTo>
                      <a:pt x="28" y="152"/>
                    </a:lnTo>
                    <a:lnTo>
                      <a:pt x="28" y="152"/>
                    </a:lnTo>
                    <a:lnTo>
                      <a:pt x="30" y="164"/>
                    </a:lnTo>
                    <a:lnTo>
                      <a:pt x="32" y="178"/>
                    </a:lnTo>
                    <a:lnTo>
                      <a:pt x="34" y="190"/>
                    </a:lnTo>
                    <a:lnTo>
                      <a:pt x="38" y="200"/>
                    </a:lnTo>
                    <a:lnTo>
                      <a:pt x="50" y="222"/>
                    </a:lnTo>
                    <a:lnTo>
                      <a:pt x="66" y="240"/>
                    </a:lnTo>
                    <a:lnTo>
                      <a:pt x="84" y="256"/>
                    </a:lnTo>
                    <a:lnTo>
                      <a:pt x="104" y="266"/>
                    </a:lnTo>
                    <a:lnTo>
                      <a:pt x="116" y="270"/>
                    </a:lnTo>
                    <a:lnTo>
                      <a:pt x="128" y="274"/>
                    </a:lnTo>
                    <a:lnTo>
                      <a:pt x="140" y="276"/>
                    </a:lnTo>
                    <a:lnTo>
                      <a:pt x="154" y="276"/>
                    </a:lnTo>
                    <a:lnTo>
                      <a:pt x="154" y="276"/>
                    </a:lnTo>
                    <a:lnTo>
                      <a:pt x="166" y="276"/>
                    </a:lnTo>
                    <a:lnTo>
                      <a:pt x="178" y="274"/>
                    </a:lnTo>
                    <a:lnTo>
                      <a:pt x="190" y="270"/>
                    </a:lnTo>
                    <a:lnTo>
                      <a:pt x="202" y="266"/>
                    </a:lnTo>
                    <a:lnTo>
                      <a:pt x="222" y="256"/>
                    </a:lnTo>
                    <a:lnTo>
                      <a:pt x="242" y="240"/>
                    </a:lnTo>
                    <a:lnTo>
                      <a:pt x="256" y="222"/>
                    </a:lnTo>
                    <a:lnTo>
                      <a:pt x="268" y="200"/>
                    </a:lnTo>
                    <a:lnTo>
                      <a:pt x="272" y="190"/>
                    </a:lnTo>
                    <a:lnTo>
                      <a:pt x="274" y="178"/>
                    </a:lnTo>
                    <a:lnTo>
                      <a:pt x="276" y="164"/>
                    </a:lnTo>
                    <a:lnTo>
                      <a:pt x="278" y="152"/>
                    </a:lnTo>
                    <a:lnTo>
                      <a:pt x="278" y="152"/>
                    </a:lnTo>
                    <a:lnTo>
                      <a:pt x="276" y="140"/>
                    </a:lnTo>
                    <a:lnTo>
                      <a:pt x="274" y="128"/>
                    </a:lnTo>
                    <a:lnTo>
                      <a:pt x="272" y="116"/>
                    </a:lnTo>
                    <a:lnTo>
                      <a:pt x="268" y="104"/>
                    </a:lnTo>
                    <a:lnTo>
                      <a:pt x="256" y="82"/>
                    </a:lnTo>
                    <a:lnTo>
                      <a:pt x="242" y="64"/>
                    </a:lnTo>
                    <a:lnTo>
                      <a:pt x="222" y="50"/>
                    </a:lnTo>
                    <a:lnTo>
                      <a:pt x="202" y="38"/>
                    </a:lnTo>
                    <a:lnTo>
                      <a:pt x="190" y="34"/>
                    </a:lnTo>
                    <a:lnTo>
                      <a:pt x="178" y="30"/>
                    </a:lnTo>
                    <a:lnTo>
                      <a:pt x="166" y="28"/>
                    </a:lnTo>
                    <a:lnTo>
                      <a:pt x="154" y="28"/>
                    </a:lnTo>
                    <a:lnTo>
                      <a:pt x="154"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896117">
                  <a:defRPr/>
                </a:pPr>
                <a:endParaRPr lang="en-US" sz="1764" kern="0" dirty="0">
                  <a:solidFill>
                    <a:srgbClr val="FFFFFF"/>
                  </a:solidFill>
                </a:endParaRPr>
              </a:p>
            </p:txBody>
          </p:sp>
          <p:sp>
            <p:nvSpPr>
              <p:cNvPr id="388" name="Freeform 6"/>
              <p:cNvSpPr>
                <a:spLocks noEditPoints="1"/>
              </p:cNvSpPr>
              <p:nvPr/>
            </p:nvSpPr>
            <p:spPr bwMode="auto">
              <a:xfrm>
                <a:off x="6112510" y="7481707"/>
                <a:ext cx="727075" cy="679450"/>
              </a:xfrm>
              <a:custGeom>
                <a:avLst/>
                <a:gdLst>
                  <a:gd name="T0" fmla="*/ 0 w 458"/>
                  <a:gd name="T1" fmla="*/ 428 h 428"/>
                  <a:gd name="T2" fmla="*/ 16 w 458"/>
                  <a:gd name="T3" fmla="*/ 210 h 428"/>
                  <a:gd name="T4" fmla="*/ 22 w 458"/>
                  <a:gd name="T5" fmla="*/ 166 h 428"/>
                  <a:gd name="T6" fmla="*/ 36 w 458"/>
                  <a:gd name="T7" fmla="*/ 126 h 428"/>
                  <a:gd name="T8" fmla="*/ 56 w 458"/>
                  <a:gd name="T9" fmla="*/ 90 h 428"/>
                  <a:gd name="T10" fmla="*/ 82 w 458"/>
                  <a:gd name="T11" fmla="*/ 60 h 428"/>
                  <a:gd name="T12" fmla="*/ 112 w 458"/>
                  <a:gd name="T13" fmla="*/ 34 h 428"/>
                  <a:gd name="T14" fmla="*/ 148 w 458"/>
                  <a:gd name="T15" fmla="*/ 16 h 428"/>
                  <a:gd name="T16" fmla="*/ 186 w 458"/>
                  <a:gd name="T17" fmla="*/ 4 h 428"/>
                  <a:gd name="T18" fmla="*/ 226 w 458"/>
                  <a:gd name="T19" fmla="*/ 0 h 428"/>
                  <a:gd name="T20" fmla="*/ 248 w 458"/>
                  <a:gd name="T21" fmla="*/ 0 h 428"/>
                  <a:gd name="T22" fmla="*/ 286 w 458"/>
                  <a:gd name="T23" fmla="*/ 8 h 428"/>
                  <a:gd name="T24" fmla="*/ 322 w 458"/>
                  <a:gd name="T25" fmla="*/ 24 h 428"/>
                  <a:gd name="T26" fmla="*/ 356 w 458"/>
                  <a:gd name="T27" fmla="*/ 48 h 428"/>
                  <a:gd name="T28" fmla="*/ 384 w 458"/>
                  <a:gd name="T29" fmla="*/ 76 h 428"/>
                  <a:gd name="T30" fmla="*/ 408 w 458"/>
                  <a:gd name="T31" fmla="*/ 108 h 428"/>
                  <a:gd name="T32" fmla="*/ 424 w 458"/>
                  <a:gd name="T33" fmla="*/ 146 h 428"/>
                  <a:gd name="T34" fmla="*/ 436 w 458"/>
                  <a:gd name="T35" fmla="*/ 188 h 428"/>
                  <a:gd name="T36" fmla="*/ 458 w 458"/>
                  <a:gd name="T37" fmla="*/ 428 h 428"/>
                  <a:gd name="T38" fmla="*/ 428 w 458"/>
                  <a:gd name="T39" fmla="*/ 400 h 428"/>
                  <a:gd name="T40" fmla="*/ 410 w 458"/>
                  <a:gd name="T41" fmla="*/ 212 h 428"/>
                  <a:gd name="T42" fmla="*/ 404 w 458"/>
                  <a:gd name="T43" fmla="*/ 174 h 428"/>
                  <a:gd name="T44" fmla="*/ 392 w 458"/>
                  <a:gd name="T45" fmla="*/ 140 h 428"/>
                  <a:gd name="T46" fmla="*/ 374 w 458"/>
                  <a:gd name="T47" fmla="*/ 108 h 428"/>
                  <a:gd name="T48" fmla="*/ 352 w 458"/>
                  <a:gd name="T49" fmla="*/ 82 h 428"/>
                  <a:gd name="T50" fmla="*/ 324 w 458"/>
                  <a:gd name="T51" fmla="*/ 58 h 428"/>
                  <a:gd name="T52" fmla="*/ 294 w 458"/>
                  <a:gd name="T53" fmla="*/ 42 h 428"/>
                  <a:gd name="T54" fmla="*/ 262 w 458"/>
                  <a:gd name="T55" fmla="*/ 32 h 428"/>
                  <a:gd name="T56" fmla="*/ 226 w 458"/>
                  <a:gd name="T57" fmla="*/ 28 h 428"/>
                  <a:gd name="T58" fmla="*/ 208 w 458"/>
                  <a:gd name="T59" fmla="*/ 28 h 428"/>
                  <a:gd name="T60" fmla="*/ 174 w 458"/>
                  <a:gd name="T61" fmla="*/ 36 h 428"/>
                  <a:gd name="T62" fmla="*/ 142 w 458"/>
                  <a:gd name="T63" fmla="*/ 50 h 428"/>
                  <a:gd name="T64" fmla="*/ 114 w 458"/>
                  <a:gd name="T65" fmla="*/ 68 h 428"/>
                  <a:gd name="T66" fmla="*/ 90 w 458"/>
                  <a:gd name="T67" fmla="*/ 94 h 428"/>
                  <a:gd name="T68" fmla="*/ 70 w 458"/>
                  <a:gd name="T69" fmla="*/ 122 h 428"/>
                  <a:gd name="T70" fmla="*/ 54 w 458"/>
                  <a:gd name="T71" fmla="*/ 156 h 428"/>
                  <a:gd name="T72" fmla="*/ 46 w 458"/>
                  <a:gd name="T73" fmla="*/ 192 h 428"/>
                  <a:gd name="T74" fmla="*/ 30 w 458"/>
                  <a:gd name="T75" fmla="*/ 40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8" h="428">
                    <a:moveTo>
                      <a:pt x="458" y="428"/>
                    </a:moveTo>
                    <a:lnTo>
                      <a:pt x="0" y="428"/>
                    </a:lnTo>
                    <a:lnTo>
                      <a:pt x="16" y="210"/>
                    </a:lnTo>
                    <a:lnTo>
                      <a:pt x="16" y="210"/>
                    </a:lnTo>
                    <a:lnTo>
                      <a:pt x="18" y="188"/>
                    </a:lnTo>
                    <a:lnTo>
                      <a:pt x="22" y="166"/>
                    </a:lnTo>
                    <a:lnTo>
                      <a:pt x="28" y="146"/>
                    </a:lnTo>
                    <a:lnTo>
                      <a:pt x="36" y="126"/>
                    </a:lnTo>
                    <a:lnTo>
                      <a:pt x="46" y="108"/>
                    </a:lnTo>
                    <a:lnTo>
                      <a:pt x="56" y="90"/>
                    </a:lnTo>
                    <a:lnTo>
                      <a:pt x="68" y="74"/>
                    </a:lnTo>
                    <a:lnTo>
                      <a:pt x="82" y="60"/>
                    </a:lnTo>
                    <a:lnTo>
                      <a:pt x="98" y="46"/>
                    </a:lnTo>
                    <a:lnTo>
                      <a:pt x="112" y="34"/>
                    </a:lnTo>
                    <a:lnTo>
                      <a:pt x="130" y="24"/>
                    </a:lnTo>
                    <a:lnTo>
                      <a:pt x="148" y="16"/>
                    </a:lnTo>
                    <a:lnTo>
                      <a:pt x="166" y="8"/>
                    </a:lnTo>
                    <a:lnTo>
                      <a:pt x="186" y="4"/>
                    </a:lnTo>
                    <a:lnTo>
                      <a:pt x="206" y="0"/>
                    </a:lnTo>
                    <a:lnTo>
                      <a:pt x="226" y="0"/>
                    </a:lnTo>
                    <a:lnTo>
                      <a:pt x="226" y="0"/>
                    </a:lnTo>
                    <a:lnTo>
                      <a:pt x="248" y="0"/>
                    </a:lnTo>
                    <a:lnTo>
                      <a:pt x="268" y="4"/>
                    </a:lnTo>
                    <a:lnTo>
                      <a:pt x="286" y="8"/>
                    </a:lnTo>
                    <a:lnTo>
                      <a:pt x="306" y="16"/>
                    </a:lnTo>
                    <a:lnTo>
                      <a:pt x="322" y="24"/>
                    </a:lnTo>
                    <a:lnTo>
                      <a:pt x="340" y="36"/>
                    </a:lnTo>
                    <a:lnTo>
                      <a:pt x="356" y="48"/>
                    </a:lnTo>
                    <a:lnTo>
                      <a:pt x="370" y="60"/>
                    </a:lnTo>
                    <a:lnTo>
                      <a:pt x="384" y="76"/>
                    </a:lnTo>
                    <a:lnTo>
                      <a:pt x="396" y="92"/>
                    </a:lnTo>
                    <a:lnTo>
                      <a:pt x="408" y="108"/>
                    </a:lnTo>
                    <a:lnTo>
                      <a:pt x="418" y="128"/>
                    </a:lnTo>
                    <a:lnTo>
                      <a:pt x="424" y="146"/>
                    </a:lnTo>
                    <a:lnTo>
                      <a:pt x="432" y="168"/>
                    </a:lnTo>
                    <a:lnTo>
                      <a:pt x="436" y="188"/>
                    </a:lnTo>
                    <a:lnTo>
                      <a:pt x="438" y="210"/>
                    </a:lnTo>
                    <a:lnTo>
                      <a:pt x="458" y="428"/>
                    </a:lnTo>
                    <a:close/>
                    <a:moveTo>
                      <a:pt x="30" y="400"/>
                    </a:moveTo>
                    <a:lnTo>
                      <a:pt x="428" y="400"/>
                    </a:lnTo>
                    <a:lnTo>
                      <a:pt x="410" y="212"/>
                    </a:lnTo>
                    <a:lnTo>
                      <a:pt x="410" y="212"/>
                    </a:lnTo>
                    <a:lnTo>
                      <a:pt x="408" y="194"/>
                    </a:lnTo>
                    <a:lnTo>
                      <a:pt x="404" y="174"/>
                    </a:lnTo>
                    <a:lnTo>
                      <a:pt x="398" y="156"/>
                    </a:lnTo>
                    <a:lnTo>
                      <a:pt x="392" y="140"/>
                    </a:lnTo>
                    <a:lnTo>
                      <a:pt x="384" y="124"/>
                    </a:lnTo>
                    <a:lnTo>
                      <a:pt x="374" y="108"/>
                    </a:lnTo>
                    <a:lnTo>
                      <a:pt x="364" y="94"/>
                    </a:lnTo>
                    <a:lnTo>
                      <a:pt x="352" y="82"/>
                    </a:lnTo>
                    <a:lnTo>
                      <a:pt x="338" y="70"/>
                    </a:lnTo>
                    <a:lnTo>
                      <a:pt x="324" y="58"/>
                    </a:lnTo>
                    <a:lnTo>
                      <a:pt x="310" y="50"/>
                    </a:lnTo>
                    <a:lnTo>
                      <a:pt x="294" y="42"/>
                    </a:lnTo>
                    <a:lnTo>
                      <a:pt x="278" y="36"/>
                    </a:lnTo>
                    <a:lnTo>
                      <a:pt x="262" y="32"/>
                    </a:lnTo>
                    <a:lnTo>
                      <a:pt x="244" y="28"/>
                    </a:lnTo>
                    <a:lnTo>
                      <a:pt x="226" y="28"/>
                    </a:lnTo>
                    <a:lnTo>
                      <a:pt x="226" y="28"/>
                    </a:lnTo>
                    <a:lnTo>
                      <a:pt x="208" y="28"/>
                    </a:lnTo>
                    <a:lnTo>
                      <a:pt x="192" y="32"/>
                    </a:lnTo>
                    <a:lnTo>
                      <a:pt x="174" y="36"/>
                    </a:lnTo>
                    <a:lnTo>
                      <a:pt x="158" y="42"/>
                    </a:lnTo>
                    <a:lnTo>
                      <a:pt x="142" y="50"/>
                    </a:lnTo>
                    <a:lnTo>
                      <a:pt x="128" y="58"/>
                    </a:lnTo>
                    <a:lnTo>
                      <a:pt x="114" y="68"/>
                    </a:lnTo>
                    <a:lnTo>
                      <a:pt x="102" y="80"/>
                    </a:lnTo>
                    <a:lnTo>
                      <a:pt x="90" y="94"/>
                    </a:lnTo>
                    <a:lnTo>
                      <a:pt x="80" y="108"/>
                    </a:lnTo>
                    <a:lnTo>
                      <a:pt x="70" y="122"/>
                    </a:lnTo>
                    <a:lnTo>
                      <a:pt x="62" y="138"/>
                    </a:lnTo>
                    <a:lnTo>
                      <a:pt x="54" y="156"/>
                    </a:lnTo>
                    <a:lnTo>
                      <a:pt x="50" y="174"/>
                    </a:lnTo>
                    <a:lnTo>
                      <a:pt x="46" y="192"/>
                    </a:lnTo>
                    <a:lnTo>
                      <a:pt x="44" y="212"/>
                    </a:lnTo>
                    <a:lnTo>
                      <a:pt x="30" y="4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896117">
                  <a:defRPr/>
                </a:pPr>
                <a:endParaRPr lang="en-US" sz="1764" kern="0" dirty="0">
                  <a:solidFill>
                    <a:srgbClr val="FFFFFF"/>
                  </a:solidFill>
                </a:endParaRPr>
              </a:p>
            </p:txBody>
          </p:sp>
          <p:sp>
            <p:nvSpPr>
              <p:cNvPr id="389" name="Freeform 7"/>
              <p:cNvSpPr>
                <a:spLocks noEditPoints="1"/>
              </p:cNvSpPr>
              <p:nvPr/>
            </p:nvSpPr>
            <p:spPr bwMode="auto">
              <a:xfrm>
                <a:off x="6826885" y="7173732"/>
                <a:ext cx="374650" cy="374650"/>
              </a:xfrm>
              <a:custGeom>
                <a:avLst/>
                <a:gdLst>
                  <a:gd name="T0" fmla="*/ 118 w 236"/>
                  <a:gd name="T1" fmla="*/ 236 h 236"/>
                  <a:gd name="T2" fmla="*/ 94 w 236"/>
                  <a:gd name="T3" fmla="*/ 234 h 236"/>
                  <a:gd name="T4" fmla="*/ 52 w 236"/>
                  <a:gd name="T5" fmla="*/ 216 h 236"/>
                  <a:gd name="T6" fmla="*/ 20 w 236"/>
                  <a:gd name="T7" fmla="*/ 184 h 236"/>
                  <a:gd name="T8" fmla="*/ 2 w 236"/>
                  <a:gd name="T9" fmla="*/ 142 h 236"/>
                  <a:gd name="T10" fmla="*/ 0 w 236"/>
                  <a:gd name="T11" fmla="*/ 118 h 236"/>
                  <a:gd name="T12" fmla="*/ 2 w 236"/>
                  <a:gd name="T13" fmla="*/ 106 h 236"/>
                  <a:gd name="T14" fmla="*/ 10 w 236"/>
                  <a:gd name="T15" fmla="*/ 72 h 236"/>
                  <a:gd name="T16" fmla="*/ 34 w 236"/>
                  <a:gd name="T17" fmla="*/ 34 h 236"/>
                  <a:gd name="T18" fmla="*/ 72 w 236"/>
                  <a:gd name="T19" fmla="*/ 10 h 236"/>
                  <a:gd name="T20" fmla="*/ 106 w 236"/>
                  <a:gd name="T21" fmla="*/ 0 h 236"/>
                  <a:gd name="T22" fmla="*/ 118 w 236"/>
                  <a:gd name="T23" fmla="*/ 0 h 236"/>
                  <a:gd name="T24" fmla="*/ 142 w 236"/>
                  <a:gd name="T25" fmla="*/ 2 h 236"/>
                  <a:gd name="T26" fmla="*/ 184 w 236"/>
                  <a:gd name="T27" fmla="*/ 20 h 236"/>
                  <a:gd name="T28" fmla="*/ 216 w 236"/>
                  <a:gd name="T29" fmla="*/ 52 h 236"/>
                  <a:gd name="T30" fmla="*/ 234 w 236"/>
                  <a:gd name="T31" fmla="*/ 94 h 236"/>
                  <a:gd name="T32" fmla="*/ 236 w 236"/>
                  <a:gd name="T33" fmla="*/ 118 h 236"/>
                  <a:gd name="T34" fmla="*/ 236 w 236"/>
                  <a:gd name="T35" fmla="*/ 130 h 236"/>
                  <a:gd name="T36" fmla="*/ 226 w 236"/>
                  <a:gd name="T37" fmla="*/ 164 h 236"/>
                  <a:gd name="T38" fmla="*/ 202 w 236"/>
                  <a:gd name="T39" fmla="*/ 200 h 236"/>
                  <a:gd name="T40" fmla="*/ 164 w 236"/>
                  <a:gd name="T41" fmla="*/ 226 h 236"/>
                  <a:gd name="T42" fmla="*/ 130 w 236"/>
                  <a:gd name="T43" fmla="*/ 234 h 236"/>
                  <a:gd name="T44" fmla="*/ 118 w 236"/>
                  <a:gd name="T45" fmla="*/ 236 h 236"/>
                  <a:gd name="T46" fmla="*/ 118 w 236"/>
                  <a:gd name="T47" fmla="*/ 28 h 236"/>
                  <a:gd name="T48" fmla="*/ 84 w 236"/>
                  <a:gd name="T49" fmla="*/ 36 h 236"/>
                  <a:gd name="T50" fmla="*/ 54 w 236"/>
                  <a:gd name="T51" fmla="*/ 54 h 236"/>
                  <a:gd name="T52" fmla="*/ 36 w 236"/>
                  <a:gd name="T53" fmla="*/ 82 h 236"/>
                  <a:gd name="T54" fmla="*/ 28 w 236"/>
                  <a:gd name="T55" fmla="*/ 118 h 236"/>
                  <a:gd name="T56" fmla="*/ 30 w 236"/>
                  <a:gd name="T57" fmla="*/ 136 h 236"/>
                  <a:gd name="T58" fmla="*/ 44 w 236"/>
                  <a:gd name="T59" fmla="*/ 168 h 236"/>
                  <a:gd name="T60" fmla="*/ 68 w 236"/>
                  <a:gd name="T61" fmla="*/ 192 h 236"/>
                  <a:gd name="T62" fmla="*/ 100 w 236"/>
                  <a:gd name="T63" fmla="*/ 206 h 236"/>
                  <a:gd name="T64" fmla="*/ 118 w 236"/>
                  <a:gd name="T65" fmla="*/ 208 h 236"/>
                  <a:gd name="T66" fmla="*/ 154 w 236"/>
                  <a:gd name="T67" fmla="*/ 200 h 236"/>
                  <a:gd name="T68" fmla="*/ 182 w 236"/>
                  <a:gd name="T69" fmla="*/ 182 h 236"/>
                  <a:gd name="T70" fmla="*/ 200 w 236"/>
                  <a:gd name="T71" fmla="*/ 152 h 236"/>
                  <a:gd name="T72" fmla="*/ 208 w 236"/>
                  <a:gd name="T73" fmla="*/ 118 h 236"/>
                  <a:gd name="T74" fmla="*/ 206 w 236"/>
                  <a:gd name="T75" fmla="*/ 100 h 236"/>
                  <a:gd name="T76" fmla="*/ 192 w 236"/>
                  <a:gd name="T77" fmla="*/ 68 h 236"/>
                  <a:gd name="T78" fmla="*/ 168 w 236"/>
                  <a:gd name="T79" fmla="*/ 44 h 236"/>
                  <a:gd name="T80" fmla="*/ 136 w 236"/>
                  <a:gd name="T81" fmla="*/ 30 h 236"/>
                  <a:gd name="T82" fmla="*/ 118 w 236"/>
                  <a:gd name="T83" fmla="*/ 2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6" h="236">
                    <a:moveTo>
                      <a:pt x="118" y="236"/>
                    </a:moveTo>
                    <a:lnTo>
                      <a:pt x="118" y="236"/>
                    </a:lnTo>
                    <a:lnTo>
                      <a:pt x="106" y="234"/>
                    </a:lnTo>
                    <a:lnTo>
                      <a:pt x="94" y="234"/>
                    </a:lnTo>
                    <a:lnTo>
                      <a:pt x="72" y="226"/>
                    </a:lnTo>
                    <a:lnTo>
                      <a:pt x="52" y="216"/>
                    </a:lnTo>
                    <a:lnTo>
                      <a:pt x="34" y="200"/>
                    </a:lnTo>
                    <a:lnTo>
                      <a:pt x="20" y="184"/>
                    </a:lnTo>
                    <a:lnTo>
                      <a:pt x="10" y="164"/>
                    </a:lnTo>
                    <a:lnTo>
                      <a:pt x="2" y="142"/>
                    </a:lnTo>
                    <a:lnTo>
                      <a:pt x="2" y="130"/>
                    </a:lnTo>
                    <a:lnTo>
                      <a:pt x="0" y="118"/>
                    </a:lnTo>
                    <a:lnTo>
                      <a:pt x="0" y="118"/>
                    </a:lnTo>
                    <a:lnTo>
                      <a:pt x="2" y="106"/>
                    </a:lnTo>
                    <a:lnTo>
                      <a:pt x="2" y="94"/>
                    </a:lnTo>
                    <a:lnTo>
                      <a:pt x="10" y="72"/>
                    </a:lnTo>
                    <a:lnTo>
                      <a:pt x="20" y="52"/>
                    </a:lnTo>
                    <a:lnTo>
                      <a:pt x="34" y="34"/>
                    </a:lnTo>
                    <a:lnTo>
                      <a:pt x="52" y="20"/>
                    </a:lnTo>
                    <a:lnTo>
                      <a:pt x="72" y="10"/>
                    </a:lnTo>
                    <a:lnTo>
                      <a:pt x="94" y="2"/>
                    </a:lnTo>
                    <a:lnTo>
                      <a:pt x="106" y="0"/>
                    </a:lnTo>
                    <a:lnTo>
                      <a:pt x="118" y="0"/>
                    </a:lnTo>
                    <a:lnTo>
                      <a:pt x="118" y="0"/>
                    </a:lnTo>
                    <a:lnTo>
                      <a:pt x="130" y="0"/>
                    </a:lnTo>
                    <a:lnTo>
                      <a:pt x="142" y="2"/>
                    </a:lnTo>
                    <a:lnTo>
                      <a:pt x="164" y="10"/>
                    </a:lnTo>
                    <a:lnTo>
                      <a:pt x="184" y="20"/>
                    </a:lnTo>
                    <a:lnTo>
                      <a:pt x="202" y="34"/>
                    </a:lnTo>
                    <a:lnTo>
                      <a:pt x="216" y="52"/>
                    </a:lnTo>
                    <a:lnTo>
                      <a:pt x="226" y="72"/>
                    </a:lnTo>
                    <a:lnTo>
                      <a:pt x="234" y="94"/>
                    </a:lnTo>
                    <a:lnTo>
                      <a:pt x="236" y="106"/>
                    </a:lnTo>
                    <a:lnTo>
                      <a:pt x="236" y="118"/>
                    </a:lnTo>
                    <a:lnTo>
                      <a:pt x="236" y="118"/>
                    </a:lnTo>
                    <a:lnTo>
                      <a:pt x="236" y="130"/>
                    </a:lnTo>
                    <a:lnTo>
                      <a:pt x="234" y="142"/>
                    </a:lnTo>
                    <a:lnTo>
                      <a:pt x="226" y="164"/>
                    </a:lnTo>
                    <a:lnTo>
                      <a:pt x="216" y="184"/>
                    </a:lnTo>
                    <a:lnTo>
                      <a:pt x="202" y="200"/>
                    </a:lnTo>
                    <a:lnTo>
                      <a:pt x="184" y="216"/>
                    </a:lnTo>
                    <a:lnTo>
                      <a:pt x="164" y="226"/>
                    </a:lnTo>
                    <a:lnTo>
                      <a:pt x="142" y="234"/>
                    </a:lnTo>
                    <a:lnTo>
                      <a:pt x="130" y="234"/>
                    </a:lnTo>
                    <a:lnTo>
                      <a:pt x="118" y="236"/>
                    </a:lnTo>
                    <a:lnTo>
                      <a:pt x="118" y="236"/>
                    </a:lnTo>
                    <a:close/>
                    <a:moveTo>
                      <a:pt x="118" y="28"/>
                    </a:moveTo>
                    <a:lnTo>
                      <a:pt x="118" y="28"/>
                    </a:lnTo>
                    <a:lnTo>
                      <a:pt x="100" y="30"/>
                    </a:lnTo>
                    <a:lnTo>
                      <a:pt x="84" y="36"/>
                    </a:lnTo>
                    <a:lnTo>
                      <a:pt x="68" y="44"/>
                    </a:lnTo>
                    <a:lnTo>
                      <a:pt x="54" y="54"/>
                    </a:lnTo>
                    <a:lnTo>
                      <a:pt x="44" y="68"/>
                    </a:lnTo>
                    <a:lnTo>
                      <a:pt x="36" y="82"/>
                    </a:lnTo>
                    <a:lnTo>
                      <a:pt x="30" y="100"/>
                    </a:lnTo>
                    <a:lnTo>
                      <a:pt x="28" y="118"/>
                    </a:lnTo>
                    <a:lnTo>
                      <a:pt x="28" y="118"/>
                    </a:lnTo>
                    <a:lnTo>
                      <a:pt x="30" y="136"/>
                    </a:lnTo>
                    <a:lnTo>
                      <a:pt x="36" y="152"/>
                    </a:lnTo>
                    <a:lnTo>
                      <a:pt x="44" y="168"/>
                    </a:lnTo>
                    <a:lnTo>
                      <a:pt x="54" y="182"/>
                    </a:lnTo>
                    <a:lnTo>
                      <a:pt x="68" y="192"/>
                    </a:lnTo>
                    <a:lnTo>
                      <a:pt x="84" y="200"/>
                    </a:lnTo>
                    <a:lnTo>
                      <a:pt x="100" y="206"/>
                    </a:lnTo>
                    <a:lnTo>
                      <a:pt x="118" y="208"/>
                    </a:lnTo>
                    <a:lnTo>
                      <a:pt x="118" y="208"/>
                    </a:lnTo>
                    <a:lnTo>
                      <a:pt x="136" y="206"/>
                    </a:lnTo>
                    <a:lnTo>
                      <a:pt x="154" y="200"/>
                    </a:lnTo>
                    <a:lnTo>
                      <a:pt x="168" y="192"/>
                    </a:lnTo>
                    <a:lnTo>
                      <a:pt x="182" y="182"/>
                    </a:lnTo>
                    <a:lnTo>
                      <a:pt x="192" y="168"/>
                    </a:lnTo>
                    <a:lnTo>
                      <a:pt x="200" y="152"/>
                    </a:lnTo>
                    <a:lnTo>
                      <a:pt x="206" y="136"/>
                    </a:lnTo>
                    <a:lnTo>
                      <a:pt x="208" y="118"/>
                    </a:lnTo>
                    <a:lnTo>
                      <a:pt x="208" y="118"/>
                    </a:lnTo>
                    <a:lnTo>
                      <a:pt x="206" y="100"/>
                    </a:lnTo>
                    <a:lnTo>
                      <a:pt x="200" y="82"/>
                    </a:lnTo>
                    <a:lnTo>
                      <a:pt x="192" y="68"/>
                    </a:lnTo>
                    <a:lnTo>
                      <a:pt x="182" y="54"/>
                    </a:lnTo>
                    <a:lnTo>
                      <a:pt x="168" y="44"/>
                    </a:lnTo>
                    <a:lnTo>
                      <a:pt x="154" y="36"/>
                    </a:lnTo>
                    <a:lnTo>
                      <a:pt x="136" y="30"/>
                    </a:lnTo>
                    <a:lnTo>
                      <a:pt x="118" y="28"/>
                    </a:lnTo>
                    <a:lnTo>
                      <a:pt x="11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896117">
                  <a:defRPr/>
                </a:pPr>
                <a:endParaRPr lang="en-US" sz="1764" kern="0" dirty="0">
                  <a:solidFill>
                    <a:srgbClr val="FFFFFF"/>
                  </a:solidFill>
                </a:endParaRPr>
              </a:p>
            </p:txBody>
          </p:sp>
          <p:sp>
            <p:nvSpPr>
              <p:cNvPr id="390" name="Freeform 8"/>
              <p:cNvSpPr>
                <a:spLocks noEditPoints="1"/>
              </p:cNvSpPr>
              <p:nvPr/>
            </p:nvSpPr>
            <p:spPr bwMode="auto">
              <a:xfrm>
                <a:off x="6817360" y="7567432"/>
                <a:ext cx="476250" cy="523875"/>
              </a:xfrm>
              <a:custGeom>
                <a:avLst/>
                <a:gdLst>
                  <a:gd name="T0" fmla="*/ 46 w 300"/>
                  <a:gd name="T1" fmla="*/ 330 h 330"/>
                  <a:gd name="T2" fmla="*/ 32 w 300"/>
                  <a:gd name="T3" fmla="*/ 158 h 330"/>
                  <a:gd name="T4" fmla="*/ 22 w 300"/>
                  <a:gd name="T5" fmla="*/ 114 h 330"/>
                  <a:gd name="T6" fmla="*/ 4 w 300"/>
                  <a:gd name="T7" fmla="*/ 70 h 330"/>
                  <a:gd name="T8" fmla="*/ 6 w 300"/>
                  <a:gd name="T9" fmla="*/ 54 h 330"/>
                  <a:gd name="T10" fmla="*/ 18 w 300"/>
                  <a:gd name="T11" fmla="*/ 42 h 330"/>
                  <a:gd name="T12" fmla="*/ 44 w 300"/>
                  <a:gd name="T13" fmla="*/ 22 h 330"/>
                  <a:gd name="T14" fmla="*/ 74 w 300"/>
                  <a:gd name="T15" fmla="*/ 8 h 330"/>
                  <a:gd name="T16" fmla="*/ 106 w 300"/>
                  <a:gd name="T17" fmla="*/ 2 h 330"/>
                  <a:gd name="T18" fmla="*/ 122 w 300"/>
                  <a:gd name="T19" fmla="*/ 0 h 330"/>
                  <a:gd name="T20" fmla="*/ 154 w 300"/>
                  <a:gd name="T21" fmla="*/ 4 h 330"/>
                  <a:gd name="T22" fmla="*/ 182 w 300"/>
                  <a:gd name="T23" fmla="*/ 14 h 330"/>
                  <a:gd name="T24" fmla="*/ 210 w 300"/>
                  <a:gd name="T25" fmla="*/ 28 h 330"/>
                  <a:gd name="T26" fmla="*/ 232 w 300"/>
                  <a:gd name="T27" fmla="*/ 48 h 330"/>
                  <a:gd name="T28" fmla="*/ 252 w 300"/>
                  <a:gd name="T29" fmla="*/ 72 h 330"/>
                  <a:gd name="T30" fmla="*/ 268 w 300"/>
                  <a:gd name="T31" fmla="*/ 98 h 330"/>
                  <a:gd name="T32" fmla="*/ 280 w 300"/>
                  <a:gd name="T33" fmla="*/ 130 h 330"/>
                  <a:gd name="T34" fmla="*/ 284 w 300"/>
                  <a:gd name="T35" fmla="*/ 162 h 330"/>
                  <a:gd name="T36" fmla="*/ 72 w 300"/>
                  <a:gd name="T37" fmla="*/ 302 h 330"/>
                  <a:gd name="T38" fmla="*/ 256 w 300"/>
                  <a:gd name="T39" fmla="*/ 164 h 330"/>
                  <a:gd name="T40" fmla="*/ 252 w 300"/>
                  <a:gd name="T41" fmla="*/ 140 h 330"/>
                  <a:gd name="T42" fmla="*/ 232 w 300"/>
                  <a:gd name="T43" fmla="*/ 92 h 330"/>
                  <a:gd name="T44" fmla="*/ 208 w 300"/>
                  <a:gd name="T45" fmla="*/ 62 h 330"/>
                  <a:gd name="T46" fmla="*/ 188 w 300"/>
                  <a:gd name="T47" fmla="*/ 46 h 330"/>
                  <a:gd name="T48" fmla="*/ 164 w 300"/>
                  <a:gd name="T49" fmla="*/ 36 h 330"/>
                  <a:gd name="T50" fmla="*/ 136 w 300"/>
                  <a:gd name="T51" fmla="*/ 30 h 330"/>
                  <a:gd name="T52" fmla="*/ 122 w 300"/>
                  <a:gd name="T53" fmla="*/ 28 h 330"/>
                  <a:gd name="T54" fmla="*/ 98 w 300"/>
                  <a:gd name="T55" fmla="*/ 32 h 330"/>
                  <a:gd name="T56" fmla="*/ 52 w 300"/>
                  <a:gd name="T57" fmla="*/ 50 h 330"/>
                  <a:gd name="T58" fmla="*/ 34 w 300"/>
                  <a:gd name="T59" fmla="*/ 66 h 330"/>
                  <a:gd name="T60" fmla="*/ 52 w 300"/>
                  <a:gd name="T61" fmla="*/ 110 h 330"/>
                  <a:gd name="T62" fmla="*/ 60 w 300"/>
                  <a:gd name="T63" fmla="*/ 15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0" h="330">
                    <a:moveTo>
                      <a:pt x="300" y="330"/>
                    </a:moveTo>
                    <a:lnTo>
                      <a:pt x="46" y="330"/>
                    </a:lnTo>
                    <a:lnTo>
                      <a:pt x="32" y="158"/>
                    </a:lnTo>
                    <a:lnTo>
                      <a:pt x="32" y="158"/>
                    </a:lnTo>
                    <a:lnTo>
                      <a:pt x="28" y="136"/>
                    </a:lnTo>
                    <a:lnTo>
                      <a:pt x="22" y="114"/>
                    </a:lnTo>
                    <a:lnTo>
                      <a:pt x="14" y="92"/>
                    </a:lnTo>
                    <a:lnTo>
                      <a:pt x="4" y="70"/>
                    </a:lnTo>
                    <a:lnTo>
                      <a:pt x="0" y="62"/>
                    </a:lnTo>
                    <a:lnTo>
                      <a:pt x="6" y="54"/>
                    </a:lnTo>
                    <a:lnTo>
                      <a:pt x="6" y="54"/>
                    </a:lnTo>
                    <a:lnTo>
                      <a:pt x="18" y="42"/>
                    </a:lnTo>
                    <a:lnTo>
                      <a:pt x="30" y="32"/>
                    </a:lnTo>
                    <a:lnTo>
                      <a:pt x="44" y="22"/>
                    </a:lnTo>
                    <a:lnTo>
                      <a:pt x="58" y="14"/>
                    </a:lnTo>
                    <a:lnTo>
                      <a:pt x="74" y="8"/>
                    </a:lnTo>
                    <a:lnTo>
                      <a:pt x="90" y="4"/>
                    </a:lnTo>
                    <a:lnTo>
                      <a:pt x="106" y="2"/>
                    </a:lnTo>
                    <a:lnTo>
                      <a:pt x="122" y="0"/>
                    </a:lnTo>
                    <a:lnTo>
                      <a:pt x="122" y="0"/>
                    </a:lnTo>
                    <a:lnTo>
                      <a:pt x="138" y="2"/>
                    </a:lnTo>
                    <a:lnTo>
                      <a:pt x="154" y="4"/>
                    </a:lnTo>
                    <a:lnTo>
                      <a:pt x="168" y="8"/>
                    </a:lnTo>
                    <a:lnTo>
                      <a:pt x="182" y="14"/>
                    </a:lnTo>
                    <a:lnTo>
                      <a:pt x="196" y="20"/>
                    </a:lnTo>
                    <a:lnTo>
                      <a:pt x="210" y="28"/>
                    </a:lnTo>
                    <a:lnTo>
                      <a:pt x="222" y="38"/>
                    </a:lnTo>
                    <a:lnTo>
                      <a:pt x="232" y="48"/>
                    </a:lnTo>
                    <a:lnTo>
                      <a:pt x="244" y="58"/>
                    </a:lnTo>
                    <a:lnTo>
                      <a:pt x="252" y="72"/>
                    </a:lnTo>
                    <a:lnTo>
                      <a:pt x="260" y="84"/>
                    </a:lnTo>
                    <a:lnTo>
                      <a:pt x="268" y="98"/>
                    </a:lnTo>
                    <a:lnTo>
                      <a:pt x="274" y="114"/>
                    </a:lnTo>
                    <a:lnTo>
                      <a:pt x="280" y="130"/>
                    </a:lnTo>
                    <a:lnTo>
                      <a:pt x="282" y="146"/>
                    </a:lnTo>
                    <a:lnTo>
                      <a:pt x="284" y="162"/>
                    </a:lnTo>
                    <a:lnTo>
                      <a:pt x="300" y="330"/>
                    </a:lnTo>
                    <a:close/>
                    <a:moveTo>
                      <a:pt x="72" y="302"/>
                    </a:moveTo>
                    <a:lnTo>
                      <a:pt x="268" y="302"/>
                    </a:lnTo>
                    <a:lnTo>
                      <a:pt x="256" y="164"/>
                    </a:lnTo>
                    <a:lnTo>
                      <a:pt x="256" y="164"/>
                    </a:lnTo>
                    <a:lnTo>
                      <a:pt x="252" y="140"/>
                    </a:lnTo>
                    <a:lnTo>
                      <a:pt x="244" y="114"/>
                    </a:lnTo>
                    <a:lnTo>
                      <a:pt x="232" y="92"/>
                    </a:lnTo>
                    <a:lnTo>
                      <a:pt x="216" y="72"/>
                    </a:lnTo>
                    <a:lnTo>
                      <a:pt x="208" y="62"/>
                    </a:lnTo>
                    <a:lnTo>
                      <a:pt x="198" y="54"/>
                    </a:lnTo>
                    <a:lnTo>
                      <a:pt x="188" y="46"/>
                    </a:lnTo>
                    <a:lnTo>
                      <a:pt x="176" y="40"/>
                    </a:lnTo>
                    <a:lnTo>
                      <a:pt x="164" y="36"/>
                    </a:lnTo>
                    <a:lnTo>
                      <a:pt x="150" y="32"/>
                    </a:lnTo>
                    <a:lnTo>
                      <a:pt x="136" y="30"/>
                    </a:lnTo>
                    <a:lnTo>
                      <a:pt x="122" y="28"/>
                    </a:lnTo>
                    <a:lnTo>
                      <a:pt x="122" y="28"/>
                    </a:lnTo>
                    <a:lnTo>
                      <a:pt x="110" y="30"/>
                    </a:lnTo>
                    <a:lnTo>
                      <a:pt x="98" y="32"/>
                    </a:lnTo>
                    <a:lnTo>
                      <a:pt x="74" y="38"/>
                    </a:lnTo>
                    <a:lnTo>
                      <a:pt x="52" y="50"/>
                    </a:lnTo>
                    <a:lnTo>
                      <a:pt x="34" y="66"/>
                    </a:lnTo>
                    <a:lnTo>
                      <a:pt x="34" y="66"/>
                    </a:lnTo>
                    <a:lnTo>
                      <a:pt x="44" y="88"/>
                    </a:lnTo>
                    <a:lnTo>
                      <a:pt x="52" y="110"/>
                    </a:lnTo>
                    <a:lnTo>
                      <a:pt x="56" y="132"/>
                    </a:lnTo>
                    <a:lnTo>
                      <a:pt x="60" y="156"/>
                    </a:lnTo>
                    <a:lnTo>
                      <a:pt x="72" y="3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896117">
                  <a:defRPr/>
                </a:pPr>
                <a:endParaRPr lang="en-US" sz="1764" kern="0" dirty="0">
                  <a:solidFill>
                    <a:srgbClr val="FFFFFF"/>
                  </a:solidFill>
                </a:endParaRPr>
              </a:p>
            </p:txBody>
          </p:sp>
        </p:grpSp>
        <p:grpSp>
          <p:nvGrpSpPr>
            <p:cNvPr id="370" name="Group 369"/>
            <p:cNvGrpSpPr/>
            <p:nvPr/>
          </p:nvGrpSpPr>
          <p:grpSpPr>
            <a:xfrm>
              <a:off x="10034296" y="5129436"/>
              <a:ext cx="385751" cy="482188"/>
              <a:chOff x="2954338" y="6831013"/>
              <a:chExt cx="1041400" cy="1301750"/>
            </a:xfrm>
            <a:solidFill>
              <a:srgbClr val="0078D7"/>
            </a:solidFill>
          </p:grpSpPr>
          <p:sp>
            <p:nvSpPr>
              <p:cNvPr id="385" name="Freeform 36"/>
              <p:cNvSpPr>
                <a:spLocks noEditPoints="1"/>
              </p:cNvSpPr>
              <p:nvPr/>
            </p:nvSpPr>
            <p:spPr bwMode="auto">
              <a:xfrm>
                <a:off x="3195638" y="7329488"/>
                <a:ext cx="390525" cy="393700"/>
              </a:xfrm>
              <a:custGeom>
                <a:avLst/>
                <a:gdLst>
                  <a:gd name="T0" fmla="*/ 122 w 246"/>
                  <a:gd name="T1" fmla="*/ 248 h 248"/>
                  <a:gd name="T2" fmla="*/ 98 w 246"/>
                  <a:gd name="T3" fmla="*/ 244 h 248"/>
                  <a:gd name="T4" fmla="*/ 74 w 246"/>
                  <a:gd name="T5" fmla="*/ 238 h 248"/>
                  <a:gd name="T6" fmla="*/ 36 w 246"/>
                  <a:gd name="T7" fmla="*/ 210 h 248"/>
                  <a:gd name="T8" fmla="*/ 8 w 246"/>
                  <a:gd name="T9" fmla="*/ 172 h 248"/>
                  <a:gd name="T10" fmla="*/ 2 w 246"/>
                  <a:gd name="T11" fmla="*/ 148 h 248"/>
                  <a:gd name="T12" fmla="*/ 0 w 246"/>
                  <a:gd name="T13" fmla="*/ 124 h 248"/>
                  <a:gd name="T14" fmla="*/ 0 w 246"/>
                  <a:gd name="T15" fmla="*/ 112 h 248"/>
                  <a:gd name="T16" fmla="*/ 4 w 246"/>
                  <a:gd name="T17" fmla="*/ 88 h 248"/>
                  <a:gd name="T18" fmla="*/ 20 w 246"/>
                  <a:gd name="T19" fmla="*/ 56 h 248"/>
                  <a:gd name="T20" fmla="*/ 54 w 246"/>
                  <a:gd name="T21" fmla="*/ 22 h 248"/>
                  <a:gd name="T22" fmla="*/ 86 w 246"/>
                  <a:gd name="T23" fmla="*/ 6 h 248"/>
                  <a:gd name="T24" fmla="*/ 110 w 246"/>
                  <a:gd name="T25" fmla="*/ 2 h 248"/>
                  <a:gd name="T26" fmla="*/ 122 w 246"/>
                  <a:gd name="T27" fmla="*/ 0 h 248"/>
                  <a:gd name="T28" fmla="*/ 148 w 246"/>
                  <a:gd name="T29" fmla="*/ 4 h 248"/>
                  <a:gd name="T30" fmla="*/ 170 w 246"/>
                  <a:gd name="T31" fmla="*/ 10 h 248"/>
                  <a:gd name="T32" fmla="*/ 210 w 246"/>
                  <a:gd name="T33" fmla="*/ 36 h 248"/>
                  <a:gd name="T34" fmla="*/ 236 w 246"/>
                  <a:gd name="T35" fmla="*/ 76 h 248"/>
                  <a:gd name="T36" fmla="*/ 242 w 246"/>
                  <a:gd name="T37" fmla="*/ 100 h 248"/>
                  <a:gd name="T38" fmla="*/ 246 w 246"/>
                  <a:gd name="T39" fmla="*/ 124 h 248"/>
                  <a:gd name="T40" fmla="*/ 244 w 246"/>
                  <a:gd name="T41" fmla="*/ 136 h 248"/>
                  <a:gd name="T42" fmla="*/ 240 w 246"/>
                  <a:gd name="T43" fmla="*/ 160 h 248"/>
                  <a:gd name="T44" fmla="*/ 224 w 246"/>
                  <a:gd name="T45" fmla="*/ 192 h 248"/>
                  <a:gd name="T46" fmla="*/ 192 w 246"/>
                  <a:gd name="T47" fmla="*/ 226 h 248"/>
                  <a:gd name="T48" fmla="*/ 158 w 246"/>
                  <a:gd name="T49" fmla="*/ 242 h 248"/>
                  <a:gd name="T50" fmla="*/ 134 w 246"/>
                  <a:gd name="T51" fmla="*/ 246 h 248"/>
                  <a:gd name="T52" fmla="*/ 122 w 246"/>
                  <a:gd name="T53" fmla="*/ 248 h 248"/>
                  <a:gd name="T54" fmla="*/ 122 w 246"/>
                  <a:gd name="T55" fmla="*/ 28 h 248"/>
                  <a:gd name="T56" fmla="*/ 86 w 246"/>
                  <a:gd name="T57" fmla="*/ 36 h 248"/>
                  <a:gd name="T58" fmla="*/ 56 w 246"/>
                  <a:gd name="T59" fmla="*/ 56 h 248"/>
                  <a:gd name="T60" fmla="*/ 34 w 246"/>
                  <a:gd name="T61" fmla="*/ 86 h 248"/>
                  <a:gd name="T62" fmla="*/ 28 w 246"/>
                  <a:gd name="T63" fmla="*/ 124 h 248"/>
                  <a:gd name="T64" fmla="*/ 30 w 246"/>
                  <a:gd name="T65" fmla="*/ 144 h 248"/>
                  <a:gd name="T66" fmla="*/ 44 w 246"/>
                  <a:gd name="T67" fmla="*/ 178 h 248"/>
                  <a:gd name="T68" fmla="*/ 70 w 246"/>
                  <a:gd name="T69" fmla="*/ 202 h 248"/>
                  <a:gd name="T70" fmla="*/ 104 w 246"/>
                  <a:gd name="T71" fmla="*/ 218 h 248"/>
                  <a:gd name="T72" fmla="*/ 122 w 246"/>
                  <a:gd name="T73" fmla="*/ 220 h 248"/>
                  <a:gd name="T74" fmla="*/ 160 w 246"/>
                  <a:gd name="T75" fmla="*/ 212 h 248"/>
                  <a:gd name="T76" fmla="*/ 190 w 246"/>
                  <a:gd name="T77" fmla="*/ 192 h 248"/>
                  <a:gd name="T78" fmla="*/ 210 w 246"/>
                  <a:gd name="T79" fmla="*/ 160 h 248"/>
                  <a:gd name="T80" fmla="*/ 218 w 246"/>
                  <a:gd name="T81" fmla="*/ 124 h 248"/>
                  <a:gd name="T82" fmla="*/ 216 w 246"/>
                  <a:gd name="T83" fmla="*/ 104 h 248"/>
                  <a:gd name="T84" fmla="*/ 202 w 246"/>
                  <a:gd name="T85" fmla="*/ 70 h 248"/>
                  <a:gd name="T86" fmla="*/ 176 w 246"/>
                  <a:gd name="T87" fmla="*/ 46 h 248"/>
                  <a:gd name="T88" fmla="*/ 142 w 246"/>
                  <a:gd name="T89" fmla="*/ 30 h 248"/>
                  <a:gd name="T90" fmla="*/ 122 w 246"/>
                  <a:gd name="T91" fmla="*/ 2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6" h="248">
                    <a:moveTo>
                      <a:pt x="122" y="248"/>
                    </a:moveTo>
                    <a:lnTo>
                      <a:pt x="122" y="248"/>
                    </a:lnTo>
                    <a:lnTo>
                      <a:pt x="110" y="246"/>
                    </a:lnTo>
                    <a:lnTo>
                      <a:pt x="98" y="244"/>
                    </a:lnTo>
                    <a:lnTo>
                      <a:pt x="86" y="242"/>
                    </a:lnTo>
                    <a:lnTo>
                      <a:pt x="74" y="238"/>
                    </a:lnTo>
                    <a:lnTo>
                      <a:pt x="54" y="226"/>
                    </a:lnTo>
                    <a:lnTo>
                      <a:pt x="36" y="210"/>
                    </a:lnTo>
                    <a:lnTo>
                      <a:pt x="20" y="192"/>
                    </a:lnTo>
                    <a:lnTo>
                      <a:pt x="8" y="172"/>
                    </a:lnTo>
                    <a:lnTo>
                      <a:pt x="4" y="160"/>
                    </a:lnTo>
                    <a:lnTo>
                      <a:pt x="2" y="148"/>
                    </a:lnTo>
                    <a:lnTo>
                      <a:pt x="0" y="136"/>
                    </a:lnTo>
                    <a:lnTo>
                      <a:pt x="0" y="124"/>
                    </a:lnTo>
                    <a:lnTo>
                      <a:pt x="0" y="124"/>
                    </a:lnTo>
                    <a:lnTo>
                      <a:pt x="0" y="112"/>
                    </a:lnTo>
                    <a:lnTo>
                      <a:pt x="2" y="100"/>
                    </a:lnTo>
                    <a:lnTo>
                      <a:pt x="4" y="88"/>
                    </a:lnTo>
                    <a:lnTo>
                      <a:pt x="8" y="76"/>
                    </a:lnTo>
                    <a:lnTo>
                      <a:pt x="20" y="56"/>
                    </a:lnTo>
                    <a:lnTo>
                      <a:pt x="36" y="36"/>
                    </a:lnTo>
                    <a:lnTo>
                      <a:pt x="54" y="22"/>
                    </a:lnTo>
                    <a:lnTo>
                      <a:pt x="74" y="10"/>
                    </a:lnTo>
                    <a:lnTo>
                      <a:pt x="86" y="6"/>
                    </a:lnTo>
                    <a:lnTo>
                      <a:pt x="98" y="4"/>
                    </a:lnTo>
                    <a:lnTo>
                      <a:pt x="110" y="2"/>
                    </a:lnTo>
                    <a:lnTo>
                      <a:pt x="122" y="0"/>
                    </a:lnTo>
                    <a:lnTo>
                      <a:pt x="122" y="0"/>
                    </a:lnTo>
                    <a:lnTo>
                      <a:pt x="134" y="2"/>
                    </a:lnTo>
                    <a:lnTo>
                      <a:pt x="148" y="4"/>
                    </a:lnTo>
                    <a:lnTo>
                      <a:pt x="158" y="6"/>
                    </a:lnTo>
                    <a:lnTo>
                      <a:pt x="170" y="10"/>
                    </a:lnTo>
                    <a:lnTo>
                      <a:pt x="192" y="22"/>
                    </a:lnTo>
                    <a:lnTo>
                      <a:pt x="210" y="36"/>
                    </a:lnTo>
                    <a:lnTo>
                      <a:pt x="224" y="56"/>
                    </a:lnTo>
                    <a:lnTo>
                      <a:pt x="236" y="76"/>
                    </a:lnTo>
                    <a:lnTo>
                      <a:pt x="240" y="88"/>
                    </a:lnTo>
                    <a:lnTo>
                      <a:pt x="242" y="100"/>
                    </a:lnTo>
                    <a:lnTo>
                      <a:pt x="244" y="112"/>
                    </a:lnTo>
                    <a:lnTo>
                      <a:pt x="246" y="124"/>
                    </a:lnTo>
                    <a:lnTo>
                      <a:pt x="246" y="124"/>
                    </a:lnTo>
                    <a:lnTo>
                      <a:pt x="244" y="136"/>
                    </a:lnTo>
                    <a:lnTo>
                      <a:pt x="242" y="148"/>
                    </a:lnTo>
                    <a:lnTo>
                      <a:pt x="240" y="160"/>
                    </a:lnTo>
                    <a:lnTo>
                      <a:pt x="236" y="172"/>
                    </a:lnTo>
                    <a:lnTo>
                      <a:pt x="224" y="192"/>
                    </a:lnTo>
                    <a:lnTo>
                      <a:pt x="210" y="210"/>
                    </a:lnTo>
                    <a:lnTo>
                      <a:pt x="192" y="226"/>
                    </a:lnTo>
                    <a:lnTo>
                      <a:pt x="170" y="238"/>
                    </a:lnTo>
                    <a:lnTo>
                      <a:pt x="158" y="242"/>
                    </a:lnTo>
                    <a:lnTo>
                      <a:pt x="148" y="244"/>
                    </a:lnTo>
                    <a:lnTo>
                      <a:pt x="134" y="246"/>
                    </a:lnTo>
                    <a:lnTo>
                      <a:pt x="122" y="248"/>
                    </a:lnTo>
                    <a:lnTo>
                      <a:pt x="122" y="248"/>
                    </a:lnTo>
                    <a:close/>
                    <a:moveTo>
                      <a:pt x="122" y="28"/>
                    </a:moveTo>
                    <a:lnTo>
                      <a:pt x="122" y="28"/>
                    </a:lnTo>
                    <a:lnTo>
                      <a:pt x="104" y="30"/>
                    </a:lnTo>
                    <a:lnTo>
                      <a:pt x="86" y="36"/>
                    </a:lnTo>
                    <a:lnTo>
                      <a:pt x="70" y="46"/>
                    </a:lnTo>
                    <a:lnTo>
                      <a:pt x="56" y="56"/>
                    </a:lnTo>
                    <a:lnTo>
                      <a:pt x="44" y="70"/>
                    </a:lnTo>
                    <a:lnTo>
                      <a:pt x="34" y="86"/>
                    </a:lnTo>
                    <a:lnTo>
                      <a:pt x="30" y="104"/>
                    </a:lnTo>
                    <a:lnTo>
                      <a:pt x="28" y="124"/>
                    </a:lnTo>
                    <a:lnTo>
                      <a:pt x="28" y="124"/>
                    </a:lnTo>
                    <a:lnTo>
                      <a:pt x="30" y="144"/>
                    </a:lnTo>
                    <a:lnTo>
                      <a:pt x="34" y="160"/>
                    </a:lnTo>
                    <a:lnTo>
                      <a:pt x="44" y="178"/>
                    </a:lnTo>
                    <a:lnTo>
                      <a:pt x="56" y="192"/>
                    </a:lnTo>
                    <a:lnTo>
                      <a:pt x="70" y="202"/>
                    </a:lnTo>
                    <a:lnTo>
                      <a:pt x="86" y="212"/>
                    </a:lnTo>
                    <a:lnTo>
                      <a:pt x="104" y="218"/>
                    </a:lnTo>
                    <a:lnTo>
                      <a:pt x="122" y="220"/>
                    </a:lnTo>
                    <a:lnTo>
                      <a:pt x="122" y="220"/>
                    </a:lnTo>
                    <a:lnTo>
                      <a:pt x="142" y="218"/>
                    </a:lnTo>
                    <a:lnTo>
                      <a:pt x="160" y="212"/>
                    </a:lnTo>
                    <a:lnTo>
                      <a:pt x="176" y="202"/>
                    </a:lnTo>
                    <a:lnTo>
                      <a:pt x="190" y="192"/>
                    </a:lnTo>
                    <a:lnTo>
                      <a:pt x="202" y="178"/>
                    </a:lnTo>
                    <a:lnTo>
                      <a:pt x="210" y="160"/>
                    </a:lnTo>
                    <a:lnTo>
                      <a:pt x="216" y="144"/>
                    </a:lnTo>
                    <a:lnTo>
                      <a:pt x="218" y="124"/>
                    </a:lnTo>
                    <a:lnTo>
                      <a:pt x="218" y="124"/>
                    </a:lnTo>
                    <a:lnTo>
                      <a:pt x="216" y="104"/>
                    </a:lnTo>
                    <a:lnTo>
                      <a:pt x="210" y="86"/>
                    </a:lnTo>
                    <a:lnTo>
                      <a:pt x="202" y="70"/>
                    </a:lnTo>
                    <a:lnTo>
                      <a:pt x="190" y="56"/>
                    </a:lnTo>
                    <a:lnTo>
                      <a:pt x="176" y="46"/>
                    </a:lnTo>
                    <a:lnTo>
                      <a:pt x="160" y="36"/>
                    </a:lnTo>
                    <a:lnTo>
                      <a:pt x="142" y="30"/>
                    </a:lnTo>
                    <a:lnTo>
                      <a:pt x="122" y="28"/>
                    </a:lnTo>
                    <a:lnTo>
                      <a:pt x="122" y="28"/>
                    </a:lnTo>
                    <a:close/>
                  </a:path>
                </a:pathLst>
              </a:custGeom>
              <a:grpFill/>
              <a:ln>
                <a:noFill/>
              </a:ln>
            </p:spPr>
            <p:txBody>
              <a:bodyPr vert="horz" wrap="square" lIns="89619" tIns="44809" rIns="89619" bIns="44809" numCol="1" anchor="t" anchorCtr="0" compatLnSpc="1">
                <a:prstTxWarp prst="textNoShape">
                  <a:avLst/>
                </a:prstTxWarp>
              </a:bodyPr>
              <a:lstStyle/>
              <a:p>
                <a:pPr defTabSz="896117">
                  <a:defRPr/>
                </a:pPr>
                <a:endParaRPr lang="en-US" sz="1764" kern="0" dirty="0">
                  <a:solidFill>
                    <a:srgbClr val="FFFFFF"/>
                  </a:solidFill>
                </a:endParaRPr>
              </a:p>
            </p:txBody>
          </p:sp>
          <p:sp>
            <p:nvSpPr>
              <p:cNvPr id="386" name="Freeform 37"/>
              <p:cNvSpPr>
                <a:spLocks/>
              </p:cNvSpPr>
              <p:nvPr/>
            </p:nvSpPr>
            <p:spPr bwMode="auto">
              <a:xfrm>
                <a:off x="2954338" y="6831013"/>
                <a:ext cx="1041400" cy="1301750"/>
              </a:xfrm>
              <a:custGeom>
                <a:avLst/>
                <a:gdLst>
                  <a:gd name="T0" fmla="*/ 114 w 656"/>
                  <a:gd name="T1" fmla="*/ 784 h 820"/>
                  <a:gd name="T2" fmla="*/ 80 w 656"/>
                  <a:gd name="T3" fmla="*/ 760 h 820"/>
                  <a:gd name="T4" fmla="*/ 172 w 656"/>
                  <a:gd name="T5" fmla="*/ 608 h 820"/>
                  <a:gd name="T6" fmla="*/ 238 w 656"/>
                  <a:gd name="T7" fmla="*/ 672 h 820"/>
                  <a:gd name="T8" fmla="*/ 300 w 656"/>
                  <a:gd name="T9" fmla="*/ 684 h 820"/>
                  <a:gd name="T10" fmla="*/ 328 w 656"/>
                  <a:gd name="T11" fmla="*/ 628 h 820"/>
                  <a:gd name="T12" fmla="*/ 416 w 656"/>
                  <a:gd name="T13" fmla="*/ 630 h 820"/>
                  <a:gd name="T14" fmla="*/ 466 w 656"/>
                  <a:gd name="T15" fmla="*/ 592 h 820"/>
                  <a:gd name="T16" fmla="*/ 446 w 656"/>
                  <a:gd name="T17" fmla="*/ 536 h 820"/>
                  <a:gd name="T18" fmla="*/ 512 w 656"/>
                  <a:gd name="T19" fmla="*/ 474 h 820"/>
                  <a:gd name="T20" fmla="*/ 518 w 656"/>
                  <a:gd name="T21" fmla="*/ 406 h 820"/>
                  <a:gd name="T22" fmla="*/ 464 w 656"/>
                  <a:gd name="T23" fmla="*/ 386 h 820"/>
                  <a:gd name="T24" fmla="*/ 466 w 656"/>
                  <a:gd name="T25" fmla="*/ 296 h 820"/>
                  <a:gd name="T26" fmla="*/ 424 w 656"/>
                  <a:gd name="T27" fmla="*/ 244 h 820"/>
                  <a:gd name="T28" fmla="*/ 372 w 656"/>
                  <a:gd name="T29" fmla="*/ 266 h 820"/>
                  <a:gd name="T30" fmla="*/ 310 w 656"/>
                  <a:gd name="T31" fmla="*/ 200 h 820"/>
                  <a:gd name="T32" fmla="*/ 240 w 656"/>
                  <a:gd name="T33" fmla="*/ 198 h 820"/>
                  <a:gd name="T34" fmla="*/ 198 w 656"/>
                  <a:gd name="T35" fmla="*/ 256 h 820"/>
                  <a:gd name="T36" fmla="*/ 128 w 656"/>
                  <a:gd name="T37" fmla="*/ 244 h 820"/>
                  <a:gd name="T38" fmla="*/ 82 w 656"/>
                  <a:gd name="T39" fmla="*/ 296 h 820"/>
                  <a:gd name="T40" fmla="*/ 84 w 656"/>
                  <a:gd name="T41" fmla="*/ 386 h 820"/>
                  <a:gd name="T42" fmla="*/ 32 w 656"/>
                  <a:gd name="T43" fmla="*/ 406 h 820"/>
                  <a:gd name="T44" fmla="*/ 38 w 656"/>
                  <a:gd name="T45" fmla="*/ 474 h 820"/>
                  <a:gd name="T46" fmla="*/ 102 w 656"/>
                  <a:gd name="T47" fmla="*/ 536 h 820"/>
                  <a:gd name="T48" fmla="*/ 78 w 656"/>
                  <a:gd name="T49" fmla="*/ 550 h 820"/>
                  <a:gd name="T50" fmla="*/ 10 w 656"/>
                  <a:gd name="T51" fmla="*/ 488 h 820"/>
                  <a:gd name="T52" fmla="*/ 6 w 656"/>
                  <a:gd name="T53" fmla="*/ 394 h 820"/>
                  <a:gd name="T54" fmla="*/ 74 w 656"/>
                  <a:gd name="T55" fmla="*/ 334 h 820"/>
                  <a:gd name="T56" fmla="*/ 60 w 656"/>
                  <a:gd name="T57" fmla="*/ 264 h 820"/>
                  <a:gd name="T58" fmla="*/ 138 w 656"/>
                  <a:gd name="T59" fmla="*/ 218 h 820"/>
                  <a:gd name="T60" fmla="*/ 212 w 656"/>
                  <a:gd name="T61" fmla="*/ 192 h 820"/>
                  <a:gd name="T62" fmla="*/ 296 w 656"/>
                  <a:gd name="T63" fmla="*/ 164 h 820"/>
                  <a:gd name="T64" fmla="*/ 342 w 656"/>
                  <a:gd name="T65" fmla="*/ 222 h 820"/>
                  <a:gd name="T66" fmla="*/ 426 w 656"/>
                  <a:gd name="T67" fmla="*/ 216 h 820"/>
                  <a:gd name="T68" fmla="*/ 494 w 656"/>
                  <a:gd name="T69" fmla="*/ 278 h 820"/>
                  <a:gd name="T70" fmla="*/ 490 w 656"/>
                  <a:gd name="T71" fmla="*/ 370 h 820"/>
                  <a:gd name="T72" fmla="*/ 548 w 656"/>
                  <a:gd name="T73" fmla="*/ 410 h 820"/>
                  <a:gd name="T74" fmla="*/ 528 w 656"/>
                  <a:gd name="T75" fmla="*/ 498 h 820"/>
                  <a:gd name="T76" fmla="*/ 492 w 656"/>
                  <a:gd name="T77" fmla="*/ 568 h 820"/>
                  <a:gd name="T78" fmla="*/ 452 w 656"/>
                  <a:gd name="T79" fmla="*/ 646 h 820"/>
                  <a:gd name="T80" fmla="*/ 398 w 656"/>
                  <a:gd name="T81" fmla="*/ 652 h 820"/>
                  <a:gd name="T82" fmla="*/ 330 w 656"/>
                  <a:gd name="T83" fmla="*/ 696 h 820"/>
                  <a:gd name="T84" fmla="*/ 238 w 656"/>
                  <a:gd name="T85" fmla="*/ 710 h 820"/>
                  <a:gd name="T86" fmla="*/ 176 w 656"/>
                  <a:gd name="T87" fmla="*/ 640 h 820"/>
                  <a:gd name="T88" fmla="*/ 232 w 656"/>
                  <a:gd name="T89" fmla="*/ 788 h 820"/>
                  <a:gd name="T90" fmla="*/ 472 w 656"/>
                  <a:gd name="T91" fmla="*/ 730 h 820"/>
                  <a:gd name="T92" fmla="*/ 626 w 656"/>
                  <a:gd name="T93" fmla="*/ 474 h 820"/>
                  <a:gd name="T94" fmla="*/ 546 w 656"/>
                  <a:gd name="T95" fmla="*/ 214 h 820"/>
                  <a:gd name="T96" fmla="*/ 274 w 656"/>
                  <a:gd name="T97" fmla="*/ 84 h 820"/>
                  <a:gd name="T98" fmla="*/ 186 w 656"/>
                  <a:gd name="T99" fmla="*/ 170 h 820"/>
                  <a:gd name="T100" fmla="*/ 30 w 656"/>
                  <a:gd name="T101" fmla="*/ 136 h 820"/>
                  <a:gd name="T102" fmla="*/ 124 w 656"/>
                  <a:gd name="T103" fmla="*/ 2 h 820"/>
                  <a:gd name="T104" fmla="*/ 130 w 656"/>
                  <a:gd name="T105" fmla="*/ 100 h 820"/>
                  <a:gd name="T106" fmla="*/ 240 w 656"/>
                  <a:gd name="T107" fmla="*/ 58 h 820"/>
                  <a:gd name="T108" fmla="*/ 516 w 656"/>
                  <a:gd name="T109" fmla="*/ 144 h 820"/>
                  <a:gd name="T110" fmla="*/ 656 w 656"/>
                  <a:gd name="T111" fmla="*/ 438 h 820"/>
                  <a:gd name="T112" fmla="*/ 544 w 656"/>
                  <a:gd name="T113" fmla="*/ 708 h 820"/>
                  <a:gd name="T114" fmla="*/ 274 w 656"/>
                  <a:gd name="T115" fmla="*/ 820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56" h="820">
                    <a:moveTo>
                      <a:pt x="274" y="820"/>
                    </a:moveTo>
                    <a:lnTo>
                      <a:pt x="274" y="820"/>
                    </a:lnTo>
                    <a:lnTo>
                      <a:pt x="250" y="818"/>
                    </a:lnTo>
                    <a:lnTo>
                      <a:pt x="228" y="816"/>
                    </a:lnTo>
                    <a:lnTo>
                      <a:pt x="204" y="812"/>
                    </a:lnTo>
                    <a:lnTo>
                      <a:pt x="182" y="808"/>
                    </a:lnTo>
                    <a:lnTo>
                      <a:pt x="158" y="802"/>
                    </a:lnTo>
                    <a:lnTo>
                      <a:pt x="136" y="794"/>
                    </a:lnTo>
                    <a:lnTo>
                      <a:pt x="114" y="784"/>
                    </a:lnTo>
                    <a:lnTo>
                      <a:pt x="94" y="774"/>
                    </a:lnTo>
                    <a:lnTo>
                      <a:pt x="94" y="774"/>
                    </a:lnTo>
                    <a:lnTo>
                      <a:pt x="88" y="770"/>
                    </a:lnTo>
                    <a:lnTo>
                      <a:pt x="88" y="770"/>
                    </a:lnTo>
                    <a:lnTo>
                      <a:pt x="86" y="768"/>
                    </a:lnTo>
                    <a:lnTo>
                      <a:pt x="86" y="768"/>
                    </a:lnTo>
                    <a:lnTo>
                      <a:pt x="82" y="766"/>
                    </a:lnTo>
                    <a:lnTo>
                      <a:pt x="80" y="760"/>
                    </a:lnTo>
                    <a:lnTo>
                      <a:pt x="80" y="760"/>
                    </a:lnTo>
                    <a:lnTo>
                      <a:pt x="80" y="754"/>
                    </a:lnTo>
                    <a:lnTo>
                      <a:pt x="82" y="750"/>
                    </a:lnTo>
                    <a:lnTo>
                      <a:pt x="94" y="730"/>
                    </a:lnTo>
                    <a:lnTo>
                      <a:pt x="158" y="616"/>
                    </a:lnTo>
                    <a:lnTo>
                      <a:pt x="158" y="616"/>
                    </a:lnTo>
                    <a:lnTo>
                      <a:pt x="162" y="612"/>
                    </a:lnTo>
                    <a:lnTo>
                      <a:pt x="166" y="608"/>
                    </a:lnTo>
                    <a:lnTo>
                      <a:pt x="166" y="608"/>
                    </a:lnTo>
                    <a:lnTo>
                      <a:pt x="172" y="608"/>
                    </a:lnTo>
                    <a:lnTo>
                      <a:pt x="176" y="610"/>
                    </a:lnTo>
                    <a:lnTo>
                      <a:pt x="176" y="610"/>
                    </a:lnTo>
                    <a:lnTo>
                      <a:pt x="198" y="620"/>
                    </a:lnTo>
                    <a:lnTo>
                      <a:pt x="222" y="628"/>
                    </a:lnTo>
                    <a:lnTo>
                      <a:pt x="222" y="628"/>
                    </a:lnTo>
                    <a:lnTo>
                      <a:pt x="228" y="632"/>
                    </a:lnTo>
                    <a:lnTo>
                      <a:pt x="232" y="638"/>
                    </a:lnTo>
                    <a:lnTo>
                      <a:pt x="238" y="672"/>
                    </a:lnTo>
                    <a:lnTo>
                      <a:pt x="238" y="672"/>
                    </a:lnTo>
                    <a:lnTo>
                      <a:pt x="238" y="674"/>
                    </a:lnTo>
                    <a:lnTo>
                      <a:pt x="238" y="674"/>
                    </a:lnTo>
                    <a:lnTo>
                      <a:pt x="240" y="678"/>
                    </a:lnTo>
                    <a:lnTo>
                      <a:pt x="244" y="680"/>
                    </a:lnTo>
                    <a:lnTo>
                      <a:pt x="248" y="684"/>
                    </a:lnTo>
                    <a:lnTo>
                      <a:pt x="252" y="684"/>
                    </a:lnTo>
                    <a:lnTo>
                      <a:pt x="296" y="684"/>
                    </a:lnTo>
                    <a:lnTo>
                      <a:pt x="296" y="684"/>
                    </a:lnTo>
                    <a:lnTo>
                      <a:pt x="300" y="684"/>
                    </a:lnTo>
                    <a:lnTo>
                      <a:pt x="306" y="680"/>
                    </a:lnTo>
                    <a:lnTo>
                      <a:pt x="308" y="678"/>
                    </a:lnTo>
                    <a:lnTo>
                      <a:pt x="310" y="674"/>
                    </a:lnTo>
                    <a:lnTo>
                      <a:pt x="310" y="674"/>
                    </a:lnTo>
                    <a:lnTo>
                      <a:pt x="310" y="672"/>
                    </a:lnTo>
                    <a:lnTo>
                      <a:pt x="318" y="638"/>
                    </a:lnTo>
                    <a:lnTo>
                      <a:pt x="318" y="638"/>
                    </a:lnTo>
                    <a:lnTo>
                      <a:pt x="320" y="632"/>
                    </a:lnTo>
                    <a:lnTo>
                      <a:pt x="328" y="628"/>
                    </a:lnTo>
                    <a:lnTo>
                      <a:pt x="328" y="628"/>
                    </a:lnTo>
                    <a:lnTo>
                      <a:pt x="350" y="620"/>
                    </a:lnTo>
                    <a:lnTo>
                      <a:pt x="372" y="610"/>
                    </a:lnTo>
                    <a:lnTo>
                      <a:pt x="372" y="610"/>
                    </a:lnTo>
                    <a:lnTo>
                      <a:pt x="380" y="608"/>
                    </a:lnTo>
                    <a:lnTo>
                      <a:pt x="386" y="610"/>
                    </a:lnTo>
                    <a:lnTo>
                      <a:pt x="414" y="628"/>
                    </a:lnTo>
                    <a:lnTo>
                      <a:pt x="414" y="628"/>
                    </a:lnTo>
                    <a:lnTo>
                      <a:pt x="416" y="630"/>
                    </a:lnTo>
                    <a:lnTo>
                      <a:pt x="416" y="630"/>
                    </a:lnTo>
                    <a:lnTo>
                      <a:pt x="420" y="632"/>
                    </a:lnTo>
                    <a:lnTo>
                      <a:pt x="424" y="632"/>
                    </a:lnTo>
                    <a:lnTo>
                      <a:pt x="424" y="632"/>
                    </a:lnTo>
                    <a:lnTo>
                      <a:pt x="428" y="630"/>
                    </a:lnTo>
                    <a:lnTo>
                      <a:pt x="434" y="628"/>
                    </a:lnTo>
                    <a:lnTo>
                      <a:pt x="464" y="596"/>
                    </a:lnTo>
                    <a:lnTo>
                      <a:pt x="464" y="596"/>
                    </a:lnTo>
                    <a:lnTo>
                      <a:pt x="466" y="592"/>
                    </a:lnTo>
                    <a:lnTo>
                      <a:pt x="468" y="588"/>
                    </a:lnTo>
                    <a:lnTo>
                      <a:pt x="468" y="584"/>
                    </a:lnTo>
                    <a:lnTo>
                      <a:pt x="466" y="580"/>
                    </a:lnTo>
                    <a:lnTo>
                      <a:pt x="466" y="580"/>
                    </a:lnTo>
                    <a:lnTo>
                      <a:pt x="466" y="578"/>
                    </a:lnTo>
                    <a:lnTo>
                      <a:pt x="446" y="550"/>
                    </a:lnTo>
                    <a:lnTo>
                      <a:pt x="446" y="550"/>
                    </a:lnTo>
                    <a:lnTo>
                      <a:pt x="444" y="542"/>
                    </a:lnTo>
                    <a:lnTo>
                      <a:pt x="446" y="536"/>
                    </a:lnTo>
                    <a:lnTo>
                      <a:pt x="446" y="536"/>
                    </a:lnTo>
                    <a:lnTo>
                      <a:pt x="456" y="514"/>
                    </a:lnTo>
                    <a:lnTo>
                      <a:pt x="464" y="490"/>
                    </a:lnTo>
                    <a:lnTo>
                      <a:pt x="464" y="490"/>
                    </a:lnTo>
                    <a:lnTo>
                      <a:pt x="468" y="484"/>
                    </a:lnTo>
                    <a:lnTo>
                      <a:pt x="476" y="480"/>
                    </a:lnTo>
                    <a:lnTo>
                      <a:pt x="508" y="474"/>
                    </a:lnTo>
                    <a:lnTo>
                      <a:pt x="508" y="474"/>
                    </a:lnTo>
                    <a:lnTo>
                      <a:pt x="512" y="474"/>
                    </a:lnTo>
                    <a:lnTo>
                      <a:pt x="512" y="474"/>
                    </a:lnTo>
                    <a:lnTo>
                      <a:pt x="514" y="472"/>
                    </a:lnTo>
                    <a:lnTo>
                      <a:pt x="518" y="468"/>
                    </a:lnTo>
                    <a:lnTo>
                      <a:pt x="520" y="464"/>
                    </a:lnTo>
                    <a:lnTo>
                      <a:pt x="520" y="460"/>
                    </a:lnTo>
                    <a:lnTo>
                      <a:pt x="520" y="416"/>
                    </a:lnTo>
                    <a:lnTo>
                      <a:pt x="520" y="416"/>
                    </a:lnTo>
                    <a:lnTo>
                      <a:pt x="520" y="412"/>
                    </a:lnTo>
                    <a:lnTo>
                      <a:pt x="518" y="406"/>
                    </a:lnTo>
                    <a:lnTo>
                      <a:pt x="514" y="404"/>
                    </a:lnTo>
                    <a:lnTo>
                      <a:pt x="512" y="402"/>
                    </a:lnTo>
                    <a:lnTo>
                      <a:pt x="512" y="402"/>
                    </a:lnTo>
                    <a:lnTo>
                      <a:pt x="508" y="402"/>
                    </a:lnTo>
                    <a:lnTo>
                      <a:pt x="476" y="396"/>
                    </a:lnTo>
                    <a:lnTo>
                      <a:pt x="476" y="396"/>
                    </a:lnTo>
                    <a:lnTo>
                      <a:pt x="468" y="392"/>
                    </a:lnTo>
                    <a:lnTo>
                      <a:pt x="464" y="386"/>
                    </a:lnTo>
                    <a:lnTo>
                      <a:pt x="464" y="386"/>
                    </a:lnTo>
                    <a:lnTo>
                      <a:pt x="456" y="362"/>
                    </a:lnTo>
                    <a:lnTo>
                      <a:pt x="446" y="340"/>
                    </a:lnTo>
                    <a:lnTo>
                      <a:pt x="446" y="340"/>
                    </a:lnTo>
                    <a:lnTo>
                      <a:pt x="444" y="334"/>
                    </a:lnTo>
                    <a:lnTo>
                      <a:pt x="446" y="326"/>
                    </a:lnTo>
                    <a:lnTo>
                      <a:pt x="466" y="298"/>
                    </a:lnTo>
                    <a:lnTo>
                      <a:pt x="466" y="298"/>
                    </a:lnTo>
                    <a:lnTo>
                      <a:pt x="466" y="296"/>
                    </a:lnTo>
                    <a:lnTo>
                      <a:pt x="466" y="296"/>
                    </a:lnTo>
                    <a:lnTo>
                      <a:pt x="468" y="292"/>
                    </a:lnTo>
                    <a:lnTo>
                      <a:pt x="468" y="288"/>
                    </a:lnTo>
                    <a:lnTo>
                      <a:pt x="466" y="284"/>
                    </a:lnTo>
                    <a:lnTo>
                      <a:pt x="464" y="280"/>
                    </a:lnTo>
                    <a:lnTo>
                      <a:pt x="434" y="248"/>
                    </a:lnTo>
                    <a:lnTo>
                      <a:pt x="434" y="248"/>
                    </a:lnTo>
                    <a:lnTo>
                      <a:pt x="428" y="246"/>
                    </a:lnTo>
                    <a:lnTo>
                      <a:pt x="424" y="244"/>
                    </a:lnTo>
                    <a:lnTo>
                      <a:pt x="424" y="244"/>
                    </a:lnTo>
                    <a:lnTo>
                      <a:pt x="420" y="244"/>
                    </a:lnTo>
                    <a:lnTo>
                      <a:pt x="416" y="246"/>
                    </a:lnTo>
                    <a:lnTo>
                      <a:pt x="416" y="246"/>
                    </a:lnTo>
                    <a:lnTo>
                      <a:pt x="414" y="248"/>
                    </a:lnTo>
                    <a:lnTo>
                      <a:pt x="386" y="266"/>
                    </a:lnTo>
                    <a:lnTo>
                      <a:pt x="386" y="266"/>
                    </a:lnTo>
                    <a:lnTo>
                      <a:pt x="380" y="268"/>
                    </a:lnTo>
                    <a:lnTo>
                      <a:pt x="372" y="266"/>
                    </a:lnTo>
                    <a:lnTo>
                      <a:pt x="372" y="266"/>
                    </a:lnTo>
                    <a:lnTo>
                      <a:pt x="350" y="256"/>
                    </a:lnTo>
                    <a:lnTo>
                      <a:pt x="328" y="248"/>
                    </a:lnTo>
                    <a:lnTo>
                      <a:pt x="328" y="248"/>
                    </a:lnTo>
                    <a:lnTo>
                      <a:pt x="320" y="244"/>
                    </a:lnTo>
                    <a:lnTo>
                      <a:pt x="318" y="236"/>
                    </a:lnTo>
                    <a:lnTo>
                      <a:pt x="310" y="204"/>
                    </a:lnTo>
                    <a:lnTo>
                      <a:pt x="310" y="204"/>
                    </a:lnTo>
                    <a:lnTo>
                      <a:pt x="310" y="200"/>
                    </a:lnTo>
                    <a:lnTo>
                      <a:pt x="310" y="200"/>
                    </a:lnTo>
                    <a:lnTo>
                      <a:pt x="308" y="198"/>
                    </a:lnTo>
                    <a:lnTo>
                      <a:pt x="306" y="196"/>
                    </a:lnTo>
                    <a:lnTo>
                      <a:pt x="300" y="192"/>
                    </a:lnTo>
                    <a:lnTo>
                      <a:pt x="296" y="192"/>
                    </a:lnTo>
                    <a:lnTo>
                      <a:pt x="254" y="192"/>
                    </a:lnTo>
                    <a:lnTo>
                      <a:pt x="254" y="192"/>
                    </a:lnTo>
                    <a:lnTo>
                      <a:pt x="248" y="192"/>
                    </a:lnTo>
                    <a:lnTo>
                      <a:pt x="244" y="196"/>
                    </a:lnTo>
                    <a:lnTo>
                      <a:pt x="240" y="198"/>
                    </a:lnTo>
                    <a:lnTo>
                      <a:pt x="238" y="200"/>
                    </a:lnTo>
                    <a:lnTo>
                      <a:pt x="238" y="200"/>
                    </a:lnTo>
                    <a:lnTo>
                      <a:pt x="238" y="204"/>
                    </a:lnTo>
                    <a:lnTo>
                      <a:pt x="232" y="236"/>
                    </a:lnTo>
                    <a:lnTo>
                      <a:pt x="232" y="236"/>
                    </a:lnTo>
                    <a:lnTo>
                      <a:pt x="228" y="244"/>
                    </a:lnTo>
                    <a:lnTo>
                      <a:pt x="222" y="248"/>
                    </a:lnTo>
                    <a:lnTo>
                      <a:pt x="222" y="248"/>
                    </a:lnTo>
                    <a:lnTo>
                      <a:pt x="198" y="256"/>
                    </a:lnTo>
                    <a:lnTo>
                      <a:pt x="176" y="266"/>
                    </a:lnTo>
                    <a:lnTo>
                      <a:pt x="176" y="266"/>
                    </a:lnTo>
                    <a:lnTo>
                      <a:pt x="170" y="268"/>
                    </a:lnTo>
                    <a:lnTo>
                      <a:pt x="162" y="266"/>
                    </a:lnTo>
                    <a:lnTo>
                      <a:pt x="134" y="248"/>
                    </a:lnTo>
                    <a:lnTo>
                      <a:pt x="134" y="248"/>
                    </a:lnTo>
                    <a:lnTo>
                      <a:pt x="132" y="246"/>
                    </a:lnTo>
                    <a:lnTo>
                      <a:pt x="132" y="246"/>
                    </a:lnTo>
                    <a:lnTo>
                      <a:pt x="128" y="244"/>
                    </a:lnTo>
                    <a:lnTo>
                      <a:pt x="124" y="244"/>
                    </a:lnTo>
                    <a:lnTo>
                      <a:pt x="120" y="246"/>
                    </a:lnTo>
                    <a:lnTo>
                      <a:pt x="116" y="248"/>
                    </a:lnTo>
                    <a:lnTo>
                      <a:pt x="86" y="278"/>
                    </a:lnTo>
                    <a:lnTo>
                      <a:pt x="86" y="278"/>
                    </a:lnTo>
                    <a:lnTo>
                      <a:pt x="82" y="284"/>
                    </a:lnTo>
                    <a:lnTo>
                      <a:pt x="80" y="288"/>
                    </a:lnTo>
                    <a:lnTo>
                      <a:pt x="80" y="292"/>
                    </a:lnTo>
                    <a:lnTo>
                      <a:pt x="82" y="296"/>
                    </a:lnTo>
                    <a:lnTo>
                      <a:pt x="82" y="296"/>
                    </a:lnTo>
                    <a:lnTo>
                      <a:pt x="84" y="298"/>
                    </a:lnTo>
                    <a:lnTo>
                      <a:pt x="102" y="326"/>
                    </a:lnTo>
                    <a:lnTo>
                      <a:pt x="102" y="326"/>
                    </a:lnTo>
                    <a:lnTo>
                      <a:pt x="104" y="334"/>
                    </a:lnTo>
                    <a:lnTo>
                      <a:pt x="102" y="340"/>
                    </a:lnTo>
                    <a:lnTo>
                      <a:pt x="102" y="340"/>
                    </a:lnTo>
                    <a:lnTo>
                      <a:pt x="92" y="362"/>
                    </a:lnTo>
                    <a:lnTo>
                      <a:pt x="84" y="386"/>
                    </a:lnTo>
                    <a:lnTo>
                      <a:pt x="84" y="386"/>
                    </a:lnTo>
                    <a:lnTo>
                      <a:pt x="80" y="392"/>
                    </a:lnTo>
                    <a:lnTo>
                      <a:pt x="74" y="396"/>
                    </a:lnTo>
                    <a:lnTo>
                      <a:pt x="40" y="402"/>
                    </a:lnTo>
                    <a:lnTo>
                      <a:pt x="40" y="402"/>
                    </a:lnTo>
                    <a:lnTo>
                      <a:pt x="38" y="402"/>
                    </a:lnTo>
                    <a:lnTo>
                      <a:pt x="38" y="402"/>
                    </a:lnTo>
                    <a:lnTo>
                      <a:pt x="34" y="404"/>
                    </a:lnTo>
                    <a:lnTo>
                      <a:pt x="32" y="406"/>
                    </a:lnTo>
                    <a:lnTo>
                      <a:pt x="30" y="412"/>
                    </a:lnTo>
                    <a:lnTo>
                      <a:pt x="28" y="416"/>
                    </a:lnTo>
                    <a:lnTo>
                      <a:pt x="28" y="460"/>
                    </a:lnTo>
                    <a:lnTo>
                      <a:pt x="28" y="460"/>
                    </a:lnTo>
                    <a:lnTo>
                      <a:pt x="30" y="464"/>
                    </a:lnTo>
                    <a:lnTo>
                      <a:pt x="32" y="468"/>
                    </a:lnTo>
                    <a:lnTo>
                      <a:pt x="34" y="472"/>
                    </a:lnTo>
                    <a:lnTo>
                      <a:pt x="38" y="474"/>
                    </a:lnTo>
                    <a:lnTo>
                      <a:pt x="38" y="474"/>
                    </a:lnTo>
                    <a:lnTo>
                      <a:pt x="40" y="474"/>
                    </a:lnTo>
                    <a:lnTo>
                      <a:pt x="74" y="480"/>
                    </a:lnTo>
                    <a:lnTo>
                      <a:pt x="74" y="480"/>
                    </a:lnTo>
                    <a:lnTo>
                      <a:pt x="80" y="484"/>
                    </a:lnTo>
                    <a:lnTo>
                      <a:pt x="84" y="490"/>
                    </a:lnTo>
                    <a:lnTo>
                      <a:pt x="84" y="490"/>
                    </a:lnTo>
                    <a:lnTo>
                      <a:pt x="92" y="514"/>
                    </a:lnTo>
                    <a:lnTo>
                      <a:pt x="102" y="536"/>
                    </a:lnTo>
                    <a:lnTo>
                      <a:pt x="102" y="536"/>
                    </a:lnTo>
                    <a:lnTo>
                      <a:pt x="104" y="540"/>
                    </a:lnTo>
                    <a:lnTo>
                      <a:pt x="104" y="546"/>
                    </a:lnTo>
                    <a:lnTo>
                      <a:pt x="102" y="550"/>
                    </a:lnTo>
                    <a:lnTo>
                      <a:pt x="98" y="554"/>
                    </a:lnTo>
                    <a:lnTo>
                      <a:pt x="98" y="554"/>
                    </a:lnTo>
                    <a:lnTo>
                      <a:pt x="92" y="556"/>
                    </a:lnTo>
                    <a:lnTo>
                      <a:pt x="86" y="556"/>
                    </a:lnTo>
                    <a:lnTo>
                      <a:pt x="82" y="554"/>
                    </a:lnTo>
                    <a:lnTo>
                      <a:pt x="78" y="550"/>
                    </a:lnTo>
                    <a:lnTo>
                      <a:pt x="78" y="550"/>
                    </a:lnTo>
                    <a:lnTo>
                      <a:pt x="68" y="528"/>
                    </a:lnTo>
                    <a:lnTo>
                      <a:pt x="60" y="506"/>
                    </a:lnTo>
                    <a:lnTo>
                      <a:pt x="36" y="502"/>
                    </a:lnTo>
                    <a:lnTo>
                      <a:pt x="36" y="502"/>
                    </a:lnTo>
                    <a:lnTo>
                      <a:pt x="28" y="500"/>
                    </a:lnTo>
                    <a:lnTo>
                      <a:pt x="22" y="496"/>
                    </a:lnTo>
                    <a:lnTo>
                      <a:pt x="16" y="492"/>
                    </a:lnTo>
                    <a:lnTo>
                      <a:pt x="10" y="488"/>
                    </a:lnTo>
                    <a:lnTo>
                      <a:pt x="6" y="480"/>
                    </a:lnTo>
                    <a:lnTo>
                      <a:pt x="2" y="474"/>
                    </a:lnTo>
                    <a:lnTo>
                      <a:pt x="0" y="466"/>
                    </a:lnTo>
                    <a:lnTo>
                      <a:pt x="0" y="460"/>
                    </a:lnTo>
                    <a:lnTo>
                      <a:pt x="0" y="416"/>
                    </a:lnTo>
                    <a:lnTo>
                      <a:pt x="0" y="416"/>
                    </a:lnTo>
                    <a:lnTo>
                      <a:pt x="0" y="410"/>
                    </a:lnTo>
                    <a:lnTo>
                      <a:pt x="2" y="402"/>
                    </a:lnTo>
                    <a:lnTo>
                      <a:pt x="6" y="394"/>
                    </a:lnTo>
                    <a:lnTo>
                      <a:pt x="10" y="388"/>
                    </a:lnTo>
                    <a:lnTo>
                      <a:pt x="16" y="384"/>
                    </a:lnTo>
                    <a:lnTo>
                      <a:pt x="22" y="378"/>
                    </a:lnTo>
                    <a:lnTo>
                      <a:pt x="28" y="376"/>
                    </a:lnTo>
                    <a:lnTo>
                      <a:pt x="36" y="374"/>
                    </a:lnTo>
                    <a:lnTo>
                      <a:pt x="60" y="370"/>
                    </a:lnTo>
                    <a:lnTo>
                      <a:pt x="60" y="370"/>
                    </a:lnTo>
                    <a:lnTo>
                      <a:pt x="66" y="352"/>
                    </a:lnTo>
                    <a:lnTo>
                      <a:pt x="74" y="334"/>
                    </a:lnTo>
                    <a:lnTo>
                      <a:pt x="60" y="314"/>
                    </a:lnTo>
                    <a:lnTo>
                      <a:pt x="60" y="314"/>
                    </a:lnTo>
                    <a:lnTo>
                      <a:pt x="56" y="308"/>
                    </a:lnTo>
                    <a:lnTo>
                      <a:pt x="54" y="300"/>
                    </a:lnTo>
                    <a:lnTo>
                      <a:pt x="52" y="294"/>
                    </a:lnTo>
                    <a:lnTo>
                      <a:pt x="52" y="286"/>
                    </a:lnTo>
                    <a:lnTo>
                      <a:pt x="54" y="278"/>
                    </a:lnTo>
                    <a:lnTo>
                      <a:pt x="56" y="272"/>
                    </a:lnTo>
                    <a:lnTo>
                      <a:pt x="60" y="264"/>
                    </a:lnTo>
                    <a:lnTo>
                      <a:pt x="66" y="260"/>
                    </a:lnTo>
                    <a:lnTo>
                      <a:pt x="96" y="228"/>
                    </a:lnTo>
                    <a:lnTo>
                      <a:pt x="96" y="228"/>
                    </a:lnTo>
                    <a:lnTo>
                      <a:pt x="102" y="224"/>
                    </a:lnTo>
                    <a:lnTo>
                      <a:pt x="108" y="220"/>
                    </a:lnTo>
                    <a:lnTo>
                      <a:pt x="114" y="218"/>
                    </a:lnTo>
                    <a:lnTo>
                      <a:pt x="122" y="216"/>
                    </a:lnTo>
                    <a:lnTo>
                      <a:pt x="130" y="216"/>
                    </a:lnTo>
                    <a:lnTo>
                      <a:pt x="138" y="218"/>
                    </a:lnTo>
                    <a:lnTo>
                      <a:pt x="144" y="220"/>
                    </a:lnTo>
                    <a:lnTo>
                      <a:pt x="150" y="224"/>
                    </a:lnTo>
                    <a:lnTo>
                      <a:pt x="170" y="238"/>
                    </a:lnTo>
                    <a:lnTo>
                      <a:pt x="170" y="238"/>
                    </a:lnTo>
                    <a:lnTo>
                      <a:pt x="188" y="230"/>
                    </a:lnTo>
                    <a:lnTo>
                      <a:pt x="206" y="222"/>
                    </a:lnTo>
                    <a:lnTo>
                      <a:pt x="210" y="200"/>
                    </a:lnTo>
                    <a:lnTo>
                      <a:pt x="210" y="200"/>
                    </a:lnTo>
                    <a:lnTo>
                      <a:pt x="212" y="192"/>
                    </a:lnTo>
                    <a:lnTo>
                      <a:pt x="216" y="186"/>
                    </a:lnTo>
                    <a:lnTo>
                      <a:pt x="220" y="180"/>
                    </a:lnTo>
                    <a:lnTo>
                      <a:pt x="226" y="174"/>
                    </a:lnTo>
                    <a:lnTo>
                      <a:pt x="232" y="170"/>
                    </a:lnTo>
                    <a:lnTo>
                      <a:pt x="238" y="166"/>
                    </a:lnTo>
                    <a:lnTo>
                      <a:pt x="246" y="164"/>
                    </a:lnTo>
                    <a:lnTo>
                      <a:pt x="254" y="164"/>
                    </a:lnTo>
                    <a:lnTo>
                      <a:pt x="296" y="164"/>
                    </a:lnTo>
                    <a:lnTo>
                      <a:pt x="296" y="164"/>
                    </a:lnTo>
                    <a:lnTo>
                      <a:pt x="304" y="164"/>
                    </a:lnTo>
                    <a:lnTo>
                      <a:pt x="310" y="166"/>
                    </a:lnTo>
                    <a:lnTo>
                      <a:pt x="318" y="170"/>
                    </a:lnTo>
                    <a:lnTo>
                      <a:pt x="324" y="174"/>
                    </a:lnTo>
                    <a:lnTo>
                      <a:pt x="330" y="180"/>
                    </a:lnTo>
                    <a:lnTo>
                      <a:pt x="334" y="186"/>
                    </a:lnTo>
                    <a:lnTo>
                      <a:pt x="336" y="192"/>
                    </a:lnTo>
                    <a:lnTo>
                      <a:pt x="338" y="200"/>
                    </a:lnTo>
                    <a:lnTo>
                      <a:pt x="342" y="222"/>
                    </a:lnTo>
                    <a:lnTo>
                      <a:pt x="342" y="222"/>
                    </a:lnTo>
                    <a:lnTo>
                      <a:pt x="360" y="230"/>
                    </a:lnTo>
                    <a:lnTo>
                      <a:pt x="378" y="238"/>
                    </a:lnTo>
                    <a:lnTo>
                      <a:pt x="398" y="224"/>
                    </a:lnTo>
                    <a:lnTo>
                      <a:pt x="398" y="224"/>
                    </a:lnTo>
                    <a:lnTo>
                      <a:pt x="404" y="220"/>
                    </a:lnTo>
                    <a:lnTo>
                      <a:pt x="412" y="218"/>
                    </a:lnTo>
                    <a:lnTo>
                      <a:pt x="418" y="216"/>
                    </a:lnTo>
                    <a:lnTo>
                      <a:pt x="426" y="216"/>
                    </a:lnTo>
                    <a:lnTo>
                      <a:pt x="426" y="216"/>
                    </a:lnTo>
                    <a:lnTo>
                      <a:pt x="442" y="220"/>
                    </a:lnTo>
                    <a:lnTo>
                      <a:pt x="448" y="224"/>
                    </a:lnTo>
                    <a:lnTo>
                      <a:pt x="454" y="230"/>
                    </a:lnTo>
                    <a:lnTo>
                      <a:pt x="484" y="260"/>
                    </a:lnTo>
                    <a:lnTo>
                      <a:pt x="484" y="260"/>
                    </a:lnTo>
                    <a:lnTo>
                      <a:pt x="488" y="264"/>
                    </a:lnTo>
                    <a:lnTo>
                      <a:pt x="492" y="272"/>
                    </a:lnTo>
                    <a:lnTo>
                      <a:pt x="494" y="278"/>
                    </a:lnTo>
                    <a:lnTo>
                      <a:pt x="496" y="286"/>
                    </a:lnTo>
                    <a:lnTo>
                      <a:pt x="496" y="294"/>
                    </a:lnTo>
                    <a:lnTo>
                      <a:pt x="494" y="300"/>
                    </a:lnTo>
                    <a:lnTo>
                      <a:pt x="492" y="308"/>
                    </a:lnTo>
                    <a:lnTo>
                      <a:pt x="488" y="314"/>
                    </a:lnTo>
                    <a:lnTo>
                      <a:pt x="474" y="334"/>
                    </a:lnTo>
                    <a:lnTo>
                      <a:pt x="474" y="334"/>
                    </a:lnTo>
                    <a:lnTo>
                      <a:pt x="482" y="352"/>
                    </a:lnTo>
                    <a:lnTo>
                      <a:pt x="490" y="370"/>
                    </a:lnTo>
                    <a:lnTo>
                      <a:pt x="512" y="374"/>
                    </a:lnTo>
                    <a:lnTo>
                      <a:pt x="512" y="374"/>
                    </a:lnTo>
                    <a:lnTo>
                      <a:pt x="520" y="376"/>
                    </a:lnTo>
                    <a:lnTo>
                      <a:pt x="528" y="378"/>
                    </a:lnTo>
                    <a:lnTo>
                      <a:pt x="534" y="384"/>
                    </a:lnTo>
                    <a:lnTo>
                      <a:pt x="538" y="388"/>
                    </a:lnTo>
                    <a:lnTo>
                      <a:pt x="542" y="396"/>
                    </a:lnTo>
                    <a:lnTo>
                      <a:pt x="546" y="402"/>
                    </a:lnTo>
                    <a:lnTo>
                      <a:pt x="548" y="410"/>
                    </a:lnTo>
                    <a:lnTo>
                      <a:pt x="548" y="416"/>
                    </a:lnTo>
                    <a:lnTo>
                      <a:pt x="548" y="460"/>
                    </a:lnTo>
                    <a:lnTo>
                      <a:pt x="548" y="460"/>
                    </a:lnTo>
                    <a:lnTo>
                      <a:pt x="548" y="466"/>
                    </a:lnTo>
                    <a:lnTo>
                      <a:pt x="546" y="474"/>
                    </a:lnTo>
                    <a:lnTo>
                      <a:pt x="542" y="480"/>
                    </a:lnTo>
                    <a:lnTo>
                      <a:pt x="538" y="488"/>
                    </a:lnTo>
                    <a:lnTo>
                      <a:pt x="534" y="492"/>
                    </a:lnTo>
                    <a:lnTo>
                      <a:pt x="528" y="498"/>
                    </a:lnTo>
                    <a:lnTo>
                      <a:pt x="520" y="500"/>
                    </a:lnTo>
                    <a:lnTo>
                      <a:pt x="512" y="502"/>
                    </a:lnTo>
                    <a:lnTo>
                      <a:pt x="490" y="506"/>
                    </a:lnTo>
                    <a:lnTo>
                      <a:pt x="490" y="506"/>
                    </a:lnTo>
                    <a:lnTo>
                      <a:pt x="482" y="524"/>
                    </a:lnTo>
                    <a:lnTo>
                      <a:pt x="474" y="542"/>
                    </a:lnTo>
                    <a:lnTo>
                      <a:pt x="488" y="562"/>
                    </a:lnTo>
                    <a:lnTo>
                      <a:pt x="488" y="562"/>
                    </a:lnTo>
                    <a:lnTo>
                      <a:pt x="492" y="568"/>
                    </a:lnTo>
                    <a:lnTo>
                      <a:pt x="494" y="574"/>
                    </a:lnTo>
                    <a:lnTo>
                      <a:pt x="496" y="582"/>
                    </a:lnTo>
                    <a:lnTo>
                      <a:pt x="496" y="590"/>
                    </a:lnTo>
                    <a:lnTo>
                      <a:pt x="494" y="598"/>
                    </a:lnTo>
                    <a:lnTo>
                      <a:pt x="492" y="604"/>
                    </a:lnTo>
                    <a:lnTo>
                      <a:pt x="488" y="610"/>
                    </a:lnTo>
                    <a:lnTo>
                      <a:pt x="484" y="616"/>
                    </a:lnTo>
                    <a:lnTo>
                      <a:pt x="452" y="646"/>
                    </a:lnTo>
                    <a:lnTo>
                      <a:pt x="452" y="646"/>
                    </a:lnTo>
                    <a:lnTo>
                      <a:pt x="448" y="652"/>
                    </a:lnTo>
                    <a:lnTo>
                      <a:pt x="442" y="656"/>
                    </a:lnTo>
                    <a:lnTo>
                      <a:pt x="434" y="658"/>
                    </a:lnTo>
                    <a:lnTo>
                      <a:pt x="426" y="660"/>
                    </a:lnTo>
                    <a:lnTo>
                      <a:pt x="426" y="660"/>
                    </a:lnTo>
                    <a:lnTo>
                      <a:pt x="418" y="660"/>
                    </a:lnTo>
                    <a:lnTo>
                      <a:pt x="412" y="658"/>
                    </a:lnTo>
                    <a:lnTo>
                      <a:pt x="404" y="656"/>
                    </a:lnTo>
                    <a:lnTo>
                      <a:pt x="398" y="652"/>
                    </a:lnTo>
                    <a:lnTo>
                      <a:pt x="378" y="638"/>
                    </a:lnTo>
                    <a:lnTo>
                      <a:pt x="378" y="638"/>
                    </a:lnTo>
                    <a:lnTo>
                      <a:pt x="360" y="646"/>
                    </a:lnTo>
                    <a:lnTo>
                      <a:pt x="342" y="652"/>
                    </a:lnTo>
                    <a:lnTo>
                      <a:pt x="338" y="676"/>
                    </a:lnTo>
                    <a:lnTo>
                      <a:pt x="338" y="676"/>
                    </a:lnTo>
                    <a:lnTo>
                      <a:pt x="336" y="684"/>
                    </a:lnTo>
                    <a:lnTo>
                      <a:pt x="334" y="690"/>
                    </a:lnTo>
                    <a:lnTo>
                      <a:pt x="330" y="696"/>
                    </a:lnTo>
                    <a:lnTo>
                      <a:pt x="324" y="702"/>
                    </a:lnTo>
                    <a:lnTo>
                      <a:pt x="318" y="706"/>
                    </a:lnTo>
                    <a:lnTo>
                      <a:pt x="310" y="710"/>
                    </a:lnTo>
                    <a:lnTo>
                      <a:pt x="302" y="712"/>
                    </a:lnTo>
                    <a:lnTo>
                      <a:pt x="296" y="712"/>
                    </a:lnTo>
                    <a:lnTo>
                      <a:pt x="252" y="712"/>
                    </a:lnTo>
                    <a:lnTo>
                      <a:pt x="252" y="712"/>
                    </a:lnTo>
                    <a:lnTo>
                      <a:pt x="246" y="712"/>
                    </a:lnTo>
                    <a:lnTo>
                      <a:pt x="238" y="710"/>
                    </a:lnTo>
                    <a:lnTo>
                      <a:pt x="232" y="706"/>
                    </a:lnTo>
                    <a:lnTo>
                      <a:pt x="226" y="702"/>
                    </a:lnTo>
                    <a:lnTo>
                      <a:pt x="220" y="696"/>
                    </a:lnTo>
                    <a:lnTo>
                      <a:pt x="216" y="690"/>
                    </a:lnTo>
                    <a:lnTo>
                      <a:pt x="212" y="684"/>
                    </a:lnTo>
                    <a:lnTo>
                      <a:pt x="210" y="676"/>
                    </a:lnTo>
                    <a:lnTo>
                      <a:pt x="206" y="652"/>
                    </a:lnTo>
                    <a:lnTo>
                      <a:pt x="206" y="652"/>
                    </a:lnTo>
                    <a:lnTo>
                      <a:pt x="176" y="640"/>
                    </a:lnTo>
                    <a:lnTo>
                      <a:pt x="118" y="744"/>
                    </a:lnTo>
                    <a:lnTo>
                      <a:pt x="112" y="752"/>
                    </a:lnTo>
                    <a:lnTo>
                      <a:pt x="112" y="752"/>
                    </a:lnTo>
                    <a:lnTo>
                      <a:pt x="132" y="762"/>
                    </a:lnTo>
                    <a:lnTo>
                      <a:pt x="150" y="770"/>
                    </a:lnTo>
                    <a:lnTo>
                      <a:pt x="170" y="776"/>
                    </a:lnTo>
                    <a:lnTo>
                      <a:pt x="190" y="782"/>
                    </a:lnTo>
                    <a:lnTo>
                      <a:pt x="212" y="786"/>
                    </a:lnTo>
                    <a:lnTo>
                      <a:pt x="232" y="788"/>
                    </a:lnTo>
                    <a:lnTo>
                      <a:pt x="254" y="790"/>
                    </a:lnTo>
                    <a:lnTo>
                      <a:pt x="274" y="792"/>
                    </a:lnTo>
                    <a:lnTo>
                      <a:pt x="274" y="792"/>
                    </a:lnTo>
                    <a:lnTo>
                      <a:pt x="310" y="790"/>
                    </a:lnTo>
                    <a:lnTo>
                      <a:pt x="346" y="784"/>
                    </a:lnTo>
                    <a:lnTo>
                      <a:pt x="380" y="776"/>
                    </a:lnTo>
                    <a:lnTo>
                      <a:pt x="412" y="764"/>
                    </a:lnTo>
                    <a:lnTo>
                      <a:pt x="442" y="748"/>
                    </a:lnTo>
                    <a:lnTo>
                      <a:pt x="472" y="730"/>
                    </a:lnTo>
                    <a:lnTo>
                      <a:pt x="500" y="710"/>
                    </a:lnTo>
                    <a:lnTo>
                      <a:pt x="524" y="688"/>
                    </a:lnTo>
                    <a:lnTo>
                      <a:pt x="546" y="662"/>
                    </a:lnTo>
                    <a:lnTo>
                      <a:pt x="568" y="636"/>
                    </a:lnTo>
                    <a:lnTo>
                      <a:pt x="586" y="606"/>
                    </a:lnTo>
                    <a:lnTo>
                      <a:pt x="600" y="576"/>
                    </a:lnTo>
                    <a:lnTo>
                      <a:pt x="612" y="542"/>
                    </a:lnTo>
                    <a:lnTo>
                      <a:pt x="620" y="510"/>
                    </a:lnTo>
                    <a:lnTo>
                      <a:pt x="626" y="474"/>
                    </a:lnTo>
                    <a:lnTo>
                      <a:pt x="628" y="438"/>
                    </a:lnTo>
                    <a:lnTo>
                      <a:pt x="628" y="438"/>
                    </a:lnTo>
                    <a:lnTo>
                      <a:pt x="626" y="402"/>
                    </a:lnTo>
                    <a:lnTo>
                      <a:pt x="620" y="366"/>
                    </a:lnTo>
                    <a:lnTo>
                      <a:pt x="612" y="332"/>
                    </a:lnTo>
                    <a:lnTo>
                      <a:pt x="600" y="300"/>
                    </a:lnTo>
                    <a:lnTo>
                      <a:pt x="586" y="270"/>
                    </a:lnTo>
                    <a:lnTo>
                      <a:pt x="568" y="240"/>
                    </a:lnTo>
                    <a:lnTo>
                      <a:pt x="546" y="214"/>
                    </a:lnTo>
                    <a:lnTo>
                      <a:pt x="524" y="188"/>
                    </a:lnTo>
                    <a:lnTo>
                      <a:pt x="500" y="166"/>
                    </a:lnTo>
                    <a:lnTo>
                      <a:pt x="472" y="144"/>
                    </a:lnTo>
                    <a:lnTo>
                      <a:pt x="442" y="128"/>
                    </a:lnTo>
                    <a:lnTo>
                      <a:pt x="412" y="112"/>
                    </a:lnTo>
                    <a:lnTo>
                      <a:pt x="380" y="100"/>
                    </a:lnTo>
                    <a:lnTo>
                      <a:pt x="346" y="92"/>
                    </a:lnTo>
                    <a:lnTo>
                      <a:pt x="310" y="86"/>
                    </a:lnTo>
                    <a:lnTo>
                      <a:pt x="274" y="84"/>
                    </a:lnTo>
                    <a:lnTo>
                      <a:pt x="274" y="84"/>
                    </a:lnTo>
                    <a:lnTo>
                      <a:pt x="246" y="86"/>
                    </a:lnTo>
                    <a:lnTo>
                      <a:pt x="218" y="88"/>
                    </a:lnTo>
                    <a:lnTo>
                      <a:pt x="190" y="94"/>
                    </a:lnTo>
                    <a:lnTo>
                      <a:pt x="162" y="102"/>
                    </a:lnTo>
                    <a:lnTo>
                      <a:pt x="174" y="130"/>
                    </a:lnTo>
                    <a:lnTo>
                      <a:pt x="186" y="164"/>
                    </a:lnTo>
                    <a:lnTo>
                      <a:pt x="186" y="164"/>
                    </a:lnTo>
                    <a:lnTo>
                      <a:pt x="186" y="170"/>
                    </a:lnTo>
                    <a:lnTo>
                      <a:pt x="184" y="178"/>
                    </a:lnTo>
                    <a:lnTo>
                      <a:pt x="184" y="178"/>
                    </a:lnTo>
                    <a:lnTo>
                      <a:pt x="176" y="182"/>
                    </a:lnTo>
                    <a:lnTo>
                      <a:pt x="170" y="182"/>
                    </a:lnTo>
                    <a:lnTo>
                      <a:pt x="40" y="144"/>
                    </a:lnTo>
                    <a:lnTo>
                      <a:pt x="40" y="144"/>
                    </a:lnTo>
                    <a:lnTo>
                      <a:pt x="34" y="142"/>
                    </a:lnTo>
                    <a:lnTo>
                      <a:pt x="30" y="136"/>
                    </a:lnTo>
                    <a:lnTo>
                      <a:pt x="30" y="136"/>
                    </a:lnTo>
                    <a:lnTo>
                      <a:pt x="28" y="130"/>
                    </a:lnTo>
                    <a:lnTo>
                      <a:pt x="32" y="124"/>
                    </a:lnTo>
                    <a:lnTo>
                      <a:pt x="104" y="8"/>
                    </a:lnTo>
                    <a:lnTo>
                      <a:pt x="104" y="8"/>
                    </a:lnTo>
                    <a:lnTo>
                      <a:pt x="108" y="4"/>
                    </a:lnTo>
                    <a:lnTo>
                      <a:pt x="112" y="0"/>
                    </a:lnTo>
                    <a:lnTo>
                      <a:pt x="118" y="0"/>
                    </a:lnTo>
                    <a:lnTo>
                      <a:pt x="124" y="2"/>
                    </a:lnTo>
                    <a:lnTo>
                      <a:pt x="124" y="2"/>
                    </a:lnTo>
                    <a:lnTo>
                      <a:pt x="128" y="6"/>
                    </a:lnTo>
                    <a:lnTo>
                      <a:pt x="130" y="12"/>
                    </a:lnTo>
                    <a:lnTo>
                      <a:pt x="130" y="16"/>
                    </a:lnTo>
                    <a:lnTo>
                      <a:pt x="128" y="22"/>
                    </a:lnTo>
                    <a:lnTo>
                      <a:pt x="64" y="122"/>
                    </a:lnTo>
                    <a:lnTo>
                      <a:pt x="150" y="148"/>
                    </a:lnTo>
                    <a:lnTo>
                      <a:pt x="148" y="140"/>
                    </a:lnTo>
                    <a:lnTo>
                      <a:pt x="130" y="100"/>
                    </a:lnTo>
                    <a:lnTo>
                      <a:pt x="130" y="100"/>
                    </a:lnTo>
                    <a:lnTo>
                      <a:pt x="130" y="94"/>
                    </a:lnTo>
                    <a:lnTo>
                      <a:pt x="130" y="88"/>
                    </a:lnTo>
                    <a:lnTo>
                      <a:pt x="130" y="88"/>
                    </a:lnTo>
                    <a:lnTo>
                      <a:pt x="134" y="84"/>
                    </a:lnTo>
                    <a:lnTo>
                      <a:pt x="138" y="82"/>
                    </a:lnTo>
                    <a:lnTo>
                      <a:pt x="138" y="82"/>
                    </a:lnTo>
                    <a:lnTo>
                      <a:pt x="172" y="70"/>
                    </a:lnTo>
                    <a:lnTo>
                      <a:pt x="206" y="62"/>
                    </a:lnTo>
                    <a:lnTo>
                      <a:pt x="240" y="58"/>
                    </a:lnTo>
                    <a:lnTo>
                      <a:pt x="274" y="56"/>
                    </a:lnTo>
                    <a:lnTo>
                      <a:pt x="274" y="56"/>
                    </a:lnTo>
                    <a:lnTo>
                      <a:pt x="314" y="58"/>
                    </a:lnTo>
                    <a:lnTo>
                      <a:pt x="352" y="64"/>
                    </a:lnTo>
                    <a:lnTo>
                      <a:pt x="388" y="74"/>
                    </a:lnTo>
                    <a:lnTo>
                      <a:pt x="422" y="86"/>
                    </a:lnTo>
                    <a:lnTo>
                      <a:pt x="456" y="102"/>
                    </a:lnTo>
                    <a:lnTo>
                      <a:pt x="488" y="122"/>
                    </a:lnTo>
                    <a:lnTo>
                      <a:pt x="516" y="144"/>
                    </a:lnTo>
                    <a:lnTo>
                      <a:pt x="544" y="168"/>
                    </a:lnTo>
                    <a:lnTo>
                      <a:pt x="568" y="196"/>
                    </a:lnTo>
                    <a:lnTo>
                      <a:pt x="590" y="224"/>
                    </a:lnTo>
                    <a:lnTo>
                      <a:pt x="610" y="256"/>
                    </a:lnTo>
                    <a:lnTo>
                      <a:pt x="626" y="290"/>
                    </a:lnTo>
                    <a:lnTo>
                      <a:pt x="638" y="324"/>
                    </a:lnTo>
                    <a:lnTo>
                      <a:pt x="648" y="362"/>
                    </a:lnTo>
                    <a:lnTo>
                      <a:pt x="654" y="398"/>
                    </a:lnTo>
                    <a:lnTo>
                      <a:pt x="656" y="438"/>
                    </a:lnTo>
                    <a:lnTo>
                      <a:pt x="656" y="438"/>
                    </a:lnTo>
                    <a:lnTo>
                      <a:pt x="654" y="476"/>
                    </a:lnTo>
                    <a:lnTo>
                      <a:pt x="648" y="514"/>
                    </a:lnTo>
                    <a:lnTo>
                      <a:pt x="638" y="552"/>
                    </a:lnTo>
                    <a:lnTo>
                      <a:pt x="626" y="586"/>
                    </a:lnTo>
                    <a:lnTo>
                      <a:pt x="610" y="620"/>
                    </a:lnTo>
                    <a:lnTo>
                      <a:pt x="590" y="652"/>
                    </a:lnTo>
                    <a:lnTo>
                      <a:pt x="568" y="680"/>
                    </a:lnTo>
                    <a:lnTo>
                      <a:pt x="544" y="708"/>
                    </a:lnTo>
                    <a:lnTo>
                      <a:pt x="516" y="732"/>
                    </a:lnTo>
                    <a:lnTo>
                      <a:pt x="488" y="754"/>
                    </a:lnTo>
                    <a:lnTo>
                      <a:pt x="456" y="774"/>
                    </a:lnTo>
                    <a:lnTo>
                      <a:pt x="422" y="790"/>
                    </a:lnTo>
                    <a:lnTo>
                      <a:pt x="388" y="802"/>
                    </a:lnTo>
                    <a:lnTo>
                      <a:pt x="352" y="812"/>
                    </a:lnTo>
                    <a:lnTo>
                      <a:pt x="314" y="818"/>
                    </a:lnTo>
                    <a:lnTo>
                      <a:pt x="274" y="820"/>
                    </a:lnTo>
                    <a:lnTo>
                      <a:pt x="274" y="820"/>
                    </a:lnTo>
                    <a:close/>
                  </a:path>
                </a:pathLst>
              </a:custGeom>
              <a:grpFill/>
              <a:ln>
                <a:noFill/>
              </a:ln>
            </p:spPr>
            <p:txBody>
              <a:bodyPr vert="horz" wrap="square" lIns="89619" tIns="44809" rIns="89619" bIns="44809" numCol="1" anchor="t" anchorCtr="0" compatLnSpc="1">
                <a:prstTxWarp prst="textNoShape">
                  <a:avLst/>
                </a:prstTxWarp>
              </a:bodyPr>
              <a:lstStyle/>
              <a:p>
                <a:pPr defTabSz="896117">
                  <a:defRPr/>
                </a:pPr>
                <a:endParaRPr lang="en-US" sz="1764" kern="0" dirty="0">
                  <a:solidFill>
                    <a:srgbClr val="FFFFFF"/>
                  </a:solidFill>
                </a:endParaRPr>
              </a:p>
            </p:txBody>
          </p:sp>
        </p:grpSp>
        <p:grpSp>
          <p:nvGrpSpPr>
            <p:cNvPr id="371" name="Group 370"/>
            <p:cNvGrpSpPr/>
            <p:nvPr/>
          </p:nvGrpSpPr>
          <p:grpSpPr>
            <a:xfrm>
              <a:off x="9872701" y="3060921"/>
              <a:ext cx="1878892" cy="1542780"/>
              <a:chOff x="9910801" y="2434267"/>
              <a:chExt cx="1878892" cy="1542780"/>
            </a:xfrm>
          </p:grpSpPr>
          <p:sp>
            <p:nvSpPr>
              <p:cNvPr id="372" name="TextBox 371"/>
              <p:cNvSpPr txBox="1"/>
              <p:nvPr/>
            </p:nvSpPr>
            <p:spPr>
              <a:xfrm>
                <a:off x="9910801" y="3234749"/>
                <a:ext cx="1090058" cy="461622"/>
              </a:xfrm>
              <a:prstGeom prst="rect">
                <a:avLst/>
              </a:prstGeom>
              <a:noFill/>
            </p:spPr>
            <p:txBody>
              <a:bodyPr wrap="square" lIns="179212" tIns="143370" rIns="179212" bIns="143370" rtlCol="0">
                <a:spAutoFit/>
              </a:bodyPr>
              <a:lstStyle/>
              <a:p>
                <a:pPr defTabSz="913918">
                  <a:lnSpc>
                    <a:spcPct val="90000"/>
                  </a:lnSpc>
                  <a:spcBef>
                    <a:spcPct val="0"/>
                  </a:spcBef>
                  <a:spcAft>
                    <a:spcPts val="588"/>
                  </a:spcAft>
                  <a:defRPr/>
                </a:pPr>
                <a:r>
                  <a:rPr lang="en-US" sz="1176" kern="0" spc="-29" dirty="0">
                    <a:solidFill>
                      <a:srgbClr val="002050"/>
                    </a:solidFill>
                    <a:latin typeface="Segoe UI Semilight" panose="020B0402040204020203" pitchFamily="34" charset="0"/>
                    <a:cs typeface="Segoe UI Semilight" panose="020B0402040204020203" pitchFamily="34" charset="0"/>
                  </a:rPr>
                  <a:t>Apps</a:t>
                </a:r>
              </a:p>
            </p:txBody>
          </p:sp>
          <p:grpSp>
            <p:nvGrpSpPr>
              <p:cNvPr id="373" name="Group 372"/>
              <p:cNvGrpSpPr/>
              <p:nvPr/>
            </p:nvGrpSpPr>
            <p:grpSpPr>
              <a:xfrm>
                <a:off x="10012430" y="2917883"/>
                <a:ext cx="462396" cy="357669"/>
                <a:chOff x="5007615" y="2323753"/>
                <a:chExt cx="649029" cy="502032"/>
              </a:xfrm>
              <a:solidFill>
                <a:srgbClr val="0078D7"/>
              </a:solidFill>
            </p:grpSpPr>
            <p:sp>
              <p:nvSpPr>
                <p:cNvPr id="383" name="Freeform 382"/>
                <p:cNvSpPr>
                  <a:spLocks/>
                </p:cNvSpPr>
                <p:nvPr/>
              </p:nvSpPr>
              <p:spPr bwMode="auto">
                <a:xfrm>
                  <a:off x="5175285" y="2455306"/>
                  <a:ext cx="313688" cy="314768"/>
                </a:xfrm>
                <a:custGeom>
                  <a:avLst/>
                  <a:gdLst>
                    <a:gd name="connsiteX0" fmla="*/ 193673 w 319670"/>
                    <a:gd name="connsiteY0" fmla="*/ 280605 h 320770"/>
                    <a:gd name="connsiteX1" fmla="*/ 165888 w 319670"/>
                    <a:gd name="connsiteY1" fmla="*/ 281661 h 320770"/>
                    <a:gd name="connsiteX2" fmla="*/ 167460 w 319670"/>
                    <a:gd name="connsiteY2" fmla="*/ 307015 h 320770"/>
                    <a:gd name="connsiteX3" fmla="*/ 181091 w 319670"/>
                    <a:gd name="connsiteY3" fmla="*/ 305430 h 320770"/>
                    <a:gd name="connsiteX4" fmla="*/ 193673 w 319670"/>
                    <a:gd name="connsiteY4" fmla="*/ 280605 h 320770"/>
                    <a:gd name="connsiteX5" fmla="*/ 127923 w 319670"/>
                    <a:gd name="connsiteY5" fmla="*/ 280054 h 320770"/>
                    <a:gd name="connsiteX6" fmla="*/ 141657 w 319670"/>
                    <a:gd name="connsiteY6" fmla="*/ 305957 h 320770"/>
                    <a:gd name="connsiteX7" fmla="*/ 154333 w 319670"/>
                    <a:gd name="connsiteY7" fmla="*/ 307015 h 320770"/>
                    <a:gd name="connsiteX8" fmla="*/ 152749 w 319670"/>
                    <a:gd name="connsiteY8" fmla="*/ 281640 h 320770"/>
                    <a:gd name="connsiteX9" fmla="*/ 127923 w 319670"/>
                    <a:gd name="connsiteY9" fmla="*/ 280054 h 320770"/>
                    <a:gd name="connsiteX10" fmla="*/ 226960 w 319670"/>
                    <a:gd name="connsiteY10" fmla="*/ 275378 h 320770"/>
                    <a:gd name="connsiteX11" fmla="*/ 209629 w 319670"/>
                    <a:gd name="connsiteY11" fmla="*/ 278547 h 320770"/>
                    <a:gd name="connsiteX12" fmla="*/ 198075 w 319670"/>
                    <a:gd name="connsiteY12" fmla="*/ 301788 h 320770"/>
                    <a:gd name="connsiteX13" fmla="*/ 204377 w 319670"/>
                    <a:gd name="connsiteY13" fmla="*/ 300203 h 320770"/>
                    <a:gd name="connsiteX14" fmla="*/ 226960 w 319670"/>
                    <a:gd name="connsiteY14" fmla="*/ 275378 h 320770"/>
                    <a:gd name="connsiteX15" fmla="*/ 94911 w 319670"/>
                    <a:gd name="connsiteY15" fmla="*/ 274277 h 320770"/>
                    <a:gd name="connsiteX16" fmla="*/ 120163 w 319670"/>
                    <a:gd name="connsiteY16" fmla="*/ 301828 h 320770"/>
                    <a:gd name="connsiteX17" fmla="*/ 124897 w 319670"/>
                    <a:gd name="connsiteY17" fmla="*/ 302888 h 320770"/>
                    <a:gd name="connsiteX18" fmla="*/ 112797 w 319670"/>
                    <a:gd name="connsiteY18" fmla="*/ 277456 h 320770"/>
                    <a:gd name="connsiteX19" fmla="*/ 94911 w 319670"/>
                    <a:gd name="connsiteY19" fmla="*/ 274277 h 320770"/>
                    <a:gd name="connsiteX20" fmla="*/ 261623 w 319670"/>
                    <a:gd name="connsiteY20" fmla="*/ 266024 h 320770"/>
                    <a:gd name="connsiteX21" fmla="*/ 247511 w 319670"/>
                    <a:gd name="connsiteY21" fmla="*/ 270781 h 320770"/>
                    <a:gd name="connsiteX22" fmla="*/ 235489 w 319670"/>
                    <a:gd name="connsiteY22" fmla="*/ 286107 h 320770"/>
                    <a:gd name="connsiteX23" fmla="*/ 261623 w 319670"/>
                    <a:gd name="connsiteY23" fmla="*/ 266024 h 320770"/>
                    <a:gd name="connsiteX24" fmla="*/ 53646 w 319670"/>
                    <a:gd name="connsiteY24" fmla="*/ 261072 h 320770"/>
                    <a:gd name="connsiteX25" fmla="*/ 90509 w 319670"/>
                    <a:gd name="connsiteY25" fmla="*/ 289683 h 320770"/>
                    <a:gd name="connsiteX26" fmla="*/ 74184 w 319670"/>
                    <a:gd name="connsiteY26" fmla="*/ 268490 h 320770"/>
                    <a:gd name="connsiteX27" fmla="*/ 53646 w 319670"/>
                    <a:gd name="connsiteY27" fmla="*/ 261072 h 320770"/>
                    <a:gd name="connsiteX28" fmla="*/ 213205 w 319670"/>
                    <a:gd name="connsiteY28" fmla="*/ 224209 h 320770"/>
                    <a:gd name="connsiteX29" fmla="*/ 163687 w 319670"/>
                    <a:gd name="connsiteY29" fmla="*/ 228957 h 320770"/>
                    <a:gd name="connsiteX30" fmla="*/ 165267 w 319670"/>
                    <a:gd name="connsiteY30" fmla="*/ 269051 h 320770"/>
                    <a:gd name="connsiteX31" fmla="*/ 200035 w 319670"/>
                    <a:gd name="connsiteY31" fmla="*/ 266413 h 320770"/>
                    <a:gd name="connsiteX32" fmla="*/ 213205 w 319670"/>
                    <a:gd name="connsiteY32" fmla="*/ 224209 h 320770"/>
                    <a:gd name="connsiteX33" fmla="*/ 108941 w 319670"/>
                    <a:gd name="connsiteY33" fmla="*/ 224209 h 320770"/>
                    <a:gd name="connsiteX34" fmla="*/ 122109 w 319670"/>
                    <a:gd name="connsiteY34" fmla="*/ 265864 h 320770"/>
                    <a:gd name="connsiteX35" fmla="*/ 152132 w 319670"/>
                    <a:gd name="connsiteY35" fmla="*/ 268500 h 320770"/>
                    <a:gd name="connsiteX36" fmla="*/ 150552 w 319670"/>
                    <a:gd name="connsiteY36" fmla="*/ 228954 h 320770"/>
                    <a:gd name="connsiteX37" fmla="*/ 108941 w 319670"/>
                    <a:gd name="connsiteY37" fmla="*/ 224209 h 320770"/>
                    <a:gd name="connsiteX38" fmla="*/ 58322 w 319670"/>
                    <a:gd name="connsiteY38" fmla="*/ 209903 h 320770"/>
                    <a:gd name="connsiteX39" fmla="*/ 82669 w 319670"/>
                    <a:gd name="connsiteY39" fmla="*/ 257461 h 320770"/>
                    <a:gd name="connsiteX40" fmla="*/ 107016 w 319670"/>
                    <a:gd name="connsiteY40" fmla="*/ 263273 h 320770"/>
                    <a:gd name="connsiteX41" fmla="*/ 94842 w 319670"/>
                    <a:gd name="connsiteY41" fmla="*/ 221000 h 320770"/>
                    <a:gd name="connsiteX42" fmla="*/ 58322 w 319670"/>
                    <a:gd name="connsiteY42" fmla="*/ 209903 h 320770"/>
                    <a:gd name="connsiteX43" fmla="*/ 264925 w 319670"/>
                    <a:gd name="connsiteY43" fmla="*/ 209078 h 320770"/>
                    <a:gd name="connsiteX44" fmla="*/ 227505 w 319670"/>
                    <a:gd name="connsiteY44" fmla="*/ 221190 h 320770"/>
                    <a:gd name="connsiteX45" fmla="*/ 214856 w 319670"/>
                    <a:gd name="connsiteY45" fmla="*/ 264374 h 320770"/>
                    <a:gd name="connsiteX46" fmla="*/ 239100 w 319670"/>
                    <a:gd name="connsiteY46" fmla="*/ 259634 h 320770"/>
                    <a:gd name="connsiteX47" fmla="*/ 264925 w 319670"/>
                    <a:gd name="connsiteY47" fmla="*/ 209078 h 320770"/>
                    <a:gd name="connsiteX48" fmla="*/ 303989 w 319670"/>
                    <a:gd name="connsiteY48" fmla="*/ 187895 h 320770"/>
                    <a:gd name="connsiteX49" fmla="*/ 280765 w 319670"/>
                    <a:gd name="connsiteY49" fmla="*/ 201624 h 320770"/>
                    <a:gd name="connsiteX50" fmla="*/ 258597 w 319670"/>
                    <a:gd name="connsiteY50" fmla="*/ 253370 h 320770"/>
                    <a:gd name="connsiteX51" fmla="*/ 279710 w 319670"/>
                    <a:gd name="connsiteY51" fmla="*/ 244921 h 320770"/>
                    <a:gd name="connsiteX52" fmla="*/ 303989 w 319670"/>
                    <a:gd name="connsiteY52" fmla="*/ 187895 h 320770"/>
                    <a:gd name="connsiteX53" fmla="*/ 15131 w 319670"/>
                    <a:gd name="connsiteY53" fmla="*/ 186244 h 320770"/>
                    <a:gd name="connsiteX54" fmla="*/ 35764 w 319670"/>
                    <a:gd name="connsiteY54" fmla="*/ 239029 h 320770"/>
                    <a:gd name="connsiteX55" fmla="*/ 63274 w 319670"/>
                    <a:gd name="connsiteY55" fmla="*/ 251169 h 320770"/>
                    <a:gd name="connsiteX56" fmla="*/ 42641 w 319670"/>
                    <a:gd name="connsiteY56" fmla="*/ 202607 h 320770"/>
                    <a:gd name="connsiteX57" fmla="*/ 15131 w 319670"/>
                    <a:gd name="connsiteY57" fmla="*/ 186244 h 320770"/>
                    <a:gd name="connsiteX58" fmla="*/ 220633 w 319670"/>
                    <a:gd name="connsiteY58" fmla="*/ 169463 h 320770"/>
                    <a:gd name="connsiteX59" fmla="*/ 162861 w 319670"/>
                    <a:gd name="connsiteY59" fmla="*/ 176816 h 320770"/>
                    <a:gd name="connsiteX60" fmla="*/ 163386 w 319670"/>
                    <a:gd name="connsiteY60" fmla="*/ 215680 h 320770"/>
                    <a:gd name="connsiteX61" fmla="*/ 216431 w 319670"/>
                    <a:gd name="connsiteY61" fmla="*/ 209903 h 320770"/>
                    <a:gd name="connsiteX62" fmla="*/ 220633 w 319670"/>
                    <a:gd name="connsiteY62" fmla="*/ 169463 h 320770"/>
                    <a:gd name="connsiteX63" fmla="*/ 101513 w 319670"/>
                    <a:gd name="connsiteY63" fmla="*/ 169463 h 320770"/>
                    <a:gd name="connsiteX64" fmla="*/ 105748 w 319670"/>
                    <a:gd name="connsiteY64" fmla="*/ 210428 h 320770"/>
                    <a:gd name="connsiteX65" fmla="*/ 150207 w 319670"/>
                    <a:gd name="connsiteY65" fmla="*/ 215680 h 320770"/>
                    <a:gd name="connsiteX66" fmla="*/ 149678 w 319670"/>
                    <a:gd name="connsiteY66" fmla="*/ 176291 h 320770"/>
                    <a:gd name="connsiteX67" fmla="*/ 101513 w 319670"/>
                    <a:gd name="connsiteY67" fmla="*/ 169463 h 320770"/>
                    <a:gd name="connsiteX68" fmla="*/ 51121 w 319670"/>
                    <a:gd name="connsiteY68" fmla="*/ 149931 h 320770"/>
                    <a:gd name="connsiteX69" fmla="*/ 50069 w 319670"/>
                    <a:gd name="connsiteY69" fmla="*/ 159953 h 320770"/>
                    <a:gd name="connsiteX70" fmla="*/ 53752 w 319670"/>
                    <a:gd name="connsiteY70" fmla="*/ 193713 h 320770"/>
                    <a:gd name="connsiteX71" fmla="*/ 92160 w 319670"/>
                    <a:gd name="connsiteY71" fmla="*/ 207427 h 320770"/>
                    <a:gd name="connsiteX72" fmla="*/ 89003 w 319670"/>
                    <a:gd name="connsiteY72" fmla="*/ 166283 h 320770"/>
                    <a:gd name="connsiteX73" fmla="*/ 51121 w 319670"/>
                    <a:gd name="connsiteY73" fmla="*/ 149931 h 320770"/>
                    <a:gd name="connsiteX74" fmla="*/ 271850 w 319670"/>
                    <a:gd name="connsiteY74" fmla="*/ 148830 h 320770"/>
                    <a:gd name="connsiteX75" fmla="*/ 233420 w 319670"/>
                    <a:gd name="connsiteY75" fmla="*/ 165717 h 320770"/>
                    <a:gd name="connsiteX76" fmla="*/ 230262 w 319670"/>
                    <a:gd name="connsiteY76" fmla="*/ 206877 h 320770"/>
                    <a:gd name="connsiteX77" fmla="*/ 269218 w 319670"/>
                    <a:gd name="connsiteY77" fmla="*/ 193157 h 320770"/>
                    <a:gd name="connsiteX78" fmla="*/ 272903 w 319670"/>
                    <a:gd name="connsiteY78" fmla="*/ 159912 h 320770"/>
                    <a:gd name="connsiteX79" fmla="*/ 271850 w 319670"/>
                    <a:gd name="connsiteY79" fmla="*/ 148830 h 320770"/>
                    <a:gd name="connsiteX80" fmla="*/ 302793 w 319670"/>
                    <a:gd name="connsiteY80" fmla="*/ 126547 h 320770"/>
                    <a:gd name="connsiteX81" fmla="*/ 284431 w 319670"/>
                    <a:gd name="connsiteY81" fmla="*/ 141328 h 320770"/>
                    <a:gd name="connsiteX82" fmla="*/ 286005 w 319670"/>
                    <a:gd name="connsiteY82" fmla="*/ 159805 h 320770"/>
                    <a:gd name="connsiteX83" fmla="*/ 283907 w 319670"/>
                    <a:gd name="connsiteY83" fmla="*/ 185144 h 320770"/>
                    <a:gd name="connsiteX84" fmla="*/ 306465 w 319670"/>
                    <a:gd name="connsiteY84" fmla="*/ 169835 h 320770"/>
                    <a:gd name="connsiteX85" fmla="*/ 306465 w 319670"/>
                    <a:gd name="connsiteY85" fmla="*/ 160333 h 320770"/>
                    <a:gd name="connsiteX86" fmla="*/ 302793 w 319670"/>
                    <a:gd name="connsiteY86" fmla="*/ 126547 h 320770"/>
                    <a:gd name="connsiteX87" fmla="*/ 17427 w 319670"/>
                    <a:gd name="connsiteY87" fmla="*/ 125172 h 320770"/>
                    <a:gd name="connsiteX88" fmla="*/ 13205 w 319670"/>
                    <a:gd name="connsiteY88" fmla="*/ 160446 h 320770"/>
                    <a:gd name="connsiteX89" fmla="*/ 13205 w 319670"/>
                    <a:gd name="connsiteY89" fmla="*/ 168870 h 320770"/>
                    <a:gd name="connsiteX90" fmla="*/ 39065 w 319670"/>
                    <a:gd name="connsiteY90" fmla="*/ 186244 h 320770"/>
                    <a:gd name="connsiteX91" fmla="*/ 36954 w 319670"/>
                    <a:gd name="connsiteY91" fmla="*/ 159920 h 320770"/>
                    <a:gd name="connsiteX92" fmla="*/ 38537 w 319670"/>
                    <a:gd name="connsiteY92" fmla="*/ 142546 h 320770"/>
                    <a:gd name="connsiteX93" fmla="*/ 17427 w 319670"/>
                    <a:gd name="connsiteY93" fmla="*/ 125172 h 320770"/>
                    <a:gd name="connsiteX94" fmla="*/ 215883 w 319670"/>
                    <a:gd name="connsiteY94" fmla="*/ 122420 h 320770"/>
                    <a:gd name="connsiteX95" fmla="*/ 165486 w 319670"/>
                    <a:gd name="connsiteY95" fmla="*/ 128769 h 320770"/>
                    <a:gd name="connsiteX96" fmla="*/ 163386 w 319670"/>
                    <a:gd name="connsiteY96" fmla="*/ 128769 h 320770"/>
                    <a:gd name="connsiteX97" fmla="*/ 162861 w 319670"/>
                    <a:gd name="connsiteY97" fmla="*/ 155221 h 320770"/>
                    <a:gd name="connsiteX98" fmla="*/ 162861 w 319670"/>
                    <a:gd name="connsiteY98" fmla="*/ 163686 h 320770"/>
                    <a:gd name="connsiteX99" fmla="*/ 220083 w 319670"/>
                    <a:gd name="connsiteY99" fmla="*/ 155750 h 320770"/>
                    <a:gd name="connsiteX100" fmla="*/ 215883 w 319670"/>
                    <a:gd name="connsiteY100" fmla="*/ 122420 h 320770"/>
                    <a:gd name="connsiteX101" fmla="*/ 106825 w 319670"/>
                    <a:gd name="connsiteY101" fmla="*/ 120220 h 320770"/>
                    <a:gd name="connsiteX102" fmla="*/ 102064 w 319670"/>
                    <a:gd name="connsiteY102" fmla="*/ 156248 h 320770"/>
                    <a:gd name="connsiteX103" fmla="*/ 149678 w 319670"/>
                    <a:gd name="connsiteY103" fmla="*/ 163136 h 320770"/>
                    <a:gd name="connsiteX104" fmla="*/ 149678 w 319670"/>
                    <a:gd name="connsiteY104" fmla="*/ 155188 h 320770"/>
                    <a:gd name="connsiteX105" fmla="*/ 150207 w 319670"/>
                    <a:gd name="connsiteY105" fmla="*/ 128167 h 320770"/>
                    <a:gd name="connsiteX106" fmla="*/ 106825 w 319670"/>
                    <a:gd name="connsiteY106" fmla="*/ 120220 h 320770"/>
                    <a:gd name="connsiteX107" fmla="*/ 259617 w 319670"/>
                    <a:gd name="connsiteY107" fmla="*/ 103988 h 320770"/>
                    <a:gd name="connsiteX108" fmla="*/ 228611 w 319670"/>
                    <a:gd name="connsiteY108" fmla="*/ 118717 h 320770"/>
                    <a:gd name="connsiteX109" fmla="*/ 233341 w 319670"/>
                    <a:gd name="connsiteY109" fmla="*/ 151856 h 320770"/>
                    <a:gd name="connsiteX110" fmla="*/ 269602 w 319670"/>
                    <a:gd name="connsiteY110" fmla="*/ 135024 h 320770"/>
                    <a:gd name="connsiteX111" fmla="*/ 259617 w 319670"/>
                    <a:gd name="connsiteY111" fmla="*/ 103988 h 320770"/>
                    <a:gd name="connsiteX112" fmla="*/ 65249 w 319670"/>
                    <a:gd name="connsiteY112" fmla="*/ 99862 h 320770"/>
                    <a:gd name="connsiteX113" fmla="*/ 52545 w 319670"/>
                    <a:gd name="connsiteY113" fmla="*/ 136118 h 320770"/>
                    <a:gd name="connsiteX114" fmla="*/ 89068 w 319670"/>
                    <a:gd name="connsiteY114" fmla="*/ 152407 h 320770"/>
                    <a:gd name="connsiteX115" fmla="*/ 94361 w 319670"/>
                    <a:gd name="connsiteY115" fmla="*/ 115625 h 320770"/>
                    <a:gd name="connsiteX116" fmla="*/ 65249 w 319670"/>
                    <a:gd name="connsiteY116" fmla="*/ 99862 h 320770"/>
                    <a:gd name="connsiteX117" fmla="*/ 285381 w 319670"/>
                    <a:gd name="connsiteY117" fmla="*/ 83906 h 320770"/>
                    <a:gd name="connsiteX118" fmla="*/ 270702 w 319670"/>
                    <a:gd name="connsiteY118" fmla="*/ 96554 h 320770"/>
                    <a:gd name="connsiteX119" fmla="*/ 281711 w 319670"/>
                    <a:gd name="connsiteY119" fmla="*/ 127648 h 320770"/>
                    <a:gd name="connsiteX120" fmla="*/ 298487 w 319670"/>
                    <a:gd name="connsiteY120" fmla="*/ 112365 h 320770"/>
                    <a:gd name="connsiteX121" fmla="*/ 285381 w 319670"/>
                    <a:gd name="connsiteY121" fmla="*/ 83906 h 320770"/>
                    <a:gd name="connsiteX122" fmla="*/ 39411 w 319670"/>
                    <a:gd name="connsiteY122" fmla="*/ 75928 h 320770"/>
                    <a:gd name="connsiteX123" fmla="*/ 21458 w 319670"/>
                    <a:gd name="connsiteY123" fmla="*/ 111317 h 320770"/>
                    <a:gd name="connsiteX124" fmla="*/ 40995 w 319670"/>
                    <a:gd name="connsiteY124" fmla="*/ 128748 h 320770"/>
                    <a:gd name="connsiteX125" fmla="*/ 54196 w 319670"/>
                    <a:gd name="connsiteY125" fmla="*/ 91774 h 320770"/>
                    <a:gd name="connsiteX126" fmla="*/ 39411 w 319670"/>
                    <a:gd name="connsiteY126" fmla="*/ 75928 h 320770"/>
                    <a:gd name="connsiteX127" fmla="*/ 201616 w 319670"/>
                    <a:gd name="connsiteY127" fmla="*/ 73452 h 320770"/>
                    <a:gd name="connsiteX128" fmla="*/ 165267 w 319670"/>
                    <a:gd name="connsiteY128" fmla="*/ 78187 h 320770"/>
                    <a:gd name="connsiteX129" fmla="*/ 164740 w 319670"/>
                    <a:gd name="connsiteY129" fmla="*/ 78187 h 320770"/>
                    <a:gd name="connsiteX130" fmla="*/ 163687 w 319670"/>
                    <a:gd name="connsiteY130" fmla="*/ 115543 h 320770"/>
                    <a:gd name="connsiteX131" fmla="*/ 165267 w 319670"/>
                    <a:gd name="connsiteY131" fmla="*/ 115543 h 320770"/>
                    <a:gd name="connsiteX132" fmla="*/ 213205 w 319670"/>
                    <a:gd name="connsiteY132" fmla="*/ 109756 h 320770"/>
                    <a:gd name="connsiteX133" fmla="*/ 201616 w 319670"/>
                    <a:gd name="connsiteY133" fmla="*/ 73452 h 320770"/>
                    <a:gd name="connsiteX134" fmla="*/ 121592 w 319670"/>
                    <a:gd name="connsiteY134" fmla="*/ 70701 h 320770"/>
                    <a:gd name="connsiteX135" fmla="*/ 109491 w 319670"/>
                    <a:gd name="connsiteY135" fmla="*/ 107084 h 320770"/>
                    <a:gd name="connsiteX136" fmla="*/ 150530 w 319670"/>
                    <a:gd name="connsiteY136" fmla="*/ 114993 h 320770"/>
                    <a:gd name="connsiteX137" fmla="*/ 151582 w 319670"/>
                    <a:gd name="connsiteY137" fmla="*/ 77028 h 320770"/>
                    <a:gd name="connsiteX138" fmla="*/ 121592 w 319670"/>
                    <a:gd name="connsiteY138" fmla="*/ 70701 h 320770"/>
                    <a:gd name="connsiteX139" fmla="*/ 233321 w 319670"/>
                    <a:gd name="connsiteY139" fmla="*/ 59697 h 320770"/>
                    <a:gd name="connsiteX140" fmla="*/ 214306 w 319670"/>
                    <a:gd name="connsiteY140" fmla="*/ 69207 h 320770"/>
                    <a:gd name="connsiteX141" fmla="*/ 225926 w 319670"/>
                    <a:gd name="connsiteY141" fmla="*/ 106189 h 320770"/>
                    <a:gd name="connsiteX142" fmla="*/ 253921 w 319670"/>
                    <a:gd name="connsiteY142" fmla="*/ 92453 h 320770"/>
                    <a:gd name="connsiteX143" fmla="*/ 233321 w 319670"/>
                    <a:gd name="connsiteY143" fmla="*/ 59697 h 320770"/>
                    <a:gd name="connsiteX144" fmla="*/ 92595 w 319670"/>
                    <a:gd name="connsiteY144" fmla="*/ 55846 h 320770"/>
                    <a:gd name="connsiteX145" fmla="*/ 70977 w 319670"/>
                    <a:gd name="connsiteY145" fmla="*/ 88088 h 320770"/>
                    <a:gd name="connsiteX146" fmla="*/ 97341 w 319670"/>
                    <a:gd name="connsiteY146" fmla="*/ 102888 h 320770"/>
                    <a:gd name="connsiteX147" fmla="*/ 108941 w 319670"/>
                    <a:gd name="connsiteY147" fmla="*/ 65360 h 320770"/>
                    <a:gd name="connsiteX148" fmla="*/ 92595 w 319670"/>
                    <a:gd name="connsiteY148" fmla="*/ 55846 h 320770"/>
                    <a:gd name="connsiteX149" fmla="*/ 251144 w 319670"/>
                    <a:gd name="connsiteY149" fmla="*/ 44842 h 320770"/>
                    <a:gd name="connsiteX150" fmla="*/ 243742 w 319670"/>
                    <a:gd name="connsiteY150" fmla="*/ 51712 h 320770"/>
                    <a:gd name="connsiteX151" fmla="*/ 264890 w 319670"/>
                    <a:gd name="connsiteY151" fmla="*/ 85007 h 320770"/>
                    <a:gd name="connsiteX152" fmla="*/ 277579 w 319670"/>
                    <a:gd name="connsiteY152" fmla="*/ 72851 h 320770"/>
                    <a:gd name="connsiteX153" fmla="*/ 251144 w 319670"/>
                    <a:gd name="connsiteY153" fmla="*/ 44842 h 320770"/>
                    <a:gd name="connsiteX154" fmla="*/ 75908 w 319670"/>
                    <a:gd name="connsiteY154" fmla="*/ 39614 h 320770"/>
                    <a:gd name="connsiteX155" fmla="*/ 47868 w 319670"/>
                    <a:gd name="connsiteY155" fmla="*/ 65510 h 320770"/>
                    <a:gd name="connsiteX156" fmla="*/ 60565 w 319670"/>
                    <a:gd name="connsiteY156" fmla="*/ 79779 h 320770"/>
                    <a:gd name="connsiteX157" fmla="*/ 82256 w 319670"/>
                    <a:gd name="connsiteY157" fmla="*/ 47013 h 320770"/>
                    <a:gd name="connsiteX158" fmla="*/ 75908 w 319670"/>
                    <a:gd name="connsiteY158" fmla="*/ 39614 h 320770"/>
                    <a:gd name="connsiteX159" fmla="*/ 224484 w 319670"/>
                    <a:gd name="connsiteY159" fmla="*/ 28060 h 320770"/>
                    <a:gd name="connsiteX160" fmla="*/ 236003 w 319670"/>
                    <a:gd name="connsiteY160" fmla="*/ 41815 h 320770"/>
                    <a:gd name="connsiteX161" fmla="*/ 240716 w 319670"/>
                    <a:gd name="connsiteY161" fmla="*/ 37583 h 320770"/>
                    <a:gd name="connsiteX162" fmla="*/ 224484 w 319670"/>
                    <a:gd name="connsiteY162" fmla="*/ 28060 h 320770"/>
                    <a:gd name="connsiteX163" fmla="*/ 101238 w 319670"/>
                    <a:gd name="connsiteY163" fmla="*/ 25309 h 320770"/>
                    <a:gd name="connsiteX164" fmla="*/ 86933 w 319670"/>
                    <a:gd name="connsiteY164" fmla="*/ 32662 h 320770"/>
                    <a:gd name="connsiteX165" fmla="*/ 90642 w 319670"/>
                    <a:gd name="connsiteY165" fmla="*/ 36863 h 320770"/>
                    <a:gd name="connsiteX166" fmla="*/ 101238 w 319670"/>
                    <a:gd name="connsiteY166" fmla="*/ 25309 h 320770"/>
                    <a:gd name="connsiteX167" fmla="*/ 189546 w 319670"/>
                    <a:gd name="connsiteY167" fmla="*/ 16506 h 320770"/>
                    <a:gd name="connsiteX168" fmla="*/ 209532 w 319670"/>
                    <a:gd name="connsiteY168" fmla="*/ 56946 h 320770"/>
                    <a:gd name="connsiteX169" fmla="*/ 225310 w 319670"/>
                    <a:gd name="connsiteY169" fmla="*/ 49068 h 320770"/>
                    <a:gd name="connsiteX170" fmla="*/ 194280 w 319670"/>
                    <a:gd name="connsiteY170" fmla="*/ 17556 h 320770"/>
                    <a:gd name="connsiteX171" fmla="*/ 189546 w 319670"/>
                    <a:gd name="connsiteY171" fmla="*/ 16506 h 320770"/>
                    <a:gd name="connsiteX172" fmla="*/ 132600 w 319670"/>
                    <a:gd name="connsiteY172" fmla="*/ 15955 h 320770"/>
                    <a:gd name="connsiteX173" fmla="*/ 128938 w 319670"/>
                    <a:gd name="connsiteY173" fmla="*/ 16483 h 320770"/>
                    <a:gd name="connsiteX174" fmla="*/ 100688 w 319670"/>
                    <a:gd name="connsiteY174" fmla="*/ 46010 h 320770"/>
                    <a:gd name="connsiteX175" fmla="*/ 114290 w 319670"/>
                    <a:gd name="connsiteY175" fmla="*/ 53920 h 320770"/>
                    <a:gd name="connsiteX176" fmla="*/ 132600 w 319670"/>
                    <a:gd name="connsiteY176" fmla="*/ 15955 h 320770"/>
                    <a:gd name="connsiteX177" fmla="*/ 167974 w 319670"/>
                    <a:gd name="connsiteY177" fmla="*/ 13204 h 320770"/>
                    <a:gd name="connsiteX178" fmla="*/ 165337 w 319670"/>
                    <a:gd name="connsiteY178" fmla="*/ 64924 h 320770"/>
                    <a:gd name="connsiteX179" fmla="*/ 196974 w 319670"/>
                    <a:gd name="connsiteY179" fmla="*/ 60702 h 320770"/>
                    <a:gd name="connsiteX180" fmla="*/ 173247 w 319670"/>
                    <a:gd name="connsiteY180" fmla="*/ 13732 h 320770"/>
                    <a:gd name="connsiteX181" fmla="*/ 167974 w 319670"/>
                    <a:gd name="connsiteY181" fmla="*/ 13204 h 320770"/>
                    <a:gd name="connsiteX182" fmla="*/ 149585 w 319670"/>
                    <a:gd name="connsiteY182" fmla="*/ 13204 h 320770"/>
                    <a:gd name="connsiteX183" fmla="*/ 126273 w 319670"/>
                    <a:gd name="connsiteY183" fmla="*/ 58551 h 320770"/>
                    <a:gd name="connsiteX184" fmla="*/ 152764 w 319670"/>
                    <a:gd name="connsiteY184" fmla="*/ 63823 h 320770"/>
                    <a:gd name="connsiteX185" fmla="*/ 154883 w 319670"/>
                    <a:gd name="connsiteY185" fmla="*/ 13204 h 320770"/>
                    <a:gd name="connsiteX186" fmla="*/ 149585 w 319670"/>
                    <a:gd name="connsiteY186" fmla="*/ 13204 h 320770"/>
                    <a:gd name="connsiteX187" fmla="*/ 160099 w 319670"/>
                    <a:gd name="connsiteY187" fmla="*/ 0 h 320770"/>
                    <a:gd name="connsiteX188" fmla="*/ 248047 w 319670"/>
                    <a:gd name="connsiteY188" fmla="*/ 26906 h 320770"/>
                    <a:gd name="connsiteX189" fmla="*/ 259107 w 319670"/>
                    <a:gd name="connsiteY189" fmla="*/ 34293 h 320770"/>
                    <a:gd name="connsiteX190" fmla="*/ 285965 w 319670"/>
                    <a:gd name="connsiteY190" fmla="*/ 61727 h 320770"/>
                    <a:gd name="connsiteX191" fmla="*/ 293865 w 319670"/>
                    <a:gd name="connsiteY191" fmla="*/ 72806 h 320770"/>
                    <a:gd name="connsiteX192" fmla="*/ 308084 w 319670"/>
                    <a:gd name="connsiteY192" fmla="*/ 100768 h 320770"/>
                    <a:gd name="connsiteX193" fmla="*/ 313350 w 319670"/>
                    <a:gd name="connsiteY193" fmla="*/ 115013 h 320770"/>
                    <a:gd name="connsiteX194" fmla="*/ 319670 w 319670"/>
                    <a:gd name="connsiteY194" fmla="*/ 157747 h 320770"/>
                    <a:gd name="connsiteX195" fmla="*/ 319670 w 319670"/>
                    <a:gd name="connsiteY195" fmla="*/ 160385 h 320770"/>
                    <a:gd name="connsiteX196" fmla="*/ 319144 w 319670"/>
                    <a:gd name="connsiteY196" fmla="*/ 176212 h 320770"/>
                    <a:gd name="connsiteX197" fmla="*/ 302291 w 319670"/>
                    <a:gd name="connsiteY197" fmla="*/ 232664 h 320770"/>
                    <a:gd name="connsiteX198" fmla="*/ 288598 w 319670"/>
                    <a:gd name="connsiteY198" fmla="*/ 254822 h 320770"/>
                    <a:gd name="connsiteX199" fmla="*/ 160099 w 319670"/>
                    <a:gd name="connsiteY199" fmla="*/ 320242 h 320770"/>
                    <a:gd name="connsiteX200" fmla="*/ 159572 w 319670"/>
                    <a:gd name="connsiteY200" fmla="*/ 320242 h 320770"/>
                    <a:gd name="connsiteX201" fmla="*/ 155359 w 319670"/>
                    <a:gd name="connsiteY201" fmla="*/ 320770 h 320770"/>
                    <a:gd name="connsiteX202" fmla="*/ 155359 w 319670"/>
                    <a:gd name="connsiteY202" fmla="*/ 320242 h 320770"/>
                    <a:gd name="connsiteX203" fmla="*/ 26332 w 319670"/>
                    <a:gd name="connsiteY203" fmla="*/ 248491 h 320770"/>
                    <a:gd name="connsiteX204" fmla="*/ 13693 w 319670"/>
                    <a:gd name="connsiteY204" fmla="*/ 225278 h 320770"/>
                    <a:gd name="connsiteX205" fmla="*/ 527 w 319670"/>
                    <a:gd name="connsiteY205" fmla="*/ 174630 h 320770"/>
                    <a:gd name="connsiteX206" fmla="*/ 0 w 319670"/>
                    <a:gd name="connsiteY206" fmla="*/ 160385 h 320770"/>
                    <a:gd name="connsiteX207" fmla="*/ 0 w 319670"/>
                    <a:gd name="connsiteY207" fmla="*/ 156164 h 320770"/>
                    <a:gd name="connsiteX208" fmla="*/ 6847 w 319670"/>
                    <a:gd name="connsiteY208" fmla="*/ 113958 h 320770"/>
                    <a:gd name="connsiteX209" fmla="*/ 12113 w 319670"/>
                    <a:gd name="connsiteY209" fmla="*/ 99185 h 320770"/>
                    <a:gd name="connsiteX210" fmla="*/ 32125 w 319670"/>
                    <a:gd name="connsiteY210" fmla="*/ 64365 h 320770"/>
                    <a:gd name="connsiteX211" fmla="*/ 41078 w 319670"/>
                    <a:gd name="connsiteY211" fmla="*/ 52758 h 320770"/>
                    <a:gd name="connsiteX212" fmla="*/ 68990 w 319670"/>
                    <a:gd name="connsiteY212" fmla="*/ 28489 h 320770"/>
                    <a:gd name="connsiteX213" fmla="*/ 80576 w 319670"/>
                    <a:gd name="connsiteY213" fmla="*/ 21103 h 320770"/>
                    <a:gd name="connsiteX214" fmla="*/ 160099 w 319670"/>
                    <a:gd name="connsiteY214" fmla="*/ 0 h 320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Lst>
                  <a:rect l="l" t="t" r="r" b="b"/>
                  <a:pathLst>
                    <a:path w="319670" h="320770">
                      <a:moveTo>
                        <a:pt x="193673" y="280605"/>
                      </a:moveTo>
                      <a:cubicBezTo>
                        <a:pt x="184761" y="281133"/>
                        <a:pt x="175324" y="281661"/>
                        <a:pt x="165888" y="281661"/>
                      </a:cubicBezTo>
                      <a:cubicBezTo>
                        <a:pt x="166412" y="292225"/>
                        <a:pt x="166936" y="300676"/>
                        <a:pt x="167460" y="307015"/>
                      </a:cubicBezTo>
                      <a:cubicBezTo>
                        <a:pt x="172179" y="306486"/>
                        <a:pt x="176373" y="305958"/>
                        <a:pt x="181091" y="305430"/>
                      </a:cubicBezTo>
                      <a:cubicBezTo>
                        <a:pt x="183188" y="301733"/>
                        <a:pt x="188430" y="292753"/>
                        <a:pt x="193673" y="280605"/>
                      </a:cubicBezTo>
                      <a:close/>
                      <a:moveTo>
                        <a:pt x="127923" y="280054"/>
                      </a:moveTo>
                      <a:cubicBezTo>
                        <a:pt x="133734" y="293270"/>
                        <a:pt x="139016" y="302257"/>
                        <a:pt x="141657" y="305957"/>
                      </a:cubicBezTo>
                      <a:cubicBezTo>
                        <a:pt x="145882" y="306486"/>
                        <a:pt x="150108" y="307015"/>
                        <a:pt x="154333" y="307015"/>
                      </a:cubicBezTo>
                      <a:cubicBezTo>
                        <a:pt x="153805" y="300671"/>
                        <a:pt x="153277" y="291684"/>
                        <a:pt x="152749" y="281640"/>
                      </a:cubicBezTo>
                      <a:cubicBezTo>
                        <a:pt x="144298" y="281640"/>
                        <a:pt x="135846" y="280583"/>
                        <a:pt x="127923" y="280054"/>
                      </a:cubicBezTo>
                      <a:close/>
                      <a:moveTo>
                        <a:pt x="226960" y="275378"/>
                      </a:moveTo>
                      <a:cubicBezTo>
                        <a:pt x="221183" y="276962"/>
                        <a:pt x="215406" y="277491"/>
                        <a:pt x="209629" y="278547"/>
                      </a:cubicBezTo>
                      <a:cubicBezTo>
                        <a:pt x="205427" y="288055"/>
                        <a:pt x="201226" y="295978"/>
                        <a:pt x="198075" y="301788"/>
                      </a:cubicBezTo>
                      <a:cubicBezTo>
                        <a:pt x="200175" y="301260"/>
                        <a:pt x="202276" y="300731"/>
                        <a:pt x="204377" y="300203"/>
                      </a:cubicBezTo>
                      <a:cubicBezTo>
                        <a:pt x="208053" y="296506"/>
                        <a:pt x="216982" y="288055"/>
                        <a:pt x="226960" y="275378"/>
                      </a:cubicBezTo>
                      <a:close/>
                      <a:moveTo>
                        <a:pt x="94911" y="274277"/>
                      </a:moveTo>
                      <a:cubicBezTo>
                        <a:pt x="107537" y="290172"/>
                        <a:pt x="118584" y="300239"/>
                        <a:pt x="120163" y="301828"/>
                      </a:cubicBezTo>
                      <a:cubicBezTo>
                        <a:pt x="121741" y="302358"/>
                        <a:pt x="123319" y="302358"/>
                        <a:pt x="124897" y="302888"/>
                      </a:cubicBezTo>
                      <a:cubicBezTo>
                        <a:pt x="121215" y="296530"/>
                        <a:pt x="117006" y="288053"/>
                        <a:pt x="112797" y="277456"/>
                      </a:cubicBezTo>
                      <a:cubicBezTo>
                        <a:pt x="106485" y="276927"/>
                        <a:pt x="100698" y="275337"/>
                        <a:pt x="94911" y="274277"/>
                      </a:cubicBezTo>
                      <a:close/>
                      <a:moveTo>
                        <a:pt x="261623" y="266024"/>
                      </a:moveTo>
                      <a:cubicBezTo>
                        <a:pt x="256919" y="267610"/>
                        <a:pt x="252215" y="269195"/>
                        <a:pt x="247511" y="270781"/>
                      </a:cubicBezTo>
                      <a:cubicBezTo>
                        <a:pt x="243329" y="276066"/>
                        <a:pt x="239670" y="281351"/>
                        <a:pt x="235489" y="286107"/>
                      </a:cubicBezTo>
                      <a:cubicBezTo>
                        <a:pt x="244897" y="280294"/>
                        <a:pt x="253783" y="273952"/>
                        <a:pt x="261623" y="266024"/>
                      </a:cubicBezTo>
                      <a:close/>
                      <a:moveTo>
                        <a:pt x="53646" y="261072"/>
                      </a:moveTo>
                      <a:cubicBezTo>
                        <a:pt x="64178" y="272729"/>
                        <a:pt x="76817" y="282266"/>
                        <a:pt x="90509" y="289683"/>
                      </a:cubicBezTo>
                      <a:cubicBezTo>
                        <a:pt x="85243" y="283855"/>
                        <a:pt x="79977" y="276438"/>
                        <a:pt x="74184" y="268490"/>
                      </a:cubicBezTo>
                      <a:cubicBezTo>
                        <a:pt x="66811" y="266371"/>
                        <a:pt x="59965" y="264252"/>
                        <a:pt x="53646" y="261072"/>
                      </a:cubicBezTo>
                      <a:close/>
                      <a:moveTo>
                        <a:pt x="213205" y="224209"/>
                      </a:moveTo>
                      <a:cubicBezTo>
                        <a:pt x="197402" y="226846"/>
                        <a:pt x="180544" y="228429"/>
                        <a:pt x="163687" y="228957"/>
                      </a:cubicBezTo>
                      <a:cubicBezTo>
                        <a:pt x="163687" y="243201"/>
                        <a:pt x="164740" y="256917"/>
                        <a:pt x="165267" y="269051"/>
                      </a:cubicBezTo>
                      <a:cubicBezTo>
                        <a:pt x="176857" y="268523"/>
                        <a:pt x="188446" y="267996"/>
                        <a:pt x="200035" y="266413"/>
                      </a:cubicBezTo>
                      <a:cubicBezTo>
                        <a:pt x="204777" y="254279"/>
                        <a:pt x="209518" y="240035"/>
                        <a:pt x="213205" y="224209"/>
                      </a:cubicBezTo>
                      <a:close/>
                      <a:moveTo>
                        <a:pt x="108941" y="224209"/>
                      </a:moveTo>
                      <a:cubicBezTo>
                        <a:pt x="112628" y="240027"/>
                        <a:pt x="117369" y="253736"/>
                        <a:pt x="122109" y="265864"/>
                      </a:cubicBezTo>
                      <a:cubicBezTo>
                        <a:pt x="131590" y="267446"/>
                        <a:pt x="141598" y="267973"/>
                        <a:pt x="152132" y="268500"/>
                      </a:cubicBezTo>
                      <a:cubicBezTo>
                        <a:pt x="151606" y="256373"/>
                        <a:pt x="151079" y="243191"/>
                        <a:pt x="150552" y="228954"/>
                      </a:cubicBezTo>
                      <a:cubicBezTo>
                        <a:pt x="135804" y="228427"/>
                        <a:pt x="122109" y="226845"/>
                        <a:pt x="108941" y="224209"/>
                      </a:cubicBezTo>
                      <a:close/>
                      <a:moveTo>
                        <a:pt x="58322" y="209903"/>
                      </a:moveTo>
                      <a:cubicBezTo>
                        <a:pt x="64673" y="227869"/>
                        <a:pt x="73671" y="243722"/>
                        <a:pt x="82669" y="257461"/>
                      </a:cubicBezTo>
                      <a:cubicBezTo>
                        <a:pt x="90608" y="260103"/>
                        <a:pt x="98547" y="261688"/>
                        <a:pt x="107016" y="263273"/>
                      </a:cubicBezTo>
                      <a:cubicBezTo>
                        <a:pt x="102252" y="251120"/>
                        <a:pt x="98018" y="236852"/>
                        <a:pt x="94842" y="221000"/>
                      </a:cubicBezTo>
                      <a:cubicBezTo>
                        <a:pt x="82140" y="218358"/>
                        <a:pt x="69966" y="214131"/>
                        <a:pt x="58322" y="209903"/>
                      </a:cubicBezTo>
                      <a:close/>
                      <a:moveTo>
                        <a:pt x="264925" y="209078"/>
                      </a:moveTo>
                      <a:cubicBezTo>
                        <a:pt x="253330" y="213818"/>
                        <a:pt x="240681" y="218031"/>
                        <a:pt x="227505" y="221190"/>
                      </a:cubicBezTo>
                      <a:cubicBezTo>
                        <a:pt x="224343" y="236989"/>
                        <a:pt x="219599" y="251735"/>
                        <a:pt x="214856" y="264374"/>
                      </a:cubicBezTo>
                      <a:cubicBezTo>
                        <a:pt x="223289" y="263320"/>
                        <a:pt x="231194" y="261214"/>
                        <a:pt x="239100" y="259634"/>
                      </a:cubicBezTo>
                      <a:cubicBezTo>
                        <a:pt x="248586" y="245415"/>
                        <a:pt x="258073" y="228037"/>
                        <a:pt x="264925" y="209078"/>
                      </a:cubicBezTo>
                      <a:close/>
                      <a:moveTo>
                        <a:pt x="303989" y="187895"/>
                      </a:moveTo>
                      <a:cubicBezTo>
                        <a:pt x="297128" y="192647"/>
                        <a:pt x="289211" y="197399"/>
                        <a:pt x="280765" y="201624"/>
                      </a:cubicBezTo>
                      <a:cubicBezTo>
                        <a:pt x="275487" y="220632"/>
                        <a:pt x="267570" y="238057"/>
                        <a:pt x="258597" y="253370"/>
                      </a:cubicBezTo>
                      <a:cubicBezTo>
                        <a:pt x="265987" y="250729"/>
                        <a:pt x="273376" y="248089"/>
                        <a:pt x="279710" y="244921"/>
                      </a:cubicBezTo>
                      <a:cubicBezTo>
                        <a:pt x="291850" y="228025"/>
                        <a:pt x="300295" y="209016"/>
                        <a:pt x="303989" y="187895"/>
                      </a:cubicBezTo>
                      <a:close/>
                      <a:moveTo>
                        <a:pt x="15131" y="186244"/>
                      </a:moveTo>
                      <a:cubicBezTo>
                        <a:pt x="18834" y="205247"/>
                        <a:pt x="25712" y="223193"/>
                        <a:pt x="35764" y="239029"/>
                      </a:cubicBezTo>
                      <a:cubicBezTo>
                        <a:pt x="44229" y="243251"/>
                        <a:pt x="53751" y="247474"/>
                        <a:pt x="63274" y="251169"/>
                      </a:cubicBezTo>
                      <a:cubicBezTo>
                        <a:pt x="54810" y="236917"/>
                        <a:pt x="47403" y="220554"/>
                        <a:pt x="42641" y="202607"/>
                      </a:cubicBezTo>
                      <a:cubicBezTo>
                        <a:pt x="32590" y="197857"/>
                        <a:pt x="23596" y="192578"/>
                        <a:pt x="15131" y="186244"/>
                      </a:cubicBezTo>
                      <a:close/>
                      <a:moveTo>
                        <a:pt x="220633" y="169463"/>
                      </a:moveTo>
                      <a:cubicBezTo>
                        <a:pt x="202251" y="174190"/>
                        <a:pt x="182819" y="176291"/>
                        <a:pt x="162861" y="176816"/>
                      </a:cubicBezTo>
                      <a:cubicBezTo>
                        <a:pt x="162861" y="189946"/>
                        <a:pt x="162861" y="203076"/>
                        <a:pt x="163386" y="215680"/>
                      </a:cubicBezTo>
                      <a:cubicBezTo>
                        <a:pt x="181768" y="215680"/>
                        <a:pt x="199625" y="213580"/>
                        <a:pt x="216431" y="209903"/>
                      </a:cubicBezTo>
                      <a:cubicBezTo>
                        <a:pt x="218532" y="197298"/>
                        <a:pt x="220108" y="183643"/>
                        <a:pt x="220633" y="169463"/>
                      </a:cubicBezTo>
                      <a:close/>
                      <a:moveTo>
                        <a:pt x="101513" y="169463"/>
                      </a:moveTo>
                      <a:cubicBezTo>
                        <a:pt x="102043" y="183643"/>
                        <a:pt x="103631" y="197298"/>
                        <a:pt x="105748" y="210428"/>
                      </a:cubicBezTo>
                      <a:cubicBezTo>
                        <a:pt x="120038" y="213054"/>
                        <a:pt x="134858" y="215155"/>
                        <a:pt x="150207" y="215680"/>
                      </a:cubicBezTo>
                      <a:cubicBezTo>
                        <a:pt x="149678" y="203076"/>
                        <a:pt x="149678" y="189946"/>
                        <a:pt x="149678" y="176291"/>
                      </a:cubicBezTo>
                      <a:cubicBezTo>
                        <a:pt x="132741" y="175765"/>
                        <a:pt x="116862" y="173139"/>
                        <a:pt x="101513" y="169463"/>
                      </a:cubicBezTo>
                      <a:close/>
                      <a:moveTo>
                        <a:pt x="51121" y="149931"/>
                      </a:moveTo>
                      <a:cubicBezTo>
                        <a:pt x="50595" y="153623"/>
                        <a:pt x="50069" y="156788"/>
                        <a:pt x="50069" y="159953"/>
                      </a:cubicBezTo>
                      <a:cubicBezTo>
                        <a:pt x="50069" y="171558"/>
                        <a:pt x="51647" y="183163"/>
                        <a:pt x="53752" y="193713"/>
                      </a:cubicBezTo>
                      <a:cubicBezTo>
                        <a:pt x="65853" y="198988"/>
                        <a:pt x="78480" y="203735"/>
                        <a:pt x="92160" y="207427"/>
                      </a:cubicBezTo>
                      <a:cubicBezTo>
                        <a:pt x="90055" y="194240"/>
                        <a:pt x="88477" y="180525"/>
                        <a:pt x="89003" y="166283"/>
                      </a:cubicBezTo>
                      <a:cubicBezTo>
                        <a:pt x="75324" y="161536"/>
                        <a:pt x="62170" y="156261"/>
                        <a:pt x="51121" y="149931"/>
                      </a:cubicBezTo>
                      <a:close/>
                      <a:moveTo>
                        <a:pt x="271850" y="148830"/>
                      </a:moveTo>
                      <a:cubicBezTo>
                        <a:pt x="260269" y="155690"/>
                        <a:pt x="247634" y="161495"/>
                        <a:pt x="233420" y="165717"/>
                      </a:cubicBezTo>
                      <a:cubicBezTo>
                        <a:pt x="233947" y="179965"/>
                        <a:pt x="232367" y="193685"/>
                        <a:pt x="230262" y="206877"/>
                      </a:cubicBezTo>
                      <a:cubicBezTo>
                        <a:pt x="244475" y="203183"/>
                        <a:pt x="257110" y="198434"/>
                        <a:pt x="269218" y="193157"/>
                      </a:cubicBezTo>
                      <a:cubicBezTo>
                        <a:pt x="271850" y="182603"/>
                        <a:pt x="272903" y="171521"/>
                        <a:pt x="272903" y="159912"/>
                      </a:cubicBezTo>
                      <a:cubicBezTo>
                        <a:pt x="272903" y="156218"/>
                        <a:pt x="272376" y="152524"/>
                        <a:pt x="271850" y="148830"/>
                      </a:cubicBezTo>
                      <a:close/>
                      <a:moveTo>
                        <a:pt x="302793" y="126547"/>
                      </a:moveTo>
                      <a:cubicBezTo>
                        <a:pt x="297022" y="131826"/>
                        <a:pt x="290727" y="136577"/>
                        <a:pt x="284431" y="141328"/>
                      </a:cubicBezTo>
                      <a:cubicBezTo>
                        <a:pt x="284956" y="147135"/>
                        <a:pt x="286005" y="153470"/>
                        <a:pt x="286005" y="159805"/>
                      </a:cubicBezTo>
                      <a:cubicBezTo>
                        <a:pt x="286005" y="168251"/>
                        <a:pt x="285481" y="176698"/>
                        <a:pt x="283907" y="185144"/>
                      </a:cubicBezTo>
                      <a:cubicBezTo>
                        <a:pt x="292301" y="180393"/>
                        <a:pt x="299645" y="175642"/>
                        <a:pt x="306465" y="169835"/>
                      </a:cubicBezTo>
                      <a:cubicBezTo>
                        <a:pt x="306465" y="166668"/>
                        <a:pt x="306465" y="163500"/>
                        <a:pt x="306465" y="160333"/>
                      </a:cubicBezTo>
                      <a:cubicBezTo>
                        <a:pt x="306465" y="148719"/>
                        <a:pt x="305416" y="137105"/>
                        <a:pt x="302793" y="126547"/>
                      </a:cubicBezTo>
                      <a:close/>
                      <a:moveTo>
                        <a:pt x="17427" y="125172"/>
                      </a:moveTo>
                      <a:cubicBezTo>
                        <a:pt x="14789" y="136754"/>
                        <a:pt x="13205" y="148337"/>
                        <a:pt x="13205" y="160446"/>
                      </a:cubicBezTo>
                      <a:cubicBezTo>
                        <a:pt x="13205" y="163079"/>
                        <a:pt x="13205" y="165711"/>
                        <a:pt x="13205" y="168870"/>
                      </a:cubicBezTo>
                      <a:cubicBezTo>
                        <a:pt x="21122" y="175188"/>
                        <a:pt x="29565" y="180979"/>
                        <a:pt x="39065" y="186244"/>
                      </a:cubicBezTo>
                      <a:cubicBezTo>
                        <a:pt x="37482" y="177821"/>
                        <a:pt x="36954" y="168870"/>
                        <a:pt x="36954" y="159920"/>
                      </a:cubicBezTo>
                      <a:cubicBezTo>
                        <a:pt x="37482" y="154128"/>
                        <a:pt x="38009" y="148337"/>
                        <a:pt x="38537" y="142546"/>
                      </a:cubicBezTo>
                      <a:cubicBezTo>
                        <a:pt x="30621" y="137281"/>
                        <a:pt x="23760" y="131489"/>
                        <a:pt x="17427" y="125172"/>
                      </a:cubicBezTo>
                      <a:close/>
                      <a:moveTo>
                        <a:pt x="215883" y="122420"/>
                      </a:moveTo>
                      <a:cubicBezTo>
                        <a:pt x="200134" y="126653"/>
                        <a:pt x="183335" y="128769"/>
                        <a:pt x="165486" y="128769"/>
                      </a:cubicBezTo>
                      <a:cubicBezTo>
                        <a:pt x="164961" y="128769"/>
                        <a:pt x="164436" y="128769"/>
                        <a:pt x="163386" y="128769"/>
                      </a:cubicBezTo>
                      <a:cubicBezTo>
                        <a:pt x="163386" y="137763"/>
                        <a:pt x="163386" y="146228"/>
                        <a:pt x="162861" y="155221"/>
                      </a:cubicBezTo>
                      <a:cubicBezTo>
                        <a:pt x="162861" y="157866"/>
                        <a:pt x="162861" y="161041"/>
                        <a:pt x="162861" y="163686"/>
                      </a:cubicBezTo>
                      <a:cubicBezTo>
                        <a:pt x="183335" y="163157"/>
                        <a:pt x="202234" y="160512"/>
                        <a:pt x="220083" y="155750"/>
                      </a:cubicBezTo>
                      <a:cubicBezTo>
                        <a:pt x="219558" y="144640"/>
                        <a:pt x="217983" y="133530"/>
                        <a:pt x="215883" y="122420"/>
                      </a:cubicBezTo>
                      <a:close/>
                      <a:moveTo>
                        <a:pt x="106825" y="120220"/>
                      </a:moveTo>
                      <a:cubicBezTo>
                        <a:pt x="104180" y="131876"/>
                        <a:pt x="102593" y="144062"/>
                        <a:pt x="102064" y="156248"/>
                      </a:cubicBezTo>
                      <a:cubicBezTo>
                        <a:pt x="116877" y="159957"/>
                        <a:pt x="132748" y="162606"/>
                        <a:pt x="149678" y="163136"/>
                      </a:cubicBezTo>
                      <a:cubicBezTo>
                        <a:pt x="149678" y="160487"/>
                        <a:pt x="149678" y="157837"/>
                        <a:pt x="149678" y="155188"/>
                      </a:cubicBezTo>
                      <a:cubicBezTo>
                        <a:pt x="150207" y="146181"/>
                        <a:pt x="150207" y="137174"/>
                        <a:pt x="150207" y="128167"/>
                      </a:cubicBezTo>
                      <a:cubicBezTo>
                        <a:pt x="134864" y="127107"/>
                        <a:pt x="120051" y="124458"/>
                        <a:pt x="106825" y="120220"/>
                      </a:cubicBezTo>
                      <a:close/>
                      <a:moveTo>
                        <a:pt x="259617" y="103988"/>
                      </a:moveTo>
                      <a:cubicBezTo>
                        <a:pt x="250157" y="109775"/>
                        <a:pt x="240173" y="115035"/>
                        <a:pt x="228611" y="118717"/>
                      </a:cubicBezTo>
                      <a:cubicBezTo>
                        <a:pt x="230713" y="129238"/>
                        <a:pt x="232290" y="140810"/>
                        <a:pt x="233341" y="151856"/>
                      </a:cubicBezTo>
                      <a:cubicBezTo>
                        <a:pt x="246479" y="147648"/>
                        <a:pt x="258566" y="141862"/>
                        <a:pt x="269602" y="135024"/>
                      </a:cubicBezTo>
                      <a:cubicBezTo>
                        <a:pt x="267500" y="124503"/>
                        <a:pt x="263821" y="113983"/>
                        <a:pt x="259617" y="103988"/>
                      </a:cubicBezTo>
                      <a:close/>
                      <a:moveTo>
                        <a:pt x="65249" y="99862"/>
                      </a:moveTo>
                      <a:cubicBezTo>
                        <a:pt x="59956" y="111422"/>
                        <a:pt x="55192" y="123507"/>
                        <a:pt x="52545" y="136118"/>
                      </a:cubicBezTo>
                      <a:cubicBezTo>
                        <a:pt x="63661" y="142423"/>
                        <a:pt x="75835" y="148203"/>
                        <a:pt x="89068" y="152407"/>
                      </a:cubicBezTo>
                      <a:cubicBezTo>
                        <a:pt x="90126" y="139796"/>
                        <a:pt x="91714" y="127185"/>
                        <a:pt x="94361" y="115625"/>
                      </a:cubicBezTo>
                      <a:cubicBezTo>
                        <a:pt x="83774" y="111422"/>
                        <a:pt x="73718" y="106167"/>
                        <a:pt x="65249" y="99862"/>
                      </a:cubicBezTo>
                      <a:close/>
                      <a:moveTo>
                        <a:pt x="285381" y="83906"/>
                      </a:moveTo>
                      <a:cubicBezTo>
                        <a:pt x="280663" y="88122"/>
                        <a:pt x="275944" y="92338"/>
                        <a:pt x="270702" y="96554"/>
                      </a:cubicBezTo>
                      <a:cubicBezTo>
                        <a:pt x="275420" y="106567"/>
                        <a:pt x="279090" y="116581"/>
                        <a:pt x="281711" y="127648"/>
                      </a:cubicBezTo>
                      <a:cubicBezTo>
                        <a:pt x="288002" y="122905"/>
                        <a:pt x="293769" y="117635"/>
                        <a:pt x="298487" y="112365"/>
                      </a:cubicBezTo>
                      <a:cubicBezTo>
                        <a:pt x="295342" y="102351"/>
                        <a:pt x="290624" y="92865"/>
                        <a:pt x="285381" y="83906"/>
                      </a:cubicBezTo>
                      <a:close/>
                      <a:moveTo>
                        <a:pt x="39411" y="75928"/>
                      </a:moveTo>
                      <a:cubicBezTo>
                        <a:pt x="32019" y="87020"/>
                        <a:pt x="25683" y="98640"/>
                        <a:pt x="21458" y="111317"/>
                      </a:cubicBezTo>
                      <a:cubicBezTo>
                        <a:pt x="26739" y="117656"/>
                        <a:pt x="33603" y="122938"/>
                        <a:pt x="40995" y="128748"/>
                      </a:cubicBezTo>
                      <a:cubicBezTo>
                        <a:pt x="44163" y="115543"/>
                        <a:pt x="48916" y="103394"/>
                        <a:pt x="54196" y="91774"/>
                      </a:cubicBezTo>
                      <a:cubicBezTo>
                        <a:pt x="48916" y="87020"/>
                        <a:pt x="43635" y="81738"/>
                        <a:pt x="39411" y="75928"/>
                      </a:cubicBezTo>
                      <a:close/>
                      <a:moveTo>
                        <a:pt x="201616" y="73452"/>
                      </a:moveTo>
                      <a:cubicBezTo>
                        <a:pt x="190553" y="76083"/>
                        <a:pt x="178437" y="78187"/>
                        <a:pt x="165267" y="78187"/>
                      </a:cubicBezTo>
                      <a:cubicBezTo>
                        <a:pt x="165267" y="78187"/>
                        <a:pt x="165267" y="78187"/>
                        <a:pt x="164740" y="78187"/>
                      </a:cubicBezTo>
                      <a:cubicBezTo>
                        <a:pt x="164740" y="89762"/>
                        <a:pt x="164214" y="102390"/>
                        <a:pt x="163687" y="115543"/>
                      </a:cubicBezTo>
                      <a:cubicBezTo>
                        <a:pt x="164214" y="115543"/>
                        <a:pt x="164740" y="115543"/>
                        <a:pt x="165267" y="115543"/>
                      </a:cubicBezTo>
                      <a:cubicBezTo>
                        <a:pt x="182125" y="115543"/>
                        <a:pt x="198455" y="113438"/>
                        <a:pt x="213205" y="109756"/>
                      </a:cubicBezTo>
                      <a:cubicBezTo>
                        <a:pt x="210044" y="96602"/>
                        <a:pt x="205830" y="84501"/>
                        <a:pt x="201616" y="73452"/>
                      </a:cubicBezTo>
                      <a:close/>
                      <a:moveTo>
                        <a:pt x="121592" y="70701"/>
                      </a:moveTo>
                      <a:cubicBezTo>
                        <a:pt x="116857" y="81774"/>
                        <a:pt x="113174" y="94429"/>
                        <a:pt x="109491" y="107084"/>
                      </a:cubicBezTo>
                      <a:cubicBezTo>
                        <a:pt x="122119" y="111302"/>
                        <a:pt x="136324" y="113938"/>
                        <a:pt x="150530" y="114993"/>
                      </a:cubicBezTo>
                      <a:cubicBezTo>
                        <a:pt x="151056" y="101811"/>
                        <a:pt x="151582" y="88629"/>
                        <a:pt x="151582" y="77028"/>
                      </a:cubicBezTo>
                      <a:cubicBezTo>
                        <a:pt x="141060" y="75974"/>
                        <a:pt x="131063" y="73865"/>
                        <a:pt x="121592" y="70701"/>
                      </a:cubicBezTo>
                      <a:close/>
                      <a:moveTo>
                        <a:pt x="233321" y="59697"/>
                      </a:moveTo>
                      <a:cubicBezTo>
                        <a:pt x="227511" y="63395"/>
                        <a:pt x="221172" y="66565"/>
                        <a:pt x="214306" y="69207"/>
                      </a:cubicBezTo>
                      <a:cubicBezTo>
                        <a:pt x="218531" y="80302"/>
                        <a:pt x="222757" y="92981"/>
                        <a:pt x="225926" y="106189"/>
                      </a:cubicBezTo>
                      <a:cubicBezTo>
                        <a:pt x="235962" y="102491"/>
                        <a:pt x="245469" y="97736"/>
                        <a:pt x="253921" y="92453"/>
                      </a:cubicBezTo>
                      <a:cubicBezTo>
                        <a:pt x="247582" y="80302"/>
                        <a:pt x="240716" y="69207"/>
                        <a:pt x="233321" y="59697"/>
                      </a:cubicBezTo>
                      <a:close/>
                      <a:moveTo>
                        <a:pt x="92595" y="55846"/>
                      </a:moveTo>
                      <a:cubicBezTo>
                        <a:pt x="85214" y="65360"/>
                        <a:pt x="77832" y="76460"/>
                        <a:pt x="70977" y="88088"/>
                      </a:cubicBezTo>
                      <a:cubicBezTo>
                        <a:pt x="78886" y="93902"/>
                        <a:pt x="87323" y="98660"/>
                        <a:pt x="97341" y="102888"/>
                      </a:cubicBezTo>
                      <a:cubicBezTo>
                        <a:pt x="100505" y="89674"/>
                        <a:pt x="104723" y="76988"/>
                        <a:pt x="108941" y="65360"/>
                      </a:cubicBezTo>
                      <a:cubicBezTo>
                        <a:pt x="103141" y="62717"/>
                        <a:pt x="97341" y="59546"/>
                        <a:pt x="92595" y="55846"/>
                      </a:cubicBezTo>
                      <a:close/>
                      <a:moveTo>
                        <a:pt x="251144" y="44842"/>
                      </a:moveTo>
                      <a:cubicBezTo>
                        <a:pt x="248500" y="47484"/>
                        <a:pt x="246385" y="49598"/>
                        <a:pt x="243742" y="51712"/>
                      </a:cubicBezTo>
                      <a:cubicBezTo>
                        <a:pt x="251144" y="61225"/>
                        <a:pt x="258546" y="72323"/>
                        <a:pt x="264890" y="85007"/>
                      </a:cubicBezTo>
                      <a:cubicBezTo>
                        <a:pt x="269649" y="80779"/>
                        <a:pt x="273878" y="77079"/>
                        <a:pt x="277579" y="72851"/>
                      </a:cubicBezTo>
                      <a:cubicBezTo>
                        <a:pt x="270177" y="62282"/>
                        <a:pt x="261189" y="52769"/>
                        <a:pt x="251144" y="44842"/>
                      </a:cubicBezTo>
                      <a:close/>
                      <a:moveTo>
                        <a:pt x="75908" y="39614"/>
                      </a:moveTo>
                      <a:cubicBezTo>
                        <a:pt x="65327" y="47013"/>
                        <a:pt x="55804" y="55469"/>
                        <a:pt x="47868" y="65510"/>
                      </a:cubicBezTo>
                      <a:cubicBezTo>
                        <a:pt x="51043" y="70795"/>
                        <a:pt x="55804" y="75551"/>
                        <a:pt x="60565" y="79779"/>
                      </a:cubicBezTo>
                      <a:cubicBezTo>
                        <a:pt x="67443" y="67624"/>
                        <a:pt x="74850" y="56526"/>
                        <a:pt x="82256" y="47013"/>
                      </a:cubicBezTo>
                      <a:cubicBezTo>
                        <a:pt x="80140" y="44899"/>
                        <a:pt x="78024" y="42257"/>
                        <a:pt x="75908" y="39614"/>
                      </a:cubicBezTo>
                      <a:close/>
                      <a:moveTo>
                        <a:pt x="224484" y="28060"/>
                      </a:moveTo>
                      <a:cubicBezTo>
                        <a:pt x="228150" y="32293"/>
                        <a:pt x="231815" y="36525"/>
                        <a:pt x="236003" y="41815"/>
                      </a:cubicBezTo>
                      <a:cubicBezTo>
                        <a:pt x="237574" y="40228"/>
                        <a:pt x="239145" y="38641"/>
                        <a:pt x="240716" y="37583"/>
                      </a:cubicBezTo>
                      <a:cubicBezTo>
                        <a:pt x="235480" y="33880"/>
                        <a:pt x="230244" y="31234"/>
                        <a:pt x="224484" y="28060"/>
                      </a:cubicBezTo>
                      <a:close/>
                      <a:moveTo>
                        <a:pt x="101238" y="25309"/>
                      </a:moveTo>
                      <a:cubicBezTo>
                        <a:pt x="95940" y="27410"/>
                        <a:pt x="91172" y="30036"/>
                        <a:pt x="86933" y="32662"/>
                      </a:cubicBezTo>
                      <a:cubicBezTo>
                        <a:pt x="87993" y="34237"/>
                        <a:pt x="89582" y="35288"/>
                        <a:pt x="90642" y="36863"/>
                      </a:cubicBezTo>
                      <a:cubicBezTo>
                        <a:pt x="94350" y="32662"/>
                        <a:pt x="97529" y="28985"/>
                        <a:pt x="101238" y="25309"/>
                      </a:cubicBezTo>
                      <a:close/>
                      <a:moveTo>
                        <a:pt x="189546" y="16506"/>
                      </a:moveTo>
                      <a:cubicBezTo>
                        <a:pt x="195332" y="25959"/>
                        <a:pt x="202695" y="39614"/>
                        <a:pt x="209532" y="56946"/>
                      </a:cubicBezTo>
                      <a:cubicBezTo>
                        <a:pt x="215317" y="54845"/>
                        <a:pt x="220576" y="52219"/>
                        <a:pt x="225310" y="49068"/>
                      </a:cubicBezTo>
                      <a:cubicBezTo>
                        <a:pt x="210584" y="31736"/>
                        <a:pt x="197961" y="20707"/>
                        <a:pt x="194280" y="17556"/>
                      </a:cubicBezTo>
                      <a:cubicBezTo>
                        <a:pt x="192702" y="17031"/>
                        <a:pt x="191124" y="16506"/>
                        <a:pt x="189546" y="16506"/>
                      </a:cubicBezTo>
                      <a:close/>
                      <a:moveTo>
                        <a:pt x="132600" y="15955"/>
                      </a:moveTo>
                      <a:cubicBezTo>
                        <a:pt x="131554" y="15955"/>
                        <a:pt x="130507" y="15955"/>
                        <a:pt x="128938" y="16483"/>
                      </a:cubicBezTo>
                      <a:cubicBezTo>
                        <a:pt x="128938" y="17010"/>
                        <a:pt x="115859" y="27556"/>
                        <a:pt x="100688" y="46010"/>
                      </a:cubicBezTo>
                      <a:cubicBezTo>
                        <a:pt x="104873" y="48647"/>
                        <a:pt x="109058" y="51283"/>
                        <a:pt x="114290" y="53920"/>
                      </a:cubicBezTo>
                      <a:cubicBezTo>
                        <a:pt x="121091" y="37574"/>
                        <a:pt x="127892" y="24919"/>
                        <a:pt x="132600" y="15955"/>
                      </a:cubicBezTo>
                      <a:close/>
                      <a:moveTo>
                        <a:pt x="167974" y="13204"/>
                      </a:moveTo>
                      <a:cubicBezTo>
                        <a:pt x="167447" y="22704"/>
                        <a:pt x="166392" y="40647"/>
                        <a:pt x="165337" y="64924"/>
                      </a:cubicBezTo>
                      <a:cubicBezTo>
                        <a:pt x="176410" y="64924"/>
                        <a:pt x="186956" y="63341"/>
                        <a:pt x="196974" y="60702"/>
                      </a:cubicBezTo>
                      <a:cubicBezTo>
                        <a:pt x="187483" y="38009"/>
                        <a:pt x="177465" y="21121"/>
                        <a:pt x="173247" y="13732"/>
                      </a:cubicBezTo>
                      <a:cubicBezTo>
                        <a:pt x="171665" y="13732"/>
                        <a:pt x="169556" y="13732"/>
                        <a:pt x="167974" y="13204"/>
                      </a:cubicBezTo>
                      <a:close/>
                      <a:moveTo>
                        <a:pt x="149585" y="13204"/>
                      </a:moveTo>
                      <a:cubicBezTo>
                        <a:pt x="145346" y="20059"/>
                        <a:pt x="135810" y="36405"/>
                        <a:pt x="126273" y="58551"/>
                      </a:cubicBezTo>
                      <a:cubicBezTo>
                        <a:pt x="134220" y="61187"/>
                        <a:pt x="143227" y="63296"/>
                        <a:pt x="152764" y="63823"/>
                      </a:cubicBezTo>
                      <a:cubicBezTo>
                        <a:pt x="153294" y="40623"/>
                        <a:pt x="154354" y="22696"/>
                        <a:pt x="154883" y="13204"/>
                      </a:cubicBezTo>
                      <a:cubicBezTo>
                        <a:pt x="153294" y="13204"/>
                        <a:pt x="151175" y="13204"/>
                        <a:pt x="149585" y="13204"/>
                      </a:cubicBezTo>
                      <a:close/>
                      <a:moveTo>
                        <a:pt x="160099" y="0"/>
                      </a:moveTo>
                      <a:cubicBezTo>
                        <a:pt x="192750" y="0"/>
                        <a:pt x="222769" y="10024"/>
                        <a:pt x="248047" y="26906"/>
                      </a:cubicBezTo>
                      <a:cubicBezTo>
                        <a:pt x="251734" y="29017"/>
                        <a:pt x="255420" y="31655"/>
                        <a:pt x="259107" y="34293"/>
                      </a:cubicBezTo>
                      <a:cubicBezTo>
                        <a:pt x="269113" y="42206"/>
                        <a:pt x="278066" y="51703"/>
                        <a:pt x="285965" y="61727"/>
                      </a:cubicBezTo>
                      <a:cubicBezTo>
                        <a:pt x="288598" y="65420"/>
                        <a:pt x="291232" y="69113"/>
                        <a:pt x="293865" y="72806"/>
                      </a:cubicBezTo>
                      <a:cubicBezTo>
                        <a:pt x="299658" y="81775"/>
                        <a:pt x="304398" y="90744"/>
                        <a:pt x="308084" y="100768"/>
                      </a:cubicBezTo>
                      <a:cubicBezTo>
                        <a:pt x="310191" y="105516"/>
                        <a:pt x="311771" y="110264"/>
                        <a:pt x="313350" y="115013"/>
                      </a:cubicBezTo>
                      <a:cubicBezTo>
                        <a:pt x="317564" y="128730"/>
                        <a:pt x="319670" y="142975"/>
                        <a:pt x="319670" y="157747"/>
                      </a:cubicBezTo>
                      <a:cubicBezTo>
                        <a:pt x="319670" y="158275"/>
                        <a:pt x="319670" y="159330"/>
                        <a:pt x="319670" y="160385"/>
                      </a:cubicBezTo>
                      <a:cubicBezTo>
                        <a:pt x="319670" y="165661"/>
                        <a:pt x="319670" y="170937"/>
                        <a:pt x="319144" y="176212"/>
                      </a:cubicBezTo>
                      <a:cubicBezTo>
                        <a:pt x="317037" y="196260"/>
                        <a:pt x="311244" y="215253"/>
                        <a:pt x="302291" y="232664"/>
                      </a:cubicBezTo>
                      <a:cubicBezTo>
                        <a:pt x="298605" y="240577"/>
                        <a:pt x="293865" y="247964"/>
                        <a:pt x="288598" y="254822"/>
                      </a:cubicBezTo>
                      <a:cubicBezTo>
                        <a:pt x="259633" y="294391"/>
                        <a:pt x="212763" y="320242"/>
                        <a:pt x="160099" y="320242"/>
                      </a:cubicBezTo>
                      <a:cubicBezTo>
                        <a:pt x="159572" y="320242"/>
                        <a:pt x="159572" y="320242"/>
                        <a:pt x="159572" y="320242"/>
                      </a:cubicBezTo>
                      <a:cubicBezTo>
                        <a:pt x="159572" y="320242"/>
                        <a:pt x="159572" y="320242"/>
                        <a:pt x="155359" y="320770"/>
                      </a:cubicBezTo>
                      <a:cubicBezTo>
                        <a:pt x="155359" y="320770"/>
                        <a:pt x="155359" y="320242"/>
                        <a:pt x="155359" y="320242"/>
                      </a:cubicBezTo>
                      <a:cubicBezTo>
                        <a:pt x="101642" y="318660"/>
                        <a:pt x="54244" y="290698"/>
                        <a:pt x="26332" y="248491"/>
                      </a:cubicBezTo>
                      <a:cubicBezTo>
                        <a:pt x="21593" y="241105"/>
                        <a:pt x="17379" y="233191"/>
                        <a:pt x="13693" y="225278"/>
                      </a:cubicBezTo>
                      <a:cubicBezTo>
                        <a:pt x="6847" y="209450"/>
                        <a:pt x="2107" y="192567"/>
                        <a:pt x="527" y="174630"/>
                      </a:cubicBezTo>
                      <a:cubicBezTo>
                        <a:pt x="0" y="169881"/>
                        <a:pt x="0" y="165133"/>
                        <a:pt x="0" y="160385"/>
                      </a:cubicBezTo>
                      <a:cubicBezTo>
                        <a:pt x="0" y="158802"/>
                        <a:pt x="0" y="157219"/>
                        <a:pt x="0" y="156164"/>
                      </a:cubicBezTo>
                      <a:cubicBezTo>
                        <a:pt x="527" y="141392"/>
                        <a:pt x="2634" y="127147"/>
                        <a:pt x="6847" y="113958"/>
                      </a:cubicBezTo>
                      <a:cubicBezTo>
                        <a:pt x="8427" y="108682"/>
                        <a:pt x="10006" y="103934"/>
                        <a:pt x="12113" y="99185"/>
                      </a:cubicBezTo>
                      <a:cubicBezTo>
                        <a:pt x="17379" y="86523"/>
                        <a:pt x="23699" y="74916"/>
                        <a:pt x="32125" y="64365"/>
                      </a:cubicBezTo>
                      <a:cubicBezTo>
                        <a:pt x="34758" y="60144"/>
                        <a:pt x="37918" y="56451"/>
                        <a:pt x="41078" y="52758"/>
                      </a:cubicBezTo>
                      <a:cubicBezTo>
                        <a:pt x="49505" y="43789"/>
                        <a:pt x="58984" y="35348"/>
                        <a:pt x="68990" y="28489"/>
                      </a:cubicBezTo>
                      <a:cubicBezTo>
                        <a:pt x="72677" y="25851"/>
                        <a:pt x="76363" y="23213"/>
                        <a:pt x="80576" y="21103"/>
                      </a:cubicBezTo>
                      <a:cubicBezTo>
                        <a:pt x="103748" y="7913"/>
                        <a:pt x="131133" y="0"/>
                        <a:pt x="160099" y="0"/>
                      </a:cubicBezTo>
                      <a:close/>
                    </a:path>
                  </a:pathLst>
                </a:custGeom>
                <a:grpFill/>
                <a:ln>
                  <a:noFill/>
                </a:ln>
                <a:extLst/>
              </p:spPr>
              <p:txBody>
                <a:bodyPr vert="horz" wrap="square" lIns="89619" tIns="44809" rIns="89619" bIns="44809" numCol="1" anchor="t" anchorCtr="0" compatLnSpc="1">
                  <a:prstTxWarp prst="textNoShape">
                    <a:avLst/>
                  </a:prstTxWarp>
                  <a:noAutofit/>
                </a:bodyPr>
                <a:lstStyle/>
                <a:p>
                  <a:pPr defTabSz="896117">
                    <a:defRPr/>
                  </a:pPr>
                  <a:endParaRPr lang="en-US" sz="1764" kern="0" dirty="0">
                    <a:solidFill>
                      <a:srgbClr val="FFFFFF"/>
                    </a:solidFill>
                  </a:endParaRPr>
                </a:p>
              </p:txBody>
            </p:sp>
            <p:sp>
              <p:nvSpPr>
                <p:cNvPr id="384" name="Freeform 383"/>
                <p:cNvSpPr>
                  <a:spLocks/>
                </p:cNvSpPr>
                <p:nvPr/>
              </p:nvSpPr>
              <p:spPr bwMode="auto">
                <a:xfrm>
                  <a:off x="5007615" y="2323753"/>
                  <a:ext cx="649029" cy="502032"/>
                </a:xfrm>
                <a:custGeom>
                  <a:avLst/>
                  <a:gdLst>
                    <a:gd name="connsiteX0" fmla="*/ 33287 w 649029"/>
                    <a:gd name="connsiteY0" fmla="*/ 88963 h 502032"/>
                    <a:gd name="connsiteX1" fmla="*/ 21098 w 649029"/>
                    <a:gd name="connsiteY1" fmla="*/ 102250 h 502032"/>
                    <a:gd name="connsiteX2" fmla="*/ 21098 w 649029"/>
                    <a:gd name="connsiteY2" fmla="*/ 467370 h 502032"/>
                    <a:gd name="connsiteX3" fmla="*/ 33287 w 649029"/>
                    <a:gd name="connsiteY3" fmla="*/ 480657 h 502032"/>
                    <a:gd name="connsiteX4" fmla="*/ 615742 w 649029"/>
                    <a:gd name="connsiteY4" fmla="*/ 480657 h 502032"/>
                    <a:gd name="connsiteX5" fmla="*/ 627932 w 649029"/>
                    <a:gd name="connsiteY5" fmla="*/ 467370 h 502032"/>
                    <a:gd name="connsiteX6" fmla="*/ 627932 w 649029"/>
                    <a:gd name="connsiteY6" fmla="*/ 102250 h 502032"/>
                    <a:gd name="connsiteX7" fmla="*/ 615742 w 649029"/>
                    <a:gd name="connsiteY7" fmla="*/ 88963 h 502032"/>
                    <a:gd name="connsiteX8" fmla="*/ 71744 w 649029"/>
                    <a:gd name="connsiteY8" fmla="*/ 21375 h 502032"/>
                    <a:gd name="connsiteX9" fmla="*/ 61676 w 649029"/>
                    <a:gd name="connsiteY9" fmla="*/ 31460 h 502032"/>
                    <a:gd name="connsiteX10" fmla="*/ 61676 w 649029"/>
                    <a:gd name="connsiteY10" fmla="*/ 67588 h 502032"/>
                    <a:gd name="connsiteX11" fmla="*/ 281061 w 649029"/>
                    <a:gd name="connsiteY11" fmla="*/ 67588 h 502032"/>
                    <a:gd name="connsiteX12" fmla="*/ 281061 w 649029"/>
                    <a:gd name="connsiteY12" fmla="*/ 31460 h 502032"/>
                    <a:gd name="connsiteX13" fmla="*/ 270993 w 649029"/>
                    <a:gd name="connsiteY13" fmla="*/ 21375 h 502032"/>
                    <a:gd name="connsiteX14" fmla="*/ 71826 w 649029"/>
                    <a:gd name="connsiteY14" fmla="*/ 0 h 502032"/>
                    <a:gd name="connsiteX15" fmla="*/ 271010 w 649029"/>
                    <a:gd name="connsiteY15" fmla="*/ 0 h 502032"/>
                    <a:gd name="connsiteX16" fmla="*/ 302265 w 649029"/>
                    <a:gd name="connsiteY16" fmla="*/ 31399 h 502032"/>
                    <a:gd name="connsiteX17" fmla="*/ 302265 w 649029"/>
                    <a:gd name="connsiteY17" fmla="*/ 59604 h 502032"/>
                    <a:gd name="connsiteX18" fmla="*/ 614285 w 649029"/>
                    <a:gd name="connsiteY18" fmla="*/ 59604 h 502032"/>
                    <a:gd name="connsiteX19" fmla="*/ 625873 w 649029"/>
                    <a:gd name="connsiteY19" fmla="*/ 64461 h 502032"/>
                    <a:gd name="connsiteX20" fmla="*/ 629657 w 649029"/>
                    <a:gd name="connsiteY20" fmla="*/ 73573 h 502032"/>
                    <a:gd name="connsiteX21" fmla="*/ 639294 w 649029"/>
                    <a:gd name="connsiteY21" fmla="*/ 77692 h 502032"/>
                    <a:gd name="connsiteX22" fmla="*/ 649029 w 649029"/>
                    <a:gd name="connsiteY22" fmla="*/ 102152 h 502032"/>
                    <a:gd name="connsiteX23" fmla="*/ 649029 w 649029"/>
                    <a:gd name="connsiteY23" fmla="*/ 467468 h 502032"/>
                    <a:gd name="connsiteX24" fmla="*/ 615651 w 649029"/>
                    <a:gd name="connsiteY24" fmla="*/ 502032 h 502032"/>
                    <a:gd name="connsiteX25" fmla="*/ 33379 w 649029"/>
                    <a:gd name="connsiteY25" fmla="*/ 502032 h 502032"/>
                    <a:gd name="connsiteX26" fmla="*/ 0 w 649029"/>
                    <a:gd name="connsiteY26" fmla="*/ 467468 h 502032"/>
                    <a:gd name="connsiteX27" fmla="*/ 0 w 649029"/>
                    <a:gd name="connsiteY27" fmla="*/ 102152 h 502032"/>
                    <a:gd name="connsiteX28" fmla="*/ 9735 w 649029"/>
                    <a:gd name="connsiteY28" fmla="*/ 77692 h 502032"/>
                    <a:gd name="connsiteX29" fmla="*/ 19371 w 649029"/>
                    <a:gd name="connsiteY29" fmla="*/ 73574 h 502032"/>
                    <a:gd name="connsiteX30" fmla="*/ 23155 w 649029"/>
                    <a:gd name="connsiteY30" fmla="*/ 64461 h 502032"/>
                    <a:gd name="connsiteX31" fmla="*/ 34744 w 649029"/>
                    <a:gd name="connsiteY31" fmla="*/ 59604 h 502032"/>
                    <a:gd name="connsiteX32" fmla="*/ 40571 w 649029"/>
                    <a:gd name="connsiteY32" fmla="*/ 59604 h 502032"/>
                    <a:gd name="connsiteX33" fmla="*/ 40571 w 649029"/>
                    <a:gd name="connsiteY33" fmla="*/ 31399 h 502032"/>
                    <a:gd name="connsiteX34" fmla="*/ 71826 w 649029"/>
                    <a:gd name="connsiteY34" fmla="*/ 0 h 502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49029" h="502032">
                      <a:moveTo>
                        <a:pt x="33287" y="88963"/>
                      </a:moveTo>
                      <a:cubicBezTo>
                        <a:pt x="26398" y="88963"/>
                        <a:pt x="21098" y="94809"/>
                        <a:pt x="21098" y="102250"/>
                      </a:cubicBezTo>
                      <a:lnTo>
                        <a:pt x="21098" y="467370"/>
                      </a:lnTo>
                      <a:cubicBezTo>
                        <a:pt x="21098" y="474811"/>
                        <a:pt x="26398" y="480657"/>
                        <a:pt x="33287" y="480657"/>
                      </a:cubicBezTo>
                      <a:lnTo>
                        <a:pt x="615742" y="480657"/>
                      </a:lnTo>
                      <a:cubicBezTo>
                        <a:pt x="622632" y="480657"/>
                        <a:pt x="627932" y="474811"/>
                        <a:pt x="627932" y="467370"/>
                      </a:cubicBezTo>
                      <a:lnTo>
                        <a:pt x="627932" y="102250"/>
                      </a:lnTo>
                      <a:cubicBezTo>
                        <a:pt x="627932" y="94809"/>
                        <a:pt x="622632" y="88963"/>
                        <a:pt x="615742" y="88963"/>
                      </a:cubicBezTo>
                      <a:close/>
                      <a:moveTo>
                        <a:pt x="71744" y="21375"/>
                      </a:moveTo>
                      <a:cubicBezTo>
                        <a:pt x="66445" y="21375"/>
                        <a:pt x="61676" y="26152"/>
                        <a:pt x="61676" y="31460"/>
                      </a:cubicBezTo>
                      <a:lnTo>
                        <a:pt x="61676" y="67588"/>
                      </a:lnTo>
                      <a:lnTo>
                        <a:pt x="281061" y="67588"/>
                      </a:lnTo>
                      <a:lnTo>
                        <a:pt x="281061" y="31460"/>
                      </a:lnTo>
                      <a:cubicBezTo>
                        <a:pt x="281061" y="26152"/>
                        <a:pt x="276292" y="21375"/>
                        <a:pt x="270993" y="21375"/>
                      </a:cubicBezTo>
                      <a:close/>
                      <a:moveTo>
                        <a:pt x="71826" y="0"/>
                      </a:moveTo>
                      <a:lnTo>
                        <a:pt x="271010" y="0"/>
                      </a:lnTo>
                      <a:cubicBezTo>
                        <a:pt x="287962" y="0"/>
                        <a:pt x="302265" y="14369"/>
                        <a:pt x="302265" y="31399"/>
                      </a:cubicBezTo>
                      <a:lnTo>
                        <a:pt x="302265" y="59604"/>
                      </a:lnTo>
                      <a:lnTo>
                        <a:pt x="614285" y="59604"/>
                      </a:lnTo>
                      <a:cubicBezTo>
                        <a:pt x="618788" y="59604"/>
                        <a:pt x="622894" y="61467"/>
                        <a:pt x="625873" y="64461"/>
                      </a:cubicBezTo>
                      <a:lnTo>
                        <a:pt x="629657" y="73573"/>
                      </a:lnTo>
                      <a:lnTo>
                        <a:pt x="639294" y="77692"/>
                      </a:lnTo>
                      <a:cubicBezTo>
                        <a:pt x="645320" y="83940"/>
                        <a:pt x="649029" y="92581"/>
                        <a:pt x="649029" y="102152"/>
                      </a:cubicBezTo>
                      <a:lnTo>
                        <a:pt x="649029" y="467468"/>
                      </a:lnTo>
                      <a:cubicBezTo>
                        <a:pt x="649029" y="486611"/>
                        <a:pt x="634194" y="502032"/>
                        <a:pt x="615651" y="502032"/>
                      </a:cubicBezTo>
                      <a:lnTo>
                        <a:pt x="33379" y="502032"/>
                      </a:lnTo>
                      <a:cubicBezTo>
                        <a:pt x="14835" y="502032"/>
                        <a:pt x="0" y="486611"/>
                        <a:pt x="0" y="467468"/>
                      </a:cubicBezTo>
                      <a:lnTo>
                        <a:pt x="0" y="102152"/>
                      </a:lnTo>
                      <a:cubicBezTo>
                        <a:pt x="0" y="92581"/>
                        <a:pt x="3709" y="83940"/>
                        <a:pt x="9735" y="77692"/>
                      </a:cubicBezTo>
                      <a:lnTo>
                        <a:pt x="19371" y="73574"/>
                      </a:lnTo>
                      <a:lnTo>
                        <a:pt x="23155" y="64461"/>
                      </a:lnTo>
                      <a:cubicBezTo>
                        <a:pt x="26135" y="61467"/>
                        <a:pt x="30241" y="59604"/>
                        <a:pt x="34744" y="59604"/>
                      </a:cubicBezTo>
                      <a:lnTo>
                        <a:pt x="40571" y="59604"/>
                      </a:lnTo>
                      <a:lnTo>
                        <a:pt x="40571" y="31399"/>
                      </a:lnTo>
                      <a:cubicBezTo>
                        <a:pt x="40571" y="14369"/>
                        <a:pt x="54344" y="0"/>
                        <a:pt x="718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noAutofit/>
                </a:bodyPr>
                <a:lstStyle/>
                <a:p>
                  <a:pPr defTabSz="896117">
                    <a:defRPr/>
                  </a:pPr>
                  <a:endParaRPr lang="en-US" sz="1764" kern="0" dirty="0">
                    <a:solidFill>
                      <a:srgbClr val="FFFFFF"/>
                    </a:solidFill>
                  </a:endParaRPr>
                </a:p>
              </p:txBody>
            </p:sp>
          </p:grpSp>
          <p:grpSp>
            <p:nvGrpSpPr>
              <p:cNvPr id="374" name="Group 373"/>
              <p:cNvGrpSpPr/>
              <p:nvPr/>
            </p:nvGrpSpPr>
            <p:grpSpPr>
              <a:xfrm>
                <a:off x="10486805" y="2434267"/>
                <a:ext cx="1302888" cy="1542780"/>
                <a:chOff x="10486805" y="2923046"/>
                <a:chExt cx="1302888" cy="1542780"/>
              </a:xfrm>
            </p:grpSpPr>
            <p:sp>
              <p:nvSpPr>
                <p:cNvPr id="375" name="Rectangle 374"/>
                <p:cNvSpPr/>
                <p:nvPr/>
              </p:nvSpPr>
              <p:spPr bwMode="auto">
                <a:xfrm>
                  <a:off x="10802824" y="2923046"/>
                  <a:ext cx="986869" cy="1542780"/>
                </a:xfrm>
                <a:prstGeom prst="rect">
                  <a:avLst/>
                </a:prstGeom>
                <a:noFill/>
                <a:ln w="9525" cap="flat" cmpd="sng" algn="ctr">
                  <a:solidFill>
                    <a:srgbClr val="FFFFFF">
                      <a:lumMod val="65000"/>
                    </a:srgbClr>
                  </a:solidFill>
                  <a:prstDash val="dash"/>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2352"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6" name="TextBox 375"/>
                <p:cNvSpPr txBox="1"/>
                <p:nvPr/>
              </p:nvSpPr>
              <p:spPr>
                <a:xfrm>
                  <a:off x="11212738" y="3022354"/>
                  <a:ext cx="473389" cy="161553"/>
                </a:xfrm>
                <a:prstGeom prst="rect">
                  <a:avLst/>
                </a:prstGeom>
                <a:noFill/>
              </p:spPr>
              <p:txBody>
                <a:bodyPr wrap="square" lIns="0" tIns="0" rIns="0" bIns="0" rtlCol="0">
                  <a:spAutoFit/>
                </a:bodyPr>
                <a:lstStyle/>
                <a:p>
                  <a:pPr defTabSz="913918">
                    <a:spcBef>
                      <a:spcPct val="0"/>
                    </a:spcBef>
                    <a:spcAft>
                      <a:spcPts val="588"/>
                    </a:spcAft>
                    <a:defRPr/>
                  </a:pPr>
                  <a:r>
                    <a:rPr lang="en-US" sz="1029" kern="0" dirty="0">
                      <a:solidFill>
                        <a:srgbClr val="505050"/>
                      </a:solidFill>
                      <a:cs typeface="Segoe UI Semilight" panose="020B0402040204020203" pitchFamily="34" charset="0"/>
                    </a:rPr>
                    <a:t>Web</a:t>
                  </a:r>
                </a:p>
              </p:txBody>
            </p:sp>
            <p:sp>
              <p:nvSpPr>
                <p:cNvPr id="377" name="TextBox 376"/>
                <p:cNvSpPr txBox="1"/>
                <p:nvPr/>
              </p:nvSpPr>
              <p:spPr>
                <a:xfrm>
                  <a:off x="11212738" y="3571986"/>
                  <a:ext cx="473389" cy="161553"/>
                </a:xfrm>
                <a:prstGeom prst="rect">
                  <a:avLst/>
                </a:prstGeom>
                <a:noFill/>
              </p:spPr>
              <p:txBody>
                <a:bodyPr wrap="square" lIns="0" tIns="0" rIns="0" bIns="0" rtlCol="0">
                  <a:spAutoFit/>
                </a:bodyPr>
                <a:lstStyle/>
                <a:p>
                  <a:pPr defTabSz="913918">
                    <a:spcBef>
                      <a:spcPct val="0"/>
                    </a:spcBef>
                    <a:spcAft>
                      <a:spcPts val="588"/>
                    </a:spcAft>
                    <a:defRPr/>
                  </a:pPr>
                  <a:r>
                    <a:rPr lang="en-US" sz="1029" kern="0" dirty="0">
                      <a:solidFill>
                        <a:srgbClr val="505050"/>
                      </a:solidFill>
                      <a:cs typeface="Segoe UI Semilight" panose="020B0402040204020203" pitchFamily="34" charset="0"/>
                    </a:rPr>
                    <a:t>Mobile</a:t>
                  </a:r>
                </a:p>
              </p:txBody>
            </p:sp>
            <p:sp>
              <p:nvSpPr>
                <p:cNvPr id="378" name="TextBox 377"/>
                <p:cNvSpPr txBox="1"/>
                <p:nvPr/>
              </p:nvSpPr>
              <p:spPr>
                <a:xfrm>
                  <a:off x="11212738" y="4160203"/>
                  <a:ext cx="473389" cy="161553"/>
                </a:xfrm>
                <a:prstGeom prst="rect">
                  <a:avLst/>
                </a:prstGeom>
                <a:noFill/>
              </p:spPr>
              <p:txBody>
                <a:bodyPr wrap="square" lIns="0" tIns="0" rIns="0" bIns="0" rtlCol="0">
                  <a:spAutoFit/>
                </a:bodyPr>
                <a:lstStyle/>
                <a:p>
                  <a:pPr defTabSz="913918">
                    <a:spcBef>
                      <a:spcPct val="0"/>
                    </a:spcBef>
                    <a:spcAft>
                      <a:spcPts val="588"/>
                    </a:spcAft>
                    <a:defRPr/>
                  </a:pPr>
                  <a:r>
                    <a:rPr lang="en-US" sz="1029" kern="0" dirty="0">
                      <a:solidFill>
                        <a:srgbClr val="505050"/>
                      </a:solidFill>
                      <a:cs typeface="Segoe UI Semilight" panose="020B0402040204020203" pitchFamily="34" charset="0"/>
                    </a:rPr>
                    <a:t>Bots</a:t>
                  </a:r>
                </a:p>
              </p:txBody>
            </p:sp>
            <p:sp>
              <p:nvSpPr>
                <p:cNvPr id="379" name="Freeform 378"/>
                <p:cNvSpPr>
                  <a:spLocks noChangeArrowheads="1"/>
                </p:cNvSpPr>
                <p:nvPr/>
              </p:nvSpPr>
              <p:spPr bwMode="auto">
                <a:xfrm>
                  <a:off x="10907711" y="3020740"/>
                  <a:ext cx="187689" cy="187689"/>
                </a:xfrm>
                <a:custGeom>
                  <a:avLst/>
                  <a:gdLst>
                    <a:gd name="connsiteX0" fmla="*/ 2240514 w 3214688"/>
                    <a:gd name="connsiteY0" fmla="*/ 2452692 h 3214688"/>
                    <a:gd name="connsiteX1" fmla="*/ 2164154 w 3214688"/>
                    <a:gd name="connsiteY1" fmla="*/ 2577661 h 3214688"/>
                    <a:gd name="connsiteX2" fmla="*/ 2066550 w 3214688"/>
                    <a:gd name="connsiteY2" fmla="*/ 2716118 h 3214688"/>
                    <a:gd name="connsiteX3" fmla="*/ 1754615 w 3214688"/>
                    <a:gd name="connsiteY3" fmla="*/ 3074168 h 3214688"/>
                    <a:gd name="connsiteX4" fmla="*/ 1740871 w 3214688"/>
                    <a:gd name="connsiteY4" fmla="*/ 3087292 h 3214688"/>
                    <a:gd name="connsiteX5" fmla="*/ 1759187 w 3214688"/>
                    <a:gd name="connsiteY5" fmla="*/ 3086367 h 3214688"/>
                    <a:gd name="connsiteX6" fmla="*/ 2552008 w 3214688"/>
                    <a:gd name="connsiteY6" fmla="*/ 2754731 h 3214688"/>
                    <a:gd name="connsiteX7" fmla="*/ 2647815 w 3214688"/>
                    <a:gd name="connsiteY7" fmla="*/ 2667609 h 3214688"/>
                    <a:gd name="connsiteX8" fmla="*/ 2533366 w 3214688"/>
                    <a:gd name="connsiteY8" fmla="*/ 2587696 h 3214688"/>
                    <a:gd name="connsiteX9" fmla="*/ 2342448 w 3214688"/>
                    <a:gd name="connsiteY9" fmla="*/ 2491033 h 3214688"/>
                    <a:gd name="connsiteX10" fmla="*/ 974642 w 3214688"/>
                    <a:gd name="connsiteY10" fmla="*/ 2452516 h 3214688"/>
                    <a:gd name="connsiteX11" fmla="*/ 872242 w 3214688"/>
                    <a:gd name="connsiteY11" fmla="*/ 2491033 h 3214688"/>
                    <a:gd name="connsiteX12" fmla="*/ 681324 w 3214688"/>
                    <a:gd name="connsiteY12" fmla="*/ 2587696 h 3214688"/>
                    <a:gd name="connsiteX13" fmla="*/ 566873 w 3214688"/>
                    <a:gd name="connsiteY13" fmla="*/ 2667611 h 3214688"/>
                    <a:gd name="connsiteX14" fmla="*/ 662678 w 3214688"/>
                    <a:gd name="connsiteY14" fmla="*/ 2754731 h 3214688"/>
                    <a:gd name="connsiteX15" fmla="*/ 1455500 w 3214688"/>
                    <a:gd name="connsiteY15" fmla="*/ 3086367 h 3214688"/>
                    <a:gd name="connsiteX16" fmla="*/ 1473960 w 3214688"/>
                    <a:gd name="connsiteY16" fmla="*/ 3087299 h 3214688"/>
                    <a:gd name="connsiteX17" fmla="*/ 1460208 w 3214688"/>
                    <a:gd name="connsiteY17" fmla="*/ 3074168 h 3214688"/>
                    <a:gd name="connsiteX18" fmla="*/ 1148273 w 3214688"/>
                    <a:gd name="connsiteY18" fmla="*/ 2716118 h 3214688"/>
                    <a:gd name="connsiteX19" fmla="*/ 1050800 w 3214688"/>
                    <a:gd name="connsiteY19" fmla="*/ 2577661 h 3214688"/>
                    <a:gd name="connsiteX20" fmla="*/ 1668463 w 3214688"/>
                    <a:gd name="connsiteY20" fmla="*/ 2349078 h 3214688"/>
                    <a:gd name="connsiteX21" fmla="*/ 1668463 w 3214688"/>
                    <a:gd name="connsiteY21" fmla="*/ 2987045 h 3214688"/>
                    <a:gd name="connsiteX22" fmla="*/ 1686282 w 3214688"/>
                    <a:gd name="connsiteY22" fmla="*/ 2969732 h 3214688"/>
                    <a:gd name="connsiteX23" fmla="*/ 2047573 w 3214688"/>
                    <a:gd name="connsiteY23" fmla="*/ 2532767 h 3214688"/>
                    <a:gd name="connsiteX24" fmla="*/ 2118389 w 3214688"/>
                    <a:gd name="connsiteY24" fmla="*/ 2414793 h 3214688"/>
                    <a:gd name="connsiteX25" fmla="*/ 2062644 w 3214688"/>
                    <a:gd name="connsiteY25" fmla="*/ 2398957 h 3214688"/>
                    <a:gd name="connsiteX26" fmla="*/ 1838838 w 3214688"/>
                    <a:gd name="connsiteY26" fmla="*/ 2359062 h 3214688"/>
                    <a:gd name="connsiteX27" fmla="*/ 1546226 w 3214688"/>
                    <a:gd name="connsiteY27" fmla="*/ 2349078 h 3214688"/>
                    <a:gd name="connsiteX28" fmla="*/ 1375851 w 3214688"/>
                    <a:gd name="connsiteY28" fmla="*/ 2359062 h 3214688"/>
                    <a:gd name="connsiteX29" fmla="*/ 1152046 w 3214688"/>
                    <a:gd name="connsiteY29" fmla="*/ 2398957 h 3214688"/>
                    <a:gd name="connsiteX30" fmla="*/ 1097994 w 3214688"/>
                    <a:gd name="connsiteY30" fmla="*/ 2414312 h 3214688"/>
                    <a:gd name="connsiteX31" fmla="*/ 1168773 w 3214688"/>
                    <a:gd name="connsiteY31" fmla="*/ 2532767 h 3214688"/>
                    <a:gd name="connsiteX32" fmla="*/ 1528675 w 3214688"/>
                    <a:gd name="connsiteY32" fmla="*/ 2969732 h 3214688"/>
                    <a:gd name="connsiteX33" fmla="*/ 1546226 w 3214688"/>
                    <a:gd name="connsiteY33" fmla="*/ 2986822 h 3214688"/>
                    <a:gd name="connsiteX34" fmla="*/ 2486262 w 3214688"/>
                    <a:gd name="connsiteY34" fmla="*/ 1668463 h 3214688"/>
                    <a:gd name="connsiteX35" fmla="*/ 2482389 w 3214688"/>
                    <a:gd name="connsiteY35" fmla="*/ 1744921 h 3214688"/>
                    <a:gd name="connsiteX36" fmla="*/ 2321876 w 3214688"/>
                    <a:gd name="connsiteY36" fmla="*/ 2298467 h 3214688"/>
                    <a:gd name="connsiteX37" fmla="*/ 2297383 w 3214688"/>
                    <a:gd name="connsiteY37" fmla="*/ 2345664 h 3214688"/>
                    <a:gd name="connsiteX38" fmla="*/ 2392218 w 3214688"/>
                    <a:gd name="connsiteY38" fmla="*/ 2381629 h 3214688"/>
                    <a:gd name="connsiteX39" fmla="*/ 2596737 w 3214688"/>
                    <a:gd name="connsiteY39" fmla="*/ 2485449 h 3214688"/>
                    <a:gd name="connsiteX40" fmla="*/ 2730520 w 3214688"/>
                    <a:gd name="connsiteY40" fmla="*/ 2578412 h 3214688"/>
                    <a:gd name="connsiteX41" fmla="*/ 2753323 w 3214688"/>
                    <a:gd name="connsiteY41" fmla="*/ 2553309 h 3214688"/>
                    <a:gd name="connsiteX42" fmla="*/ 3084782 w 3214688"/>
                    <a:gd name="connsiteY42" fmla="*/ 1760063 h 3214688"/>
                    <a:gd name="connsiteX43" fmla="*/ 3089405 w 3214688"/>
                    <a:gd name="connsiteY43" fmla="*/ 1668463 h 3214688"/>
                    <a:gd name="connsiteX44" fmla="*/ 1668463 w 3214688"/>
                    <a:gd name="connsiteY44" fmla="*/ 1668463 h 3214688"/>
                    <a:gd name="connsiteX45" fmla="*/ 1668463 w 3214688"/>
                    <a:gd name="connsiteY45" fmla="*/ 2227749 h 3214688"/>
                    <a:gd name="connsiteX46" fmla="*/ 1854174 w 3214688"/>
                    <a:gd name="connsiteY46" fmla="*/ 2238874 h 3214688"/>
                    <a:gd name="connsiteX47" fmla="*/ 2093075 w 3214688"/>
                    <a:gd name="connsiteY47" fmla="*/ 2282190 h 3214688"/>
                    <a:gd name="connsiteX48" fmla="*/ 2180461 w 3214688"/>
                    <a:gd name="connsiteY48" fmla="*/ 2307322 h 3214688"/>
                    <a:gd name="connsiteX49" fmla="*/ 2223231 w 3214688"/>
                    <a:gd name="connsiteY49" fmla="*/ 2220775 h 3214688"/>
                    <a:gd name="connsiteX50" fmla="*/ 2360202 w 3214688"/>
                    <a:gd name="connsiteY50" fmla="*/ 1739141 h 3214688"/>
                    <a:gd name="connsiteX51" fmla="*/ 2363915 w 3214688"/>
                    <a:gd name="connsiteY51" fmla="*/ 1668463 h 3214688"/>
                    <a:gd name="connsiteX52" fmla="*/ 853934 w 3214688"/>
                    <a:gd name="connsiteY52" fmla="*/ 1668463 h 3214688"/>
                    <a:gd name="connsiteX53" fmla="*/ 857628 w 3214688"/>
                    <a:gd name="connsiteY53" fmla="*/ 1739141 h 3214688"/>
                    <a:gd name="connsiteX54" fmla="*/ 993929 w 3214688"/>
                    <a:gd name="connsiteY54" fmla="*/ 2220775 h 3214688"/>
                    <a:gd name="connsiteX55" fmla="*/ 1036215 w 3214688"/>
                    <a:gd name="connsiteY55" fmla="*/ 2306750 h 3214688"/>
                    <a:gd name="connsiteX56" fmla="*/ 1121614 w 3214688"/>
                    <a:gd name="connsiteY56" fmla="*/ 2282190 h 3214688"/>
                    <a:gd name="connsiteX57" fmla="*/ 1360516 w 3214688"/>
                    <a:gd name="connsiteY57" fmla="*/ 2238874 h 3214688"/>
                    <a:gd name="connsiteX58" fmla="*/ 1546226 w 3214688"/>
                    <a:gd name="connsiteY58" fmla="*/ 2227749 h 3214688"/>
                    <a:gd name="connsiteX59" fmla="*/ 1546226 w 3214688"/>
                    <a:gd name="connsiteY59" fmla="*/ 1668463 h 3214688"/>
                    <a:gd name="connsiteX60" fmla="*/ 125282 w 3214688"/>
                    <a:gd name="connsiteY60" fmla="*/ 1668463 h 3214688"/>
                    <a:gd name="connsiteX61" fmla="*/ 129905 w 3214688"/>
                    <a:gd name="connsiteY61" fmla="*/ 1760063 h 3214688"/>
                    <a:gd name="connsiteX62" fmla="*/ 461363 w 3214688"/>
                    <a:gd name="connsiteY62" fmla="*/ 2553309 h 3214688"/>
                    <a:gd name="connsiteX63" fmla="*/ 484168 w 3214688"/>
                    <a:gd name="connsiteY63" fmla="*/ 2578414 h 3214688"/>
                    <a:gd name="connsiteX64" fmla="*/ 617953 w 3214688"/>
                    <a:gd name="connsiteY64" fmla="*/ 2485449 h 3214688"/>
                    <a:gd name="connsiteX65" fmla="*/ 822472 w 3214688"/>
                    <a:gd name="connsiteY65" fmla="*/ 2381629 h 3214688"/>
                    <a:gd name="connsiteX66" fmla="*/ 918086 w 3214688"/>
                    <a:gd name="connsiteY66" fmla="*/ 2345368 h 3214688"/>
                    <a:gd name="connsiteX67" fmla="*/ 893910 w 3214688"/>
                    <a:gd name="connsiteY67" fmla="*/ 2298467 h 3214688"/>
                    <a:gd name="connsiteX68" fmla="*/ 735344 w 3214688"/>
                    <a:gd name="connsiteY68" fmla="*/ 1744921 h 3214688"/>
                    <a:gd name="connsiteX69" fmla="*/ 731546 w 3214688"/>
                    <a:gd name="connsiteY69" fmla="*/ 1668463 h 3214688"/>
                    <a:gd name="connsiteX70" fmla="*/ 1036436 w 3214688"/>
                    <a:gd name="connsiteY70" fmla="*/ 911460 h 3214688"/>
                    <a:gd name="connsiteX71" fmla="*/ 993929 w 3214688"/>
                    <a:gd name="connsiteY71" fmla="*/ 998077 h 3214688"/>
                    <a:gd name="connsiteX72" fmla="*/ 857628 w 3214688"/>
                    <a:gd name="connsiteY72" fmla="*/ 1481228 h 3214688"/>
                    <a:gd name="connsiteX73" fmla="*/ 854245 w 3214688"/>
                    <a:gd name="connsiteY73" fmla="*/ 1546225 h 3214688"/>
                    <a:gd name="connsiteX74" fmla="*/ 1546226 w 3214688"/>
                    <a:gd name="connsiteY74" fmla="*/ 1546225 h 3214688"/>
                    <a:gd name="connsiteX75" fmla="*/ 1546226 w 3214688"/>
                    <a:gd name="connsiteY75" fmla="*/ 990118 h 3214688"/>
                    <a:gd name="connsiteX76" fmla="*/ 1360255 w 3214688"/>
                    <a:gd name="connsiteY76" fmla="*/ 978989 h 3214688"/>
                    <a:gd name="connsiteX77" fmla="*/ 1120814 w 3214688"/>
                    <a:gd name="connsiteY77" fmla="*/ 935673 h 3214688"/>
                    <a:gd name="connsiteX78" fmla="*/ 2180241 w 3214688"/>
                    <a:gd name="connsiteY78" fmla="*/ 910890 h 3214688"/>
                    <a:gd name="connsiteX79" fmla="*/ 2093876 w 3214688"/>
                    <a:gd name="connsiteY79" fmla="*/ 935673 h 3214688"/>
                    <a:gd name="connsiteX80" fmla="*/ 1854434 w 3214688"/>
                    <a:gd name="connsiteY80" fmla="*/ 978989 h 3214688"/>
                    <a:gd name="connsiteX81" fmla="*/ 1668463 w 3214688"/>
                    <a:gd name="connsiteY81" fmla="*/ 990118 h 3214688"/>
                    <a:gd name="connsiteX82" fmla="*/ 1668463 w 3214688"/>
                    <a:gd name="connsiteY82" fmla="*/ 1546225 h 3214688"/>
                    <a:gd name="connsiteX83" fmla="*/ 2363603 w 3214688"/>
                    <a:gd name="connsiteY83" fmla="*/ 1546225 h 3214688"/>
                    <a:gd name="connsiteX84" fmla="*/ 2360202 w 3214688"/>
                    <a:gd name="connsiteY84" fmla="*/ 1481228 h 3214688"/>
                    <a:gd name="connsiteX85" fmla="*/ 2223231 w 3214688"/>
                    <a:gd name="connsiteY85" fmla="*/ 998077 h 3214688"/>
                    <a:gd name="connsiteX86" fmla="*/ 2731519 w 3214688"/>
                    <a:gd name="connsiteY86" fmla="*/ 638964 h 3214688"/>
                    <a:gd name="connsiteX87" fmla="*/ 2597865 w 3214688"/>
                    <a:gd name="connsiteY87" fmla="*/ 732415 h 3214688"/>
                    <a:gd name="connsiteX88" fmla="*/ 2393553 w 3214688"/>
                    <a:gd name="connsiteY88" fmla="*/ 836234 h 3214688"/>
                    <a:gd name="connsiteX89" fmla="*/ 2297528 w 3214688"/>
                    <a:gd name="connsiteY89" fmla="*/ 872602 h 3214688"/>
                    <a:gd name="connsiteX90" fmla="*/ 2321876 w 3214688"/>
                    <a:gd name="connsiteY90" fmla="*/ 919557 h 3214688"/>
                    <a:gd name="connsiteX91" fmla="*/ 2482389 w 3214688"/>
                    <a:gd name="connsiteY91" fmla="*/ 1474977 h 3214688"/>
                    <a:gd name="connsiteX92" fmla="*/ 2485971 w 3214688"/>
                    <a:gd name="connsiteY92" fmla="*/ 1546225 h 3214688"/>
                    <a:gd name="connsiteX93" fmla="*/ 3089325 w 3214688"/>
                    <a:gd name="connsiteY93" fmla="*/ 1546225 h 3214688"/>
                    <a:gd name="connsiteX94" fmla="*/ 3084782 w 3214688"/>
                    <a:gd name="connsiteY94" fmla="*/ 1456213 h 3214688"/>
                    <a:gd name="connsiteX95" fmla="*/ 2753323 w 3214688"/>
                    <a:gd name="connsiteY95" fmla="*/ 662968 h 3214688"/>
                    <a:gd name="connsiteX96" fmla="*/ 483169 w 3214688"/>
                    <a:gd name="connsiteY96" fmla="*/ 638963 h 3214688"/>
                    <a:gd name="connsiteX97" fmla="*/ 461363 w 3214688"/>
                    <a:gd name="connsiteY97" fmla="*/ 662968 h 3214688"/>
                    <a:gd name="connsiteX98" fmla="*/ 129905 w 3214688"/>
                    <a:gd name="connsiteY98" fmla="*/ 1456213 h 3214688"/>
                    <a:gd name="connsiteX99" fmla="*/ 125362 w 3214688"/>
                    <a:gd name="connsiteY99" fmla="*/ 1546225 h 3214688"/>
                    <a:gd name="connsiteX100" fmla="*/ 731831 w 3214688"/>
                    <a:gd name="connsiteY100" fmla="*/ 1546225 h 3214688"/>
                    <a:gd name="connsiteX101" fmla="*/ 735344 w 3214688"/>
                    <a:gd name="connsiteY101" fmla="*/ 1474977 h 3214688"/>
                    <a:gd name="connsiteX102" fmla="*/ 893910 w 3214688"/>
                    <a:gd name="connsiteY102" fmla="*/ 919557 h 3214688"/>
                    <a:gd name="connsiteX103" fmla="*/ 917942 w 3214688"/>
                    <a:gd name="connsiteY103" fmla="*/ 872897 h 3214688"/>
                    <a:gd name="connsiteX104" fmla="*/ 821137 w 3214688"/>
                    <a:gd name="connsiteY104" fmla="*/ 836234 h 3214688"/>
                    <a:gd name="connsiteX105" fmla="*/ 616825 w 3214688"/>
                    <a:gd name="connsiteY105" fmla="*/ 732415 h 3214688"/>
                    <a:gd name="connsiteX106" fmla="*/ 1546226 w 3214688"/>
                    <a:gd name="connsiteY106" fmla="*/ 231046 h 3214688"/>
                    <a:gd name="connsiteX107" fmla="*/ 1528675 w 3214688"/>
                    <a:gd name="connsiteY107" fmla="*/ 248139 h 3214688"/>
                    <a:gd name="connsiteX108" fmla="*/ 1168773 w 3214688"/>
                    <a:gd name="connsiteY108" fmla="*/ 685478 h 3214688"/>
                    <a:gd name="connsiteX109" fmla="*/ 1098769 w 3214688"/>
                    <a:gd name="connsiteY109" fmla="*/ 802845 h 3214688"/>
                    <a:gd name="connsiteX110" fmla="*/ 1152046 w 3214688"/>
                    <a:gd name="connsiteY110" fmla="*/ 818106 h 3214688"/>
                    <a:gd name="connsiteX111" fmla="*/ 1375851 w 3214688"/>
                    <a:gd name="connsiteY111" fmla="*/ 858541 h 3214688"/>
                    <a:gd name="connsiteX112" fmla="*/ 1546226 w 3214688"/>
                    <a:gd name="connsiteY112" fmla="*/ 868716 h 3214688"/>
                    <a:gd name="connsiteX113" fmla="*/ 1668463 w 3214688"/>
                    <a:gd name="connsiteY113" fmla="*/ 230823 h 3214688"/>
                    <a:gd name="connsiteX114" fmla="*/ 1668463 w 3214688"/>
                    <a:gd name="connsiteY114" fmla="*/ 868716 h 3214688"/>
                    <a:gd name="connsiteX115" fmla="*/ 1838838 w 3214688"/>
                    <a:gd name="connsiteY115" fmla="*/ 858541 h 3214688"/>
                    <a:gd name="connsiteX116" fmla="*/ 2062644 w 3214688"/>
                    <a:gd name="connsiteY116" fmla="*/ 818106 h 3214688"/>
                    <a:gd name="connsiteX117" fmla="*/ 2117610 w 3214688"/>
                    <a:gd name="connsiteY117" fmla="*/ 802362 h 3214688"/>
                    <a:gd name="connsiteX118" fmla="*/ 2047573 w 3214688"/>
                    <a:gd name="connsiteY118" fmla="*/ 685478 h 3214688"/>
                    <a:gd name="connsiteX119" fmla="*/ 1686282 w 3214688"/>
                    <a:gd name="connsiteY119" fmla="*/ 248139 h 3214688"/>
                    <a:gd name="connsiteX120" fmla="*/ 1739116 w 3214688"/>
                    <a:gd name="connsiteY120" fmla="*/ 128896 h 3214688"/>
                    <a:gd name="connsiteX121" fmla="*/ 1754615 w 3214688"/>
                    <a:gd name="connsiteY121" fmla="*/ 143696 h 3214688"/>
                    <a:gd name="connsiteX122" fmla="*/ 2066550 w 3214688"/>
                    <a:gd name="connsiteY122" fmla="*/ 501745 h 3214688"/>
                    <a:gd name="connsiteX123" fmla="*/ 2164154 w 3214688"/>
                    <a:gd name="connsiteY123" fmla="*/ 640209 h 3214688"/>
                    <a:gd name="connsiteX124" fmla="*/ 2239903 w 3214688"/>
                    <a:gd name="connsiteY124" fmla="*/ 764214 h 3214688"/>
                    <a:gd name="connsiteX125" fmla="*/ 2342448 w 3214688"/>
                    <a:gd name="connsiteY125" fmla="*/ 725496 h 3214688"/>
                    <a:gd name="connsiteX126" fmla="*/ 2533366 w 3214688"/>
                    <a:gd name="connsiteY126" fmla="*/ 629040 h 3214688"/>
                    <a:gd name="connsiteX127" fmla="*/ 2648575 w 3214688"/>
                    <a:gd name="connsiteY127" fmla="*/ 549358 h 3214688"/>
                    <a:gd name="connsiteX128" fmla="*/ 2552008 w 3214688"/>
                    <a:gd name="connsiteY128" fmla="*/ 461545 h 3214688"/>
                    <a:gd name="connsiteX129" fmla="*/ 1759187 w 3214688"/>
                    <a:gd name="connsiteY129" fmla="*/ 129910 h 3214688"/>
                    <a:gd name="connsiteX130" fmla="*/ 1475715 w 3214688"/>
                    <a:gd name="connsiteY130" fmla="*/ 128888 h 3214688"/>
                    <a:gd name="connsiteX131" fmla="*/ 1455500 w 3214688"/>
                    <a:gd name="connsiteY131" fmla="*/ 129910 h 3214688"/>
                    <a:gd name="connsiteX132" fmla="*/ 662678 w 3214688"/>
                    <a:gd name="connsiteY132" fmla="*/ 461545 h 3214688"/>
                    <a:gd name="connsiteX133" fmla="*/ 566113 w 3214688"/>
                    <a:gd name="connsiteY133" fmla="*/ 549357 h 3214688"/>
                    <a:gd name="connsiteX134" fmla="*/ 681324 w 3214688"/>
                    <a:gd name="connsiteY134" fmla="*/ 629040 h 3214688"/>
                    <a:gd name="connsiteX135" fmla="*/ 872242 w 3214688"/>
                    <a:gd name="connsiteY135" fmla="*/ 725496 h 3214688"/>
                    <a:gd name="connsiteX136" fmla="*/ 975251 w 3214688"/>
                    <a:gd name="connsiteY136" fmla="*/ 764389 h 3214688"/>
                    <a:gd name="connsiteX137" fmla="*/ 1050800 w 3214688"/>
                    <a:gd name="connsiteY137" fmla="*/ 640209 h 3214688"/>
                    <a:gd name="connsiteX138" fmla="*/ 1148273 w 3214688"/>
                    <a:gd name="connsiteY138" fmla="*/ 501745 h 3214688"/>
                    <a:gd name="connsiteX139" fmla="*/ 1460208 w 3214688"/>
                    <a:gd name="connsiteY139" fmla="*/ 143696 h 3214688"/>
                    <a:gd name="connsiteX140" fmla="*/ 1607344 w 3214688"/>
                    <a:gd name="connsiteY140" fmla="*/ 0 h 3214688"/>
                    <a:gd name="connsiteX141" fmla="*/ 3214688 w 3214688"/>
                    <a:gd name="connsiteY141" fmla="*/ 1607344 h 3214688"/>
                    <a:gd name="connsiteX142" fmla="*/ 1607344 w 3214688"/>
                    <a:gd name="connsiteY142" fmla="*/ 3214688 h 3214688"/>
                    <a:gd name="connsiteX143" fmla="*/ 0 w 3214688"/>
                    <a:gd name="connsiteY143" fmla="*/ 1607344 h 3214688"/>
                    <a:gd name="connsiteX144" fmla="*/ 1607344 w 3214688"/>
                    <a:gd name="connsiteY144" fmla="*/ 0 h 321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3214688" h="3214688">
                      <a:moveTo>
                        <a:pt x="2240514" y="2452692"/>
                      </a:moveTo>
                      <a:lnTo>
                        <a:pt x="2164154" y="2577661"/>
                      </a:lnTo>
                      <a:cubicBezTo>
                        <a:pt x="2133682" y="2623995"/>
                        <a:pt x="2101138" y="2670175"/>
                        <a:pt x="2066550" y="2716118"/>
                      </a:cubicBezTo>
                      <a:cubicBezTo>
                        <a:pt x="1950245" y="2873312"/>
                        <a:pt x="1834903" y="2995905"/>
                        <a:pt x="1754615" y="3074168"/>
                      </a:cubicBezTo>
                      <a:lnTo>
                        <a:pt x="1740871" y="3087292"/>
                      </a:lnTo>
                      <a:lnTo>
                        <a:pt x="1759187" y="3086367"/>
                      </a:lnTo>
                      <a:cubicBezTo>
                        <a:pt x="2058736" y="3055930"/>
                        <a:pt x="2331968" y="2936422"/>
                        <a:pt x="2552008" y="2754731"/>
                      </a:cubicBezTo>
                      <a:lnTo>
                        <a:pt x="2647815" y="2667609"/>
                      </a:lnTo>
                      <a:lnTo>
                        <a:pt x="2533366" y="2587696"/>
                      </a:lnTo>
                      <a:cubicBezTo>
                        <a:pt x="2472930" y="2551687"/>
                        <a:pt x="2409077" y="2519400"/>
                        <a:pt x="2342448" y="2491033"/>
                      </a:cubicBezTo>
                      <a:close/>
                      <a:moveTo>
                        <a:pt x="974642" y="2452516"/>
                      </a:moveTo>
                      <a:lnTo>
                        <a:pt x="872242" y="2491033"/>
                      </a:lnTo>
                      <a:cubicBezTo>
                        <a:pt x="805613" y="2519400"/>
                        <a:pt x="741760" y="2551687"/>
                        <a:pt x="681324" y="2587696"/>
                      </a:cubicBezTo>
                      <a:lnTo>
                        <a:pt x="566873" y="2667611"/>
                      </a:lnTo>
                      <a:lnTo>
                        <a:pt x="662678" y="2754731"/>
                      </a:lnTo>
                      <a:cubicBezTo>
                        <a:pt x="882719" y="2936422"/>
                        <a:pt x="1155951" y="3055930"/>
                        <a:pt x="1455500" y="3086367"/>
                      </a:cubicBezTo>
                      <a:lnTo>
                        <a:pt x="1473960" y="3087299"/>
                      </a:lnTo>
                      <a:lnTo>
                        <a:pt x="1460208" y="3074168"/>
                      </a:lnTo>
                      <a:cubicBezTo>
                        <a:pt x="1379921" y="2995905"/>
                        <a:pt x="1264578" y="2873312"/>
                        <a:pt x="1148273" y="2716118"/>
                      </a:cubicBezTo>
                      <a:cubicBezTo>
                        <a:pt x="1113686" y="2670175"/>
                        <a:pt x="1081189" y="2623995"/>
                        <a:pt x="1050800" y="2577661"/>
                      </a:cubicBezTo>
                      <a:close/>
                      <a:moveTo>
                        <a:pt x="1668463" y="2349078"/>
                      </a:moveTo>
                      <a:lnTo>
                        <a:pt x="1668463" y="2987045"/>
                      </a:lnTo>
                      <a:lnTo>
                        <a:pt x="1686282" y="2969732"/>
                      </a:lnTo>
                      <a:cubicBezTo>
                        <a:pt x="1781612" y="2874931"/>
                        <a:pt x="1920253" y="2723080"/>
                        <a:pt x="2047573" y="2532767"/>
                      </a:cubicBezTo>
                      <a:lnTo>
                        <a:pt x="2118389" y="2414793"/>
                      </a:lnTo>
                      <a:lnTo>
                        <a:pt x="2062644" y="2398957"/>
                      </a:lnTo>
                      <a:cubicBezTo>
                        <a:pt x="1989750" y="2381404"/>
                        <a:pt x="1914935" y="2368039"/>
                        <a:pt x="1838838" y="2359062"/>
                      </a:cubicBezTo>
                      <a:close/>
                      <a:moveTo>
                        <a:pt x="1546226" y="2349078"/>
                      </a:moveTo>
                      <a:lnTo>
                        <a:pt x="1375851" y="2359062"/>
                      </a:lnTo>
                      <a:cubicBezTo>
                        <a:pt x="1299755" y="2368039"/>
                        <a:pt x="1224940" y="2381404"/>
                        <a:pt x="1152046" y="2398957"/>
                      </a:cubicBezTo>
                      <a:lnTo>
                        <a:pt x="1097994" y="2414312"/>
                      </a:lnTo>
                      <a:lnTo>
                        <a:pt x="1168773" y="2532767"/>
                      </a:lnTo>
                      <a:cubicBezTo>
                        <a:pt x="1295523" y="2723080"/>
                        <a:pt x="1433595" y="2874931"/>
                        <a:pt x="1528675" y="2969732"/>
                      </a:cubicBezTo>
                      <a:lnTo>
                        <a:pt x="1546226" y="2986822"/>
                      </a:lnTo>
                      <a:close/>
                      <a:moveTo>
                        <a:pt x="2486262" y="1668463"/>
                      </a:moveTo>
                      <a:lnTo>
                        <a:pt x="2482389" y="1744921"/>
                      </a:lnTo>
                      <a:cubicBezTo>
                        <a:pt x="2464263" y="1925703"/>
                        <a:pt x="2410126" y="2111990"/>
                        <a:pt x="2321876" y="2298467"/>
                      </a:cubicBezTo>
                      <a:lnTo>
                        <a:pt x="2297383" y="2345664"/>
                      </a:lnTo>
                      <a:lnTo>
                        <a:pt x="2392218" y="2381629"/>
                      </a:lnTo>
                      <a:cubicBezTo>
                        <a:pt x="2463528" y="2412174"/>
                        <a:pt x="2531927" y="2446867"/>
                        <a:pt x="2596737" y="2485449"/>
                      </a:cubicBezTo>
                      <a:lnTo>
                        <a:pt x="2730520" y="2578412"/>
                      </a:lnTo>
                      <a:lnTo>
                        <a:pt x="2753323" y="2553309"/>
                      </a:lnTo>
                      <a:cubicBezTo>
                        <a:pt x="2934917" y="2333150"/>
                        <a:pt x="3054361" y="2059772"/>
                        <a:pt x="3084782" y="1760063"/>
                      </a:cubicBezTo>
                      <a:lnTo>
                        <a:pt x="3089405" y="1668463"/>
                      </a:lnTo>
                      <a:close/>
                      <a:moveTo>
                        <a:pt x="1668463" y="1668463"/>
                      </a:moveTo>
                      <a:lnTo>
                        <a:pt x="1668463" y="2227749"/>
                      </a:lnTo>
                      <a:lnTo>
                        <a:pt x="1854174" y="2238874"/>
                      </a:lnTo>
                      <a:cubicBezTo>
                        <a:pt x="1935356" y="2248644"/>
                        <a:pt x="2015217" y="2263170"/>
                        <a:pt x="2093075" y="2282190"/>
                      </a:cubicBezTo>
                      <a:lnTo>
                        <a:pt x="2180461" y="2307322"/>
                      </a:lnTo>
                      <a:lnTo>
                        <a:pt x="2223231" y="2220775"/>
                      </a:lnTo>
                      <a:cubicBezTo>
                        <a:pt x="2291457" y="2071357"/>
                        <a:pt x="2342510" y="1908976"/>
                        <a:pt x="2360202" y="1739141"/>
                      </a:cubicBezTo>
                      <a:lnTo>
                        <a:pt x="2363915" y="1668463"/>
                      </a:lnTo>
                      <a:close/>
                      <a:moveTo>
                        <a:pt x="853934" y="1668463"/>
                      </a:moveTo>
                      <a:lnTo>
                        <a:pt x="857628" y="1739141"/>
                      </a:lnTo>
                      <a:cubicBezTo>
                        <a:pt x="875231" y="1908976"/>
                        <a:pt x="926029" y="2071357"/>
                        <a:pt x="993929" y="2220775"/>
                      </a:cubicBezTo>
                      <a:lnTo>
                        <a:pt x="1036215" y="2306750"/>
                      </a:lnTo>
                      <a:lnTo>
                        <a:pt x="1121614" y="2282190"/>
                      </a:lnTo>
                      <a:cubicBezTo>
                        <a:pt x="1199473" y="2263170"/>
                        <a:pt x="1279334" y="2248644"/>
                        <a:pt x="1360516" y="2238874"/>
                      </a:cubicBezTo>
                      <a:lnTo>
                        <a:pt x="1546226" y="2227749"/>
                      </a:lnTo>
                      <a:lnTo>
                        <a:pt x="1546226" y="1668463"/>
                      </a:lnTo>
                      <a:close/>
                      <a:moveTo>
                        <a:pt x="125282" y="1668463"/>
                      </a:moveTo>
                      <a:lnTo>
                        <a:pt x="129905" y="1760063"/>
                      </a:lnTo>
                      <a:cubicBezTo>
                        <a:pt x="160326" y="2059772"/>
                        <a:pt x="279770" y="2333150"/>
                        <a:pt x="461363" y="2553309"/>
                      </a:cubicBezTo>
                      <a:lnTo>
                        <a:pt x="484168" y="2578414"/>
                      </a:lnTo>
                      <a:lnTo>
                        <a:pt x="617953" y="2485449"/>
                      </a:lnTo>
                      <a:cubicBezTo>
                        <a:pt x="682763" y="2446867"/>
                        <a:pt x="751163" y="2412174"/>
                        <a:pt x="822472" y="2381629"/>
                      </a:cubicBezTo>
                      <a:lnTo>
                        <a:pt x="918086" y="2345368"/>
                      </a:lnTo>
                      <a:lnTo>
                        <a:pt x="893910" y="2298467"/>
                      </a:lnTo>
                      <a:cubicBezTo>
                        <a:pt x="806372" y="2111990"/>
                        <a:pt x="753137" y="1925703"/>
                        <a:pt x="735344" y="1744921"/>
                      </a:cubicBezTo>
                      <a:lnTo>
                        <a:pt x="731546" y="1668463"/>
                      </a:lnTo>
                      <a:close/>
                      <a:moveTo>
                        <a:pt x="1036436" y="911460"/>
                      </a:moveTo>
                      <a:lnTo>
                        <a:pt x="993929" y="998077"/>
                      </a:lnTo>
                      <a:cubicBezTo>
                        <a:pt x="926029" y="1147854"/>
                        <a:pt x="875231" y="1310725"/>
                        <a:pt x="857628" y="1481228"/>
                      </a:cubicBezTo>
                      <a:lnTo>
                        <a:pt x="854245" y="1546225"/>
                      </a:lnTo>
                      <a:lnTo>
                        <a:pt x="1546226" y="1546225"/>
                      </a:lnTo>
                      <a:lnTo>
                        <a:pt x="1546226" y="990118"/>
                      </a:lnTo>
                      <a:lnTo>
                        <a:pt x="1360255" y="978989"/>
                      </a:lnTo>
                      <a:cubicBezTo>
                        <a:pt x="1278920" y="969219"/>
                        <a:pt x="1198859" y="954694"/>
                        <a:pt x="1120814" y="935673"/>
                      </a:cubicBezTo>
                      <a:close/>
                      <a:moveTo>
                        <a:pt x="2180241" y="910890"/>
                      </a:moveTo>
                      <a:lnTo>
                        <a:pt x="2093876" y="935673"/>
                      </a:lnTo>
                      <a:cubicBezTo>
                        <a:pt x="2015831" y="954694"/>
                        <a:pt x="1935770" y="969219"/>
                        <a:pt x="1854434" y="978989"/>
                      </a:cubicBezTo>
                      <a:lnTo>
                        <a:pt x="1668463" y="990118"/>
                      </a:lnTo>
                      <a:lnTo>
                        <a:pt x="1668463" y="1546225"/>
                      </a:lnTo>
                      <a:lnTo>
                        <a:pt x="2363603" y="1546225"/>
                      </a:lnTo>
                      <a:lnTo>
                        <a:pt x="2360202" y="1481228"/>
                      </a:lnTo>
                      <a:cubicBezTo>
                        <a:pt x="2342510" y="1310725"/>
                        <a:pt x="2291457" y="1147854"/>
                        <a:pt x="2223231" y="998077"/>
                      </a:cubicBezTo>
                      <a:close/>
                      <a:moveTo>
                        <a:pt x="2731519" y="638964"/>
                      </a:moveTo>
                      <a:lnTo>
                        <a:pt x="2597865" y="732415"/>
                      </a:lnTo>
                      <a:cubicBezTo>
                        <a:pt x="2533258" y="770996"/>
                        <a:pt x="2464907" y="805689"/>
                        <a:pt x="2393553" y="836234"/>
                      </a:cubicBezTo>
                      <a:lnTo>
                        <a:pt x="2297528" y="872602"/>
                      </a:lnTo>
                      <a:lnTo>
                        <a:pt x="2321876" y="919557"/>
                      </a:lnTo>
                      <a:cubicBezTo>
                        <a:pt x="2410126" y="1106247"/>
                        <a:pt x="2464263" y="1293033"/>
                        <a:pt x="2482389" y="1474977"/>
                      </a:cubicBezTo>
                      <a:lnTo>
                        <a:pt x="2485971" y="1546225"/>
                      </a:lnTo>
                      <a:lnTo>
                        <a:pt x="3089325" y="1546225"/>
                      </a:lnTo>
                      <a:lnTo>
                        <a:pt x="3084782" y="1456213"/>
                      </a:lnTo>
                      <a:cubicBezTo>
                        <a:pt x="3054361" y="1156504"/>
                        <a:pt x="2934917" y="883126"/>
                        <a:pt x="2753323" y="662968"/>
                      </a:cubicBezTo>
                      <a:close/>
                      <a:moveTo>
                        <a:pt x="483169" y="638963"/>
                      </a:moveTo>
                      <a:lnTo>
                        <a:pt x="461363" y="662968"/>
                      </a:lnTo>
                      <a:cubicBezTo>
                        <a:pt x="279770" y="883126"/>
                        <a:pt x="160326" y="1156504"/>
                        <a:pt x="129905" y="1456213"/>
                      </a:cubicBezTo>
                      <a:lnTo>
                        <a:pt x="125362" y="1546225"/>
                      </a:lnTo>
                      <a:lnTo>
                        <a:pt x="731831" y="1546225"/>
                      </a:lnTo>
                      <a:lnTo>
                        <a:pt x="735344" y="1474977"/>
                      </a:lnTo>
                      <a:cubicBezTo>
                        <a:pt x="753137" y="1293033"/>
                        <a:pt x="806372" y="1106247"/>
                        <a:pt x="893910" y="919557"/>
                      </a:cubicBezTo>
                      <a:lnTo>
                        <a:pt x="917942" y="872897"/>
                      </a:lnTo>
                      <a:lnTo>
                        <a:pt x="821137" y="836234"/>
                      </a:lnTo>
                      <a:cubicBezTo>
                        <a:pt x="749783" y="805689"/>
                        <a:pt x="681432" y="770996"/>
                        <a:pt x="616825" y="732415"/>
                      </a:cubicBezTo>
                      <a:close/>
                      <a:moveTo>
                        <a:pt x="1546226" y="231046"/>
                      </a:moveTo>
                      <a:lnTo>
                        <a:pt x="1528675" y="248139"/>
                      </a:lnTo>
                      <a:cubicBezTo>
                        <a:pt x="1433595" y="342957"/>
                        <a:pt x="1295523" y="494880"/>
                        <a:pt x="1168773" y="685478"/>
                      </a:cubicBezTo>
                      <a:lnTo>
                        <a:pt x="1098769" y="802845"/>
                      </a:lnTo>
                      <a:lnTo>
                        <a:pt x="1152046" y="818106"/>
                      </a:lnTo>
                      <a:cubicBezTo>
                        <a:pt x="1224940" y="835846"/>
                        <a:pt x="1299755" y="849411"/>
                        <a:pt x="1375851" y="858541"/>
                      </a:cubicBezTo>
                      <a:lnTo>
                        <a:pt x="1546226" y="868716"/>
                      </a:lnTo>
                      <a:close/>
                      <a:moveTo>
                        <a:pt x="1668463" y="230823"/>
                      </a:moveTo>
                      <a:lnTo>
                        <a:pt x="1668463" y="868716"/>
                      </a:lnTo>
                      <a:lnTo>
                        <a:pt x="1838838" y="858541"/>
                      </a:lnTo>
                      <a:cubicBezTo>
                        <a:pt x="1914935" y="849411"/>
                        <a:pt x="1989750" y="835846"/>
                        <a:pt x="2062644" y="818106"/>
                      </a:cubicBezTo>
                      <a:lnTo>
                        <a:pt x="2117610" y="802362"/>
                      </a:lnTo>
                      <a:lnTo>
                        <a:pt x="2047573" y="685478"/>
                      </a:lnTo>
                      <a:cubicBezTo>
                        <a:pt x="1920253" y="494880"/>
                        <a:pt x="1781612" y="342957"/>
                        <a:pt x="1686282" y="248139"/>
                      </a:cubicBezTo>
                      <a:close/>
                      <a:moveTo>
                        <a:pt x="1739116" y="128896"/>
                      </a:moveTo>
                      <a:lnTo>
                        <a:pt x="1754615" y="143696"/>
                      </a:lnTo>
                      <a:cubicBezTo>
                        <a:pt x="1834903" y="221959"/>
                        <a:pt x="1950245" y="344552"/>
                        <a:pt x="2066550" y="501745"/>
                      </a:cubicBezTo>
                      <a:cubicBezTo>
                        <a:pt x="2101138" y="547688"/>
                        <a:pt x="2133682" y="593868"/>
                        <a:pt x="2164154" y="640209"/>
                      </a:cubicBezTo>
                      <a:lnTo>
                        <a:pt x="2239903" y="764214"/>
                      </a:lnTo>
                      <a:lnTo>
                        <a:pt x="2342448" y="725496"/>
                      </a:lnTo>
                      <a:cubicBezTo>
                        <a:pt x="2409077" y="697086"/>
                        <a:pt x="2472930" y="664847"/>
                        <a:pt x="2533366" y="629040"/>
                      </a:cubicBezTo>
                      <a:lnTo>
                        <a:pt x="2648575" y="549358"/>
                      </a:lnTo>
                      <a:lnTo>
                        <a:pt x="2552008" y="461545"/>
                      </a:lnTo>
                      <a:cubicBezTo>
                        <a:pt x="2331968" y="279855"/>
                        <a:pt x="2058736" y="160347"/>
                        <a:pt x="1759187" y="129910"/>
                      </a:cubicBezTo>
                      <a:close/>
                      <a:moveTo>
                        <a:pt x="1475715" y="128888"/>
                      </a:moveTo>
                      <a:lnTo>
                        <a:pt x="1455500" y="129910"/>
                      </a:lnTo>
                      <a:cubicBezTo>
                        <a:pt x="1155951" y="160347"/>
                        <a:pt x="882719" y="279855"/>
                        <a:pt x="662678" y="461545"/>
                      </a:cubicBezTo>
                      <a:lnTo>
                        <a:pt x="566113" y="549357"/>
                      </a:lnTo>
                      <a:lnTo>
                        <a:pt x="681324" y="629040"/>
                      </a:lnTo>
                      <a:cubicBezTo>
                        <a:pt x="741760" y="664847"/>
                        <a:pt x="805613" y="697086"/>
                        <a:pt x="872242" y="725496"/>
                      </a:cubicBezTo>
                      <a:lnTo>
                        <a:pt x="975251" y="764389"/>
                      </a:lnTo>
                      <a:lnTo>
                        <a:pt x="1050800" y="640209"/>
                      </a:lnTo>
                      <a:cubicBezTo>
                        <a:pt x="1081189" y="593868"/>
                        <a:pt x="1113686" y="547688"/>
                        <a:pt x="1148273" y="501745"/>
                      </a:cubicBezTo>
                      <a:cubicBezTo>
                        <a:pt x="1264578" y="344552"/>
                        <a:pt x="1379921" y="221959"/>
                        <a:pt x="1460208" y="143696"/>
                      </a:cubicBezTo>
                      <a:close/>
                      <a:moveTo>
                        <a:pt x="1607344" y="0"/>
                      </a:moveTo>
                      <a:cubicBezTo>
                        <a:pt x="2495056" y="0"/>
                        <a:pt x="3214688" y="719632"/>
                        <a:pt x="3214688" y="1607344"/>
                      </a:cubicBezTo>
                      <a:cubicBezTo>
                        <a:pt x="3214688" y="2495056"/>
                        <a:pt x="2495056" y="3214688"/>
                        <a:pt x="1607344" y="3214688"/>
                      </a:cubicBezTo>
                      <a:cubicBezTo>
                        <a:pt x="719632" y="3214688"/>
                        <a:pt x="0" y="2495056"/>
                        <a:pt x="0" y="1607344"/>
                      </a:cubicBezTo>
                      <a:cubicBezTo>
                        <a:pt x="0" y="719632"/>
                        <a:pt x="719632" y="0"/>
                        <a:pt x="1607344" y="0"/>
                      </a:cubicBezTo>
                      <a:close/>
                    </a:path>
                  </a:pathLst>
                </a:custGeom>
                <a:solidFill>
                  <a:srgbClr val="0078D7"/>
                </a:solidFill>
                <a:ln>
                  <a:noFill/>
                </a:ln>
              </p:spPr>
              <p:txBody>
                <a:bodyPr vert="horz" wrap="square" lIns="89619" tIns="44809" rIns="89619" bIns="44809" numCol="1" anchor="t" anchorCtr="0" compatLnSpc="1">
                  <a:prstTxWarp prst="textNoShape">
                    <a:avLst/>
                  </a:prstTxWarp>
                  <a:noAutofit/>
                </a:bodyPr>
                <a:lstStyle/>
                <a:p>
                  <a:pPr defTabSz="896117">
                    <a:defRPr/>
                  </a:pPr>
                  <a:endParaRPr lang="en-US" sz="1764" kern="0" dirty="0">
                    <a:solidFill>
                      <a:srgbClr val="FFFFFF"/>
                    </a:solidFill>
                  </a:endParaRPr>
                </a:p>
              </p:txBody>
            </p:sp>
            <p:sp>
              <p:nvSpPr>
                <p:cNvPr id="380" name="Freeform 379"/>
                <p:cNvSpPr>
                  <a:spLocks/>
                </p:cNvSpPr>
                <p:nvPr/>
              </p:nvSpPr>
              <p:spPr bwMode="auto">
                <a:xfrm>
                  <a:off x="10935462" y="3576787"/>
                  <a:ext cx="131222" cy="235796"/>
                </a:xfrm>
                <a:custGeom>
                  <a:avLst/>
                  <a:gdLst>
                    <a:gd name="connsiteX0" fmla="*/ 930274 w 1860550"/>
                    <a:gd name="connsiteY0" fmla="*/ 2997199 h 3343276"/>
                    <a:gd name="connsiteX1" fmla="*/ 898524 w 1860550"/>
                    <a:gd name="connsiteY1" fmla="*/ 3030537 h 3343276"/>
                    <a:gd name="connsiteX2" fmla="*/ 930274 w 1860550"/>
                    <a:gd name="connsiteY2" fmla="*/ 3063875 h 3343276"/>
                    <a:gd name="connsiteX3" fmla="*/ 962024 w 1860550"/>
                    <a:gd name="connsiteY3" fmla="*/ 3030537 h 3343276"/>
                    <a:gd name="connsiteX4" fmla="*/ 930274 w 1860550"/>
                    <a:gd name="connsiteY4" fmla="*/ 2997199 h 3343276"/>
                    <a:gd name="connsiteX5" fmla="*/ 930275 w 1860550"/>
                    <a:gd name="connsiteY5" fmla="*/ 2874962 h 3343276"/>
                    <a:gd name="connsiteX6" fmla="*/ 1084263 w 1860550"/>
                    <a:gd name="connsiteY6" fmla="*/ 3029744 h 3343276"/>
                    <a:gd name="connsiteX7" fmla="*/ 930275 w 1860550"/>
                    <a:gd name="connsiteY7" fmla="*/ 3184526 h 3343276"/>
                    <a:gd name="connsiteX8" fmla="*/ 776287 w 1860550"/>
                    <a:gd name="connsiteY8" fmla="*/ 3029744 h 3343276"/>
                    <a:gd name="connsiteX9" fmla="*/ 930275 w 1860550"/>
                    <a:gd name="connsiteY9" fmla="*/ 2874962 h 3343276"/>
                    <a:gd name="connsiteX10" fmla="*/ 122238 w 1860550"/>
                    <a:gd name="connsiteY10" fmla="*/ 2844800 h 3343276"/>
                    <a:gd name="connsiteX11" fmla="*/ 122238 w 1860550"/>
                    <a:gd name="connsiteY11" fmla="*/ 2858922 h 3343276"/>
                    <a:gd name="connsiteX12" fmla="*/ 122238 w 1860550"/>
                    <a:gd name="connsiteY12" fmla="*/ 2919914 h 3343276"/>
                    <a:gd name="connsiteX13" fmla="*/ 122238 w 1860550"/>
                    <a:gd name="connsiteY13" fmla="*/ 2937881 h 3343276"/>
                    <a:gd name="connsiteX14" fmla="*/ 122238 w 1860550"/>
                    <a:gd name="connsiteY14" fmla="*/ 2976361 h 3343276"/>
                    <a:gd name="connsiteX15" fmla="*/ 122238 w 1860550"/>
                    <a:gd name="connsiteY15" fmla="*/ 2994458 h 3343276"/>
                    <a:gd name="connsiteX16" fmla="*/ 122238 w 1860550"/>
                    <a:gd name="connsiteY16" fmla="*/ 3016807 h 3343276"/>
                    <a:gd name="connsiteX17" fmla="*/ 122238 w 1860550"/>
                    <a:gd name="connsiteY17" fmla="*/ 3032384 h 3343276"/>
                    <a:gd name="connsiteX18" fmla="*/ 122238 w 1860550"/>
                    <a:gd name="connsiteY18" fmla="*/ 3043919 h 3343276"/>
                    <a:gd name="connsiteX19" fmla="*/ 122238 w 1860550"/>
                    <a:gd name="connsiteY19" fmla="*/ 3055388 h 3343276"/>
                    <a:gd name="connsiteX20" fmla="*/ 122238 w 1860550"/>
                    <a:gd name="connsiteY20" fmla="*/ 3067200 h 3343276"/>
                    <a:gd name="connsiteX21" fmla="*/ 122238 w 1860550"/>
                    <a:gd name="connsiteY21" fmla="*/ 3068809 h 3343276"/>
                    <a:gd name="connsiteX22" fmla="*/ 122238 w 1860550"/>
                    <a:gd name="connsiteY22" fmla="*/ 3072174 h 3343276"/>
                    <a:gd name="connsiteX23" fmla="*/ 268324 w 1860550"/>
                    <a:gd name="connsiteY23" fmla="*/ 3221038 h 3343276"/>
                    <a:gd name="connsiteX24" fmla="*/ 1589184 w 1860550"/>
                    <a:gd name="connsiteY24" fmla="*/ 3221038 h 3343276"/>
                    <a:gd name="connsiteX25" fmla="*/ 1738313 w 1860550"/>
                    <a:gd name="connsiteY25" fmla="*/ 3072174 h 3343276"/>
                    <a:gd name="connsiteX26" fmla="*/ 1738313 w 1860550"/>
                    <a:gd name="connsiteY26" fmla="*/ 2997250 h 3343276"/>
                    <a:gd name="connsiteX27" fmla="*/ 1738313 w 1860550"/>
                    <a:gd name="connsiteY27" fmla="*/ 2940804 h 3343276"/>
                    <a:gd name="connsiteX28" fmla="*/ 1738313 w 1860550"/>
                    <a:gd name="connsiteY28" fmla="*/ 2900358 h 3343276"/>
                    <a:gd name="connsiteX29" fmla="*/ 1738313 w 1860550"/>
                    <a:gd name="connsiteY29" fmla="*/ 2873246 h 3343276"/>
                    <a:gd name="connsiteX30" fmla="*/ 1738313 w 1860550"/>
                    <a:gd name="connsiteY30" fmla="*/ 2848356 h 3343276"/>
                    <a:gd name="connsiteX31" fmla="*/ 1738313 w 1860550"/>
                    <a:gd name="connsiteY31" fmla="*/ 2844800 h 3343276"/>
                    <a:gd name="connsiteX32" fmla="*/ 122238 w 1860550"/>
                    <a:gd name="connsiteY32" fmla="*/ 461963 h 3343276"/>
                    <a:gd name="connsiteX33" fmla="*/ 122238 w 1860550"/>
                    <a:gd name="connsiteY33" fmla="*/ 525582 h 3343276"/>
                    <a:gd name="connsiteX34" fmla="*/ 122238 w 1860550"/>
                    <a:gd name="connsiteY34" fmla="*/ 2618936 h 3343276"/>
                    <a:gd name="connsiteX35" fmla="*/ 122238 w 1860550"/>
                    <a:gd name="connsiteY35" fmla="*/ 2722563 h 3343276"/>
                    <a:gd name="connsiteX36" fmla="*/ 169032 w 1860550"/>
                    <a:gd name="connsiteY36" fmla="*/ 2722563 h 3343276"/>
                    <a:gd name="connsiteX37" fmla="*/ 1704747 w 1860550"/>
                    <a:gd name="connsiteY37" fmla="*/ 2722563 h 3343276"/>
                    <a:gd name="connsiteX38" fmla="*/ 1738313 w 1860550"/>
                    <a:gd name="connsiteY38" fmla="*/ 2722563 h 3343276"/>
                    <a:gd name="connsiteX39" fmla="*/ 1738313 w 1860550"/>
                    <a:gd name="connsiteY39" fmla="*/ 2521894 h 3343276"/>
                    <a:gd name="connsiteX40" fmla="*/ 1738313 w 1860550"/>
                    <a:gd name="connsiteY40" fmla="*/ 505665 h 3343276"/>
                    <a:gd name="connsiteX41" fmla="*/ 1738313 w 1860550"/>
                    <a:gd name="connsiteY41" fmla="*/ 461963 h 3343276"/>
                    <a:gd name="connsiteX42" fmla="*/ 1691518 w 1860550"/>
                    <a:gd name="connsiteY42" fmla="*/ 461963 h 3343276"/>
                    <a:gd name="connsiteX43" fmla="*/ 155803 w 1860550"/>
                    <a:gd name="connsiteY43" fmla="*/ 461963 h 3343276"/>
                    <a:gd name="connsiteX44" fmla="*/ 721442 w 1860550"/>
                    <a:gd name="connsiteY44" fmla="*/ 169863 h 3343276"/>
                    <a:gd name="connsiteX45" fmla="*/ 1072433 w 1860550"/>
                    <a:gd name="connsiteY45" fmla="*/ 169863 h 3343276"/>
                    <a:gd name="connsiteX46" fmla="*/ 1133475 w 1860550"/>
                    <a:gd name="connsiteY46" fmla="*/ 230982 h 3343276"/>
                    <a:gd name="connsiteX47" fmla="*/ 1072433 w 1860550"/>
                    <a:gd name="connsiteY47" fmla="*/ 292101 h 3343276"/>
                    <a:gd name="connsiteX48" fmla="*/ 721442 w 1860550"/>
                    <a:gd name="connsiteY48" fmla="*/ 292101 h 3343276"/>
                    <a:gd name="connsiteX49" fmla="*/ 660400 w 1860550"/>
                    <a:gd name="connsiteY49" fmla="*/ 230982 h 3343276"/>
                    <a:gd name="connsiteX50" fmla="*/ 721442 w 1860550"/>
                    <a:gd name="connsiteY50" fmla="*/ 169863 h 3343276"/>
                    <a:gd name="connsiteX51" fmla="*/ 1281907 w 1860550"/>
                    <a:gd name="connsiteY51" fmla="*/ 149225 h 3343276"/>
                    <a:gd name="connsiteX52" fmla="*/ 1363664 w 1860550"/>
                    <a:gd name="connsiteY52" fmla="*/ 229394 h 3343276"/>
                    <a:gd name="connsiteX53" fmla="*/ 1281907 w 1860550"/>
                    <a:gd name="connsiteY53" fmla="*/ 309563 h 3343276"/>
                    <a:gd name="connsiteX54" fmla="*/ 1200150 w 1860550"/>
                    <a:gd name="connsiteY54" fmla="*/ 229394 h 3343276"/>
                    <a:gd name="connsiteX55" fmla="*/ 1281907 w 1860550"/>
                    <a:gd name="connsiteY55" fmla="*/ 149225 h 3343276"/>
                    <a:gd name="connsiteX56" fmla="*/ 268324 w 1860550"/>
                    <a:gd name="connsiteY56" fmla="*/ 122238 h 3343276"/>
                    <a:gd name="connsiteX57" fmla="*/ 122238 w 1860550"/>
                    <a:gd name="connsiteY57" fmla="*/ 271331 h 3343276"/>
                    <a:gd name="connsiteX58" fmla="*/ 122238 w 1860550"/>
                    <a:gd name="connsiteY58" fmla="*/ 341313 h 3343276"/>
                    <a:gd name="connsiteX59" fmla="*/ 1738313 w 1860550"/>
                    <a:gd name="connsiteY59" fmla="*/ 341313 h 3343276"/>
                    <a:gd name="connsiteX60" fmla="*/ 1738313 w 1860550"/>
                    <a:gd name="connsiteY60" fmla="*/ 314869 h 3343276"/>
                    <a:gd name="connsiteX61" fmla="*/ 1738313 w 1860550"/>
                    <a:gd name="connsiteY61" fmla="*/ 300855 h 3343276"/>
                    <a:gd name="connsiteX62" fmla="*/ 1738313 w 1860550"/>
                    <a:gd name="connsiteY62" fmla="*/ 289566 h 3343276"/>
                    <a:gd name="connsiteX63" fmla="*/ 1738313 w 1860550"/>
                    <a:gd name="connsiteY63" fmla="*/ 280079 h 3343276"/>
                    <a:gd name="connsiteX64" fmla="*/ 1738313 w 1860550"/>
                    <a:gd name="connsiteY64" fmla="*/ 276573 h 3343276"/>
                    <a:gd name="connsiteX65" fmla="*/ 1738313 w 1860550"/>
                    <a:gd name="connsiteY65" fmla="*/ 271331 h 3343276"/>
                    <a:gd name="connsiteX66" fmla="*/ 1589184 w 1860550"/>
                    <a:gd name="connsiteY66" fmla="*/ 122238 h 3343276"/>
                    <a:gd name="connsiteX67" fmla="*/ 1469183 w 1860550"/>
                    <a:gd name="connsiteY67" fmla="*/ 122238 h 3343276"/>
                    <a:gd name="connsiteX68" fmla="*/ 1356679 w 1860550"/>
                    <a:gd name="connsiteY68" fmla="*/ 122238 h 3343276"/>
                    <a:gd name="connsiteX69" fmla="*/ 1153197 w 1860550"/>
                    <a:gd name="connsiteY69" fmla="*/ 122238 h 3343276"/>
                    <a:gd name="connsiteX70" fmla="*/ 976803 w 1860550"/>
                    <a:gd name="connsiteY70" fmla="*/ 122238 h 3343276"/>
                    <a:gd name="connsiteX71" fmla="*/ 825562 w 1860550"/>
                    <a:gd name="connsiteY71" fmla="*/ 122238 h 3343276"/>
                    <a:gd name="connsiteX72" fmla="*/ 697539 w 1860550"/>
                    <a:gd name="connsiteY72" fmla="*/ 122238 h 3343276"/>
                    <a:gd name="connsiteX73" fmla="*/ 590799 w 1860550"/>
                    <a:gd name="connsiteY73" fmla="*/ 122238 h 3343276"/>
                    <a:gd name="connsiteX74" fmla="*/ 503408 w 1860550"/>
                    <a:gd name="connsiteY74" fmla="*/ 122238 h 3343276"/>
                    <a:gd name="connsiteX75" fmla="*/ 433431 w 1860550"/>
                    <a:gd name="connsiteY75" fmla="*/ 122238 h 3343276"/>
                    <a:gd name="connsiteX76" fmla="*/ 378933 w 1860550"/>
                    <a:gd name="connsiteY76" fmla="*/ 122238 h 3343276"/>
                    <a:gd name="connsiteX77" fmla="*/ 337979 w 1860550"/>
                    <a:gd name="connsiteY77" fmla="*/ 122238 h 3343276"/>
                    <a:gd name="connsiteX78" fmla="*/ 308633 w 1860550"/>
                    <a:gd name="connsiteY78" fmla="*/ 122238 h 3343276"/>
                    <a:gd name="connsiteX79" fmla="*/ 288962 w 1860550"/>
                    <a:gd name="connsiteY79" fmla="*/ 122238 h 3343276"/>
                    <a:gd name="connsiteX80" fmla="*/ 277031 w 1860550"/>
                    <a:gd name="connsiteY80" fmla="*/ 122238 h 3343276"/>
                    <a:gd name="connsiteX81" fmla="*/ 270904 w 1860550"/>
                    <a:gd name="connsiteY81" fmla="*/ 122238 h 3343276"/>
                    <a:gd name="connsiteX82" fmla="*/ 267968 w 1860550"/>
                    <a:gd name="connsiteY82" fmla="*/ 0 h 3343276"/>
                    <a:gd name="connsiteX83" fmla="*/ 1589537 w 1860550"/>
                    <a:gd name="connsiteY83" fmla="*/ 0 h 3343276"/>
                    <a:gd name="connsiteX84" fmla="*/ 1860550 w 1860550"/>
                    <a:gd name="connsiteY84" fmla="*/ 270492 h 3343276"/>
                    <a:gd name="connsiteX85" fmla="*/ 1860550 w 1860550"/>
                    <a:gd name="connsiteY85" fmla="*/ 270501 h 3343276"/>
                    <a:gd name="connsiteX86" fmla="*/ 1860550 w 1860550"/>
                    <a:gd name="connsiteY86" fmla="*/ 461963 h 3343276"/>
                    <a:gd name="connsiteX87" fmla="*/ 1860550 w 1860550"/>
                    <a:gd name="connsiteY87" fmla="*/ 525090 h 3343276"/>
                    <a:gd name="connsiteX88" fmla="*/ 1860550 w 1860550"/>
                    <a:gd name="connsiteY88" fmla="*/ 2619341 h 3343276"/>
                    <a:gd name="connsiteX89" fmla="*/ 1860550 w 1860550"/>
                    <a:gd name="connsiteY89" fmla="*/ 2722563 h 3343276"/>
                    <a:gd name="connsiteX90" fmla="*/ 1860550 w 1860550"/>
                    <a:gd name="connsiteY90" fmla="*/ 2754314 h 3343276"/>
                    <a:gd name="connsiteX91" fmla="*/ 1860550 w 1860550"/>
                    <a:gd name="connsiteY91" fmla="*/ 2838062 h 3343276"/>
                    <a:gd name="connsiteX92" fmla="*/ 1860550 w 1860550"/>
                    <a:gd name="connsiteY92" fmla="*/ 2859431 h 3343276"/>
                    <a:gd name="connsiteX93" fmla="*/ 1860550 w 1860550"/>
                    <a:gd name="connsiteY93" fmla="*/ 2924856 h 3343276"/>
                    <a:gd name="connsiteX94" fmla="*/ 1860550 w 1860550"/>
                    <a:gd name="connsiteY94" fmla="*/ 2938424 h 3343276"/>
                    <a:gd name="connsiteX95" fmla="*/ 1860550 w 1860550"/>
                    <a:gd name="connsiteY95" fmla="*/ 2987047 h 3343276"/>
                    <a:gd name="connsiteX96" fmla="*/ 1860550 w 1860550"/>
                    <a:gd name="connsiteY96" fmla="*/ 2995025 h 3343276"/>
                    <a:gd name="connsiteX97" fmla="*/ 1860550 w 1860550"/>
                    <a:gd name="connsiteY97" fmla="*/ 3028736 h 3343276"/>
                    <a:gd name="connsiteX98" fmla="*/ 1860550 w 1860550"/>
                    <a:gd name="connsiteY98" fmla="*/ 3032967 h 3343276"/>
                    <a:gd name="connsiteX99" fmla="*/ 1860550 w 1860550"/>
                    <a:gd name="connsiteY99" fmla="*/ 3054023 h 3343276"/>
                    <a:gd name="connsiteX100" fmla="*/ 1860550 w 1860550"/>
                    <a:gd name="connsiteY100" fmla="*/ 3055980 h 3343276"/>
                    <a:gd name="connsiteX101" fmla="*/ 1860550 w 1860550"/>
                    <a:gd name="connsiteY101" fmla="*/ 3067008 h 3343276"/>
                    <a:gd name="connsiteX102" fmla="*/ 1860550 w 1860550"/>
                    <a:gd name="connsiteY102" fmla="*/ 3067798 h 3343276"/>
                    <a:gd name="connsiteX103" fmla="*/ 1860550 w 1860550"/>
                    <a:gd name="connsiteY103" fmla="*/ 3072475 h 3343276"/>
                    <a:gd name="connsiteX104" fmla="*/ 1860550 w 1860550"/>
                    <a:gd name="connsiteY104" fmla="*/ 3072774 h 3343276"/>
                    <a:gd name="connsiteX105" fmla="*/ 1694831 w 1860550"/>
                    <a:gd name="connsiteY105" fmla="*/ 3321952 h 3343276"/>
                    <a:gd name="connsiteX106" fmla="*/ 1593989 w 1860550"/>
                    <a:gd name="connsiteY106" fmla="*/ 3342374 h 3343276"/>
                    <a:gd name="connsiteX107" fmla="*/ 1589537 w 1860550"/>
                    <a:gd name="connsiteY107" fmla="*/ 3343276 h 3343276"/>
                    <a:gd name="connsiteX108" fmla="*/ 267968 w 1860550"/>
                    <a:gd name="connsiteY108" fmla="*/ 3343276 h 3343276"/>
                    <a:gd name="connsiteX109" fmla="*/ 263590 w 1860550"/>
                    <a:gd name="connsiteY109" fmla="*/ 3342374 h 3343276"/>
                    <a:gd name="connsiteX110" fmla="*/ 164435 w 1860550"/>
                    <a:gd name="connsiteY110" fmla="*/ 3321952 h 3343276"/>
                    <a:gd name="connsiteX111" fmla="*/ 0 w 1860550"/>
                    <a:gd name="connsiteY111" fmla="*/ 3072774 h 3343276"/>
                    <a:gd name="connsiteX112" fmla="*/ 0 w 1860550"/>
                    <a:gd name="connsiteY112" fmla="*/ 3072475 h 3343276"/>
                    <a:gd name="connsiteX113" fmla="*/ 0 w 1860550"/>
                    <a:gd name="connsiteY113" fmla="*/ 2956977 h 3343276"/>
                    <a:gd name="connsiteX114" fmla="*/ 0 w 1860550"/>
                    <a:gd name="connsiteY114" fmla="*/ 2870182 h 3343276"/>
                    <a:gd name="connsiteX115" fmla="*/ 0 w 1860550"/>
                    <a:gd name="connsiteY115" fmla="*/ 2807991 h 3343276"/>
                    <a:gd name="connsiteX116" fmla="*/ 0 w 1860550"/>
                    <a:gd name="connsiteY116" fmla="*/ 2787491 h 3343276"/>
                    <a:gd name="connsiteX117" fmla="*/ 0 w 1860550"/>
                    <a:gd name="connsiteY117" fmla="*/ 2766302 h 3343276"/>
                    <a:gd name="connsiteX118" fmla="*/ 0 w 1860550"/>
                    <a:gd name="connsiteY118" fmla="*/ 2741016 h 3343276"/>
                    <a:gd name="connsiteX119" fmla="*/ 0 w 1860550"/>
                    <a:gd name="connsiteY119" fmla="*/ 2728031 h 3343276"/>
                    <a:gd name="connsiteX120" fmla="*/ 0 w 1860550"/>
                    <a:gd name="connsiteY120" fmla="*/ 2722563 h 3343276"/>
                    <a:gd name="connsiteX121" fmla="*/ 0 w 1860550"/>
                    <a:gd name="connsiteY121" fmla="*/ 2522258 h 3343276"/>
                    <a:gd name="connsiteX122" fmla="*/ 0 w 1860550"/>
                    <a:gd name="connsiteY122" fmla="*/ 505164 h 3343276"/>
                    <a:gd name="connsiteX123" fmla="*/ 0 w 1860550"/>
                    <a:gd name="connsiteY123" fmla="*/ 461963 h 3343276"/>
                    <a:gd name="connsiteX124" fmla="*/ 0 w 1860550"/>
                    <a:gd name="connsiteY124" fmla="*/ 418277 h 3343276"/>
                    <a:gd name="connsiteX125" fmla="*/ 0 w 1860550"/>
                    <a:gd name="connsiteY125" fmla="*/ 398763 h 3343276"/>
                    <a:gd name="connsiteX126" fmla="*/ 0 w 1860550"/>
                    <a:gd name="connsiteY126" fmla="*/ 356020 h 3343276"/>
                    <a:gd name="connsiteX127" fmla="*/ 0 w 1860550"/>
                    <a:gd name="connsiteY127" fmla="*/ 351269 h 3343276"/>
                    <a:gd name="connsiteX128" fmla="*/ 0 w 1860550"/>
                    <a:gd name="connsiteY128" fmla="*/ 314287 h 3343276"/>
                    <a:gd name="connsiteX129" fmla="*/ 0 w 1860550"/>
                    <a:gd name="connsiteY129" fmla="*/ 294426 h 3343276"/>
                    <a:gd name="connsiteX130" fmla="*/ 0 w 1860550"/>
                    <a:gd name="connsiteY130" fmla="*/ 288973 h 3343276"/>
                    <a:gd name="connsiteX131" fmla="*/ 0 w 1860550"/>
                    <a:gd name="connsiteY131" fmla="*/ 275975 h 3343276"/>
                    <a:gd name="connsiteX132" fmla="*/ 0 w 1860550"/>
                    <a:gd name="connsiteY132" fmla="*/ 273484 h 3343276"/>
                    <a:gd name="connsiteX133" fmla="*/ 0 w 1860550"/>
                    <a:gd name="connsiteY133" fmla="*/ 270501 h 3343276"/>
                    <a:gd name="connsiteX134" fmla="*/ 0 w 1860550"/>
                    <a:gd name="connsiteY134" fmla="*/ 270492 h 3343276"/>
                    <a:gd name="connsiteX135" fmla="*/ 267968 w 1860550"/>
                    <a:gd name="connsiteY135" fmla="*/ 0 h 33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860550" h="3343276">
                      <a:moveTo>
                        <a:pt x="930274" y="2997199"/>
                      </a:moveTo>
                      <a:cubicBezTo>
                        <a:pt x="912739" y="2997199"/>
                        <a:pt x="898524" y="3012125"/>
                        <a:pt x="898524" y="3030537"/>
                      </a:cubicBezTo>
                      <a:cubicBezTo>
                        <a:pt x="898524" y="3048949"/>
                        <a:pt x="912739" y="3063875"/>
                        <a:pt x="930274" y="3063875"/>
                      </a:cubicBezTo>
                      <a:cubicBezTo>
                        <a:pt x="947809" y="3063875"/>
                        <a:pt x="962024" y="3048949"/>
                        <a:pt x="962024" y="3030537"/>
                      </a:cubicBezTo>
                      <a:cubicBezTo>
                        <a:pt x="962024" y="3012125"/>
                        <a:pt x="947809" y="2997199"/>
                        <a:pt x="930274" y="2997199"/>
                      </a:cubicBezTo>
                      <a:close/>
                      <a:moveTo>
                        <a:pt x="930275" y="2874962"/>
                      </a:moveTo>
                      <a:cubicBezTo>
                        <a:pt x="1015320" y="2874962"/>
                        <a:pt x="1084263" y="2944260"/>
                        <a:pt x="1084263" y="3029744"/>
                      </a:cubicBezTo>
                      <a:cubicBezTo>
                        <a:pt x="1084263" y="3115228"/>
                        <a:pt x="1015320" y="3184526"/>
                        <a:pt x="930275" y="3184526"/>
                      </a:cubicBezTo>
                      <a:cubicBezTo>
                        <a:pt x="845230" y="3184526"/>
                        <a:pt x="776287" y="3115228"/>
                        <a:pt x="776287" y="3029744"/>
                      </a:cubicBezTo>
                      <a:cubicBezTo>
                        <a:pt x="776287" y="2944260"/>
                        <a:pt x="845230" y="2874962"/>
                        <a:pt x="930275" y="2874962"/>
                      </a:cubicBezTo>
                      <a:close/>
                      <a:moveTo>
                        <a:pt x="122238" y="2844800"/>
                      </a:moveTo>
                      <a:lnTo>
                        <a:pt x="122238" y="2858922"/>
                      </a:lnTo>
                      <a:lnTo>
                        <a:pt x="122238" y="2919914"/>
                      </a:lnTo>
                      <a:lnTo>
                        <a:pt x="122238" y="2937881"/>
                      </a:lnTo>
                      <a:lnTo>
                        <a:pt x="122238" y="2976361"/>
                      </a:lnTo>
                      <a:lnTo>
                        <a:pt x="122238" y="2994458"/>
                      </a:lnTo>
                      <a:lnTo>
                        <a:pt x="122238" y="3016807"/>
                      </a:lnTo>
                      <a:lnTo>
                        <a:pt x="122238" y="3032384"/>
                      </a:lnTo>
                      <a:lnTo>
                        <a:pt x="122238" y="3043919"/>
                      </a:lnTo>
                      <a:lnTo>
                        <a:pt x="122238" y="3055388"/>
                      </a:lnTo>
                      <a:cubicBezTo>
                        <a:pt x="122238" y="3060983"/>
                        <a:pt x="122238" y="3064714"/>
                        <a:pt x="122238" y="3067200"/>
                      </a:cubicBezTo>
                      <a:lnTo>
                        <a:pt x="122238" y="3068809"/>
                      </a:lnTo>
                      <a:lnTo>
                        <a:pt x="122238" y="3072174"/>
                      </a:lnTo>
                      <a:cubicBezTo>
                        <a:pt x="122238" y="3154201"/>
                        <a:pt x="189194" y="3221038"/>
                        <a:pt x="268324" y="3221038"/>
                      </a:cubicBezTo>
                      <a:cubicBezTo>
                        <a:pt x="1589184" y="3221038"/>
                        <a:pt x="1589184" y="3221038"/>
                        <a:pt x="1589184" y="3221038"/>
                      </a:cubicBezTo>
                      <a:cubicBezTo>
                        <a:pt x="1671357" y="3221038"/>
                        <a:pt x="1738313" y="3154201"/>
                        <a:pt x="1738313" y="3072174"/>
                      </a:cubicBezTo>
                      <a:lnTo>
                        <a:pt x="1738313" y="2997250"/>
                      </a:lnTo>
                      <a:lnTo>
                        <a:pt x="1738313" y="2940804"/>
                      </a:lnTo>
                      <a:lnTo>
                        <a:pt x="1738313" y="2900358"/>
                      </a:lnTo>
                      <a:lnTo>
                        <a:pt x="1738313" y="2873246"/>
                      </a:lnTo>
                      <a:lnTo>
                        <a:pt x="1738313" y="2848356"/>
                      </a:lnTo>
                      <a:lnTo>
                        <a:pt x="1738313" y="2844800"/>
                      </a:lnTo>
                      <a:close/>
                      <a:moveTo>
                        <a:pt x="122238" y="461963"/>
                      </a:moveTo>
                      <a:lnTo>
                        <a:pt x="122238" y="525582"/>
                      </a:lnTo>
                      <a:cubicBezTo>
                        <a:pt x="122238" y="1639716"/>
                        <a:pt x="122238" y="2266416"/>
                        <a:pt x="122238" y="2618936"/>
                      </a:cubicBezTo>
                      <a:lnTo>
                        <a:pt x="122238" y="2722563"/>
                      </a:lnTo>
                      <a:lnTo>
                        <a:pt x="169032" y="2722563"/>
                      </a:lnTo>
                      <a:cubicBezTo>
                        <a:pt x="1096639" y="2722563"/>
                        <a:pt x="1515558" y="2722563"/>
                        <a:pt x="1704747" y="2722563"/>
                      </a:cubicBezTo>
                      <a:lnTo>
                        <a:pt x="1738313" y="2722563"/>
                      </a:lnTo>
                      <a:lnTo>
                        <a:pt x="1738313" y="2521894"/>
                      </a:lnTo>
                      <a:cubicBezTo>
                        <a:pt x="1738313" y="1330298"/>
                        <a:pt x="1738313" y="769547"/>
                        <a:pt x="1738313" y="505665"/>
                      </a:cubicBezTo>
                      <a:lnTo>
                        <a:pt x="1738313" y="461963"/>
                      </a:lnTo>
                      <a:lnTo>
                        <a:pt x="1691518" y="461963"/>
                      </a:lnTo>
                      <a:cubicBezTo>
                        <a:pt x="763911" y="461963"/>
                        <a:pt x="344992" y="461963"/>
                        <a:pt x="155803" y="461963"/>
                      </a:cubicBezTo>
                      <a:close/>
                      <a:moveTo>
                        <a:pt x="721442" y="169863"/>
                      </a:moveTo>
                      <a:cubicBezTo>
                        <a:pt x="1072433" y="169863"/>
                        <a:pt x="1072433" y="169863"/>
                        <a:pt x="1072433" y="169863"/>
                      </a:cubicBezTo>
                      <a:cubicBezTo>
                        <a:pt x="1106006" y="169863"/>
                        <a:pt x="1133475" y="197367"/>
                        <a:pt x="1133475" y="230982"/>
                      </a:cubicBezTo>
                      <a:cubicBezTo>
                        <a:pt x="1133475" y="264598"/>
                        <a:pt x="1106006" y="292101"/>
                        <a:pt x="1072433" y="292101"/>
                      </a:cubicBezTo>
                      <a:cubicBezTo>
                        <a:pt x="721442" y="292101"/>
                        <a:pt x="721442" y="292101"/>
                        <a:pt x="721442" y="292101"/>
                      </a:cubicBezTo>
                      <a:cubicBezTo>
                        <a:pt x="687869" y="292101"/>
                        <a:pt x="660400" y="264598"/>
                        <a:pt x="660400" y="230982"/>
                      </a:cubicBezTo>
                      <a:cubicBezTo>
                        <a:pt x="660400" y="197367"/>
                        <a:pt x="687869" y="169863"/>
                        <a:pt x="721442" y="169863"/>
                      </a:cubicBezTo>
                      <a:close/>
                      <a:moveTo>
                        <a:pt x="1281907" y="149225"/>
                      </a:moveTo>
                      <a:cubicBezTo>
                        <a:pt x="1327060" y="149225"/>
                        <a:pt x="1363664" y="185118"/>
                        <a:pt x="1363664" y="229394"/>
                      </a:cubicBezTo>
                      <a:cubicBezTo>
                        <a:pt x="1363664" y="273670"/>
                        <a:pt x="1327060" y="309563"/>
                        <a:pt x="1281907" y="309563"/>
                      </a:cubicBezTo>
                      <a:cubicBezTo>
                        <a:pt x="1236754" y="309563"/>
                        <a:pt x="1200150" y="273670"/>
                        <a:pt x="1200150" y="229394"/>
                      </a:cubicBezTo>
                      <a:cubicBezTo>
                        <a:pt x="1200150" y="185118"/>
                        <a:pt x="1236754" y="149225"/>
                        <a:pt x="1281907" y="149225"/>
                      </a:cubicBezTo>
                      <a:close/>
                      <a:moveTo>
                        <a:pt x="268324" y="122238"/>
                      </a:moveTo>
                      <a:cubicBezTo>
                        <a:pt x="189194" y="122238"/>
                        <a:pt x="122238" y="189178"/>
                        <a:pt x="122238" y="271331"/>
                      </a:cubicBezTo>
                      <a:lnTo>
                        <a:pt x="122238" y="341313"/>
                      </a:lnTo>
                      <a:cubicBezTo>
                        <a:pt x="1738313" y="341313"/>
                        <a:pt x="1738313" y="341313"/>
                        <a:pt x="1738313" y="341313"/>
                      </a:cubicBezTo>
                      <a:lnTo>
                        <a:pt x="1738313" y="314869"/>
                      </a:lnTo>
                      <a:lnTo>
                        <a:pt x="1738313" y="300855"/>
                      </a:lnTo>
                      <a:lnTo>
                        <a:pt x="1738313" y="289566"/>
                      </a:lnTo>
                      <a:lnTo>
                        <a:pt x="1738313" y="280079"/>
                      </a:lnTo>
                      <a:lnTo>
                        <a:pt x="1738313" y="276573"/>
                      </a:lnTo>
                      <a:lnTo>
                        <a:pt x="1738313" y="271331"/>
                      </a:lnTo>
                      <a:cubicBezTo>
                        <a:pt x="1738313" y="189178"/>
                        <a:pt x="1671357" y="122238"/>
                        <a:pt x="1589184" y="122238"/>
                      </a:cubicBezTo>
                      <a:lnTo>
                        <a:pt x="1469183" y="122238"/>
                      </a:lnTo>
                      <a:lnTo>
                        <a:pt x="1356679" y="122238"/>
                      </a:lnTo>
                      <a:lnTo>
                        <a:pt x="1153197" y="122238"/>
                      </a:lnTo>
                      <a:lnTo>
                        <a:pt x="976803" y="122238"/>
                      </a:lnTo>
                      <a:lnTo>
                        <a:pt x="825562" y="122238"/>
                      </a:lnTo>
                      <a:lnTo>
                        <a:pt x="697539" y="122238"/>
                      </a:lnTo>
                      <a:lnTo>
                        <a:pt x="590799" y="122238"/>
                      </a:lnTo>
                      <a:lnTo>
                        <a:pt x="503408" y="122238"/>
                      </a:lnTo>
                      <a:lnTo>
                        <a:pt x="433431" y="122238"/>
                      </a:lnTo>
                      <a:lnTo>
                        <a:pt x="378933" y="122238"/>
                      </a:lnTo>
                      <a:lnTo>
                        <a:pt x="337979" y="122238"/>
                      </a:lnTo>
                      <a:lnTo>
                        <a:pt x="308633" y="122238"/>
                      </a:lnTo>
                      <a:lnTo>
                        <a:pt x="288962" y="122238"/>
                      </a:lnTo>
                      <a:lnTo>
                        <a:pt x="277031" y="122238"/>
                      </a:lnTo>
                      <a:lnTo>
                        <a:pt x="270904" y="122238"/>
                      </a:lnTo>
                      <a:close/>
                      <a:moveTo>
                        <a:pt x="267968" y="0"/>
                      </a:moveTo>
                      <a:cubicBezTo>
                        <a:pt x="1589537" y="0"/>
                        <a:pt x="1589537" y="0"/>
                        <a:pt x="1589537" y="0"/>
                      </a:cubicBezTo>
                      <a:cubicBezTo>
                        <a:pt x="1738747" y="0"/>
                        <a:pt x="1860550" y="121569"/>
                        <a:pt x="1860550" y="270492"/>
                      </a:cubicBezTo>
                      <a:lnTo>
                        <a:pt x="1860550" y="270501"/>
                      </a:lnTo>
                      <a:lnTo>
                        <a:pt x="1860550" y="461963"/>
                      </a:lnTo>
                      <a:lnTo>
                        <a:pt x="1860550" y="525090"/>
                      </a:lnTo>
                      <a:cubicBezTo>
                        <a:pt x="1860550" y="1639702"/>
                        <a:pt x="1860550" y="2266671"/>
                        <a:pt x="1860550" y="2619341"/>
                      </a:cubicBezTo>
                      <a:lnTo>
                        <a:pt x="1860550" y="2722563"/>
                      </a:lnTo>
                      <a:lnTo>
                        <a:pt x="1860550" y="2754314"/>
                      </a:lnTo>
                      <a:lnTo>
                        <a:pt x="1860550" y="2838062"/>
                      </a:lnTo>
                      <a:lnTo>
                        <a:pt x="1860550" y="2859431"/>
                      </a:lnTo>
                      <a:lnTo>
                        <a:pt x="1860550" y="2924856"/>
                      </a:lnTo>
                      <a:lnTo>
                        <a:pt x="1860550" y="2938424"/>
                      </a:lnTo>
                      <a:lnTo>
                        <a:pt x="1860550" y="2987047"/>
                      </a:lnTo>
                      <a:lnTo>
                        <a:pt x="1860550" y="2995025"/>
                      </a:lnTo>
                      <a:lnTo>
                        <a:pt x="1860550" y="3028736"/>
                      </a:lnTo>
                      <a:lnTo>
                        <a:pt x="1860550" y="3032967"/>
                      </a:lnTo>
                      <a:lnTo>
                        <a:pt x="1860550" y="3054023"/>
                      </a:lnTo>
                      <a:lnTo>
                        <a:pt x="1860550" y="3055980"/>
                      </a:lnTo>
                      <a:lnTo>
                        <a:pt x="1860550" y="3067008"/>
                      </a:lnTo>
                      <a:lnTo>
                        <a:pt x="1860550" y="3067798"/>
                      </a:lnTo>
                      <a:lnTo>
                        <a:pt x="1860550" y="3072475"/>
                      </a:lnTo>
                      <a:lnTo>
                        <a:pt x="1860550" y="3072774"/>
                      </a:lnTo>
                      <a:cubicBezTo>
                        <a:pt x="1860550" y="3184470"/>
                        <a:pt x="1792036" y="3280779"/>
                        <a:pt x="1694831" y="3321952"/>
                      </a:cubicBezTo>
                      <a:lnTo>
                        <a:pt x="1593989" y="3342374"/>
                      </a:lnTo>
                      <a:lnTo>
                        <a:pt x="1589537" y="3343276"/>
                      </a:lnTo>
                      <a:cubicBezTo>
                        <a:pt x="267968" y="3343276"/>
                        <a:pt x="267968" y="3343276"/>
                        <a:pt x="267968" y="3343276"/>
                      </a:cubicBezTo>
                      <a:lnTo>
                        <a:pt x="263590" y="3342374"/>
                      </a:lnTo>
                      <a:lnTo>
                        <a:pt x="164435" y="3321952"/>
                      </a:lnTo>
                      <a:cubicBezTo>
                        <a:pt x="68515" y="3280779"/>
                        <a:pt x="0" y="3184470"/>
                        <a:pt x="0" y="3072774"/>
                      </a:cubicBezTo>
                      <a:lnTo>
                        <a:pt x="0" y="3072475"/>
                      </a:lnTo>
                      <a:lnTo>
                        <a:pt x="0" y="2956977"/>
                      </a:lnTo>
                      <a:lnTo>
                        <a:pt x="0" y="2870182"/>
                      </a:lnTo>
                      <a:lnTo>
                        <a:pt x="0" y="2807991"/>
                      </a:lnTo>
                      <a:lnTo>
                        <a:pt x="0" y="2787491"/>
                      </a:lnTo>
                      <a:lnTo>
                        <a:pt x="0" y="2766302"/>
                      </a:lnTo>
                      <a:lnTo>
                        <a:pt x="0" y="2741016"/>
                      </a:lnTo>
                      <a:lnTo>
                        <a:pt x="0" y="2728031"/>
                      </a:lnTo>
                      <a:lnTo>
                        <a:pt x="0" y="2722563"/>
                      </a:lnTo>
                      <a:lnTo>
                        <a:pt x="0" y="2522258"/>
                      </a:lnTo>
                      <a:cubicBezTo>
                        <a:pt x="0" y="1330151"/>
                        <a:pt x="0" y="769160"/>
                        <a:pt x="0" y="505164"/>
                      </a:cubicBezTo>
                      <a:lnTo>
                        <a:pt x="0" y="461963"/>
                      </a:lnTo>
                      <a:lnTo>
                        <a:pt x="0" y="418277"/>
                      </a:lnTo>
                      <a:lnTo>
                        <a:pt x="0" y="398763"/>
                      </a:lnTo>
                      <a:lnTo>
                        <a:pt x="0" y="356020"/>
                      </a:lnTo>
                      <a:lnTo>
                        <a:pt x="0" y="351269"/>
                      </a:lnTo>
                      <a:lnTo>
                        <a:pt x="0" y="314287"/>
                      </a:lnTo>
                      <a:lnTo>
                        <a:pt x="0" y="294426"/>
                      </a:lnTo>
                      <a:lnTo>
                        <a:pt x="0" y="288973"/>
                      </a:lnTo>
                      <a:cubicBezTo>
                        <a:pt x="0" y="282816"/>
                        <a:pt x="0" y="278711"/>
                        <a:pt x="0" y="275975"/>
                      </a:cubicBezTo>
                      <a:lnTo>
                        <a:pt x="0" y="273484"/>
                      </a:lnTo>
                      <a:lnTo>
                        <a:pt x="0" y="270501"/>
                      </a:lnTo>
                      <a:lnTo>
                        <a:pt x="0" y="270492"/>
                      </a:lnTo>
                      <a:cubicBezTo>
                        <a:pt x="0" y="121569"/>
                        <a:pt x="121804" y="0"/>
                        <a:pt x="267968" y="0"/>
                      </a:cubicBezTo>
                      <a:close/>
                    </a:path>
                  </a:pathLst>
                </a:custGeom>
                <a:solidFill>
                  <a:srgbClr val="0078D7"/>
                </a:solidFill>
                <a:ln>
                  <a:noFill/>
                </a:ln>
              </p:spPr>
              <p:txBody>
                <a:bodyPr vert="horz" wrap="square" lIns="89619" tIns="44809" rIns="89619" bIns="44809" numCol="1" anchor="t" anchorCtr="0" compatLnSpc="1">
                  <a:prstTxWarp prst="textNoShape">
                    <a:avLst/>
                  </a:prstTxWarp>
                  <a:noAutofit/>
                </a:bodyPr>
                <a:lstStyle/>
                <a:p>
                  <a:pPr defTabSz="896117">
                    <a:defRPr/>
                  </a:pPr>
                  <a:endParaRPr lang="en-US" sz="1764" kern="0" dirty="0">
                    <a:solidFill>
                      <a:srgbClr val="FFFFFF"/>
                    </a:solidFill>
                  </a:endParaRPr>
                </a:p>
              </p:txBody>
            </p:sp>
            <p:sp>
              <p:nvSpPr>
                <p:cNvPr id="381" name="Freeform 380"/>
                <p:cNvSpPr/>
                <p:nvPr/>
              </p:nvSpPr>
              <p:spPr bwMode="auto">
                <a:xfrm>
                  <a:off x="10884687" y="4165112"/>
                  <a:ext cx="248428" cy="140196"/>
                </a:xfrm>
                <a:custGeom>
                  <a:avLst/>
                  <a:gdLst>
                    <a:gd name="connsiteX0" fmla="*/ 5333671 w 7645936"/>
                    <a:gd name="connsiteY0" fmla="*/ 2643510 h 4314825"/>
                    <a:gd name="connsiteX1" fmla="*/ 5193195 w 7645936"/>
                    <a:gd name="connsiteY1" fmla="*/ 2783986 h 4314825"/>
                    <a:gd name="connsiteX2" fmla="*/ 5193195 w 7645936"/>
                    <a:gd name="connsiteY2" fmla="*/ 3723500 h 4314825"/>
                    <a:gd name="connsiteX3" fmla="*/ 5333671 w 7645936"/>
                    <a:gd name="connsiteY3" fmla="*/ 3863976 h 4314825"/>
                    <a:gd name="connsiteX4" fmla="*/ 5421017 w 7645936"/>
                    <a:gd name="connsiteY4" fmla="*/ 3863976 h 4314825"/>
                    <a:gd name="connsiteX5" fmla="*/ 5561493 w 7645936"/>
                    <a:gd name="connsiteY5" fmla="*/ 3723500 h 4314825"/>
                    <a:gd name="connsiteX6" fmla="*/ 5561493 w 7645936"/>
                    <a:gd name="connsiteY6" fmla="*/ 2783986 h 4314825"/>
                    <a:gd name="connsiteX7" fmla="*/ 5421017 w 7645936"/>
                    <a:gd name="connsiteY7" fmla="*/ 2643510 h 4314825"/>
                    <a:gd name="connsiteX8" fmla="*/ 4527329 w 7645936"/>
                    <a:gd name="connsiteY8" fmla="*/ 2643510 h 4314825"/>
                    <a:gd name="connsiteX9" fmla="*/ 4386853 w 7645936"/>
                    <a:gd name="connsiteY9" fmla="*/ 2783986 h 4314825"/>
                    <a:gd name="connsiteX10" fmla="*/ 4386853 w 7645936"/>
                    <a:gd name="connsiteY10" fmla="*/ 3723500 h 4314825"/>
                    <a:gd name="connsiteX11" fmla="*/ 4527329 w 7645936"/>
                    <a:gd name="connsiteY11" fmla="*/ 3863976 h 4314825"/>
                    <a:gd name="connsiteX12" fmla="*/ 4614675 w 7645936"/>
                    <a:gd name="connsiteY12" fmla="*/ 3863976 h 4314825"/>
                    <a:gd name="connsiteX13" fmla="*/ 4755151 w 7645936"/>
                    <a:gd name="connsiteY13" fmla="*/ 3723500 h 4314825"/>
                    <a:gd name="connsiteX14" fmla="*/ 4755151 w 7645936"/>
                    <a:gd name="connsiteY14" fmla="*/ 2783986 h 4314825"/>
                    <a:gd name="connsiteX15" fmla="*/ 4614675 w 7645936"/>
                    <a:gd name="connsiteY15" fmla="*/ 2643510 h 4314825"/>
                    <a:gd name="connsiteX16" fmla="*/ 3720987 w 7645936"/>
                    <a:gd name="connsiteY16" fmla="*/ 2643510 h 4314825"/>
                    <a:gd name="connsiteX17" fmla="*/ 3580511 w 7645936"/>
                    <a:gd name="connsiteY17" fmla="*/ 2783986 h 4314825"/>
                    <a:gd name="connsiteX18" fmla="*/ 3580511 w 7645936"/>
                    <a:gd name="connsiteY18" fmla="*/ 3723500 h 4314825"/>
                    <a:gd name="connsiteX19" fmla="*/ 3720987 w 7645936"/>
                    <a:gd name="connsiteY19" fmla="*/ 3863976 h 4314825"/>
                    <a:gd name="connsiteX20" fmla="*/ 3808333 w 7645936"/>
                    <a:gd name="connsiteY20" fmla="*/ 3863976 h 4314825"/>
                    <a:gd name="connsiteX21" fmla="*/ 3948809 w 7645936"/>
                    <a:gd name="connsiteY21" fmla="*/ 3723500 h 4314825"/>
                    <a:gd name="connsiteX22" fmla="*/ 3948809 w 7645936"/>
                    <a:gd name="connsiteY22" fmla="*/ 2783986 h 4314825"/>
                    <a:gd name="connsiteX23" fmla="*/ 3808333 w 7645936"/>
                    <a:gd name="connsiteY23" fmla="*/ 2643510 h 4314825"/>
                    <a:gd name="connsiteX24" fmla="*/ 2914644 w 7645936"/>
                    <a:gd name="connsiteY24" fmla="*/ 2643510 h 4314825"/>
                    <a:gd name="connsiteX25" fmla="*/ 2774168 w 7645936"/>
                    <a:gd name="connsiteY25" fmla="*/ 2783986 h 4314825"/>
                    <a:gd name="connsiteX26" fmla="*/ 2774168 w 7645936"/>
                    <a:gd name="connsiteY26" fmla="*/ 3723500 h 4314825"/>
                    <a:gd name="connsiteX27" fmla="*/ 2914644 w 7645936"/>
                    <a:gd name="connsiteY27" fmla="*/ 3863976 h 4314825"/>
                    <a:gd name="connsiteX28" fmla="*/ 3001990 w 7645936"/>
                    <a:gd name="connsiteY28" fmla="*/ 3863976 h 4314825"/>
                    <a:gd name="connsiteX29" fmla="*/ 3142466 w 7645936"/>
                    <a:gd name="connsiteY29" fmla="*/ 3723500 h 4314825"/>
                    <a:gd name="connsiteX30" fmla="*/ 3142466 w 7645936"/>
                    <a:gd name="connsiteY30" fmla="*/ 2783986 h 4314825"/>
                    <a:gd name="connsiteX31" fmla="*/ 3001990 w 7645936"/>
                    <a:gd name="connsiteY31" fmla="*/ 2643510 h 4314825"/>
                    <a:gd name="connsiteX32" fmla="*/ 2108301 w 7645936"/>
                    <a:gd name="connsiteY32" fmla="*/ 2643510 h 4314825"/>
                    <a:gd name="connsiteX33" fmla="*/ 1967825 w 7645936"/>
                    <a:gd name="connsiteY33" fmla="*/ 2783986 h 4314825"/>
                    <a:gd name="connsiteX34" fmla="*/ 1967825 w 7645936"/>
                    <a:gd name="connsiteY34" fmla="*/ 3723500 h 4314825"/>
                    <a:gd name="connsiteX35" fmla="*/ 2108301 w 7645936"/>
                    <a:gd name="connsiteY35" fmla="*/ 3863976 h 4314825"/>
                    <a:gd name="connsiteX36" fmla="*/ 2195647 w 7645936"/>
                    <a:gd name="connsiteY36" fmla="*/ 3863976 h 4314825"/>
                    <a:gd name="connsiteX37" fmla="*/ 2336123 w 7645936"/>
                    <a:gd name="connsiteY37" fmla="*/ 3723500 h 4314825"/>
                    <a:gd name="connsiteX38" fmla="*/ 2336123 w 7645936"/>
                    <a:gd name="connsiteY38" fmla="*/ 2783986 h 4314825"/>
                    <a:gd name="connsiteX39" fmla="*/ 2195647 w 7645936"/>
                    <a:gd name="connsiteY39" fmla="*/ 2643510 h 4314825"/>
                    <a:gd name="connsiteX40" fmla="*/ 5312536 w 7645936"/>
                    <a:gd name="connsiteY40" fmla="*/ 2564132 h 4314825"/>
                    <a:gd name="connsiteX41" fmla="*/ 5442152 w 7645936"/>
                    <a:gd name="connsiteY41" fmla="*/ 2564132 h 4314825"/>
                    <a:gd name="connsiteX42" fmla="*/ 5650609 w 7645936"/>
                    <a:gd name="connsiteY42" fmla="*/ 2772589 h 4314825"/>
                    <a:gd name="connsiteX43" fmla="*/ 5650609 w 7645936"/>
                    <a:gd name="connsiteY43" fmla="*/ 3734896 h 4314825"/>
                    <a:gd name="connsiteX44" fmla="*/ 5442152 w 7645936"/>
                    <a:gd name="connsiteY44" fmla="*/ 3943353 h 4314825"/>
                    <a:gd name="connsiteX45" fmla="*/ 5312536 w 7645936"/>
                    <a:gd name="connsiteY45" fmla="*/ 3943353 h 4314825"/>
                    <a:gd name="connsiteX46" fmla="*/ 5104079 w 7645936"/>
                    <a:gd name="connsiteY46" fmla="*/ 3734896 h 4314825"/>
                    <a:gd name="connsiteX47" fmla="*/ 5104079 w 7645936"/>
                    <a:gd name="connsiteY47" fmla="*/ 2772589 h 4314825"/>
                    <a:gd name="connsiteX48" fmla="*/ 5312536 w 7645936"/>
                    <a:gd name="connsiteY48" fmla="*/ 2564132 h 4314825"/>
                    <a:gd name="connsiteX49" fmla="*/ 4506194 w 7645936"/>
                    <a:gd name="connsiteY49" fmla="*/ 2564132 h 4314825"/>
                    <a:gd name="connsiteX50" fmla="*/ 4635810 w 7645936"/>
                    <a:gd name="connsiteY50" fmla="*/ 2564132 h 4314825"/>
                    <a:gd name="connsiteX51" fmla="*/ 4844267 w 7645936"/>
                    <a:gd name="connsiteY51" fmla="*/ 2772589 h 4314825"/>
                    <a:gd name="connsiteX52" fmla="*/ 4844267 w 7645936"/>
                    <a:gd name="connsiteY52" fmla="*/ 3734896 h 4314825"/>
                    <a:gd name="connsiteX53" fmla="*/ 4635810 w 7645936"/>
                    <a:gd name="connsiteY53" fmla="*/ 3943353 h 4314825"/>
                    <a:gd name="connsiteX54" fmla="*/ 4506194 w 7645936"/>
                    <a:gd name="connsiteY54" fmla="*/ 3943353 h 4314825"/>
                    <a:gd name="connsiteX55" fmla="*/ 4297737 w 7645936"/>
                    <a:gd name="connsiteY55" fmla="*/ 3734896 h 4314825"/>
                    <a:gd name="connsiteX56" fmla="*/ 4297737 w 7645936"/>
                    <a:gd name="connsiteY56" fmla="*/ 2772589 h 4314825"/>
                    <a:gd name="connsiteX57" fmla="*/ 4506194 w 7645936"/>
                    <a:gd name="connsiteY57" fmla="*/ 2564132 h 4314825"/>
                    <a:gd name="connsiteX58" fmla="*/ 3699852 w 7645936"/>
                    <a:gd name="connsiteY58" fmla="*/ 2564132 h 4314825"/>
                    <a:gd name="connsiteX59" fmla="*/ 3829468 w 7645936"/>
                    <a:gd name="connsiteY59" fmla="*/ 2564132 h 4314825"/>
                    <a:gd name="connsiteX60" fmla="*/ 4037925 w 7645936"/>
                    <a:gd name="connsiteY60" fmla="*/ 2772589 h 4314825"/>
                    <a:gd name="connsiteX61" fmla="*/ 4037925 w 7645936"/>
                    <a:gd name="connsiteY61" fmla="*/ 3734896 h 4314825"/>
                    <a:gd name="connsiteX62" fmla="*/ 3829468 w 7645936"/>
                    <a:gd name="connsiteY62" fmla="*/ 3943353 h 4314825"/>
                    <a:gd name="connsiteX63" fmla="*/ 3699852 w 7645936"/>
                    <a:gd name="connsiteY63" fmla="*/ 3943353 h 4314825"/>
                    <a:gd name="connsiteX64" fmla="*/ 3491395 w 7645936"/>
                    <a:gd name="connsiteY64" fmla="*/ 3734896 h 4314825"/>
                    <a:gd name="connsiteX65" fmla="*/ 3491395 w 7645936"/>
                    <a:gd name="connsiteY65" fmla="*/ 2772589 h 4314825"/>
                    <a:gd name="connsiteX66" fmla="*/ 3699852 w 7645936"/>
                    <a:gd name="connsiteY66" fmla="*/ 2564132 h 4314825"/>
                    <a:gd name="connsiteX67" fmla="*/ 2893509 w 7645936"/>
                    <a:gd name="connsiteY67" fmla="*/ 2564132 h 4314825"/>
                    <a:gd name="connsiteX68" fmla="*/ 3023125 w 7645936"/>
                    <a:gd name="connsiteY68" fmla="*/ 2564132 h 4314825"/>
                    <a:gd name="connsiteX69" fmla="*/ 3231582 w 7645936"/>
                    <a:gd name="connsiteY69" fmla="*/ 2772589 h 4314825"/>
                    <a:gd name="connsiteX70" fmla="*/ 3231582 w 7645936"/>
                    <a:gd name="connsiteY70" fmla="*/ 3734896 h 4314825"/>
                    <a:gd name="connsiteX71" fmla="*/ 3023125 w 7645936"/>
                    <a:gd name="connsiteY71" fmla="*/ 3943353 h 4314825"/>
                    <a:gd name="connsiteX72" fmla="*/ 2893509 w 7645936"/>
                    <a:gd name="connsiteY72" fmla="*/ 3943353 h 4314825"/>
                    <a:gd name="connsiteX73" fmla="*/ 2685052 w 7645936"/>
                    <a:gd name="connsiteY73" fmla="*/ 3734896 h 4314825"/>
                    <a:gd name="connsiteX74" fmla="*/ 2685052 w 7645936"/>
                    <a:gd name="connsiteY74" fmla="*/ 2772589 h 4314825"/>
                    <a:gd name="connsiteX75" fmla="*/ 2893509 w 7645936"/>
                    <a:gd name="connsiteY75" fmla="*/ 2564132 h 4314825"/>
                    <a:gd name="connsiteX76" fmla="*/ 2087166 w 7645936"/>
                    <a:gd name="connsiteY76" fmla="*/ 2564132 h 4314825"/>
                    <a:gd name="connsiteX77" fmla="*/ 2216782 w 7645936"/>
                    <a:gd name="connsiteY77" fmla="*/ 2564132 h 4314825"/>
                    <a:gd name="connsiteX78" fmla="*/ 2425239 w 7645936"/>
                    <a:gd name="connsiteY78" fmla="*/ 2772589 h 4314825"/>
                    <a:gd name="connsiteX79" fmla="*/ 2425239 w 7645936"/>
                    <a:gd name="connsiteY79" fmla="*/ 3734896 h 4314825"/>
                    <a:gd name="connsiteX80" fmla="*/ 2216782 w 7645936"/>
                    <a:gd name="connsiteY80" fmla="*/ 3943353 h 4314825"/>
                    <a:gd name="connsiteX81" fmla="*/ 2087166 w 7645936"/>
                    <a:gd name="connsiteY81" fmla="*/ 3943353 h 4314825"/>
                    <a:gd name="connsiteX82" fmla="*/ 1878709 w 7645936"/>
                    <a:gd name="connsiteY82" fmla="*/ 3734896 h 4314825"/>
                    <a:gd name="connsiteX83" fmla="*/ 1878709 w 7645936"/>
                    <a:gd name="connsiteY83" fmla="*/ 2772589 h 4314825"/>
                    <a:gd name="connsiteX84" fmla="*/ 2087166 w 7645936"/>
                    <a:gd name="connsiteY84" fmla="*/ 2564132 h 4314825"/>
                    <a:gd name="connsiteX85" fmla="*/ 5082919 w 7645936"/>
                    <a:gd name="connsiteY85" fmla="*/ 775812 h 4314825"/>
                    <a:gd name="connsiteX86" fmla="*/ 4576665 w 7645936"/>
                    <a:gd name="connsiteY86" fmla="*/ 1282066 h 4314825"/>
                    <a:gd name="connsiteX87" fmla="*/ 5082919 w 7645936"/>
                    <a:gd name="connsiteY87" fmla="*/ 1788320 h 4314825"/>
                    <a:gd name="connsiteX88" fmla="*/ 5589173 w 7645936"/>
                    <a:gd name="connsiteY88" fmla="*/ 1282066 h 4314825"/>
                    <a:gd name="connsiteX89" fmla="*/ 5082919 w 7645936"/>
                    <a:gd name="connsiteY89" fmla="*/ 775812 h 4314825"/>
                    <a:gd name="connsiteX90" fmla="*/ 2408299 w 7645936"/>
                    <a:gd name="connsiteY90" fmla="*/ 775812 h 4314825"/>
                    <a:gd name="connsiteX91" fmla="*/ 1902046 w 7645936"/>
                    <a:gd name="connsiteY91" fmla="*/ 1282066 h 4314825"/>
                    <a:gd name="connsiteX92" fmla="*/ 2408299 w 7645936"/>
                    <a:gd name="connsiteY92" fmla="*/ 1788320 h 4314825"/>
                    <a:gd name="connsiteX93" fmla="*/ 2914553 w 7645936"/>
                    <a:gd name="connsiteY93" fmla="*/ 1282066 h 4314825"/>
                    <a:gd name="connsiteX94" fmla="*/ 2408299 w 7645936"/>
                    <a:gd name="connsiteY94" fmla="*/ 775812 h 4314825"/>
                    <a:gd name="connsiteX95" fmla="*/ 5082919 w 7645936"/>
                    <a:gd name="connsiteY95" fmla="*/ 661036 h 4314825"/>
                    <a:gd name="connsiteX96" fmla="*/ 5703949 w 7645936"/>
                    <a:gd name="connsiteY96" fmla="*/ 1282066 h 4314825"/>
                    <a:gd name="connsiteX97" fmla="*/ 5082919 w 7645936"/>
                    <a:gd name="connsiteY97" fmla="*/ 1903096 h 4314825"/>
                    <a:gd name="connsiteX98" fmla="*/ 4461889 w 7645936"/>
                    <a:gd name="connsiteY98" fmla="*/ 1282066 h 4314825"/>
                    <a:gd name="connsiteX99" fmla="*/ 5082919 w 7645936"/>
                    <a:gd name="connsiteY99" fmla="*/ 661036 h 4314825"/>
                    <a:gd name="connsiteX100" fmla="*/ 2408299 w 7645936"/>
                    <a:gd name="connsiteY100" fmla="*/ 661036 h 4314825"/>
                    <a:gd name="connsiteX101" fmla="*/ 3029329 w 7645936"/>
                    <a:gd name="connsiteY101" fmla="*/ 1282066 h 4314825"/>
                    <a:gd name="connsiteX102" fmla="*/ 2408299 w 7645936"/>
                    <a:gd name="connsiteY102" fmla="*/ 1903096 h 4314825"/>
                    <a:gd name="connsiteX103" fmla="*/ 1787269 w 7645936"/>
                    <a:gd name="connsiteY103" fmla="*/ 1282066 h 4314825"/>
                    <a:gd name="connsiteX104" fmla="*/ 2408299 w 7645936"/>
                    <a:gd name="connsiteY104" fmla="*/ 661036 h 4314825"/>
                    <a:gd name="connsiteX105" fmla="*/ 1164182 w 7645936"/>
                    <a:gd name="connsiteY105" fmla="*/ 126434 h 4314825"/>
                    <a:gd name="connsiteX106" fmla="*/ 1034158 w 7645936"/>
                    <a:gd name="connsiteY106" fmla="*/ 256457 h 4314825"/>
                    <a:gd name="connsiteX107" fmla="*/ 1034158 w 7645936"/>
                    <a:gd name="connsiteY107" fmla="*/ 1603376 h 4314825"/>
                    <a:gd name="connsiteX108" fmla="*/ 879743 w 7645936"/>
                    <a:gd name="connsiteY108" fmla="*/ 1603376 h 4314825"/>
                    <a:gd name="connsiteX109" fmla="*/ 478976 w 7645936"/>
                    <a:gd name="connsiteY109" fmla="*/ 1603376 h 4314825"/>
                    <a:gd name="connsiteX110" fmla="*/ 478976 w 7645936"/>
                    <a:gd name="connsiteY110" fmla="*/ 1286475 h 4314825"/>
                    <a:gd name="connsiteX111" fmla="*/ 89830 w 7645936"/>
                    <a:gd name="connsiteY111" fmla="*/ 1286475 h 4314825"/>
                    <a:gd name="connsiteX112" fmla="*/ 89830 w 7645936"/>
                    <a:gd name="connsiteY112" fmla="*/ 2046729 h 4314825"/>
                    <a:gd name="connsiteX113" fmla="*/ 478976 w 7645936"/>
                    <a:gd name="connsiteY113" fmla="*/ 2046729 h 4314825"/>
                    <a:gd name="connsiteX114" fmla="*/ 478976 w 7645936"/>
                    <a:gd name="connsiteY114" fmla="*/ 1724026 h 4314825"/>
                    <a:gd name="connsiteX115" fmla="*/ 879743 w 7645936"/>
                    <a:gd name="connsiteY115" fmla="*/ 1724026 h 4314825"/>
                    <a:gd name="connsiteX116" fmla="*/ 1034158 w 7645936"/>
                    <a:gd name="connsiteY116" fmla="*/ 1724026 h 4314825"/>
                    <a:gd name="connsiteX117" fmla="*/ 1034158 w 7645936"/>
                    <a:gd name="connsiteY117" fmla="*/ 4058369 h 4314825"/>
                    <a:gd name="connsiteX118" fmla="*/ 1164182 w 7645936"/>
                    <a:gd name="connsiteY118" fmla="*/ 4188392 h 4314825"/>
                    <a:gd name="connsiteX119" fmla="*/ 6481755 w 7645936"/>
                    <a:gd name="connsiteY119" fmla="*/ 4188392 h 4314825"/>
                    <a:gd name="connsiteX120" fmla="*/ 6611778 w 7645936"/>
                    <a:gd name="connsiteY120" fmla="*/ 4058369 h 4314825"/>
                    <a:gd name="connsiteX121" fmla="*/ 6611778 w 7645936"/>
                    <a:gd name="connsiteY121" fmla="*/ 1724026 h 4314825"/>
                    <a:gd name="connsiteX122" fmla="*/ 6766193 w 7645936"/>
                    <a:gd name="connsiteY122" fmla="*/ 1724026 h 4314825"/>
                    <a:gd name="connsiteX123" fmla="*/ 7166960 w 7645936"/>
                    <a:gd name="connsiteY123" fmla="*/ 1724026 h 4314825"/>
                    <a:gd name="connsiteX124" fmla="*/ 7166960 w 7645936"/>
                    <a:gd name="connsiteY124" fmla="*/ 2046729 h 4314825"/>
                    <a:gd name="connsiteX125" fmla="*/ 7556106 w 7645936"/>
                    <a:gd name="connsiteY125" fmla="*/ 2046729 h 4314825"/>
                    <a:gd name="connsiteX126" fmla="*/ 7556106 w 7645936"/>
                    <a:gd name="connsiteY126" fmla="*/ 1286475 h 4314825"/>
                    <a:gd name="connsiteX127" fmla="*/ 7166960 w 7645936"/>
                    <a:gd name="connsiteY127" fmla="*/ 1286475 h 4314825"/>
                    <a:gd name="connsiteX128" fmla="*/ 7166960 w 7645936"/>
                    <a:gd name="connsiteY128" fmla="*/ 1603376 h 4314825"/>
                    <a:gd name="connsiteX129" fmla="*/ 6766193 w 7645936"/>
                    <a:gd name="connsiteY129" fmla="*/ 1603376 h 4314825"/>
                    <a:gd name="connsiteX130" fmla="*/ 6611778 w 7645936"/>
                    <a:gd name="connsiteY130" fmla="*/ 1603376 h 4314825"/>
                    <a:gd name="connsiteX131" fmla="*/ 6611778 w 7645936"/>
                    <a:gd name="connsiteY131" fmla="*/ 256457 h 4314825"/>
                    <a:gd name="connsiteX132" fmla="*/ 6481755 w 7645936"/>
                    <a:gd name="connsiteY132" fmla="*/ 126434 h 4314825"/>
                    <a:gd name="connsiteX133" fmla="*/ 1011518 w 7645936"/>
                    <a:gd name="connsiteY133" fmla="*/ 0 h 4314825"/>
                    <a:gd name="connsiteX134" fmla="*/ 6634418 w 7645936"/>
                    <a:gd name="connsiteY134" fmla="*/ 0 h 4314825"/>
                    <a:gd name="connsiteX135" fmla="*/ 6766193 w 7645936"/>
                    <a:gd name="connsiteY135" fmla="*/ 131775 h 4314825"/>
                    <a:gd name="connsiteX136" fmla="*/ 6766193 w 7645936"/>
                    <a:gd name="connsiteY136" fmla="*/ 1485987 h 4314825"/>
                    <a:gd name="connsiteX137" fmla="*/ 7077129 w 7645936"/>
                    <a:gd name="connsiteY137" fmla="*/ 1485987 h 4314825"/>
                    <a:gd name="connsiteX138" fmla="*/ 7077129 w 7645936"/>
                    <a:gd name="connsiteY138" fmla="*/ 1193887 h 4314825"/>
                    <a:gd name="connsiteX139" fmla="*/ 7645936 w 7645936"/>
                    <a:gd name="connsiteY139" fmla="*/ 1193887 h 4314825"/>
                    <a:gd name="connsiteX140" fmla="*/ 7645936 w 7645936"/>
                    <a:gd name="connsiteY140" fmla="*/ 2139317 h 4314825"/>
                    <a:gd name="connsiteX141" fmla="*/ 7077129 w 7645936"/>
                    <a:gd name="connsiteY141" fmla="*/ 2139317 h 4314825"/>
                    <a:gd name="connsiteX142" fmla="*/ 7077129 w 7645936"/>
                    <a:gd name="connsiteY142" fmla="*/ 1840719 h 4314825"/>
                    <a:gd name="connsiteX143" fmla="*/ 6766193 w 7645936"/>
                    <a:gd name="connsiteY143" fmla="*/ 1840719 h 4314825"/>
                    <a:gd name="connsiteX144" fmla="*/ 6766193 w 7645936"/>
                    <a:gd name="connsiteY144" fmla="*/ 4183050 h 4314825"/>
                    <a:gd name="connsiteX145" fmla="*/ 6634418 w 7645936"/>
                    <a:gd name="connsiteY145" fmla="*/ 4314825 h 4314825"/>
                    <a:gd name="connsiteX146" fmla="*/ 1011518 w 7645936"/>
                    <a:gd name="connsiteY146" fmla="*/ 4314825 h 4314825"/>
                    <a:gd name="connsiteX147" fmla="*/ 879743 w 7645936"/>
                    <a:gd name="connsiteY147" fmla="*/ 4183050 h 4314825"/>
                    <a:gd name="connsiteX148" fmla="*/ 879743 w 7645936"/>
                    <a:gd name="connsiteY148" fmla="*/ 1840719 h 4314825"/>
                    <a:gd name="connsiteX149" fmla="*/ 568807 w 7645936"/>
                    <a:gd name="connsiteY149" fmla="*/ 1840719 h 4314825"/>
                    <a:gd name="connsiteX150" fmla="*/ 568807 w 7645936"/>
                    <a:gd name="connsiteY150" fmla="*/ 2139317 h 4314825"/>
                    <a:gd name="connsiteX151" fmla="*/ 0 w 7645936"/>
                    <a:gd name="connsiteY151" fmla="*/ 2139317 h 4314825"/>
                    <a:gd name="connsiteX152" fmla="*/ 0 w 7645936"/>
                    <a:gd name="connsiteY152" fmla="*/ 1193887 h 4314825"/>
                    <a:gd name="connsiteX153" fmla="*/ 568807 w 7645936"/>
                    <a:gd name="connsiteY153" fmla="*/ 1193887 h 4314825"/>
                    <a:gd name="connsiteX154" fmla="*/ 568807 w 7645936"/>
                    <a:gd name="connsiteY154" fmla="*/ 1485987 h 4314825"/>
                    <a:gd name="connsiteX155" fmla="*/ 879743 w 7645936"/>
                    <a:gd name="connsiteY155" fmla="*/ 1485987 h 4314825"/>
                    <a:gd name="connsiteX156" fmla="*/ 879743 w 7645936"/>
                    <a:gd name="connsiteY156" fmla="*/ 131775 h 4314825"/>
                    <a:gd name="connsiteX157" fmla="*/ 1011518 w 7645936"/>
                    <a:gd name="connsiteY157" fmla="*/ 0 h 431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7645936" h="4314825">
                      <a:moveTo>
                        <a:pt x="5333671" y="2643510"/>
                      </a:moveTo>
                      <a:cubicBezTo>
                        <a:pt x="5256088" y="2643510"/>
                        <a:pt x="5193195" y="2706403"/>
                        <a:pt x="5193195" y="2783986"/>
                      </a:cubicBezTo>
                      <a:lnTo>
                        <a:pt x="5193195" y="3723500"/>
                      </a:lnTo>
                      <a:cubicBezTo>
                        <a:pt x="5193195" y="3801083"/>
                        <a:pt x="5256088" y="3863976"/>
                        <a:pt x="5333671" y="3863976"/>
                      </a:cubicBezTo>
                      <a:lnTo>
                        <a:pt x="5421017" y="3863976"/>
                      </a:lnTo>
                      <a:cubicBezTo>
                        <a:pt x="5498600" y="3863976"/>
                        <a:pt x="5561493" y="3801083"/>
                        <a:pt x="5561493" y="3723500"/>
                      </a:cubicBezTo>
                      <a:lnTo>
                        <a:pt x="5561493" y="2783986"/>
                      </a:lnTo>
                      <a:cubicBezTo>
                        <a:pt x="5561493" y="2706403"/>
                        <a:pt x="5498600" y="2643510"/>
                        <a:pt x="5421017" y="2643510"/>
                      </a:cubicBezTo>
                      <a:close/>
                      <a:moveTo>
                        <a:pt x="4527329" y="2643510"/>
                      </a:moveTo>
                      <a:cubicBezTo>
                        <a:pt x="4449746" y="2643510"/>
                        <a:pt x="4386853" y="2706403"/>
                        <a:pt x="4386853" y="2783986"/>
                      </a:cubicBezTo>
                      <a:lnTo>
                        <a:pt x="4386853" y="3723500"/>
                      </a:lnTo>
                      <a:cubicBezTo>
                        <a:pt x="4386853" y="3801083"/>
                        <a:pt x="4449746" y="3863976"/>
                        <a:pt x="4527329" y="3863976"/>
                      </a:cubicBezTo>
                      <a:lnTo>
                        <a:pt x="4614675" y="3863976"/>
                      </a:lnTo>
                      <a:cubicBezTo>
                        <a:pt x="4692258" y="3863976"/>
                        <a:pt x="4755151" y="3801083"/>
                        <a:pt x="4755151" y="3723500"/>
                      </a:cubicBezTo>
                      <a:lnTo>
                        <a:pt x="4755151" y="2783986"/>
                      </a:lnTo>
                      <a:cubicBezTo>
                        <a:pt x="4755151" y="2706403"/>
                        <a:pt x="4692258" y="2643510"/>
                        <a:pt x="4614675" y="2643510"/>
                      </a:cubicBezTo>
                      <a:close/>
                      <a:moveTo>
                        <a:pt x="3720987" y="2643510"/>
                      </a:moveTo>
                      <a:cubicBezTo>
                        <a:pt x="3643404" y="2643510"/>
                        <a:pt x="3580511" y="2706403"/>
                        <a:pt x="3580511" y="2783986"/>
                      </a:cubicBezTo>
                      <a:lnTo>
                        <a:pt x="3580511" y="3723500"/>
                      </a:lnTo>
                      <a:cubicBezTo>
                        <a:pt x="3580511" y="3801083"/>
                        <a:pt x="3643404" y="3863976"/>
                        <a:pt x="3720987" y="3863976"/>
                      </a:cubicBezTo>
                      <a:lnTo>
                        <a:pt x="3808333" y="3863976"/>
                      </a:lnTo>
                      <a:cubicBezTo>
                        <a:pt x="3885916" y="3863976"/>
                        <a:pt x="3948809" y="3801083"/>
                        <a:pt x="3948809" y="3723500"/>
                      </a:cubicBezTo>
                      <a:lnTo>
                        <a:pt x="3948809" y="2783986"/>
                      </a:lnTo>
                      <a:cubicBezTo>
                        <a:pt x="3948809" y="2706403"/>
                        <a:pt x="3885916" y="2643510"/>
                        <a:pt x="3808333" y="2643510"/>
                      </a:cubicBezTo>
                      <a:close/>
                      <a:moveTo>
                        <a:pt x="2914644" y="2643510"/>
                      </a:moveTo>
                      <a:cubicBezTo>
                        <a:pt x="2837061" y="2643510"/>
                        <a:pt x="2774168" y="2706403"/>
                        <a:pt x="2774168" y="2783986"/>
                      </a:cubicBezTo>
                      <a:lnTo>
                        <a:pt x="2774168" y="3723500"/>
                      </a:lnTo>
                      <a:cubicBezTo>
                        <a:pt x="2774168" y="3801083"/>
                        <a:pt x="2837061" y="3863976"/>
                        <a:pt x="2914644" y="3863976"/>
                      </a:cubicBezTo>
                      <a:lnTo>
                        <a:pt x="3001990" y="3863976"/>
                      </a:lnTo>
                      <a:cubicBezTo>
                        <a:pt x="3079573" y="3863976"/>
                        <a:pt x="3142466" y="3801083"/>
                        <a:pt x="3142466" y="3723500"/>
                      </a:cubicBezTo>
                      <a:lnTo>
                        <a:pt x="3142466" y="2783986"/>
                      </a:lnTo>
                      <a:cubicBezTo>
                        <a:pt x="3142466" y="2706403"/>
                        <a:pt x="3079573" y="2643510"/>
                        <a:pt x="3001990" y="2643510"/>
                      </a:cubicBezTo>
                      <a:close/>
                      <a:moveTo>
                        <a:pt x="2108301" y="2643510"/>
                      </a:moveTo>
                      <a:cubicBezTo>
                        <a:pt x="2030718" y="2643510"/>
                        <a:pt x="1967825" y="2706403"/>
                        <a:pt x="1967825" y="2783986"/>
                      </a:cubicBezTo>
                      <a:lnTo>
                        <a:pt x="1967825" y="3723500"/>
                      </a:lnTo>
                      <a:cubicBezTo>
                        <a:pt x="1967825" y="3801083"/>
                        <a:pt x="2030718" y="3863976"/>
                        <a:pt x="2108301" y="3863976"/>
                      </a:cubicBezTo>
                      <a:lnTo>
                        <a:pt x="2195647" y="3863976"/>
                      </a:lnTo>
                      <a:cubicBezTo>
                        <a:pt x="2273230" y="3863976"/>
                        <a:pt x="2336123" y="3801083"/>
                        <a:pt x="2336123" y="3723500"/>
                      </a:cubicBezTo>
                      <a:lnTo>
                        <a:pt x="2336123" y="2783986"/>
                      </a:lnTo>
                      <a:cubicBezTo>
                        <a:pt x="2336123" y="2706403"/>
                        <a:pt x="2273230" y="2643510"/>
                        <a:pt x="2195647" y="2643510"/>
                      </a:cubicBezTo>
                      <a:close/>
                      <a:moveTo>
                        <a:pt x="5312536" y="2564132"/>
                      </a:moveTo>
                      <a:lnTo>
                        <a:pt x="5442152" y="2564132"/>
                      </a:lnTo>
                      <a:cubicBezTo>
                        <a:pt x="5557280" y="2564132"/>
                        <a:pt x="5650609" y="2657461"/>
                        <a:pt x="5650609" y="2772589"/>
                      </a:cubicBezTo>
                      <a:lnTo>
                        <a:pt x="5650609" y="3734896"/>
                      </a:lnTo>
                      <a:cubicBezTo>
                        <a:pt x="5650609" y="3850024"/>
                        <a:pt x="5557280" y="3943353"/>
                        <a:pt x="5442152" y="3943353"/>
                      </a:cubicBezTo>
                      <a:lnTo>
                        <a:pt x="5312536" y="3943353"/>
                      </a:lnTo>
                      <a:cubicBezTo>
                        <a:pt x="5197408" y="3943353"/>
                        <a:pt x="5104079" y="3850024"/>
                        <a:pt x="5104079" y="3734896"/>
                      </a:cubicBezTo>
                      <a:lnTo>
                        <a:pt x="5104079" y="2772589"/>
                      </a:lnTo>
                      <a:cubicBezTo>
                        <a:pt x="5104079" y="2657461"/>
                        <a:pt x="5197408" y="2564132"/>
                        <a:pt x="5312536" y="2564132"/>
                      </a:cubicBezTo>
                      <a:close/>
                      <a:moveTo>
                        <a:pt x="4506194" y="2564132"/>
                      </a:moveTo>
                      <a:lnTo>
                        <a:pt x="4635810" y="2564132"/>
                      </a:lnTo>
                      <a:cubicBezTo>
                        <a:pt x="4750938" y="2564132"/>
                        <a:pt x="4844267" y="2657461"/>
                        <a:pt x="4844267" y="2772589"/>
                      </a:cubicBezTo>
                      <a:lnTo>
                        <a:pt x="4844267" y="3734896"/>
                      </a:lnTo>
                      <a:cubicBezTo>
                        <a:pt x="4844267" y="3850024"/>
                        <a:pt x="4750938" y="3943353"/>
                        <a:pt x="4635810" y="3943353"/>
                      </a:cubicBezTo>
                      <a:lnTo>
                        <a:pt x="4506194" y="3943353"/>
                      </a:lnTo>
                      <a:cubicBezTo>
                        <a:pt x="4391066" y="3943353"/>
                        <a:pt x="4297737" y="3850024"/>
                        <a:pt x="4297737" y="3734896"/>
                      </a:cubicBezTo>
                      <a:lnTo>
                        <a:pt x="4297737" y="2772589"/>
                      </a:lnTo>
                      <a:cubicBezTo>
                        <a:pt x="4297737" y="2657461"/>
                        <a:pt x="4391066" y="2564132"/>
                        <a:pt x="4506194" y="2564132"/>
                      </a:cubicBezTo>
                      <a:close/>
                      <a:moveTo>
                        <a:pt x="3699852" y="2564132"/>
                      </a:moveTo>
                      <a:lnTo>
                        <a:pt x="3829468" y="2564132"/>
                      </a:lnTo>
                      <a:cubicBezTo>
                        <a:pt x="3944596" y="2564132"/>
                        <a:pt x="4037925" y="2657461"/>
                        <a:pt x="4037925" y="2772589"/>
                      </a:cubicBezTo>
                      <a:lnTo>
                        <a:pt x="4037925" y="3734896"/>
                      </a:lnTo>
                      <a:cubicBezTo>
                        <a:pt x="4037925" y="3850024"/>
                        <a:pt x="3944596" y="3943353"/>
                        <a:pt x="3829468" y="3943353"/>
                      </a:cubicBezTo>
                      <a:lnTo>
                        <a:pt x="3699852" y="3943353"/>
                      </a:lnTo>
                      <a:cubicBezTo>
                        <a:pt x="3584724" y="3943353"/>
                        <a:pt x="3491395" y="3850024"/>
                        <a:pt x="3491395" y="3734896"/>
                      </a:cubicBezTo>
                      <a:lnTo>
                        <a:pt x="3491395" y="2772589"/>
                      </a:lnTo>
                      <a:cubicBezTo>
                        <a:pt x="3491395" y="2657461"/>
                        <a:pt x="3584724" y="2564132"/>
                        <a:pt x="3699852" y="2564132"/>
                      </a:cubicBezTo>
                      <a:close/>
                      <a:moveTo>
                        <a:pt x="2893509" y="2564132"/>
                      </a:moveTo>
                      <a:lnTo>
                        <a:pt x="3023125" y="2564132"/>
                      </a:lnTo>
                      <a:cubicBezTo>
                        <a:pt x="3138253" y="2564132"/>
                        <a:pt x="3231582" y="2657461"/>
                        <a:pt x="3231582" y="2772589"/>
                      </a:cubicBezTo>
                      <a:lnTo>
                        <a:pt x="3231582" y="3734896"/>
                      </a:lnTo>
                      <a:cubicBezTo>
                        <a:pt x="3231582" y="3850024"/>
                        <a:pt x="3138253" y="3943353"/>
                        <a:pt x="3023125" y="3943353"/>
                      </a:cubicBezTo>
                      <a:lnTo>
                        <a:pt x="2893509" y="3943353"/>
                      </a:lnTo>
                      <a:cubicBezTo>
                        <a:pt x="2778381" y="3943353"/>
                        <a:pt x="2685052" y="3850024"/>
                        <a:pt x="2685052" y="3734896"/>
                      </a:cubicBezTo>
                      <a:lnTo>
                        <a:pt x="2685052" y="2772589"/>
                      </a:lnTo>
                      <a:cubicBezTo>
                        <a:pt x="2685052" y="2657461"/>
                        <a:pt x="2778381" y="2564132"/>
                        <a:pt x="2893509" y="2564132"/>
                      </a:cubicBezTo>
                      <a:close/>
                      <a:moveTo>
                        <a:pt x="2087166" y="2564132"/>
                      </a:moveTo>
                      <a:lnTo>
                        <a:pt x="2216782" y="2564132"/>
                      </a:lnTo>
                      <a:cubicBezTo>
                        <a:pt x="2331910" y="2564132"/>
                        <a:pt x="2425239" y="2657461"/>
                        <a:pt x="2425239" y="2772589"/>
                      </a:cubicBezTo>
                      <a:lnTo>
                        <a:pt x="2425239" y="3734896"/>
                      </a:lnTo>
                      <a:cubicBezTo>
                        <a:pt x="2425239" y="3850024"/>
                        <a:pt x="2331910" y="3943353"/>
                        <a:pt x="2216782" y="3943353"/>
                      </a:cubicBezTo>
                      <a:lnTo>
                        <a:pt x="2087166" y="3943353"/>
                      </a:lnTo>
                      <a:cubicBezTo>
                        <a:pt x="1972038" y="3943353"/>
                        <a:pt x="1878709" y="3850024"/>
                        <a:pt x="1878709" y="3734896"/>
                      </a:cubicBezTo>
                      <a:lnTo>
                        <a:pt x="1878709" y="2772589"/>
                      </a:lnTo>
                      <a:cubicBezTo>
                        <a:pt x="1878709" y="2657461"/>
                        <a:pt x="1972038" y="2564132"/>
                        <a:pt x="2087166" y="2564132"/>
                      </a:cubicBezTo>
                      <a:close/>
                      <a:moveTo>
                        <a:pt x="5082919" y="775812"/>
                      </a:moveTo>
                      <a:cubicBezTo>
                        <a:pt x="4803323" y="775812"/>
                        <a:pt x="4576665" y="1002470"/>
                        <a:pt x="4576665" y="1282066"/>
                      </a:cubicBezTo>
                      <a:cubicBezTo>
                        <a:pt x="4576665" y="1561662"/>
                        <a:pt x="4803323" y="1788320"/>
                        <a:pt x="5082919" y="1788320"/>
                      </a:cubicBezTo>
                      <a:cubicBezTo>
                        <a:pt x="5362515" y="1788320"/>
                        <a:pt x="5589173" y="1561662"/>
                        <a:pt x="5589173" y="1282066"/>
                      </a:cubicBezTo>
                      <a:cubicBezTo>
                        <a:pt x="5589173" y="1002470"/>
                        <a:pt x="5362515" y="775812"/>
                        <a:pt x="5082919" y="775812"/>
                      </a:cubicBezTo>
                      <a:close/>
                      <a:moveTo>
                        <a:pt x="2408299" y="775812"/>
                      </a:moveTo>
                      <a:cubicBezTo>
                        <a:pt x="2128703" y="775812"/>
                        <a:pt x="1902046" y="1002470"/>
                        <a:pt x="1902046" y="1282066"/>
                      </a:cubicBezTo>
                      <a:cubicBezTo>
                        <a:pt x="1902046" y="1561662"/>
                        <a:pt x="2128703" y="1788320"/>
                        <a:pt x="2408299" y="1788320"/>
                      </a:cubicBezTo>
                      <a:cubicBezTo>
                        <a:pt x="2687895" y="1788320"/>
                        <a:pt x="2914553" y="1561662"/>
                        <a:pt x="2914553" y="1282066"/>
                      </a:cubicBezTo>
                      <a:cubicBezTo>
                        <a:pt x="2914553" y="1002470"/>
                        <a:pt x="2687895" y="775812"/>
                        <a:pt x="2408299" y="775812"/>
                      </a:cubicBezTo>
                      <a:close/>
                      <a:moveTo>
                        <a:pt x="5082919" y="661036"/>
                      </a:moveTo>
                      <a:cubicBezTo>
                        <a:pt x="5425904" y="661036"/>
                        <a:pt x="5703949" y="939081"/>
                        <a:pt x="5703949" y="1282066"/>
                      </a:cubicBezTo>
                      <a:cubicBezTo>
                        <a:pt x="5703949" y="1625051"/>
                        <a:pt x="5425904" y="1903096"/>
                        <a:pt x="5082919" y="1903096"/>
                      </a:cubicBezTo>
                      <a:cubicBezTo>
                        <a:pt x="4739934" y="1903096"/>
                        <a:pt x="4461889" y="1625051"/>
                        <a:pt x="4461889" y="1282066"/>
                      </a:cubicBezTo>
                      <a:cubicBezTo>
                        <a:pt x="4461889" y="939081"/>
                        <a:pt x="4739934" y="661036"/>
                        <a:pt x="5082919" y="661036"/>
                      </a:cubicBezTo>
                      <a:close/>
                      <a:moveTo>
                        <a:pt x="2408299" y="661036"/>
                      </a:moveTo>
                      <a:cubicBezTo>
                        <a:pt x="2751284" y="661036"/>
                        <a:pt x="3029329" y="939081"/>
                        <a:pt x="3029329" y="1282066"/>
                      </a:cubicBezTo>
                      <a:cubicBezTo>
                        <a:pt x="3029329" y="1625051"/>
                        <a:pt x="2751284" y="1903096"/>
                        <a:pt x="2408299" y="1903096"/>
                      </a:cubicBezTo>
                      <a:cubicBezTo>
                        <a:pt x="2065314" y="1903096"/>
                        <a:pt x="1787269" y="1625051"/>
                        <a:pt x="1787269" y="1282066"/>
                      </a:cubicBezTo>
                      <a:cubicBezTo>
                        <a:pt x="1787269" y="939081"/>
                        <a:pt x="2065314" y="661036"/>
                        <a:pt x="2408299" y="661036"/>
                      </a:cubicBezTo>
                      <a:close/>
                      <a:moveTo>
                        <a:pt x="1164182" y="126434"/>
                      </a:moveTo>
                      <a:cubicBezTo>
                        <a:pt x="1092372" y="126434"/>
                        <a:pt x="1034158" y="184647"/>
                        <a:pt x="1034158" y="256457"/>
                      </a:cubicBezTo>
                      <a:lnTo>
                        <a:pt x="1034158" y="1603376"/>
                      </a:lnTo>
                      <a:lnTo>
                        <a:pt x="879743" y="1603376"/>
                      </a:lnTo>
                      <a:lnTo>
                        <a:pt x="478976" y="1603376"/>
                      </a:lnTo>
                      <a:lnTo>
                        <a:pt x="478976" y="1286475"/>
                      </a:lnTo>
                      <a:lnTo>
                        <a:pt x="89830" y="1286475"/>
                      </a:lnTo>
                      <a:lnTo>
                        <a:pt x="89830" y="2046729"/>
                      </a:lnTo>
                      <a:lnTo>
                        <a:pt x="478976" y="2046729"/>
                      </a:lnTo>
                      <a:lnTo>
                        <a:pt x="478976" y="1724026"/>
                      </a:lnTo>
                      <a:lnTo>
                        <a:pt x="879743" y="1724026"/>
                      </a:lnTo>
                      <a:lnTo>
                        <a:pt x="1034158" y="1724026"/>
                      </a:lnTo>
                      <a:lnTo>
                        <a:pt x="1034158" y="4058369"/>
                      </a:lnTo>
                      <a:cubicBezTo>
                        <a:pt x="1034158" y="4130179"/>
                        <a:pt x="1092372" y="4188392"/>
                        <a:pt x="1164182" y="4188392"/>
                      </a:cubicBezTo>
                      <a:lnTo>
                        <a:pt x="6481755" y="4188392"/>
                      </a:lnTo>
                      <a:cubicBezTo>
                        <a:pt x="6553565" y="4188392"/>
                        <a:pt x="6611778" y="4130179"/>
                        <a:pt x="6611778" y="4058369"/>
                      </a:cubicBezTo>
                      <a:lnTo>
                        <a:pt x="6611778" y="1724026"/>
                      </a:lnTo>
                      <a:lnTo>
                        <a:pt x="6766193" y="1724026"/>
                      </a:lnTo>
                      <a:lnTo>
                        <a:pt x="7166960" y="1724026"/>
                      </a:lnTo>
                      <a:lnTo>
                        <a:pt x="7166960" y="2046729"/>
                      </a:lnTo>
                      <a:lnTo>
                        <a:pt x="7556106" y="2046729"/>
                      </a:lnTo>
                      <a:lnTo>
                        <a:pt x="7556106" y="1286475"/>
                      </a:lnTo>
                      <a:lnTo>
                        <a:pt x="7166960" y="1286475"/>
                      </a:lnTo>
                      <a:lnTo>
                        <a:pt x="7166960" y="1603376"/>
                      </a:lnTo>
                      <a:lnTo>
                        <a:pt x="6766193" y="1603376"/>
                      </a:lnTo>
                      <a:lnTo>
                        <a:pt x="6611778" y="1603376"/>
                      </a:lnTo>
                      <a:lnTo>
                        <a:pt x="6611778" y="256457"/>
                      </a:lnTo>
                      <a:cubicBezTo>
                        <a:pt x="6611778" y="184647"/>
                        <a:pt x="6553565" y="126434"/>
                        <a:pt x="6481755" y="126434"/>
                      </a:cubicBezTo>
                      <a:close/>
                      <a:moveTo>
                        <a:pt x="1011518" y="0"/>
                      </a:moveTo>
                      <a:lnTo>
                        <a:pt x="6634418" y="0"/>
                      </a:lnTo>
                      <a:cubicBezTo>
                        <a:pt x="6707195" y="0"/>
                        <a:pt x="6766193" y="58999"/>
                        <a:pt x="6766193" y="131775"/>
                      </a:cubicBezTo>
                      <a:lnTo>
                        <a:pt x="6766193" y="1485987"/>
                      </a:lnTo>
                      <a:lnTo>
                        <a:pt x="7077129" y="1485987"/>
                      </a:lnTo>
                      <a:lnTo>
                        <a:pt x="7077129" y="1193887"/>
                      </a:lnTo>
                      <a:lnTo>
                        <a:pt x="7645936" y="1193887"/>
                      </a:lnTo>
                      <a:lnTo>
                        <a:pt x="7645936" y="2139317"/>
                      </a:lnTo>
                      <a:lnTo>
                        <a:pt x="7077129" y="2139317"/>
                      </a:lnTo>
                      <a:lnTo>
                        <a:pt x="7077129" y="1840719"/>
                      </a:lnTo>
                      <a:lnTo>
                        <a:pt x="6766193" y="1840719"/>
                      </a:lnTo>
                      <a:lnTo>
                        <a:pt x="6766193" y="4183050"/>
                      </a:lnTo>
                      <a:cubicBezTo>
                        <a:pt x="6766193" y="4255827"/>
                        <a:pt x="6707195" y="4314825"/>
                        <a:pt x="6634418" y="4314825"/>
                      </a:cubicBezTo>
                      <a:lnTo>
                        <a:pt x="1011518" y="4314825"/>
                      </a:lnTo>
                      <a:cubicBezTo>
                        <a:pt x="938741" y="4314825"/>
                        <a:pt x="879743" y="4255827"/>
                        <a:pt x="879743" y="4183050"/>
                      </a:cubicBezTo>
                      <a:lnTo>
                        <a:pt x="879743" y="1840719"/>
                      </a:lnTo>
                      <a:lnTo>
                        <a:pt x="568807" y="1840719"/>
                      </a:lnTo>
                      <a:lnTo>
                        <a:pt x="568807" y="2139317"/>
                      </a:lnTo>
                      <a:lnTo>
                        <a:pt x="0" y="2139317"/>
                      </a:lnTo>
                      <a:lnTo>
                        <a:pt x="0" y="1193887"/>
                      </a:lnTo>
                      <a:lnTo>
                        <a:pt x="568807" y="1193887"/>
                      </a:lnTo>
                      <a:lnTo>
                        <a:pt x="568807" y="1485987"/>
                      </a:lnTo>
                      <a:lnTo>
                        <a:pt x="879743" y="1485987"/>
                      </a:lnTo>
                      <a:lnTo>
                        <a:pt x="879743" y="131775"/>
                      </a:lnTo>
                      <a:cubicBezTo>
                        <a:pt x="879743" y="58999"/>
                        <a:pt x="938741" y="0"/>
                        <a:pt x="1011518" y="0"/>
                      </a:cubicBezTo>
                      <a:close/>
                    </a:path>
                  </a:pathLst>
                </a:custGeom>
                <a:solidFill>
                  <a:srgbClr val="0078D7"/>
                </a:solidFill>
                <a:ln w="3175" cap="flat" cmpd="sng" algn="ctr">
                  <a:solidFill>
                    <a:srgbClr val="0078D7"/>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2352"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382" name="Straight Connector 381"/>
                <p:cNvCxnSpPr/>
                <p:nvPr/>
              </p:nvCxnSpPr>
              <p:spPr>
                <a:xfrm flipH="1">
                  <a:off x="10486805" y="3605293"/>
                  <a:ext cx="308472" cy="0"/>
                </a:xfrm>
                <a:prstGeom prst="line">
                  <a:avLst/>
                </a:prstGeom>
                <a:noFill/>
                <a:ln w="9525" cap="flat" cmpd="sng" algn="ctr">
                  <a:solidFill>
                    <a:srgbClr val="FFFFFF">
                      <a:lumMod val="65000"/>
                    </a:srgbClr>
                  </a:solidFill>
                  <a:prstDash val="solid"/>
                  <a:headEnd type="none" w="med" len="med"/>
                  <a:tailEnd type="none" w="med" len="med"/>
                </a:ln>
                <a:effectLst/>
              </p:spPr>
            </p:cxnSp>
          </p:grpSp>
        </p:grpSp>
      </p:grpSp>
      <p:grpSp>
        <p:nvGrpSpPr>
          <p:cNvPr id="391" name="Group 390"/>
          <p:cNvGrpSpPr/>
          <p:nvPr/>
        </p:nvGrpSpPr>
        <p:grpSpPr>
          <a:xfrm>
            <a:off x="7183504" y="1278164"/>
            <a:ext cx="2516599" cy="4460602"/>
            <a:chOff x="7329456" y="1657048"/>
            <a:chExt cx="2567731" cy="4551232"/>
          </a:xfrm>
        </p:grpSpPr>
        <p:sp>
          <p:nvSpPr>
            <p:cNvPr id="392" name="Rectangle 391"/>
            <p:cNvSpPr/>
            <p:nvPr/>
          </p:nvSpPr>
          <p:spPr bwMode="auto">
            <a:xfrm>
              <a:off x="7759316" y="1657048"/>
              <a:ext cx="1737360" cy="2734231"/>
            </a:xfrm>
            <a:prstGeom prst="rect">
              <a:avLst/>
            </a:prstGeom>
            <a:solidFill>
              <a:srgbClr val="0078D7"/>
            </a:solidFill>
            <a:ln w="3175">
              <a:noFill/>
            </a:ln>
            <a:effectLst/>
          </p:spPr>
          <p:txBody>
            <a:bodyPr spcFirstLastPara="0" vert="horz" wrap="square" lIns="17917" tIns="89619" rIns="17917" bIns="89581" numCol="1" spcCol="1270" anchor="t" anchorCtr="0">
              <a:noAutofit/>
            </a:bodyPr>
            <a:lstStyle/>
            <a:p>
              <a:pPr algn="ctr" defTabSz="710516">
                <a:spcBef>
                  <a:spcPct val="0"/>
                </a:spcBef>
                <a:spcAft>
                  <a:spcPct val="35000"/>
                </a:spcAft>
                <a:defRPr/>
              </a:pPr>
              <a:r>
                <a:rPr lang="en-US" sz="1372" kern="0" dirty="0">
                  <a:solidFill>
                    <a:srgbClr val="FFFFFF"/>
                  </a:solidFill>
                  <a:latin typeface="Segoe UI Semibold" panose="020B0702040204020203" pitchFamily="34" charset="0"/>
                  <a:cs typeface="Segoe UI Semibold" panose="020B0702040204020203" pitchFamily="34" charset="0"/>
                </a:rPr>
                <a:t>Intelligence</a:t>
              </a:r>
            </a:p>
          </p:txBody>
        </p:sp>
        <p:sp>
          <p:nvSpPr>
            <p:cNvPr id="393" name="Rectangle 392"/>
            <p:cNvSpPr/>
            <p:nvPr/>
          </p:nvSpPr>
          <p:spPr bwMode="auto">
            <a:xfrm>
              <a:off x="7759316" y="4491484"/>
              <a:ext cx="1737360" cy="1352961"/>
            </a:xfrm>
            <a:prstGeom prst="rect">
              <a:avLst/>
            </a:prstGeom>
            <a:solidFill>
              <a:srgbClr val="0078D7"/>
            </a:solidFill>
            <a:ln w="3175">
              <a:noFill/>
            </a:ln>
            <a:effectLst/>
          </p:spPr>
          <p:txBody>
            <a:bodyPr spcFirstLastPara="0" vert="horz" wrap="square" lIns="17917" tIns="89619" rIns="17917" bIns="89581" numCol="1" spcCol="1270" anchor="t" anchorCtr="0">
              <a:noAutofit/>
            </a:bodyPr>
            <a:lstStyle/>
            <a:p>
              <a:pPr algn="ctr" defTabSz="710516">
                <a:spcBef>
                  <a:spcPct val="0"/>
                </a:spcBef>
                <a:spcAft>
                  <a:spcPct val="35000"/>
                </a:spcAft>
                <a:defRPr/>
              </a:pPr>
              <a:r>
                <a:rPr lang="en-US" sz="1372" kern="0" dirty="0">
                  <a:solidFill>
                    <a:srgbClr val="FFFFFF"/>
                  </a:solidFill>
                  <a:latin typeface="Segoe UI Semibold" panose="020B0702040204020203" pitchFamily="34" charset="0"/>
                  <a:cs typeface="Segoe UI Semibold" panose="020B0702040204020203" pitchFamily="34" charset="0"/>
                </a:rPr>
                <a:t>Dashboards &amp; Visualizations</a:t>
              </a:r>
            </a:p>
          </p:txBody>
        </p:sp>
        <p:sp>
          <p:nvSpPr>
            <p:cNvPr id="394" name="Rectangle 393"/>
            <p:cNvSpPr/>
            <p:nvPr/>
          </p:nvSpPr>
          <p:spPr>
            <a:xfrm>
              <a:off x="8282077" y="3724639"/>
              <a:ext cx="1268870" cy="261610"/>
            </a:xfrm>
            <a:prstGeom prst="rect">
              <a:avLst/>
            </a:prstGeom>
          </p:spPr>
          <p:txBody>
            <a:bodyPr wrap="square">
              <a:spAutoFit/>
            </a:bodyPr>
            <a:lstStyle/>
            <a:p>
              <a:pPr defTabSz="896117"/>
              <a:r>
                <a:rPr lang="en-US" sz="1078" kern="0" dirty="0">
                  <a:solidFill>
                    <a:srgbClr val="FFFFFF"/>
                  </a:solidFill>
                  <a:cs typeface="Segoe UI Semilight" panose="020B0402040204020203" pitchFamily="34" charset="0"/>
                </a:rPr>
                <a:t>Cortana</a:t>
              </a:r>
            </a:p>
          </p:txBody>
        </p:sp>
        <p:grpSp>
          <p:nvGrpSpPr>
            <p:cNvPr id="395" name="Group 394"/>
            <p:cNvGrpSpPr/>
            <p:nvPr/>
          </p:nvGrpSpPr>
          <p:grpSpPr>
            <a:xfrm>
              <a:off x="7886100" y="3695712"/>
              <a:ext cx="315759" cy="315759"/>
              <a:chOff x="3236100" y="589298"/>
              <a:chExt cx="5641200" cy="5641200"/>
            </a:xfrm>
          </p:grpSpPr>
          <p:sp>
            <p:nvSpPr>
              <p:cNvPr id="414" name="Freeform 413"/>
              <p:cNvSpPr/>
              <p:nvPr/>
            </p:nvSpPr>
            <p:spPr bwMode="auto">
              <a:xfrm>
                <a:off x="3236100" y="589298"/>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spcBef>
                    <a:spcPct val="0"/>
                  </a:spcBef>
                  <a:spcAft>
                    <a:spcPct val="0"/>
                  </a:spcAft>
                  <a:defRPr/>
                </a:pPr>
                <a:endParaRPr lang="en-US" sz="3528" kern="0" dirty="0">
                  <a:solidFill>
                    <a:srgbClr val="FFFFFF"/>
                  </a:solidFill>
                  <a:latin typeface="Segoe UI"/>
                  <a:ea typeface="Segoe UI" pitchFamily="34" charset="0"/>
                  <a:cs typeface="Segoe UI" pitchFamily="34" charset="0"/>
                </a:endParaRPr>
              </a:p>
            </p:txBody>
          </p:sp>
          <p:sp>
            <p:nvSpPr>
              <p:cNvPr id="415" name="Freeform 414"/>
              <p:cNvSpPr/>
              <p:nvPr/>
            </p:nvSpPr>
            <p:spPr bwMode="auto">
              <a:xfrm>
                <a:off x="3615099" y="968297"/>
                <a:ext cx="4883202" cy="4883202"/>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spcBef>
                    <a:spcPct val="0"/>
                  </a:spcBef>
                  <a:spcAft>
                    <a:spcPct val="0"/>
                  </a:spcAft>
                  <a:defRPr/>
                </a:pPr>
                <a:endParaRPr lang="en-US" sz="3528" kern="0" dirty="0">
                  <a:solidFill>
                    <a:srgbClr val="FFFFFF"/>
                  </a:solidFill>
                  <a:latin typeface="Segoe UI"/>
                  <a:ea typeface="Segoe UI" pitchFamily="34" charset="0"/>
                  <a:cs typeface="Segoe UI" pitchFamily="34" charset="0"/>
                </a:endParaRPr>
              </a:p>
            </p:txBody>
          </p:sp>
        </p:grpSp>
        <p:cxnSp>
          <p:nvCxnSpPr>
            <p:cNvPr id="396" name="Straight Connector 395"/>
            <p:cNvCxnSpPr/>
            <p:nvPr/>
          </p:nvCxnSpPr>
          <p:spPr>
            <a:xfrm>
              <a:off x="7329456" y="6118143"/>
              <a:ext cx="2377440" cy="0"/>
            </a:xfrm>
            <a:prstGeom prst="line">
              <a:avLst/>
            </a:prstGeom>
            <a:solidFill>
              <a:srgbClr val="FFFFFF">
                <a:lumMod val="85000"/>
              </a:srgbClr>
            </a:solidFill>
            <a:ln w="28575" cap="flat" cmpd="sng" algn="ctr">
              <a:solidFill>
                <a:srgbClr val="002050"/>
              </a:solidFill>
              <a:prstDash val="solid"/>
              <a:headEnd type="none"/>
              <a:tailEnd type="none"/>
            </a:ln>
            <a:effectLst/>
          </p:spPr>
        </p:cxnSp>
        <p:grpSp>
          <p:nvGrpSpPr>
            <p:cNvPr id="397" name="Group 396"/>
            <p:cNvGrpSpPr/>
            <p:nvPr/>
          </p:nvGrpSpPr>
          <p:grpSpPr>
            <a:xfrm rot="13500000">
              <a:off x="9515255" y="6028138"/>
              <a:ext cx="181498" cy="178786"/>
              <a:chOff x="402446" y="5872915"/>
              <a:chExt cx="292608" cy="288235"/>
            </a:xfrm>
            <a:solidFill>
              <a:srgbClr val="FFFFFF">
                <a:lumMod val="85000"/>
              </a:srgbClr>
            </a:solidFill>
          </p:grpSpPr>
          <p:cxnSp>
            <p:nvCxnSpPr>
              <p:cNvPr id="412" name="Straight Connector 411"/>
              <p:cNvCxnSpPr/>
              <p:nvPr/>
            </p:nvCxnSpPr>
            <p:spPr>
              <a:xfrm>
                <a:off x="412598" y="5872915"/>
                <a:ext cx="0" cy="288235"/>
              </a:xfrm>
              <a:prstGeom prst="line">
                <a:avLst/>
              </a:prstGeom>
              <a:grpFill/>
              <a:ln w="28575" cap="flat" cmpd="sng" algn="ctr">
                <a:solidFill>
                  <a:srgbClr val="002050"/>
                </a:solidFill>
                <a:prstDash val="solid"/>
                <a:headEnd type="none"/>
                <a:tailEnd type="none"/>
              </a:ln>
              <a:effectLst/>
            </p:spPr>
          </p:cxnSp>
          <p:cxnSp>
            <p:nvCxnSpPr>
              <p:cNvPr id="413" name="Straight Connector 412"/>
              <p:cNvCxnSpPr/>
              <p:nvPr/>
            </p:nvCxnSpPr>
            <p:spPr>
              <a:xfrm>
                <a:off x="402446" y="6148978"/>
                <a:ext cx="292608" cy="0"/>
              </a:xfrm>
              <a:prstGeom prst="line">
                <a:avLst/>
              </a:prstGeom>
              <a:grpFill/>
              <a:ln w="28575" cap="flat" cmpd="sng" algn="ctr">
                <a:solidFill>
                  <a:srgbClr val="002050"/>
                </a:solidFill>
                <a:prstDash val="solid"/>
                <a:headEnd type="none"/>
                <a:tailEnd type="none"/>
              </a:ln>
              <a:effectLst/>
            </p:spPr>
          </p:cxnSp>
        </p:grpSp>
        <p:cxnSp>
          <p:nvCxnSpPr>
            <p:cNvPr id="398" name="Straight Connector 397"/>
            <p:cNvCxnSpPr/>
            <p:nvPr/>
          </p:nvCxnSpPr>
          <p:spPr>
            <a:xfrm flipH="1">
              <a:off x="9588715" y="3765778"/>
              <a:ext cx="308472" cy="0"/>
            </a:xfrm>
            <a:prstGeom prst="line">
              <a:avLst/>
            </a:prstGeom>
            <a:noFill/>
            <a:ln w="12700" cap="flat" cmpd="sng" algn="ctr">
              <a:solidFill>
                <a:srgbClr val="0078D7"/>
              </a:solidFill>
              <a:prstDash val="solid"/>
              <a:headEnd type="none"/>
              <a:tailEnd type="none"/>
            </a:ln>
            <a:effectLst/>
          </p:spPr>
        </p:cxnSp>
        <p:sp>
          <p:nvSpPr>
            <p:cNvPr id="399" name="Rectangle 398"/>
            <p:cNvSpPr/>
            <p:nvPr/>
          </p:nvSpPr>
          <p:spPr>
            <a:xfrm>
              <a:off x="8282077" y="3055939"/>
              <a:ext cx="1268870" cy="430887"/>
            </a:xfrm>
            <a:prstGeom prst="rect">
              <a:avLst/>
            </a:prstGeom>
          </p:spPr>
          <p:txBody>
            <a:bodyPr wrap="square" anchor="ctr">
              <a:spAutoFit/>
            </a:bodyPr>
            <a:lstStyle/>
            <a:p>
              <a:pPr defTabSz="896117"/>
              <a:r>
                <a:rPr lang="en-US" sz="1078" kern="0" dirty="0">
                  <a:solidFill>
                    <a:srgbClr val="FFFFFF"/>
                  </a:solidFill>
                  <a:cs typeface="Segoe UI Semilight" panose="020B0402040204020203" pitchFamily="34" charset="0"/>
                </a:rPr>
                <a:t>Bot </a:t>
              </a:r>
              <a:br>
                <a:rPr lang="en-US" sz="1078" kern="0" dirty="0">
                  <a:solidFill>
                    <a:srgbClr val="FFFFFF"/>
                  </a:solidFill>
                  <a:cs typeface="Segoe UI Semilight" panose="020B0402040204020203" pitchFamily="34" charset="0"/>
                </a:rPr>
              </a:br>
              <a:r>
                <a:rPr lang="en-US" sz="1078" kern="0" dirty="0">
                  <a:solidFill>
                    <a:srgbClr val="FFFFFF"/>
                  </a:solidFill>
                  <a:cs typeface="Segoe UI Semilight" panose="020B0402040204020203" pitchFamily="34" charset="0"/>
                </a:rPr>
                <a:t>Framework</a:t>
              </a:r>
            </a:p>
          </p:txBody>
        </p:sp>
        <p:sp>
          <p:nvSpPr>
            <p:cNvPr id="400" name="Rectangle 399"/>
            <p:cNvSpPr/>
            <p:nvPr/>
          </p:nvSpPr>
          <p:spPr>
            <a:xfrm>
              <a:off x="8282077" y="2443589"/>
              <a:ext cx="1268870" cy="430887"/>
            </a:xfrm>
            <a:prstGeom prst="rect">
              <a:avLst/>
            </a:prstGeom>
          </p:spPr>
          <p:txBody>
            <a:bodyPr wrap="square">
              <a:spAutoFit/>
            </a:bodyPr>
            <a:lstStyle/>
            <a:p>
              <a:pPr defTabSz="896117"/>
              <a:r>
                <a:rPr lang="en-US" sz="1078" kern="0" dirty="0">
                  <a:solidFill>
                    <a:srgbClr val="FFFFFF"/>
                  </a:solidFill>
                  <a:cs typeface="Segoe UI Semilight" panose="020B0402040204020203" pitchFamily="34" charset="0"/>
                </a:rPr>
                <a:t>Cognitive Services</a:t>
              </a:r>
            </a:p>
          </p:txBody>
        </p:sp>
        <p:grpSp>
          <p:nvGrpSpPr>
            <p:cNvPr id="401" name="Group 400"/>
            <p:cNvGrpSpPr/>
            <p:nvPr/>
          </p:nvGrpSpPr>
          <p:grpSpPr>
            <a:xfrm>
              <a:off x="7830264" y="2521994"/>
              <a:ext cx="427431" cy="274077"/>
              <a:chOff x="7822816" y="2717080"/>
              <a:chExt cx="427431" cy="274077"/>
            </a:xfrm>
          </p:grpSpPr>
          <p:sp>
            <p:nvSpPr>
              <p:cNvPr id="410" name="Freeform 409"/>
              <p:cNvSpPr>
                <a:spLocks/>
              </p:cNvSpPr>
              <p:nvPr/>
            </p:nvSpPr>
            <p:spPr bwMode="auto">
              <a:xfrm flipH="1">
                <a:off x="782281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solidFill>
                <a:srgbClr val="FFFFFF"/>
              </a:solidFill>
              <a:ln>
                <a:noFill/>
              </a:ln>
            </p:spPr>
            <p:txBody>
              <a:bodyPr vert="horz" wrap="square" lIns="89619" tIns="44809" rIns="89619" bIns="44809" numCol="1" anchor="t" anchorCtr="0" compatLnSpc="1">
                <a:prstTxWarp prst="textNoShape">
                  <a:avLst/>
                </a:prstTxWarp>
                <a:noAutofit/>
              </a:bodyPr>
              <a:lstStyle/>
              <a:p>
                <a:pPr defTabSz="896117">
                  <a:defRPr/>
                </a:pPr>
                <a:endParaRPr lang="en-US" sz="1764" kern="0" dirty="0">
                  <a:solidFill>
                    <a:srgbClr val="FFFFFF"/>
                  </a:solidFill>
                </a:endParaRPr>
              </a:p>
            </p:txBody>
          </p:sp>
          <p:sp>
            <p:nvSpPr>
              <p:cNvPr id="411" name="Freeform 109"/>
              <p:cNvSpPr>
                <a:spLocks/>
              </p:cNvSpPr>
              <p:nvPr/>
            </p:nvSpPr>
            <p:spPr bwMode="auto">
              <a:xfrm>
                <a:off x="793668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896117">
                  <a:defRPr/>
                </a:pPr>
                <a:endParaRPr lang="en-US" sz="1764" kern="0" dirty="0">
                  <a:solidFill>
                    <a:srgbClr val="FFFFFF"/>
                  </a:solidFill>
                </a:endParaRPr>
              </a:p>
            </p:txBody>
          </p:sp>
        </p:grpSp>
        <p:sp>
          <p:nvSpPr>
            <p:cNvPr id="402" name="Rectangle 401"/>
            <p:cNvSpPr/>
            <p:nvPr/>
          </p:nvSpPr>
          <p:spPr>
            <a:xfrm>
              <a:off x="8241821" y="5297166"/>
              <a:ext cx="1271016" cy="261610"/>
            </a:xfrm>
            <a:prstGeom prst="rect">
              <a:avLst/>
            </a:prstGeom>
          </p:spPr>
          <p:txBody>
            <a:bodyPr wrap="square">
              <a:spAutoFit/>
            </a:bodyPr>
            <a:lstStyle/>
            <a:p>
              <a:pPr defTabSz="896117"/>
              <a:r>
                <a:rPr lang="en-US" sz="1078" kern="0" dirty="0">
                  <a:solidFill>
                    <a:srgbClr val="FFFFFF"/>
                  </a:solidFill>
                  <a:cs typeface="Segoe UI Semilight" panose="020B0402040204020203" pitchFamily="34" charset="0"/>
                </a:rPr>
                <a:t>Power BI</a:t>
              </a:r>
            </a:p>
          </p:txBody>
        </p:sp>
        <p:grpSp>
          <p:nvGrpSpPr>
            <p:cNvPr id="403" name="Group 402"/>
            <p:cNvGrpSpPr/>
            <p:nvPr/>
          </p:nvGrpSpPr>
          <p:grpSpPr>
            <a:xfrm>
              <a:off x="7884058" y="5324140"/>
              <a:ext cx="324905" cy="207663"/>
              <a:chOff x="7884058" y="5368509"/>
              <a:chExt cx="324905" cy="207663"/>
            </a:xfrm>
          </p:grpSpPr>
          <p:sp>
            <p:nvSpPr>
              <p:cNvPr id="405"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rgbClr val="FFFFFF"/>
              </a:solidFill>
              <a:ln>
                <a:noFill/>
              </a:ln>
            </p:spPr>
            <p:txBody>
              <a:bodyPr vert="horz" wrap="square" lIns="87857" tIns="43929" rIns="87857" bIns="43929" numCol="1" anchor="t" anchorCtr="0" compatLnSpc="1">
                <a:prstTxWarp prst="textNoShape">
                  <a:avLst/>
                </a:prstTxWarp>
              </a:bodyPr>
              <a:lstStyle/>
              <a:p>
                <a:pPr defTabSz="896117">
                  <a:defRPr/>
                </a:pPr>
                <a:endParaRPr lang="en-US" sz="1729" kern="0" dirty="0">
                  <a:solidFill>
                    <a:srgbClr val="FFFFFF"/>
                  </a:solidFill>
                </a:endParaRPr>
              </a:p>
            </p:txBody>
          </p:sp>
          <p:sp>
            <p:nvSpPr>
              <p:cNvPr id="406"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rgbClr val="FFFFFF"/>
              </a:solidFill>
              <a:ln>
                <a:noFill/>
              </a:ln>
            </p:spPr>
            <p:txBody>
              <a:bodyPr vert="horz" wrap="square" lIns="87857" tIns="43929" rIns="87857" bIns="43929" numCol="1" anchor="t" anchorCtr="0" compatLnSpc="1">
                <a:prstTxWarp prst="textNoShape">
                  <a:avLst/>
                </a:prstTxWarp>
              </a:bodyPr>
              <a:lstStyle/>
              <a:p>
                <a:pPr defTabSz="896117">
                  <a:defRPr/>
                </a:pPr>
                <a:endParaRPr lang="en-US" sz="1729" kern="0" dirty="0">
                  <a:solidFill>
                    <a:srgbClr val="FFFFFF"/>
                  </a:solidFill>
                </a:endParaRPr>
              </a:p>
            </p:txBody>
          </p:sp>
          <p:sp>
            <p:nvSpPr>
              <p:cNvPr id="407"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rgbClr val="FFFFFF"/>
              </a:solidFill>
              <a:ln>
                <a:noFill/>
              </a:ln>
            </p:spPr>
            <p:txBody>
              <a:bodyPr vert="horz" wrap="square" lIns="87857" tIns="43929" rIns="87857" bIns="43929" numCol="1" anchor="t" anchorCtr="0" compatLnSpc="1">
                <a:prstTxWarp prst="textNoShape">
                  <a:avLst/>
                </a:prstTxWarp>
              </a:bodyPr>
              <a:lstStyle/>
              <a:p>
                <a:pPr defTabSz="896117">
                  <a:defRPr/>
                </a:pPr>
                <a:endParaRPr lang="en-US" sz="1729" kern="0" dirty="0">
                  <a:solidFill>
                    <a:srgbClr val="FFFFFF"/>
                  </a:solidFill>
                </a:endParaRPr>
              </a:p>
            </p:txBody>
          </p:sp>
          <p:sp>
            <p:nvSpPr>
              <p:cNvPr id="408"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rgbClr val="FFFFFF"/>
              </a:solidFill>
              <a:ln>
                <a:noFill/>
              </a:ln>
            </p:spPr>
            <p:txBody>
              <a:bodyPr vert="horz" wrap="square" lIns="87857" tIns="43929" rIns="87857" bIns="43929" numCol="1" anchor="t" anchorCtr="0" compatLnSpc="1">
                <a:prstTxWarp prst="textNoShape">
                  <a:avLst/>
                </a:prstTxWarp>
              </a:bodyPr>
              <a:lstStyle/>
              <a:p>
                <a:pPr defTabSz="896117">
                  <a:defRPr/>
                </a:pPr>
                <a:endParaRPr lang="en-US" sz="1729" kern="0" dirty="0">
                  <a:solidFill>
                    <a:srgbClr val="FFFFFF"/>
                  </a:solidFill>
                </a:endParaRPr>
              </a:p>
            </p:txBody>
          </p:sp>
          <p:sp>
            <p:nvSpPr>
              <p:cNvPr id="409"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rgbClr val="FFFFFF"/>
              </a:solidFill>
              <a:ln>
                <a:noFill/>
              </a:ln>
            </p:spPr>
            <p:txBody>
              <a:bodyPr vert="horz" wrap="square" lIns="87857" tIns="43929" rIns="87857" bIns="43929" numCol="1" anchor="t" anchorCtr="0" compatLnSpc="1">
                <a:prstTxWarp prst="textNoShape">
                  <a:avLst/>
                </a:prstTxWarp>
              </a:bodyPr>
              <a:lstStyle/>
              <a:p>
                <a:pPr defTabSz="896117">
                  <a:defRPr/>
                </a:pPr>
                <a:endParaRPr lang="en-US" sz="1729" kern="0" dirty="0">
                  <a:solidFill>
                    <a:srgbClr val="FFFFFF"/>
                  </a:solidFill>
                </a:endParaRPr>
              </a:p>
            </p:txBody>
          </p:sp>
        </p:grpSp>
        <p:sp>
          <p:nvSpPr>
            <p:cNvPr id="404" name="Freeform 403"/>
            <p:cNvSpPr/>
            <p:nvPr/>
          </p:nvSpPr>
          <p:spPr bwMode="auto">
            <a:xfrm>
              <a:off x="7857300" y="3140323"/>
              <a:ext cx="373358" cy="253796"/>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9619" tIns="44809" rIns="89619" bIns="44809" numCol="1" spcCol="0" rtlCol="0" fromWordArt="0" anchor="ctr" anchorCtr="0" forceAA="0" compatLnSpc="1">
              <a:prstTxWarp prst="textNoShape">
                <a:avLst/>
              </a:prstTxWarp>
              <a:noAutofit/>
            </a:bodyPr>
            <a:lstStyle/>
            <a:p>
              <a:pPr algn="ctr" defTabSz="913828" fontAlgn="base">
                <a:spcBef>
                  <a:spcPct val="0"/>
                </a:spcBef>
                <a:spcAft>
                  <a:spcPct val="0"/>
                </a:spcAft>
                <a:defRPr/>
              </a:pPr>
              <a:endParaRPr lang="en-US" sz="2352" kern="0" dirty="0">
                <a:solidFill>
                  <a:srgbClr val="FFFFFF"/>
                </a:solidFill>
                <a:latin typeface="Segoe UI"/>
                <a:ea typeface="Segoe UI" pitchFamily="34" charset="0"/>
                <a:cs typeface="Segoe UI" pitchFamily="34" charset="0"/>
              </a:endParaRPr>
            </a:p>
          </p:txBody>
        </p:sp>
      </p:grpSp>
      <p:grpSp>
        <p:nvGrpSpPr>
          <p:cNvPr id="416" name="Group 415"/>
          <p:cNvGrpSpPr/>
          <p:nvPr/>
        </p:nvGrpSpPr>
        <p:grpSpPr>
          <a:xfrm>
            <a:off x="1979156" y="1278164"/>
            <a:ext cx="2330098" cy="4460602"/>
            <a:chOff x="2019368" y="1657048"/>
            <a:chExt cx="2377440" cy="4551232"/>
          </a:xfrm>
        </p:grpSpPr>
        <p:sp>
          <p:nvSpPr>
            <p:cNvPr id="417" name="Rectangle 416"/>
            <p:cNvSpPr/>
            <p:nvPr/>
          </p:nvSpPr>
          <p:spPr bwMode="auto">
            <a:xfrm>
              <a:off x="2186019" y="1657048"/>
              <a:ext cx="1737360" cy="4187396"/>
            </a:xfrm>
            <a:prstGeom prst="rect">
              <a:avLst/>
            </a:prstGeom>
            <a:solidFill>
              <a:srgbClr val="0078D7"/>
            </a:solidFill>
            <a:ln w="3175">
              <a:noFill/>
            </a:ln>
            <a:effectLst/>
          </p:spPr>
          <p:txBody>
            <a:bodyPr spcFirstLastPara="0" vert="horz" wrap="square" lIns="17917" tIns="89619" rIns="17917" bIns="89581" numCol="1" spcCol="1270" anchor="t" anchorCtr="0">
              <a:noAutofit/>
            </a:bodyPr>
            <a:lstStyle/>
            <a:p>
              <a:pPr algn="ctr" defTabSz="710516">
                <a:spcBef>
                  <a:spcPct val="0"/>
                </a:spcBef>
                <a:spcAft>
                  <a:spcPct val="35000"/>
                </a:spcAft>
                <a:defRPr/>
              </a:pPr>
              <a:r>
                <a:rPr lang="en-US" sz="1372" kern="0" dirty="0">
                  <a:solidFill>
                    <a:srgbClr val="FFFFFF"/>
                  </a:solidFill>
                  <a:latin typeface="Segoe UI Semibold" panose="020B0702040204020203" pitchFamily="34" charset="0"/>
                  <a:cs typeface="Segoe UI Semibold" panose="020B0702040204020203" pitchFamily="34" charset="0"/>
                </a:rPr>
                <a:t>Information Management</a:t>
              </a:r>
            </a:p>
          </p:txBody>
        </p:sp>
        <p:sp>
          <p:nvSpPr>
            <p:cNvPr id="418" name="Rectangle 417"/>
            <p:cNvSpPr/>
            <p:nvPr/>
          </p:nvSpPr>
          <p:spPr>
            <a:xfrm>
              <a:off x="2652706" y="3724639"/>
              <a:ext cx="1271016" cy="261610"/>
            </a:xfrm>
            <a:prstGeom prst="rect">
              <a:avLst/>
            </a:prstGeom>
          </p:spPr>
          <p:txBody>
            <a:bodyPr wrap="square">
              <a:spAutoFit/>
            </a:bodyPr>
            <a:lstStyle/>
            <a:p>
              <a:pPr defTabSz="896117">
                <a:defRPr/>
              </a:pPr>
              <a:r>
                <a:rPr lang="en-US" sz="1078" kern="0" dirty="0">
                  <a:solidFill>
                    <a:srgbClr val="FFFFFF"/>
                  </a:solidFill>
                  <a:cs typeface="Segoe UI Semilight" panose="020B0402040204020203" pitchFamily="34" charset="0"/>
                </a:rPr>
                <a:t>Event Hubs</a:t>
              </a:r>
              <a:endParaRPr lang="en-US" sz="1078" kern="0" dirty="0">
                <a:solidFill>
                  <a:srgbClr val="FFFFFF"/>
                </a:solidFill>
              </a:endParaRPr>
            </a:p>
          </p:txBody>
        </p:sp>
        <p:cxnSp>
          <p:nvCxnSpPr>
            <p:cNvPr id="419" name="Straight Connector 418"/>
            <p:cNvCxnSpPr/>
            <p:nvPr/>
          </p:nvCxnSpPr>
          <p:spPr>
            <a:xfrm>
              <a:off x="2019368" y="6118143"/>
              <a:ext cx="2377440" cy="0"/>
            </a:xfrm>
            <a:prstGeom prst="line">
              <a:avLst/>
            </a:prstGeom>
            <a:solidFill>
              <a:srgbClr val="FFFFFF">
                <a:lumMod val="85000"/>
              </a:srgbClr>
            </a:solidFill>
            <a:ln w="28575" cap="flat" cmpd="sng" algn="ctr">
              <a:solidFill>
                <a:srgbClr val="002050"/>
              </a:solidFill>
              <a:prstDash val="solid"/>
              <a:headEnd type="none"/>
              <a:tailEnd type="none"/>
            </a:ln>
            <a:effectLst/>
          </p:spPr>
        </p:cxnSp>
        <p:grpSp>
          <p:nvGrpSpPr>
            <p:cNvPr id="420" name="Group 419"/>
            <p:cNvGrpSpPr/>
            <p:nvPr/>
          </p:nvGrpSpPr>
          <p:grpSpPr>
            <a:xfrm rot="13500000">
              <a:off x="4205167" y="6028138"/>
              <a:ext cx="181498" cy="178786"/>
              <a:chOff x="402446" y="5872915"/>
              <a:chExt cx="292608" cy="288235"/>
            </a:xfrm>
            <a:solidFill>
              <a:srgbClr val="FFFFFF">
                <a:lumMod val="85000"/>
              </a:srgbClr>
            </a:solidFill>
          </p:grpSpPr>
          <p:cxnSp>
            <p:nvCxnSpPr>
              <p:cNvPr id="429" name="Straight Connector 428"/>
              <p:cNvCxnSpPr/>
              <p:nvPr/>
            </p:nvCxnSpPr>
            <p:spPr>
              <a:xfrm>
                <a:off x="412598" y="5872915"/>
                <a:ext cx="0" cy="288235"/>
              </a:xfrm>
              <a:prstGeom prst="line">
                <a:avLst/>
              </a:prstGeom>
              <a:grpFill/>
              <a:ln w="28575" cap="flat" cmpd="sng" algn="ctr">
                <a:solidFill>
                  <a:srgbClr val="002050"/>
                </a:solidFill>
                <a:prstDash val="solid"/>
                <a:headEnd type="none"/>
                <a:tailEnd type="none"/>
              </a:ln>
              <a:effectLst/>
            </p:spPr>
          </p:cxnSp>
          <p:cxnSp>
            <p:nvCxnSpPr>
              <p:cNvPr id="430" name="Straight Connector 429"/>
              <p:cNvCxnSpPr/>
              <p:nvPr/>
            </p:nvCxnSpPr>
            <p:spPr>
              <a:xfrm>
                <a:off x="402446" y="6148978"/>
                <a:ext cx="292608" cy="0"/>
              </a:xfrm>
              <a:prstGeom prst="line">
                <a:avLst/>
              </a:prstGeom>
              <a:grpFill/>
              <a:ln w="28575" cap="flat" cmpd="sng" algn="ctr">
                <a:solidFill>
                  <a:srgbClr val="002050"/>
                </a:solidFill>
                <a:prstDash val="solid"/>
                <a:headEnd type="none"/>
                <a:tailEnd type="none"/>
              </a:ln>
              <a:effectLst/>
            </p:spPr>
          </p:cxnSp>
        </p:grpSp>
        <p:sp>
          <p:nvSpPr>
            <p:cNvPr id="421" name="Rectangle 420"/>
            <p:cNvSpPr/>
            <p:nvPr/>
          </p:nvSpPr>
          <p:spPr>
            <a:xfrm>
              <a:off x="2652706" y="3161800"/>
              <a:ext cx="1271016" cy="261610"/>
            </a:xfrm>
            <a:prstGeom prst="rect">
              <a:avLst/>
            </a:prstGeom>
          </p:spPr>
          <p:txBody>
            <a:bodyPr wrap="square">
              <a:spAutoFit/>
            </a:bodyPr>
            <a:lstStyle/>
            <a:p>
              <a:pPr defTabSz="896117"/>
              <a:r>
                <a:rPr lang="en-US" sz="1078" kern="0" dirty="0">
                  <a:solidFill>
                    <a:srgbClr val="FFFFFF"/>
                  </a:solidFill>
                  <a:cs typeface="Segoe UI Semilight" panose="020B0402040204020203" pitchFamily="34" charset="0"/>
                </a:rPr>
                <a:t>Data Catalog</a:t>
              </a:r>
            </a:p>
          </p:txBody>
        </p:sp>
        <p:grpSp>
          <p:nvGrpSpPr>
            <p:cNvPr id="422" name="Group 421"/>
            <p:cNvGrpSpPr/>
            <p:nvPr/>
          </p:nvGrpSpPr>
          <p:grpSpPr>
            <a:xfrm>
              <a:off x="2337798" y="3119355"/>
              <a:ext cx="274997" cy="292527"/>
              <a:chOff x="3232150" y="382588"/>
              <a:chExt cx="5727700" cy="6092825"/>
            </a:xfrm>
            <a:solidFill>
              <a:srgbClr val="FFFFFF"/>
            </a:solidFill>
          </p:grpSpPr>
          <p:sp>
            <p:nvSpPr>
              <p:cNvPr id="426"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896117">
                  <a:defRPr/>
                </a:pPr>
                <a:endParaRPr lang="en-US" sz="1764" kern="0" dirty="0">
                  <a:solidFill>
                    <a:srgbClr val="FFFFFF"/>
                  </a:solidFill>
                </a:endParaRPr>
              </a:p>
            </p:txBody>
          </p:sp>
          <p:sp>
            <p:nvSpPr>
              <p:cNvPr id="427"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896117">
                  <a:defRPr/>
                </a:pPr>
                <a:endParaRPr lang="en-US" sz="1764" kern="0" dirty="0">
                  <a:solidFill>
                    <a:srgbClr val="FFFFFF"/>
                  </a:solidFill>
                </a:endParaRPr>
              </a:p>
            </p:txBody>
          </p:sp>
          <p:sp>
            <p:nvSpPr>
              <p:cNvPr id="428"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896117">
                  <a:defRPr/>
                </a:pPr>
                <a:endParaRPr lang="en-US" sz="1764" kern="0" dirty="0">
                  <a:solidFill>
                    <a:srgbClr val="FFFFFF"/>
                  </a:solidFill>
                </a:endParaRPr>
              </a:p>
            </p:txBody>
          </p:sp>
        </p:grpSp>
        <p:sp>
          <p:nvSpPr>
            <p:cNvPr id="423" name="Rectangle 422"/>
            <p:cNvSpPr/>
            <p:nvPr/>
          </p:nvSpPr>
          <p:spPr>
            <a:xfrm>
              <a:off x="2652706" y="2528227"/>
              <a:ext cx="1271016" cy="261610"/>
            </a:xfrm>
            <a:prstGeom prst="rect">
              <a:avLst/>
            </a:prstGeom>
          </p:spPr>
          <p:txBody>
            <a:bodyPr wrap="square">
              <a:spAutoFit/>
            </a:bodyPr>
            <a:lstStyle/>
            <a:p>
              <a:pPr defTabSz="896117">
                <a:defRPr/>
              </a:pPr>
              <a:r>
                <a:rPr lang="en-US" sz="1078" kern="0" dirty="0">
                  <a:solidFill>
                    <a:srgbClr val="FFFFFF"/>
                  </a:solidFill>
                  <a:cs typeface="Segoe UI Semilight" panose="020B0402040204020203" pitchFamily="34" charset="0"/>
                </a:rPr>
                <a:t>Data Factory </a:t>
              </a:r>
              <a:endParaRPr lang="en-US" sz="1078" kern="0" dirty="0">
                <a:solidFill>
                  <a:srgbClr val="FFFFFF"/>
                </a:solidFill>
              </a:endParaRPr>
            </a:p>
          </p:txBody>
        </p:sp>
        <p:sp>
          <p:nvSpPr>
            <p:cNvPr id="424" name="Freeform 423"/>
            <p:cNvSpPr/>
            <p:nvPr/>
          </p:nvSpPr>
          <p:spPr bwMode="auto">
            <a:xfrm>
              <a:off x="2333792" y="2466963"/>
              <a:ext cx="286460" cy="301030"/>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9619" tIns="44809" rIns="89619" bIns="44809" numCol="1" spcCol="0" rtlCol="0" fromWordArt="0" anchor="ctr" anchorCtr="0" forceAA="0" compatLnSpc="1">
              <a:prstTxWarp prst="textNoShape">
                <a:avLst/>
              </a:prstTxWarp>
              <a:noAutofit/>
            </a:bodyPr>
            <a:lstStyle/>
            <a:p>
              <a:pPr algn="ctr" defTabSz="913828" fontAlgn="base">
                <a:spcBef>
                  <a:spcPct val="0"/>
                </a:spcBef>
                <a:spcAft>
                  <a:spcPct val="0"/>
                </a:spcAft>
                <a:defRPr/>
              </a:pPr>
              <a:endParaRPr lang="en-US" sz="2352" kern="0" dirty="0">
                <a:solidFill>
                  <a:srgbClr val="FFFFFF"/>
                </a:solidFill>
                <a:latin typeface="Segoe UI"/>
                <a:ea typeface="Segoe UI" pitchFamily="34" charset="0"/>
                <a:cs typeface="Segoe UI" pitchFamily="34" charset="0"/>
              </a:endParaRPr>
            </a:p>
          </p:txBody>
        </p:sp>
        <p:sp>
          <p:nvSpPr>
            <p:cNvPr id="425" name="Freeform 424"/>
            <p:cNvSpPr/>
            <p:nvPr/>
          </p:nvSpPr>
          <p:spPr bwMode="auto">
            <a:xfrm>
              <a:off x="2354114" y="3729564"/>
              <a:ext cx="231574" cy="242335"/>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9619" tIns="44809" rIns="89619" bIns="44809" numCol="1" spcCol="0" rtlCol="0" fromWordArt="0" anchor="ctr" anchorCtr="0" forceAA="0" compatLnSpc="1">
              <a:prstTxWarp prst="textNoShape">
                <a:avLst/>
              </a:prstTxWarp>
              <a:noAutofit/>
            </a:bodyPr>
            <a:lstStyle/>
            <a:p>
              <a:pPr algn="ctr" defTabSz="913828" fontAlgn="base">
                <a:spcBef>
                  <a:spcPct val="0"/>
                </a:spcBef>
                <a:spcAft>
                  <a:spcPct val="0"/>
                </a:spcAft>
                <a:defRPr/>
              </a:pPr>
              <a:endParaRPr lang="en-US" sz="2352" kern="0" dirty="0">
                <a:solidFill>
                  <a:srgbClr val="FFFFFF"/>
                </a:solidFill>
                <a:latin typeface="Segoe UI"/>
                <a:ea typeface="Segoe UI" pitchFamily="34" charset="0"/>
                <a:cs typeface="Segoe UI" pitchFamily="34" charset="0"/>
              </a:endParaRPr>
            </a:p>
          </p:txBody>
        </p:sp>
      </p:grpSp>
      <p:grpSp>
        <p:nvGrpSpPr>
          <p:cNvPr id="431" name="Group 430"/>
          <p:cNvGrpSpPr/>
          <p:nvPr/>
        </p:nvGrpSpPr>
        <p:grpSpPr>
          <a:xfrm>
            <a:off x="5021054" y="1278165"/>
            <a:ext cx="2465742" cy="4552648"/>
            <a:chOff x="5123071" y="1657049"/>
            <a:chExt cx="2515840" cy="4645148"/>
          </a:xfrm>
        </p:grpSpPr>
        <p:sp>
          <p:nvSpPr>
            <p:cNvPr id="432" name="Rectangle 431"/>
            <p:cNvSpPr/>
            <p:nvPr/>
          </p:nvSpPr>
          <p:spPr bwMode="auto">
            <a:xfrm>
              <a:off x="5901551" y="1657049"/>
              <a:ext cx="1737360" cy="4187396"/>
            </a:xfrm>
            <a:prstGeom prst="rect">
              <a:avLst/>
            </a:prstGeom>
            <a:solidFill>
              <a:srgbClr val="0078D7"/>
            </a:solidFill>
            <a:ln w="3175">
              <a:noFill/>
            </a:ln>
            <a:effectLst/>
          </p:spPr>
          <p:txBody>
            <a:bodyPr spcFirstLastPara="0" vert="horz" wrap="square" lIns="17917" tIns="89619" rIns="17917" bIns="89581" numCol="1" spcCol="1270" anchor="t" anchorCtr="0">
              <a:noAutofit/>
            </a:bodyPr>
            <a:lstStyle/>
            <a:p>
              <a:pPr algn="ctr" defTabSz="710516">
                <a:spcBef>
                  <a:spcPct val="0"/>
                </a:spcBef>
                <a:spcAft>
                  <a:spcPct val="35000"/>
                </a:spcAft>
                <a:defRPr/>
              </a:pPr>
              <a:r>
                <a:rPr lang="en-US" sz="1372" kern="0" dirty="0">
                  <a:solidFill>
                    <a:srgbClr val="FFFFFF"/>
                  </a:solidFill>
                  <a:latin typeface="Segoe UI Semibold" panose="020B0702040204020203" pitchFamily="34" charset="0"/>
                  <a:cs typeface="Segoe UI Semibold" panose="020B0702040204020203" pitchFamily="34" charset="0"/>
                </a:rPr>
                <a:t>Machine Learning and Analytics</a:t>
              </a:r>
            </a:p>
          </p:txBody>
        </p:sp>
        <p:sp>
          <p:nvSpPr>
            <p:cNvPr id="433" name="Rectangle 432"/>
            <p:cNvSpPr/>
            <p:nvPr/>
          </p:nvSpPr>
          <p:spPr>
            <a:xfrm>
              <a:off x="6340519" y="3555362"/>
              <a:ext cx="1268870" cy="600164"/>
            </a:xfrm>
            <a:prstGeom prst="rect">
              <a:avLst/>
            </a:prstGeom>
          </p:spPr>
          <p:txBody>
            <a:bodyPr wrap="square">
              <a:spAutoFit/>
            </a:bodyPr>
            <a:lstStyle/>
            <a:p>
              <a:pPr defTabSz="896117"/>
              <a:r>
                <a:rPr lang="en-US" sz="1078" kern="0" dirty="0">
                  <a:solidFill>
                    <a:srgbClr val="FFFFFF"/>
                  </a:solidFill>
                  <a:cs typeface="Segoe UI Semilight" panose="020B0402040204020203" pitchFamily="34" charset="0"/>
                </a:rPr>
                <a:t>HDInsight </a:t>
              </a:r>
            </a:p>
            <a:p>
              <a:pPr defTabSz="896117"/>
              <a:r>
                <a:rPr lang="en-US" sz="1078" kern="0" dirty="0">
                  <a:solidFill>
                    <a:srgbClr val="FFFFFF"/>
                  </a:solidFill>
                  <a:cs typeface="Segoe UI Semilight" panose="020B0402040204020203" pitchFamily="34" charset="0"/>
                </a:rPr>
                <a:t>(Hadoop and Spark)</a:t>
              </a:r>
            </a:p>
          </p:txBody>
        </p:sp>
        <p:sp>
          <p:nvSpPr>
            <p:cNvPr id="434" name="Rectangle 433"/>
            <p:cNvSpPr/>
            <p:nvPr/>
          </p:nvSpPr>
          <p:spPr>
            <a:xfrm>
              <a:off x="6340519" y="4283607"/>
              <a:ext cx="1268870" cy="261610"/>
            </a:xfrm>
            <a:prstGeom prst="rect">
              <a:avLst/>
            </a:prstGeom>
          </p:spPr>
          <p:txBody>
            <a:bodyPr wrap="square">
              <a:spAutoFit/>
            </a:bodyPr>
            <a:lstStyle/>
            <a:p>
              <a:pPr defTabSz="896117"/>
              <a:r>
                <a:rPr lang="en-US" sz="1078" kern="0" dirty="0">
                  <a:solidFill>
                    <a:srgbClr val="FFFFFF"/>
                  </a:solidFill>
                  <a:cs typeface="Segoe UI Semilight" panose="020B0402040204020203" pitchFamily="34" charset="0"/>
                </a:rPr>
                <a:t>Stream Analytics</a:t>
              </a:r>
            </a:p>
          </p:txBody>
        </p:sp>
        <p:sp>
          <p:nvSpPr>
            <p:cNvPr id="435" name="Rectangle 434"/>
            <p:cNvSpPr/>
            <p:nvPr/>
          </p:nvSpPr>
          <p:spPr>
            <a:xfrm>
              <a:off x="5123071" y="5932865"/>
              <a:ext cx="1455527" cy="369332"/>
            </a:xfrm>
            <a:prstGeom prst="rect">
              <a:avLst/>
            </a:prstGeom>
          </p:spPr>
          <p:txBody>
            <a:bodyPr wrap="none" lIns="0" tIns="0" rIns="0" bIns="0" anchor="ctr">
              <a:spAutoFit/>
            </a:bodyPr>
            <a:lstStyle/>
            <a:p>
              <a:pPr algn="ctr" defTabSz="710516">
                <a:spcBef>
                  <a:spcPct val="0"/>
                </a:spcBef>
                <a:spcAft>
                  <a:spcPct val="35000"/>
                </a:spcAft>
              </a:pPr>
              <a:r>
                <a:rPr lang="en-US" sz="2352" kern="0" dirty="0">
                  <a:solidFill>
                    <a:srgbClr val="002050"/>
                  </a:solidFill>
                  <a:latin typeface="Segoe UI Light"/>
                </a:rPr>
                <a:t>Intelligence</a:t>
              </a:r>
              <a:endParaRPr lang="en-US" sz="1764" b="1" kern="0" spc="-29" dirty="0">
                <a:solidFill>
                  <a:srgbClr val="002050"/>
                </a:solidFill>
                <a:latin typeface="Segoe UI Semilight" panose="020B0402040204020203" pitchFamily="34" charset="0"/>
                <a:cs typeface="Segoe UI Semilight" panose="020B0402040204020203" pitchFamily="34" charset="0"/>
              </a:endParaRPr>
            </a:p>
          </p:txBody>
        </p:sp>
        <p:sp>
          <p:nvSpPr>
            <p:cNvPr id="436" name="Rectangle 435"/>
            <p:cNvSpPr/>
            <p:nvPr/>
          </p:nvSpPr>
          <p:spPr>
            <a:xfrm>
              <a:off x="6340519" y="3055939"/>
              <a:ext cx="1268870" cy="430887"/>
            </a:xfrm>
            <a:prstGeom prst="rect">
              <a:avLst/>
            </a:prstGeom>
          </p:spPr>
          <p:txBody>
            <a:bodyPr wrap="square">
              <a:spAutoFit/>
            </a:bodyPr>
            <a:lstStyle/>
            <a:p>
              <a:pPr defTabSz="896117"/>
              <a:r>
                <a:rPr lang="en-US" sz="1078" kern="0" dirty="0">
                  <a:solidFill>
                    <a:srgbClr val="FFFFFF"/>
                  </a:solidFill>
                  <a:cs typeface="Segoe UI Semilight" panose="020B0402040204020203" pitchFamily="34" charset="0"/>
                </a:rPr>
                <a:t>Data Lake Analytics</a:t>
              </a:r>
            </a:p>
          </p:txBody>
        </p:sp>
        <p:grpSp>
          <p:nvGrpSpPr>
            <p:cNvPr id="437" name="Group 436"/>
            <p:cNvGrpSpPr/>
            <p:nvPr/>
          </p:nvGrpSpPr>
          <p:grpSpPr>
            <a:xfrm>
              <a:off x="6046429" y="3138987"/>
              <a:ext cx="220642" cy="288624"/>
              <a:chOff x="3473450" y="4579938"/>
              <a:chExt cx="1741488" cy="2278062"/>
            </a:xfrm>
            <a:solidFill>
              <a:srgbClr val="FFFFFF"/>
            </a:solidFill>
          </p:grpSpPr>
          <p:sp>
            <p:nvSpPr>
              <p:cNvPr id="446" name="Freeform 16"/>
              <p:cNvSpPr>
                <a:spLocks/>
              </p:cNvSpPr>
              <p:nvPr/>
            </p:nvSpPr>
            <p:spPr bwMode="auto">
              <a:xfrm>
                <a:off x="3575050" y="4579938"/>
                <a:ext cx="1493838" cy="403225"/>
              </a:xfrm>
              <a:custGeom>
                <a:avLst/>
                <a:gdLst>
                  <a:gd name="T0" fmla="*/ 2 w 1883"/>
                  <a:gd name="T1" fmla="*/ 263 h 508"/>
                  <a:gd name="T2" fmla="*/ 17 w 1883"/>
                  <a:gd name="T3" fmla="*/ 290 h 508"/>
                  <a:gd name="T4" fmla="*/ 51 w 1883"/>
                  <a:gd name="T5" fmla="*/ 321 h 508"/>
                  <a:gd name="T6" fmla="*/ 101 w 1883"/>
                  <a:gd name="T7" fmla="*/ 352 h 508"/>
                  <a:gd name="T8" fmla="*/ 169 w 1883"/>
                  <a:gd name="T9" fmla="*/ 384 h 508"/>
                  <a:gd name="T10" fmla="*/ 253 w 1883"/>
                  <a:gd name="T11" fmla="*/ 414 h 508"/>
                  <a:gd name="T12" fmla="*/ 351 w 1883"/>
                  <a:gd name="T13" fmla="*/ 442 h 508"/>
                  <a:gd name="T14" fmla="*/ 465 w 1883"/>
                  <a:gd name="T15" fmla="*/ 467 h 508"/>
                  <a:gd name="T16" fmla="*/ 592 w 1883"/>
                  <a:gd name="T17" fmla="*/ 486 h 508"/>
                  <a:gd name="T18" fmla="*/ 733 w 1883"/>
                  <a:gd name="T19" fmla="*/ 500 h 508"/>
                  <a:gd name="T20" fmla="*/ 887 w 1883"/>
                  <a:gd name="T21" fmla="*/ 508 h 508"/>
                  <a:gd name="T22" fmla="*/ 996 w 1883"/>
                  <a:gd name="T23" fmla="*/ 508 h 508"/>
                  <a:gd name="T24" fmla="*/ 1150 w 1883"/>
                  <a:gd name="T25" fmla="*/ 500 h 508"/>
                  <a:gd name="T26" fmla="*/ 1291 w 1883"/>
                  <a:gd name="T27" fmla="*/ 486 h 508"/>
                  <a:gd name="T28" fmla="*/ 1419 w 1883"/>
                  <a:gd name="T29" fmla="*/ 467 h 508"/>
                  <a:gd name="T30" fmla="*/ 1532 w 1883"/>
                  <a:gd name="T31" fmla="*/ 442 h 508"/>
                  <a:gd name="T32" fmla="*/ 1632 w 1883"/>
                  <a:gd name="T33" fmla="*/ 414 h 508"/>
                  <a:gd name="T34" fmla="*/ 1715 w 1883"/>
                  <a:gd name="T35" fmla="*/ 384 h 508"/>
                  <a:gd name="T36" fmla="*/ 1782 w 1883"/>
                  <a:gd name="T37" fmla="*/ 352 h 508"/>
                  <a:gd name="T38" fmla="*/ 1834 w 1883"/>
                  <a:gd name="T39" fmla="*/ 321 h 508"/>
                  <a:gd name="T40" fmla="*/ 1866 w 1883"/>
                  <a:gd name="T41" fmla="*/ 290 h 508"/>
                  <a:gd name="T42" fmla="*/ 1882 w 1883"/>
                  <a:gd name="T43" fmla="*/ 263 h 508"/>
                  <a:gd name="T44" fmla="*/ 1882 w 1883"/>
                  <a:gd name="T45" fmla="*/ 245 h 508"/>
                  <a:gd name="T46" fmla="*/ 1866 w 1883"/>
                  <a:gd name="T47" fmla="*/ 217 h 508"/>
                  <a:gd name="T48" fmla="*/ 1834 w 1883"/>
                  <a:gd name="T49" fmla="*/ 187 h 508"/>
                  <a:gd name="T50" fmla="*/ 1782 w 1883"/>
                  <a:gd name="T51" fmla="*/ 155 h 508"/>
                  <a:gd name="T52" fmla="*/ 1715 w 1883"/>
                  <a:gd name="T53" fmla="*/ 124 h 508"/>
                  <a:gd name="T54" fmla="*/ 1632 w 1883"/>
                  <a:gd name="T55" fmla="*/ 93 h 508"/>
                  <a:gd name="T56" fmla="*/ 1532 w 1883"/>
                  <a:gd name="T57" fmla="*/ 64 h 508"/>
                  <a:gd name="T58" fmla="*/ 1419 w 1883"/>
                  <a:gd name="T59" fmla="*/ 40 h 508"/>
                  <a:gd name="T60" fmla="*/ 1291 w 1883"/>
                  <a:gd name="T61" fmla="*/ 20 h 508"/>
                  <a:gd name="T62" fmla="*/ 1150 w 1883"/>
                  <a:gd name="T63" fmla="*/ 6 h 508"/>
                  <a:gd name="T64" fmla="*/ 996 w 1883"/>
                  <a:gd name="T65" fmla="*/ 0 h 508"/>
                  <a:gd name="T66" fmla="*/ 887 w 1883"/>
                  <a:gd name="T67" fmla="*/ 0 h 508"/>
                  <a:gd name="T68" fmla="*/ 733 w 1883"/>
                  <a:gd name="T69" fmla="*/ 6 h 508"/>
                  <a:gd name="T70" fmla="*/ 592 w 1883"/>
                  <a:gd name="T71" fmla="*/ 20 h 508"/>
                  <a:gd name="T72" fmla="*/ 465 w 1883"/>
                  <a:gd name="T73" fmla="*/ 40 h 508"/>
                  <a:gd name="T74" fmla="*/ 351 w 1883"/>
                  <a:gd name="T75" fmla="*/ 64 h 508"/>
                  <a:gd name="T76" fmla="*/ 253 w 1883"/>
                  <a:gd name="T77" fmla="*/ 93 h 508"/>
                  <a:gd name="T78" fmla="*/ 169 w 1883"/>
                  <a:gd name="T79" fmla="*/ 124 h 508"/>
                  <a:gd name="T80" fmla="*/ 101 w 1883"/>
                  <a:gd name="T81" fmla="*/ 155 h 508"/>
                  <a:gd name="T82" fmla="*/ 51 w 1883"/>
                  <a:gd name="T83" fmla="*/ 187 h 508"/>
                  <a:gd name="T84" fmla="*/ 17 w 1883"/>
                  <a:gd name="T85" fmla="*/ 217 h 508"/>
                  <a:gd name="T86" fmla="*/ 2 w 1883"/>
                  <a:gd name="T87" fmla="*/ 245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3" h="508">
                    <a:moveTo>
                      <a:pt x="0" y="254"/>
                    </a:moveTo>
                    <a:lnTo>
                      <a:pt x="0" y="254"/>
                    </a:lnTo>
                    <a:lnTo>
                      <a:pt x="2" y="263"/>
                    </a:lnTo>
                    <a:lnTo>
                      <a:pt x="5" y="271"/>
                    </a:lnTo>
                    <a:lnTo>
                      <a:pt x="11" y="280"/>
                    </a:lnTo>
                    <a:lnTo>
                      <a:pt x="17" y="290"/>
                    </a:lnTo>
                    <a:lnTo>
                      <a:pt x="27" y="301"/>
                    </a:lnTo>
                    <a:lnTo>
                      <a:pt x="37" y="311"/>
                    </a:lnTo>
                    <a:lnTo>
                      <a:pt x="51" y="321"/>
                    </a:lnTo>
                    <a:lnTo>
                      <a:pt x="66" y="331"/>
                    </a:lnTo>
                    <a:lnTo>
                      <a:pt x="82" y="342"/>
                    </a:lnTo>
                    <a:lnTo>
                      <a:pt x="101" y="352"/>
                    </a:lnTo>
                    <a:lnTo>
                      <a:pt x="122" y="362"/>
                    </a:lnTo>
                    <a:lnTo>
                      <a:pt x="144" y="374"/>
                    </a:lnTo>
                    <a:lnTo>
                      <a:pt x="169" y="384"/>
                    </a:lnTo>
                    <a:lnTo>
                      <a:pt x="195" y="394"/>
                    </a:lnTo>
                    <a:lnTo>
                      <a:pt x="222" y="404"/>
                    </a:lnTo>
                    <a:lnTo>
                      <a:pt x="253" y="414"/>
                    </a:lnTo>
                    <a:lnTo>
                      <a:pt x="284" y="424"/>
                    </a:lnTo>
                    <a:lnTo>
                      <a:pt x="317" y="433"/>
                    </a:lnTo>
                    <a:lnTo>
                      <a:pt x="351" y="442"/>
                    </a:lnTo>
                    <a:lnTo>
                      <a:pt x="388" y="451"/>
                    </a:lnTo>
                    <a:lnTo>
                      <a:pt x="426" y="460"/>
                    </a:lnTo>
                    <a:lnTo>
                      <a:pt x="465" y="467"/>
                    </a:lnTo>
                    <a:lnTo>
                      <a:pt x="506" y="473"/>
                    </a:lnTo>
                    <a:lnTo>
                      <a:pt x="549" y="481"/>
                    </a:lnTo>
                    <a:lnTo>
                      <a:pt x="592" y="486"/>
                    </a:lnTo>
                    <a:lnTo>
                      <a:pt x="639" y="492"/>
                    </a:lnTo>
                    <a:lnTo>
                      <a:pt x="685" y="496"/>
                    </a:lnTo>
                    <a:lnTo>
                      <a:pt x="733" y="500"/>
                    </a:lnTo>
                    <a:lnTo>
                      <a:pt x="784" y="504"/>
                    </a:lnTo>
                    <a:lnTo>
                      <a:pt x="836" y="506"/>
                    </a:lnTo>
                    <a:lnTo>
                      <a:pt x="887" y="508"/>
                    </a:lnTo>
                    <a:lnTo>
                      <a:pt x="942" y="508"/>
                    </a:lnTo>
                    <a:lnTo>
                      <a:pt x="942" y="508"/>
                    </a:lnTo>
                    <a:lnTo>
                      <a:pt x="996" y="508"/>
                    </a:lnTo>
                    <a:lnTo>
                      <a:pt x="1049" y="506"/>
                    </a:lnTo>
                    <a:lnTo>
                      <a:pt x="1101" y="504"/>
                    </a:lnTo>
                    <a:lnTo>
                      <a:pt x="1150" y="500"/>
                    </a:lnTo>
                    <a:lnTo>
                      <a:pt x="1199" y="496"/>
                    </a:lnTo>
                    <a:lnTo>
                      <a:pt x="1246" y="492"/>
                    </a:lnTo>
                    <a:lnTo>
                      <a:pt x="1291" y="486"/>
                    </a:lnTo>
                    <a:lnTo>
                      <a:pt x="1335" y="481"/>
                    </a:lnTo>
                    <a:lnTo>
                      <a:pt x="1378" y="473"/>
                    </a:lnTo>
                    <a:lnTo>
                      <a:pt x="1419" y="467"/>
                    </a:lnTo>
                    <a:lnTo>
                      <a:pt x="1459" y="460"/>
                    </a:lnTo>
                    <a:lnTo>
                      <a:pt x="1497" y="451"/>
                    </a:lnTo>
                    <a:lnTo>
                      <a:pt x="1532" y="442"/>
                    </a:lnTo>
                    <a:lnTo>
                      <a:pt x="1567" y="433"/>
                    </a:lnTo>
                    <a:lnTo>
                      <a:pt x="1600" y="424"/>
                    </a:lnTo>
                    <a:lnTo>
                      <a:pt x="1632" y="414"/>
                    </a:lnTo>
                    <a:lnTo>
                      <a:pt x="1661" y="404"/>
                    </a:lnTo>
                    <a:lnTo>
                      <a:pt x="1689" y="394"/>
                    </a:lnTo>
                    <a:lnTo>
                      <a:pt x="1715" y="384"/>
                    </a:lnTo>
                    <a:lnTo>
                      <a:pt x="1739" y="374"/>
                    </a:lnTo>
                    <a:lnTo>
                      <a:pt x="1762" y="362"/>
                    </a:lnTo>
                    <a:lnTo>
                      <a:pt x="1782" y="352"/>
                    </a:lnTo>
                    <a:lnTo>
                      <a:pt x="1801" y="342"/>
                    </a:lnTo>
                    <a:lnTo>
                      <a:pt x="1818" y="331"/>
                    </a:lnTo>
                    <a:lnTo>
                      <a:pt x="1834" y="321"/>
                    </a:lnTo>
                    <a:lnTo>
                      <a:pt x="1846" y="311"/>
                    </a:lnTo>
                    <a:lnTo>
                      <a:pt x="1858" y="301"/>
                    </a:lnTo>
                    <a:lnTo>
                      <a:pt x="1866" y="290"/>
                    </a:lnTo>
                    <a:lnTo>
                      <a:pt x="1874" y="280"/>
                    </a:lnTo>
                    <a:lnTo>
                      <a:pt x="1879" y="271"/>
                    </a:lnTo>
                    <a:lnTo>
                      <a:pt x="1882" y="263"/>
                    </a:lnTo>
                    <a:lnTo>
                      <a:pt x="1883" y="254"/>
                    </a:lnTo>
                    <a:lnTo>
                      <a:pt x="1883" y="254"/>
                    </a:lnTo>
                    <a:lnTo>
                      <a:pt x="1882" y="245"/>
                    </a:lnTo>
                    <a:lnTo>
                      <a:pt x="1879" y="236"/>
                    </a:lnTo>
                    <a:lnTo>
                      <a:pt x="1874" y="226"/>
                    </a:lnTo>
                    <a:lnTo>
                      <a:pt x="1866" y="217"/>
                    </a:lnTo>
                    <a:lnTo>
                      <a:pt x="1858" y="207"/>
                    </a:lnTo>
                    <a:lnTo>
                      <a:pt x="1846" y="197"/>
                    </a:lnTo>
                    <a:lnTo>
                      <a:pt x="1834" y="187"/>
                    </a:lnTo>
                    <a:lnTo>
                      <a:pt x="1818" y="176"/>
                    </a:lnTo>
                    <a:lnTo>
                      <a:pt x="1801" y="165"/>
                    </a:lnTo>
                    <a:lnTo>
                      <a:pt x="1782" y="155"/>
                    </a:lnTo>
                    <a:lnTo>
                      <a:pt x="1762" y="144"/>
                    </a:lnTo>
                    <a:lnTo>
                      <a:pt x="1739" y="134"/>
                    </a:lnTo>
                    <a:lnTo>
                      <a:pt x="1715" y="124"/>
                    </a:lnTo>
                    <a:lnTo>
                      <a:pt x="1689" y="114"/>
                    </a:lnTo>
                    <a:lnTo>
                      <a:pt x="1661" y="102"/>
                    </a:lnTo>
                    <a:lnTo>
                      <a:pt x="1632" y="93"/>
                    </a:lnTo>
                    <a:lnTo>
                      <a:pt x="1600" y="83"/>
                    </a:lnTo>
                    <a:lnTo>
                      <a:pt x="1567" y="74"/>
                    </a:lnTo>
                    <a:lnTo>
                      <a:pt x="1532" y="64"/>
                    </a:lnTo>
                    <a:lnTo>
                      <a:pt x="1497" y="57"/>
                    </a:lnTo>
                    <a:lnTo>
                      <a:pt x="1459" y="48"/>
                    </a:lnTo>
                    <a:lnTo>
                      <a:pt x="1419" y="40"/>
                    </a:lnTo>
                    <a:lnTo>
                      <a:pt x="1378" y="33"/>
                    </a:lnTo>
                    <a:lnTo>
                      <a:pt x="1335" y="27"/>
                    </a:lnTo>
                    <a:lnTo>
                      <a:pt x="1291" y="20"/>
                    </a:lnTo>
                    <a:lnTo>
                      <a:pt x="1246" y="15"/>
                    </a:lnTo>
                    <a:lnTo>
                      <a:pt x="1199" y="10"/>
                    </a:lnTo>
                    <a:lnTo>
                      <a:pt x="1150" y="6"/>
                    </a:lnTo>
                    <a:lnTo>
                      <a:pt x="1101" y="4"/>
                    </a:lnTo>
                    <a:lnTo>
                      <a:pt x="1049" y="1"/>
                    </a:lnTo>
                    <a:lnTo>
                      <a:pt x="996" y="0"/>
                    </a:lnTo>
                    <a:lnTo>
                      <a:pt x="942" y="0"/>
                    </a:lnTo>
                    <a:lnTo>
                      <a:pt x="942" y="0"/>
                    </a:lnTo>
                    <a:lnTo>
                      <a:pt x="887" y="0"/>
                    </a:lnTo>
                    <a:lnTo>
                      <a:pt x="836" y="1"/>
                    </a:lnTo>
                    <a:lnTo>
                      <a:pt x="784" y="4"/>
                    </a:lnTo>
                    <a:lnTo>
                      <a:pt x="733" y="6"/>
                    </a:lnTo>
                    <a:lnTo>
                      <a:pt x="685" y="10"/>
                    </a:lnTo>
                    <a:lnTo>
                      <a:pt x="639" y="15"/>
                    </a:lnTo>
                    <a:lnTo>
                      <a:pt x="592" y="20"/>
                    </a:lnTo>
                    <a:lnTo>
                      <a:pt x="549" y="27"/>
                    </a:lnTo>
                    <a:lnTo>
                      <a:pt x="506" y="33"/>
                    </a:lnTo>
                    <a:lnTo>
                      <a:pt x="465" y="40"/>
                    </a:lnTo>
                    <a:lnTo>
                      <a:pt x="426" y="48"/>
                    </a:lnTo>
                    <a:lnTo>
                      <a:pt x="388" y="57"/>
                    </a:lnTo>
                    <a:lnTo>
                      <a:pt x="351" y="64"/>
                    </a:lnTo>
                    <a:lnTo>
                      <a:pt x="317" y="74"/>
                    </a:lnTo>
                    <a:lnTo>
                      <a:pt x="284" y="83"/>
                    </a:lnTo>
                    <a:lnTo>
                      <a:pt x="253" y="93"/>
                    </a:lnTo>
                    <a:lnTo>
                      <a:pt x="222" y="102"/>
                    </a:lnTo>
                    <a:lnTo>
                      <a:pt x="195" y="114"/>
                    </a:lnTo>
                    <a:lnTo>
                      <a:pt x="169" y="124"/>
                    </a:lnTo>
                    <a:lnTo>
                      <a:pt x="144" y="134"/>
                    </a:lnTo>
                    <a:lnTo>
                      <a:pt x="122" y="144"/>
                    </a:lnTo>
                    <a:lnTo>
                      <a:pt x="101" y="155"/>
                    </a:lnTo>
                    <a:lnTo>
                      <a:pt x="82" y="165"/>
                    </a:lnTo>
                    <a:lnTo>
                      <a:pt x="66" y="176"/>
                    </a:lnTo>
                    <a:lnTo>
                      <a:pt x="51" y="187"/>
                    </a:lnTo>
                    <a:lnTo>
                      <a:pt x="37" y="197"/>
                    </a:lnTo>
                    <a:lnTo>
                      <a:pt x="27" y="207"/>
                    </a:lnTo>
                    <a:lnTo>
                      <a:pt x="17" y="217"/>
                    </a:lnTo>
                    <a:lnTo>
                      <a:pt x="11" y="226"/>
                    </a:lnTo>
                    <a:lnTo>
                      <a:pt x="5" y="236"/>
                    </a:lnTo>
                    <a:lnTo>
                      <a:pt x="2" y="245"/>
                    </a:lnTo>
                    <a:lnTo>
                      <a:pt x="0" y="254"/>
                    </a:lnTo>
                    <a:lnTo>
                      <a:pt x="0" y="2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896117">
                  <a:defRPr/>
                </a:pPr>
                <a:endParaRPr lang="en-US" sz="1764" kern="0" dirty="0">
                  <a:solidFill>
                    <a:srgbClr val="FFFFFF"/>
                  </a:solidFill>
                </a:endParaRPr>
              </a:p>
            </p:txBody>
          </p:sp>
          <p:sp>
            <p:nvSpPr>
              <p:cNvPr id="447" name="Freeform 17"/>
              <p:cNvSpPr>
                <a:spLocks/>
              </p:cNvSpPr>
              <p:nvPr/>
            </p:nvSpPr>
            <p:spPr bwMode="auto">
              <a:xfrm>
                <a:off x="3473450" y="4781550"/>
                <a:ext cx="1741488" cy="1411287"/>
              </a:xfrm>
              <a:custGeom>
                <a:avLst/>
                <a:gdLst>
                  <a:gd name="T0" fmla="*/ 280 w 2194"/>
                  <a:gd name="T1" fmla="*/ 1778 h 1779"/>
                  <a:gd name="T2" fmla="*/ 363 w 2194"/>
                  <a:gd name="T3" fmla="*/ 1764 h 1779"/>
                  <a:gd name="T4" fmla="*/ 440 w 2194"/>
                  <a:gd name="T5" fmla="*/ 1736 h 1779"/>
                  <a:gd name="T6" fmla="*/ 511 w 2194"/>
                  <a:gd name="T7" fmla="*/ 1693 h 1779"/>
                  <a:gd name="T8" fmla="*/ 573 w 2194"/>
                  <a:gd name="T9" fmla="*/ 1637 h 1779"/>
                  <a:gd name="T10" fmla="*/ 625 w 2194"/>
                  <a:gd name="T11" fmla="*/ 1569 h 1779"/>
                  <a:gd name="T12" fmla="*/ 633 w 2194"/>
                  <a:gd name="T13" fmla="*/ 1558 h 1779"/>
                  <a:gd name="T14" fmla="*/ 652 w 2194"/>
                  <a:gd name="T15" fmla="*/ 1547 h 1779"/>
                  <a:gd name="T16" fmla="*/ 675 w 2194"/>
                  <a:gd name="T17" fmla="*/ 1543 h 1779"/>
                  <a:gd name="T18" fmla="*/ 696 w 2194"/>
                  <a:gd name="T19" fmla="*/ 1547 h 1779"/>
                  <a:gd name="T20" fmla="*/ 715 w 2194"/>
                  <a:gd name="T21" fmla="*/ 1558 h 1779"/>
                  <a:gd name="T22" fmla="*/ 725 w 2194"/>
                  <a:gd name="T23" fmla="*/ 1569 h 1779"/>
                  <a:gd name="T24" fmla="*/ 776 w 2194"/>
                  <a:gd name="T25" fmla="*/ 1637 h 1779"/>
                  <a:gd name="T26" fmla="*/ 838 w 2194"/>
                  <a:gd name="T27" fmla="*/ 1693 h 1779"/>
                  <a:gd name="T28" fmla="*/ 908 w 2194"/>
                  <a:gd name="T29" fmla="*/ 1736 h 1779"/>
                  <a:gd name="T30" fmla="*/ 985 w 2194"/>
                  <a:gd name="T31" fmla="*/ 1764 h 1779"/>
                  <a:gd name="T32" fmla="*/ 1069 w 2194"/>
                  <a:gd name="T33" fmla="*/ 1778 h 1779"/>
                  <a:gd name="T34" fmla="*/ 1125 w 2194"/>
                  <a:gd name="T35" fmla="*/ 1778 h 1779"/>
                  <a:gd name="T36" fmla="*/ 1209 w 2194"/>
                  <a:gd name="T37" fmla="*/ 1764 h 1779"/>
                  <a:gd name="T38" fmla="*/ 1286 w 2194"/>
                  <a:gd name="T39" fmla="*/ 1736 h 1779"/>
                  <a:gd name="T40" fmla="*/ 1356 w 2194"/>
                  <a:gd name="T41" fmla="*/ 1693 h 1779"/>
                  <a:gd name="T42" fmla="*/ 1418 w 2194"/>
                  <a:gd name="T43" fmla="*/ 1637 h 1779"/>
                  <a:gd name="T44" fmla="*/ 1470 w 2194"/>
                  <a:gd name="T45" fmla="*/ 1569 h 1779"/>
                  <a:gd name="T46" fmla="*/ 1479 w 2194"/>
                  <a:gd name="T47" fmla="*/ 1558 h 1779"/>
                  <a:gd name="T48" fmla="*/ 1498 w 2194"/>
                  <a:gd name="T49" fmla="*/ 1547 h 1779"/>
                  <a:gd name="T50" fmla="*/ 1519 w 2194"/>
                  <a:gd name="T51" fmla="*/ 1543 h 1779"/>
                  <a:gd name="T52" fmla="*/ 1542 w 2194"/>
                  <a:gd name="T53" fmla="*/ 1547 h 1779"/>
                  <a:gd name="T54" fmla="*/ 1561 w 2194"/>
                  <a:gd name="T55" fmla="*/ 1558 h 1779"/>
                  <a:gd name="T56" fmla="*/ 1569 w 2194"/>
                  <a:gd name="T57" fmla="*/ 1569 h 1779"/>
                  <a:gd name="T58" fmla="*/ 1621 w 2194"/>
                  <a:gd name="T59" fmla="*/ 1637 h 1779"/>
                  <a:gd name="T60" fmla="*/ 1683 w 2194"/>
                  <a:gd name="T61" fmla="*/ 1693 h 1779"/>
                  <a:gd name="T62" fmla="*/ 1754 w 2194"/>
                  <a:gd name="T63" fmla="*/ 1736 h 1779"/>
                  <a:gd name="T64" fmla="*/ 1831 w 2194"/>
                  <a:gd name="T65" fmla="*/ 1764 h 1779"/>
                  <a:gd name="T66" fmla="*/ 1914 w 2194"/>
                  <a:gd name="T67" fmla="*/ 1778 h 1779"/>
                  <a:gd name="T68" fmla="*/ 1977 w 2194"/>
                  <a:gd name="T69" fmla="*/ 1778 h 1779"/>
                  <a:gd name="T70" fmla="*/ 2077 w 2194"/>
                  <a:gd name="T71" fmla="*/ 1757 h 1779"/>
                  <a:gd name="T72" fmla="*/ 2166 w 2194"/>
                  <a:gd name="T73" fmla="*/ 1716 h 1779"/>
                  <a:gd name="T74" fmla="*/ 2194 w 2194"/>
                  <a:gd name="T75" fmla="*/ 0 h 1779"/>
                  <a:gd name="T76" fmla="*/ 2190 w 2194"/>
                  <a:gd name="T77" fmla="*/ 39 h 1779"/>
                  <a:gd name="T78" fmla="*/ 2179 w 2194"/>
                  <a:gd name="T79" fmla="*/ 77 h 1779"/>
                  <a:gd name="T80" fmla="*/ 2154 w 2194"/>
                  <a:gd name="T81" fmla="*/ 125 h 1779"/>
                  <a:gd name="T82" fmla="*/ 2097 w 2194"/>
                  <a:gd name="T83" fmla="*/ 189 h 1779"/>
                  <a:gd name="T84" fmla="*/ 2016 w 2194"/>
                  <a:gd name="T85" fmla="*/ 247 h 1779"/>
                  <a:gd name="T86" fmla="*/ 1916 w 2194"/>
                  <a:gd name="T87" fmla="*/ 297 h 1779"/>
                  <a:gd name="T88" fmla="*/ 1800 w 2194"/>
                  <a:gd name="T89" fmla="*/ 339 h 1779"/>
                  <a:gd name="T90" fmla="*/ 1670 w 2194"/>
                  <a:gd name="T91" fmla="*/ 375 h 1779"/>
                  <a:gd name="T92" fmla="*/ 1529 w 2194"/>
                  <a:gd name="T93" fmla="*/ 401 h 1779"/>
                  <a:gd name="T94" fmla="*/ 1380 w 2194"/>
                  <a:gd name="T95" fmla="*/ 422 h 1779"/>
                  <a:gd name="T96" fmla="*/ 1226 w 2194"/>
                  <a:gd name="T97" fmla="*/ 433 h 1779"/>
                  <a:gd name="T98" fmla="*/ 1069 w 2194"/>
                  <a:gd name="T99" fmla="*/ 437 h 1779"/>
                  <a:gd name="T100" fmla="*/ 900 w 2194"/>
                  <a:gd name="T101" fmla="*/ 433 h 1779"/>
                  <a:gd name="T102" fmla="*/ 651 w 2194"/>
                  <a:gd name="T103" fmla="*/ 409 h 1779"/>
                  <a:gd name="T104" fmla="*/ 423 w 2194"/>
                  <a:gd name="T105" fmla="*/ 363 h 1779"/>
                  <a:gd name="T106" fmla="*/ 320 w 2194"/>
                  <a:gd name="T107" fmla="*/ 334 h 1779"/>
                  <a:gd name="T108" fmla="*/ 226 w 2194"/>
                  <a:gd name="T109" fmla="*/ 299 h 1779"/>
                  <a:gd name="T110" fmla="*/ 144 w 2194"/>
                  <a:gd name="T111" fmla="*/ 259 h 1779"/>
                  <a:gd name="T112" fmla="*/ 73 w 2194"/>
                  <a:gd name="T113" fmla="*/ 214 h 1779"/>
                  <a:gd name="T114" fmla="*/ 16 w 2194"/>
                  <a:gd name="T115" fmla="*/ 165 h 1779"/>
                  <a:gd name="T116" fmla="*/ 0 w 2194"/>
                  <a:gd name="T117" fmla="*/ 1698 h 1779"/>
                  <a:gd name="T118" fmla="*/ 87 w 2194"/>
                  <a:gd name="T119" fmla="*/ 1746 h 1779"/>
                  <a:gd name="T120" fmla="*/ 183 w 2194"/>
                  <a:gd name="T121" fmla="*/ 1773 h 1779"/>
                  <a:gd name="T122" fmla="*/ 252 w 2194"/>
                  <a:gd name="T123" fmla="*/ 1779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94" h="1779">
                    <a:moveTo>
                      <a:pt x="252" y="1779"/>
                    </a:moveTo>
                    <a:lnTo>
                      <a:pt x="252" y="1779"/>
                    </a:lnTo>
                    <a:lnTo>
                      <a:pt x="280" y="1778"/>
                    </a:lnTo>
                    <a:lnTo>
                      <a:pt x="308" y="1775"/>
                    </a:lnTo>
                    <a:lnTo>
                      <a:pt x="336" y="1770"/>
                    </a:lnTo>
                    <a:lnTo>
                      <a:pt x="363" y="1764"/>
                    </a:lnTo>
                    <a:lnTo>
                      <a:pt x="390" y="1756"/>
                    </a:lnTo>
                    <a:lnTo>
                      <a:pt x="415" y="1747"/>
                    </a:lnTo>
                    <a:lnTo>
                      <a:pt x="440" y="1736"/>
                    </a:lnTo>
                    <a:lnTo>
                      <a:pt x="466" y="1723"/>
                    </a:lnTo>
                    <a:lnTo>
                      <a:pt x="488" y="1709"/>
                    </a:lnTo>
                    <a:lnTo>
                      <a:pt x="511" y="1693"/>
                    </a:lnTo>
                    <a:lnTo>
                      <a:pt x="532" y="1675"/>
                    </a:lnTo>
                    <a:lnTo>
                      <a:pt x="554" y="1658"/>
                    </a:lnTo>
                    <a:lnTo>
                      <a:pt x="573" y="1637"/>
                    </a:lnTo>
                    <a:lnTo>
                      <a:pt x="592" y="1616"/>
                    </a:lnTo>
                    <a:lnTo>
                      <a:pt x="608" y="1593"/>
                    </a:lnTo>
                    <a:lnTo>
                      <a:pt x="625" y="1569"/>
                    </a:lnTo>
                    <a:lnTo>
                      <a:pt x="625" y="1569"/>
                    </a:lnTo>
                    <a:lnTo>
                      <a:pt x="628" y="1563"/>
                    </a:lnTo>
                    <a:lnTo>
                      <a:pt x="633" y="1558"/>
                    </a:lnTo>
                    <a:lnTo>
                      <a:pt x="640" y="1554"/>
                    </a:lnTo>
                    <a:lnTo>
                      <a:pt x="646" y="1550"/>
                    </a:lnTo>
                    <a:lnTo>
                      <a:pt x="652" y="1547"/>
                    </a:lnTo>
                    <a:lnTo>
                      <a:pt x="660" y="1545"/>
                    </a:lnTo>
                    <a:lnTo>
                      <a:pt x="667" y="1544"/>
                    </a:lnTo>
                    <a:lnTo>
                      <a:pt x="675" y="1543"/>
                    </a:lnTo>
                    <a:lnTo>
                      <a:pt x="681" y="1544"/>
                    </a:lnTo>
                    <a:lnTo>
                      <a:pt x="689" y="1545"/>
                    </a:lnTo>
                    <a:lnTo>
                      <a:pt x="696" y="1547"/>
                    </a:lnTo>
                    <a:lnTo>
                      <a:pt x="703" y="1550"/>
                    </a:lnTo>
                    <a:lnTo>
                      <a:pt x="709" y="1554"/>
                    </a:lnTo>
                    <a:lnTo>
                      <a:pt x="715" y="1558"/>
                    </a:lnTo>
                    <a:lnTo>
                      <a:pt x="720" y="1563"/>
                    </a:lnTo>
                    <a:lnTo>
                      <a:pt x="725" y="1569"/>
                    </a:lnTo>
                    <a:lnTo>
                      <a:pt x="725" y="1569"/>
                    </a:lnTo>
                    <a:lnTo>
                      <a:pt x="741" y="1593"/>
                    </a:lnTo>
                    <a:lnTo>
                      <a:pt x="758" y="1616"/>
                    </a:lnTo>
                    <a:lnTo>
                      <a:pt x="776" y="1637"/>
                    </a:lnTo>
                    <a:lnTo>
                      <a:pt x="796" y="1658"/>
                    </a:lnTo>
                    <a:lnTo>
                      <a:pt x="816" y="1675"/>
                    </a:lnTo>
                    <a:lnTo>
                      <a:pt x="838" y="1693"/>
                    </a:lnTo>
                    <a:lnTo>
                      <a:pt x="860" y="1709"/>
                    </a:lnTo>
                    <a:lnTo>
                      <a:pt x="884" y="1723"/>
                    </a:lnTo>
                    <a:lnTo>
                      <a:pt x="908" y="1736"/>
                    </a:lnTo>
                    <a:lnTo>
                      <a:pt x="934" y="1747"/>
                    </a:lnTo>
                    <a:lnTo>
                      <a:pt x="959" y="1756"/>
                    </a:lnTo>
                    <a:lnTo>
                      <a:pt x="985" y="1764"/>
                    </a:lnTo>
                    <a:lnTo>
                      <a:pt x="1013" y="1770"/>
                    </a:lnTo>
                    <a:lnTo>
                      <a:pt x="1041" y="1775"/>
                    </a:lnTo>
                    <a:lnTo>
                      <a:pt x="1069" y="1778"/>
                    </a:lnTo>
                    <a:lnTo>
                      <a:pt x="1098" y="1779"/>
                    </a:lnTo>
                    <a:lnTo>
                      <a:pt x="1098" y="1779"/>
                    </a:lnTo>
                    <a:lnTo>
                      <a:pt x="1125" y="1778"/>
                    </a:lnTo>
                    <a:lnTo>
                      <a:pt x="1153" y="1775"/>
                    </a:lnTo>
                    <a:lnTo>
                      <a:pt x="1181" y="1770"/>
                    </a:lnTo>
                    <a:lnTo>
                      <a:pt x="1209" y="1764"/>
                    </a:lnTo>
                    <a:lnTo>
                      <a:pt x="1235" y="1756"/>
                    </a:lnTo>
                    <a:lnTo>
                      <a:pt x="1260" y="1747"/>
                    </a:lnTo>
                    <a:lnTo>
                      <a:pt x="1286" y="1736"/>
                    </a:lnTo>
                    <a:lnTo>
                      <a:pt x="1310" y="1723"/>
                    </a:lnTo>
                    <a:lnTo>
                      <a:pt x="1334" y="1709"/>
                    </a:lnTo>
                    <a:lnTo>
                      <a:pt x="1356" y="1693"/>
                    </a:lnTo>
                    <a:lnTo>
                      <a:pt x="1378" y="1675"/>
                    </a:lnTo>
                    <a:lnTo>
                      <a:pt x="1399" y="1658"/>
                    </a:lnTo>
                    <a:lnTo>
                      <a:pt x="1418" y="1637"/>
                    </a:lnTo>
                    <a:lnTo>
                      <a:pt x="1436" y="1616"/>
                    </a:lnTo>
                    <a:lnTo>
                      <a:pt x="1453" y="1593"/>
                    </a:lnTo>
                    <a:lnTo>
                      <a:pt x="1470" y="1569"/>
                    </a:lnTo>
                    <a:lnTo>
                      <a:pt x="1470" y="1569"/>
                    </a:lnTo>
                    <a:lnTo>
                      <a:pt x="1474" y="1563"/>
                    </a:lnTo>
                    <a:lnTo>
                      <a:pt x="1479" y="1558"/>
                    </a:lnTo>
                    <a:lnTo>
                      <a:pt x="1485" y="1554"/>
                    </a:lnTo>
                    <a:lnTo>
                      <a:pt x="1491" y="1550"/>
                    </a:lnTo>
                    <a:lnTo>
                      <a:pt x="1498" y="1547"/>
                    </a:lnTo>
                    <a:lnTo>
                      <a:pt x="1505" y="1545"/>
                    </a:lnTo>
                    <a:lnTo>
                      <a:pt x="1513" y="1544"/>
                    </a:lnTo>
                    <a:lnTo>
                      <a:pt x="1519" y="1543"/>
                    </a:lnTo>
                    <a:lnTo>
                      <a:pt x="1527" y="1544"/>
                    </a:lnTo>
                    <a:lnTo>
                      <a:pt x="1534" y="1545"/>
                    </a:lnTo>
                    <a:lnTo>
                      <a:pt x="1542" y="1547"/>
                    </a:lnTo>
                    <a:lnTo>
                      <a:pt x="1548" y="1550"/>
                    </a:lnTo>
                    <a:lnTo>
                      <a:pt x="1554" y="1554"/>
                    </a:lnTo>
                    <a:lnTo>
                      <a:pt x="1561" y="1558"/>
                    </a:lnTo>
                    <a:lnTo>
                      <a:pt x="1566" y="1563"/>
                    </a:lnTo>
                    <a:lnTo>
                      <a:pt x="1569" y="1569"/>
                    </a:lnTo>
                    <a:lnTo>
                      <a:pt x="1569" y="1569"/>
                    </a:lnTo>
                    <a:lnTo>
                      <a:pt x="1586" y="1593"/>
                    </a:lnTo>
                    <a:lnTo>
                      <a:pt x="1602" y="1616"/>
                    </a:lnTo>
                    <a:lnTo>
                      <a:pt x="1621" y="1637"/>
                    </a:lnTo>
                    <a:lnTo>
                      <a:pt x="1640" y="1658"/>
                    </a:lnTo>
                    <a:lnTo>
                      <a:pt x="1662" y="1675"/>
                    </a:lnTo>
                    <a:lnTo>
                      <a:pt x="1683" y="1693"/>
                    </a:lnTo>
                    <a:lnTo>
                      <a:pt x="1706" y="1709"/>
                    </a:lnTo>
                    <a:lnTo>
                      <a:pt x="1728" y="1723"/>
                    </a:lnTo>
                    <a:lnTo>
                      <a:pt x="1754" y="1736"/>
                    </a:lnTo>
                    <a:lnTo>
                      <a:pt x="1779" y="1747"/>
                    </a:lnTo>
                    <a:lnTo>
                      <a:pt x="1804" y="1756"/>
                    </a:lnTo>
                    <a:lnTo>
                      <a:pt x="1831" y="1764"/>
                    </a:lnTo>
                    <a:lnTo>
                      <a:pt x="1858" y="1770"/>
                    </a:lnTo>
                    <a:lnTo>
                      <a:pt x="1886" y="1775"/>
                    </a:lnTo>
                    <a:lnTo>
                      <a:pt x="1914" y="1778"/>
                    </a:lnTo>
                    <a:lnTo>
                      <a:pt x="1942" y="1779"/>
                    </a:lnTo>
                    <a:lnTo>
                      <a:pt x="1942" y="1779"/>
                    </a:lnTo>
                    <a:lnTo>
                      <a:pt x="1977" y="1778"/>
                    </a:lnTo>
                    <a:lnTo>
                      <a:pt x="2011" y="1773"/>
                    </a:lnTo>
                    <a:lnTo>
                      <a:pt x="2044" y="1766"/>
                    </a:lnTo>
                    <a:lnTo>
                      <a:pt x="2077" y="1757"/>
                    </a:lnTo>
                    <a:lnTo>
                      <a:pt x="2107" y="1746"/>
                    </a:lnTo>
                    <a:lnTo>
                      <a:pt x="2137" y="1732"/>
                    </a:lnTo>
                    <a:lnTo>
                      <a:pt x="2166" y="1716"/>
                    </a:lnTo>
                    <a:lnTo>
                      <a:pt x="2194" y="1698"/>
                    </a:lnTo>
                    <a:lnTo>
                      <a:pt x="2194" y="0"/>
                    </a:lnTo>
                    <a:lnTo>
                      <a:pt x="2194" y="0"/>
                    </a:lnTo>
                    <a:lnTo>
                      <a:pt x="2193" y="12"/>
                    </a:lnTo>
                    <a:lnTo>
                      <a:pt x="2191" y="26"/>
                    </a:lnTo>
                    <a:lnTo>
                      <a:pt x="2190" y="39"/>
                    </a:lnTo>
                    <a:lnTo>
                      <a:pt x="2186" y="52"/>
                    </a:lnTo>
                    <a:lnTo>
                      <a:pt x="2184" y="64"/>
                    </a:lnTo>
                    <a:lnTo>
                      <a:pt x="2179" y="77"/>
                    </a:lnTo>
                    <a:lnTo>
                      <a:pt x="2174" y="89"/>
                    </a:lnTo>
                    <a:lnTo>
                      <a:pt x="2168" y="101"/>
                    </a:lnTo>
                    <a:lnTo>
                      <a:pt x="2154" y="125"/>
                    </a:lnTo>
                    <a:lnTo>
                      <a:pt x="2137" y="146"/>
                    </a:lnTo>
                    <a:lnTo>
                      <a:pt x="2118" y="169"/>
                    </a:lnTo>
                    <a:lnTo>
                      <a:pt x="2097" y="189"/>
                    </a:lnTo>
                    <a:lnTo>
                      <a:pt x="2072" y="209"/>
                    </a:lnTo>
                    <a:lnTo>
                      <a:pt x="2045" y="228"/>
                    </a:lnTo>
                    <a:lnTo>
                      <a:pt x="2016" y="247"/>
                    </a:lnTo>
                    <a:lnTo>
                      <a:pt x="1985" y="265"/>
                    </a:lnTo>
                    <a:lnTo>
                      <a:pt x="1952" y="281"/>
                    </a:lnTo>
                    <a:lnTo>
                      <a:pt x="1916" y="297"/>
                    </a:lnTo>
                    <a:lnTo>
                      <a:pt x="1880" y="312"/>
                    </a:lnTo>
                    <a:lnTo>
                      <a:pt x="1841" y="327"/>
                    </a:lnTo>
                    <a:lnTo>
                      <a:pt x="1800" y="339"/>
                    </a:lnTo>
                    <a:lnTo>
                      <a:pt x="1759" y="352"/>
                    </a:lnTo>
                    <a:lnTo>
                      <a:pt x="1715" y="363"/>
                    </a:lnTo>
                    <a:lnTo>
                      <a:pt x="1670" y="375"/>
                    </a:lnTo>
                    <a:lnTo>
                      <a:pt x="1625" y="385"/>
                    </a:lnTo>
                    <a:lnTo>
                      <a:pt x="1577" y="394"/>
                    </a:lnTo>
                    <a:lnTo>
                      <a:pt x="1529" y="401"/>
                    </a:lnTo>
                    <a:lnTo>
                      <a:pt x="1480" y="409"/>
                    </a:lnTo>
                    <a:lnTo>
                      <a:pt x="1431" y="415"/>
                    </a:lnTo>
                    <a:lnTo>
                      <a:pt x="1380" y="422"/>
                    </a:lnTo>
                    <a:lnTo>
                      <a:pt x="1330" y="427"/>
                    </a:lnTo>
                    <a:lnTo>
                      <a:pt x="1278" y="430"/>
                    </a:lnTo>
                    <a:lnTo>
                      <a:pt x="1226" y="433"/>
                    </a:lnTo>
                    <a:lnTo>
                      <a:pt x="1173" y="435"/>
                    </a:lnTo>
                    <a:lnTo>
                      <a:pt x="1122" y="437"/>
                    </a:lnTo>
                    <a:lnTo>
                      <a:pt x="1069" y="437"/>
                    </a:lnTo>
                    <a:lnTo>
                      <a:pt x="1069" y="437"/>
                    </a:lnTo>
                    <a:lnTo>
                      <a:pt x="984" y="437"/>
                    </a:lnTo>
                    <a:lnTo>
                      <a:pt x="900" y="433"/>
                    </a:lnTo>
                    <a:lnTo>
                      <a:pt x="815" y="427"/>
                    </a:lnTo>
                    <a:lnTo>
                      <a:pt x="733" y="419"/>
                    </a:lnTo>
                    <a:lnTo>
                      <a:pt x="651" y="409"/>
                    </a:lnTo>
                    <a:lnTo>
                      <a:pt x="573" y="396"/>
                    </a:lnTo>
                    <a:lnTo>
                      <a:pt x="496" y="381"/>
                    </a:lnTo>
                    <a:lnTo>
                      <a:pt x="423" y="363"/>
                    </a:lnTo>
                    <a:lnTo>
                      <a:pt x="387" y="355"/>
                    </a:lnTo>
                    <a:lnTo>
                      <a:pt x="353" y="344"/>
                    </a:lnTo>
                    <a:lnTo>
                      <a:pt x="320" y="334"/>
                    </a:lnTo>
                    <a:lnTo>
                      <a:pt x="288" y="323"/>
                    </a:lnTo>
                    <a:lnTo>
                      <a:pt x="256" y="312"/>
                    </a:lnTo>
                    <a:lnTo>
                      <a:pt x="226" y="299"/>
                    </a:lnTo>
                    <a:lnTo>
                      <a:pt x="197" y="286"/>
                    </a:lnTo>
                    <a:lnTo>
                      <a:pt x="169" y="273"/>
                    </a:lnTo>
                    <a:lnTo>
                      <a:pt x="144" y="259"/>
                    </a:lnTo>
                    <a:lnTo>
                      <a:pt x="119" y="245"/>
                    </a:lnTo>
                    <a:lnTo>
                      <a:pt x="95" y="230"/>
                    </a:lnTo>
                    <a:lnTo>
                      <a:pt x="73" y="214"/>
                    </a:lnTo>
                    <a:lnTo>
                      <a:pt x="52" y="198"/>
                    </a:lnTo>
                    <a:lnTo>
                      <a:pt x="33" y="182"/>
                    </a:lnTo>
                    <a:lnTo>
                      <a:pt x="16" y="165"/>
                    </a:lnTo>
                    <a:lnTo>
                      <a:pt x="0" y="148"/>
                    </a:lnTo>
                    <a:lnTo>
                      <a:pt x="0" y="1698"/>
                    </a:lnTo>
                    <a:lnTo>
                      <a:pt x="0" y="1698"/>
                    </a:lnTo>
                    <a:lnTo>
                      <a:pt x="28" y="1716"/>
                    </a:lnTo>
                    <a:lnTo>
                      <a:pt x="57" y="1732"/>
                    </a:lnTo>
                    <a:lnTo>
                      <a:pt x="87" y="1746"/>
                    </a:lnTo>
                    <a:lnTo>
                      <a:pt x="117" y="1757"/>
                    </a:lnTo>
                    <a:lnTo>
                      <a:pt x="150" y="1766"/>
                    </a:lnTo>
                    <a:lnTo>
                      <a:pt x="183" y="1773"/>
                    </a:lnTo>
                    <a:lnTo>
                      <a:pt x="217" y="1778"/>
                    </a:lnTo>
                    <a:lnTo>
                      <a:pt x="252" y="1779"/>
                    </a:lnTo>
                    <a:lnTo>
                      <a:pt x="252" y="17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896117">
                  <a:defRPr/>
                </a:pPr>
                <a:endParaRPr lang="en-US" sz="1764" kern="0" dirty="0">
                  <a:solidFill>
                    <a:srgbClr val="FFFFFF"/>
                  </a:solidFill>
                </a:endParaRPr>
              </a:p>
            </p:txBody>
          </p:sp>
          <p:sp>
            <p:nvSpPr>
              <p:cNvPr id="448" name="Freeform 18"/>
              <p:cNvSpPr>
                <a:spLocks/>
              </p:cNvSpPr>
              <p:nvPr/>
            </p:nvSpPr>
            <p:spPr bwMode="auto">
              <a:xfrm>
                <a:off x="3473450" y="6130925"/>
                <a:ext cx="1741488" cy="727075"/>
              </a:xfrm>
              <a:custGeom>
                <a:avLst/>
                <a:gdLst>
                  <a:gd name="T0" fmla="*/ 1911 w 2194"/>
                  <a:gd name="T1" fmla="*/ 195 h 915"/>
                  <a:gd name="T2" fmla="*/ 1821 w 2194"/>
                  <a:gd name="T3" fmla="*/ 183 h 915"/>
                  <a:gd name="T4" fmla="*/ 1736 w 2194"/>
                  <a:gd name="T5" fmla="*/ 156 h 915"/>
                  <a:gd name="T6" fmla="*/ 1655 w 2194"/>
                  <a:gd name="T7" fmla="*/ 117 h 915"/>
                  <a:gd name="T8" fmla="*/ 1583 w 2194"/>
                  <a:gd name="T9" fmla="*/ 64 h 915"/>
                  <a:gd name="T10" fmla="*/ 1519 w 2194"/>
                  <a:gd name="T11" fmla="*/ 0 h 915"/>
                  <a:gd name="T12" fmla="*/ 1479 w 2194"/>
                  <a:gd name="T13" fmla="*/ 44 h 915"/>
                  <a:gd name="T14" fmla="*/ 1408 w 2194"/>
                  <a:gd name="T15" fmla="*/ 101 h 915"/>
                  <a:gd name="T16" fmla="*/ 1331 w 2194"/>
                  <a:gd name="T17" fmla="*/ 145 h 915"/>
                  <a:gd name="T18" fmla="*/ 1247 w 2194"/>
                  <a:gd name="T19" fmla="*/ 175 h 915"/>
                  <a:gd name="T20" fmla="*/ 1158 w 2194"/>
                  <a:gd name="T21" fmla="*/ 193 h 915"/>
                  <a:gd name="T22" fmla="*/ 1098 w 2194"/>
                  <a:gd name="T23" fmla="*/ 195 h 915"/>
                  <a:gd name="T24" fmla="*/ 1006 w 2194"/>
                  <a:gd name="T25" fmla="*/ 188 h 915"/>
                  <a:gd name="T26" fmla="*/ 918 w 2194"/>
                  <a:gd name="T27" fmla="*/ 166 h 915"/>
                  <a:gd name="T28" fmla="*/ 836 w 2194"/>
                  <a:gd name="T29" fmla="*/ 131 h 915"/>
                  <a:gd name="T30" fmla="*/ 762 w 2194"/>
                  <a:gd name="T31" fmla="*/ 83 h 915"/>
                  <a:gd name="T32" fmla="*/ 695 w 2194"/>
                  <a:gd name="T33" fmla="*/ 22 h 915"/>
                  <a:gd name="T34" fmla="*/ 655 w 2194"/>
                  <a:gd name="T35" fmla="*/ 22 h 915"/>
                  <a:gd name="T36" fmla="*/ 588 w 2194"/>
                  <a:gd name="T37" fmla="*/ 83 h 915"/>
                  <a:gd name="T38" fmla="*/ 512 w 2194"/>
                  <a:gd name="T39" fmla="*/ 131 h 915"/>
                  <a:gd name="T40" fmla="*/ 430 w 2194"/>
                  <a:gd name="T41" fmla="*/ 166 h 915"/>
                  <a:gd name="T42" fmla="*/ 343 w 2194"/>
                  <a:gd name="T43" fmla="*/ 188 h 915"/>
                  <a:gd name="T44" fmla="*/ 252 w 2194"/>
                  <a:gd name="T45" fmla="*/ 195 h 915"/>
                  <a:gd name="T46" fmla="*/ 185 w 2194"/>
                  <a:gd name="T47" fmla="*/ 192 h 915"/>
                  <a:gd name="T48" fmla="*/ 90 w 2194"/>
                  <a:gd name="T49" fmla="*/ 171 h 915"/>
                  <a:gd name="T50" fmla="*/ 0 w 2194"/>
                  <a:gd name="T51" fmla="*/ 135 h 915"/>
                  <a:gd name="T52" fmla="*/ 15 w 2194"/>
                  <a:gd name="T53" fmla="*/ 703 h 915"/>
                  <a:gd name="T54" fmla="*/ 69 w 2194"/>
                  <a:gd name="T55" fmla="*/ 737 h 915"/>
                  <a:gd name="T56" fmla="*/ 136 w 2194"/>
                  <a:gd name="T57" fmla="*/ 770 h 915"/>
                  <a:gd name="T58" fmla="*/ 274 w 2194"/>
                  <a:gd name="T59" fmla="*/ 819 h 915"/>
                  <a:gd name="T60" fmla="*/ 477 w 2194"/>
                  <a:gd name="T61" fmla="*/ 866 h 915"/>
                  <a:gd name="T62" fmla="*/ 713 w 2194"/>
                  <a:gd name="T63" fmla="*/ 899 h 915"/>
                  <a:gd name="T64" fmla="*/ 975 w 2194"/>
                  <a:gd name="T65" fmla="*/ 914 h 915"/>
                  <a:gd name="T66" fmla="*/ 1125 w 2194"/>
                  <a:gd name="T67" fmla="*/ 915 h 915"/>
                  <a:gd name="T68" fmla="*/ 1294 w 2194"/>
                  <a:gd name="T69" fmla="*/ 909 h 915"/>
                  <a:gd name="T70" fmla="*/ 1455 w 2194"/>
                  <a:gd name="T71" fmla="*/ 895 h 915"/>
                  <a:gd name="T72" fmla="*/ 1604 w 2194"/>
                  <a:gd name="T73" fmla="*/ 875 h 915"/>
                  <a:gd name="T74" fmla="*/ 1741 w 2194"/>
                  <a:gd name="T75" fmla="*/ 849 h 915"/>
                  <a:gd name="T76" fmla="*/ 1863 w 2194"/>
                  <a:gd name="T77" fmla="*/ 818 h 915"/>
                  <a:gd name="T78" fmla="*/ 1969 w 2194"/>
                  <a:gd name="T79" fmla="*/ 782 h 915"/>
                  <a:gd name="T80" fmla="*/ 2058 w 2194"/>
                  <a:gd name="T81" fmla="*/ 742 h 915"/>
                  <a:gd name="T82" fmla="*/ 2125 w 2194"/>
                  <a:gd name="T83" fmla="*/ 698 h 915"/>
                  <a:gd name="T84" fmla="*/ 2170 w 2194"/>
                  <a:gd name="T85" fmla="*/ 651 h 915"/>
                  <a:gd name="T86" fmla="*/ 2191 w 2194"/>
                  <a:gd name="T87" fmla="*/ 601 h 915"/>
                  <a:gd name="T88" fmla="*/ 2194 w 2194"/>
                  <a:gd name="T89" fmla="*/ 135 h 915"/>
                  <a:gd name="T90" fmla="*/ 2104 w 2194"/>
                  <a:gd name="T91" fmla="*/ 171 h 915"/>
                  <a:gd name="T92" fmla="*/ 2009 w 2194"/>
                  <a:gd name="T93" fmla="*/ 192 h 915"/>
                  <a:gd name="T94" fmla="*/ 1942 w 2194"/>
                  <a:gd name="T95" fmla="*/ 19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94" h="915">
                    <a:moveTo>
                      <a:pt x="1942" y="195"/>
                    </a:moveTo>
                    <a:lnTo>
                      <a:pt x="1942" y="195"/>
                    </a:lnTo>
                    <a:lnTo>
                      <a:pt x="1911" y="195"/>
                    </a:lnTo>
                    <a:lnTo>
                      <a:pt x="1881" y="193"/>
                    </a:lnTo>
                    <a:lnTo>
                      <a:pt x="1851" y="188"/>
                    </a:lnTo>
                    <a:lnTo>
                      <a:pt x="1821" y="183"/>
                    </a:lnTo>
                    <a:lnTo>
                      <a:pt x="1792" y="175"/>
                    </a:lnTo>
                    <a:lnTo>
                      <a:pt x="1764" y="166"/>
                    </a:lnTo>
                    <a:lnTo>
                      <a:pt x="1736" y="156"/>
                    </a:lnTo>
                    <a:lnTo>
                      <a:pt x="1708" y="145"/>
                    </a:lnTo>
                    <a:lnTo>
                      <a:pt x="1682" y="131"/>
                    </a:lnTo>
                    <a:lnTo>
                      <a:pt x="1655" y="117"/>
                    </a:lnTo>
                    <a:lnTo>
                      <a:pt x="1631" y="101"/>
                    </a:lnTo>
                    <a:lnTo>
                      <a:pt x="1606" y="83"/>
                    </a:lnTo>
                    <a:lnTo>
                      <a:pt x="1583" y="64"/>
                    </a:lnTo>
                    <a:lnTo>
                      <a:pt x="1561" y="44"/>
                    </a:lnTo>
                    <a:lnTo>
                      <a:pt x="1539" y="22"/>
                    </a:lnTo>
                    <a:lnTo>
                      <a:pt x="1519" y="0"/>
                    </a:lnTo>
                    <a:lnTo>
                      <a:pt x="1519" y="0"/>
                    </a:lnTo>
                    <a:lnTo>
                      <a:pt x="1499" y="22"/>
                    </a:lnTo>
                    <a:lnTo>
                      <a:pt x="1479" y="44"/>
                    </a:lnTo>
                    <a:lnTo>
                      <a:pt x="1456" y="64"/>
                    </a:lnTo>
                    <a:lnTo>
                      <a:pt x="1432" y="83"/>
                    </a:lnTo>
                    <a:lnTo>
                      <a:pt x="1408" y="101"/>
                    </a:lnTo>
                    <a:lnTo>
                      <a:pt x="1383" y="117"/>
                    </a:lnTo>
                    <a:lnTo>
                      <a:pt x="1358" y="131"/>
                    </a:lnTo>
                    <a:lnTo>
                      <a:pt x="1331" y="145"/>
                    </a:lnTo>
                    <a:lnTo>
                      <a:pt x="1303" y="156"/>
                    </a:lnTo>
                    <a:lnTo>
                      <a:pt x="1276" y="166"/>
                    </a:lnTo>
                    <a:lnTo>
                      <a:pt x="1247" y="175"/>
                    </a:lnTo>
                    <a:lnTo>
                      <a:pt x="1217" y="183"/>
                    </a:lnTo>
                    <a:lnTo>
                      <a:pt x="1188" y="188"/>
                    </a:lnTo>
                    <a:lnTo>
                      <a:pt x="1158" y="193"/>
                    </a:lnTo>
                    <a:lnTo>
                      <a:pt x="1128" y="195"/>
                    </a:lnTo>
                    <a:lnTo>
                      <a:pt x="1098" y="195"/>
                    </a:lnTo>
                    <a:lnTo>
                      <a:pt x="1098" y="195"/>
                    </a:lnTo>
                    <a:lnTo>
                      <a:pt x="1066" y="195"/>
                    </a:lnTo>
                    <a:lnTo>
                      <a:pt x="1036" y="193"/>
                    </a:lnTo>
                    <a:lnTo>
                      <a:pt x="1006" y="188"/>
                    </a:lnTo>
                    <a:lnTo>
                      <a:pt x="977" y="183"/>
                    </a:lnTo>
                    <a:lnTo>
                      <a:pt x="947" y="175"/>
                    </a:lnTo>
                    <a:lnTo>
                      <a:pt x="918" y="166"/>
                    </a:lnTo>
                    <a:lnTo>
                      <a:pt x="891" y="156"/>
                    </a:lnTo>
                    <a:lnTo>
                      <a:pt x="863" y="145"/>
                    </a:lnTo>
                    <a:lnTo>
                      <a:pt x="836" y="131"/>
                    </a:lnTo>
                    <a:lnTo>
                      <a:pt x="811" y="117"/>
                    </a:lnTo>
                    <a:lnTo>
                      <a:pt x="786" y="101"/>
                    </a:lnTo>
                    <a:lnTo>
                      <a:pt x="762" y="83"/>
                    </a:lnTo>
                    <a:lnTo>
                      <a:pt x="738" y="64"/>
                    </a:lnTo>
                    <a:lnTo>
                      <a:pt x="715" y="44"/>
                    </a:lnTo>
                    <a:lnTo>
                      <a:pt x="695" y="22"/>
                    </a:lnTo>
                    <a:lnTo>
                      <a:pt x="675" y="0"/>
                    </a:lnTo>
                    <a:lnTo>
                      <a:pt x="675" y="0"/>
                    </a:lnTo>
                    <a:lnTo>
                      <a:pt x="655" y="22"/>
                    </a:lnTo>
                    <a:lnTo>
                      <a:pt x="633" y="44"/>
                    </a:lnTo>
                    <a:lnTo>
                      <a:pt x="611" y="64"/>
                    </a:lnTo>
                    <a:lnTo>
                      <a:pt x="588" y="83"/>
                    </a:lnTo>
                    <a:lnTo>
                      <a:pt x="563" y="101"/>
                    </a:lnTo>
                    <a:lnTo>
                      <a:pt x="539" y="117"/>
                    </a:lnTo>
                    <a:lnTo>
                      <a:pt x="512" y="131"/>
                    </a:lnTo>
                    <a:lnTo>
                      <a:pt x="486" y="145"/>
                    </a:lnTo>
                    <a:lnTo>
                      <a:pt x="458" y="156"/>
                    </a:lnTo>
                    <a:lnTo>
                      <a:pt x="430" y="166"/>
                    </a:lnTo>
                    <a:lnTo>
                      <a:pt x="402" y="175"/>
                    </a:lnTo>
                    <a:lnTo>
                      <a:pt x="373" y="183"/>
                    </a:lnTo>
                    <a:lnTo>
                      <a:pt x="343" y="188"/>
                    </a:lnTo>
                    <a:lnTo>
                      <a:pt x="313" y="193"/>
                    </a:lnTo>
                    <a:lnTo>
                      <a:pt x="283" y="195"/>
                    </a:lnTo>
                    <a:lnTo>
                      <a:pt x="252" y="195"/>
                    </a:lnTo>
                    <a:lnTo>
                      <a:pt x="252" y="195"/>
                    </a:lnTo>
                    <a:lnTo>
                      <a:pt x="218" y="195"/>
                    </a:lnTo>
                    <a:lnTo>
                      <a:pt x="185" y="192"/>
                    </a:lnTo>
                    <a:lnTo>
                      <a:pt x="153" y="186"/>
                    </a:lnTo>
                    <a:lnTo>
                      <a:pt x="121" y="180"/>
                    </a:lnTo>
                    <a:lnTo>
                      <a:pt x="90" y="171"/>
                    </a:lnTo>
                    <a:lnTo>
                      <a:pt x="59" y="161"/>
                    </a:lnTo>
                    <a:lnTo>
                      <a:pt x="29" y="149"/>
                    </a:lnTo>
                    <a:lnTo>
                      <a:pt x="0" y="135"/>
                    </a:lnTo>
                    <a:lnTo>
                      <a:pt x="0" y="690"/>
                    </a:lnTo>
                    <a:lnTo>
                      <a:pt x="0" y="690"/>
                    </a:lnTo>
                    <a:lnTo>
                      <a:pt x="15" y="703"/>
                    </a:lnTo>
                    <a:lnTo>
                      <a:pt x="32" y="714"/>
                    </a:lnTo>
                    <a:lnTo>
                      <a:pt x="50" y="726"/>
                    </a:lnTo>
                    <a:lnTo>
                      <a:pt x="69" y="737"/>
                    </a:lnTo>
                    <a:lnTo>
                      <a:pt x="91" y="748"/>
                    </a:lnTo>
                    <a:lnTo>
                      <a:pt x="112" y="760"/>
                    </a:lnTo>
                    <a:lnTo>
                      <a:pt x="136" y="770"/>
                    </a:lnTo>
                    <a:lnTo>
                      <a:pt x="161" y="780"/>
                    </a:lnTo>
                    <a:lnTo>
                      <a:pt x="214" y="800"/>
                    </a:lnTo>
                    <a:lnTo>
                      <a:pt x="274" y="819"/>
                    </a:lnTo>
                    <a:lnTo>
                      <a:pt x="337" y="835"/>
                    </a:lnTo>
                    <a:lnTo>
                      <a:pt x="405" y="852"/>
                    </a:lnTo>
                    <a:lnTo>
                      <a:pt x="477" y="866"/>
                    </a:lnTo>
                    <a:lnTo>
                      <a:pt x="551" y="878"/>
                    </a:lnTo>
                    <a:lnTo>
                      <a:pt x="631" y="890"/>
                    </a:lnTo>
                    <a:lnTo>
                      <a:pt x="713" y="899"/>
                    </a:lnTo>
                    <a:lnTo>
                      <a:pt x="797" y="905"/>
                    </a:lnTo>
                    <a:lnTo>
                      <a:pt x="886" y="911"/>
                    </a:lnTo>
                    <a:lnTo>
                      <a:pt x="975" y="914"/>
                    </a:lnTo>
                    <a:lnTo>
                      <a:pt x="1067" y="915"/>
                    </a:lnTo>
                    <a:lnTo>
                      <a:pt x="1067" y="915"/>
                    </a:lnTo>
                    <a:lnTo>
                      <a:pt x="1125" y="915"/>
                    </a:lnTo>
                    <a:lnTo>
                      <a:pt x="1182" y="914"/>
                    </a:lnTo>
                    <a:lnTo>
                      <a:pt x="1239" y="911"/>
                    </a:lnTo>
                    <a:lnTo>
                      <a:pt x="1294" y="909"/>
                    </a:lnTo>
                    <a:lnTo>
                      <a:pt x="1349" y="905"/>
                    </a:lnTo>
                    <a:lnTo>
                      <a:pt x="1402" y="900"/>
                    </a:lnTo>
                    <a:lnTo>
                      <a:pt x="1455" y="895"/>
                    </a:lnTo>
                    <a:lnTo>
                      <a:pt x="1505" y="888"/>
                    </a:lnTo>
                    <a:lnTo>
                      <a:pt x="1556" y="882"/>
                    </a:lnTo>
                    <a:lnTo>
                      <a:pt x="1604" y="875"/>
                    </a:lnTo>
                    <a:lnTo>
                      <a:pt x="1651" y="867"/>
                    </a:lnTo>
                    <a:lnTo>
                      <a:pt x="1697" y="858"/>
                    </a:lnTo>
                    <a:lnTo>
                      <a:pt x="1741" y="849"/>
                    </a:lnTo>
                    <a:lnTo>
                      <a:pt x="1784" y="839"/>
                    </a:lnTo>
                    <a:lnTo>
                      <a:pt x="1824" y="829"/>
                    </a:lnTo>
                    <a:lnTo>
                      <a:pt x="1863" y="818"/>
                    </a:lnTo>
                    <a:lnTo>
                      <a:pt x="1901" y="806"/>
                    </a:lnTo>
                    <a:lnTo>
                      <a:pt x="1937" y="795"/>
                    </a:lnTo>
                    <a:lnTo>
                      <a:pt x="1969" y="782"/>
                    </a:lnTo>
                    <a:lnTo>
                      <a:pt x="2001" y="769"/>
                    </a:lnTo>
                    <a:lnTo>
                      <a:pt x="2030" y="756"/>
                    </a:lnTo>
                    <a:lnTo>
                      <a:pt x="2058" y="742"/>
                    </a:lnTo>
                    <a:lnTo>
                      <a:pt x="2083" y="727"/>
                    </a:lnTo>
                    <a:lnTo>
                      <a:pt x="2104" y="713"/>
                    </a:lnTo>
                    <a:lnTo>
                      <a:pt x="2125" y="698"/>
                    </a:lnTo>
                    <a:lnTo>
                      <a:pt x="2142" y="683"/>
                    </a:lnTo>
                    <a:lnTo>
                      <a:pt x="2157" y="666"/>
                    </a:lnTo>
                    <a:lnTo>
                      <a:pt x="2170" y="651"/>
                    </a:lnTo>
                    <a:lnTo>
                      <a:pt x="2180" y="635"/>
                    </a:lnTo>
                    <a:lnTo>
                      <a:pt x="2188" y="618"/>
                    </a:lnTo>
                    <a:lnTo>
                      <a:pt x="2191" y="601"/>
                    </a:lnTo>
                    <a:lnTo>
                      <a:pt x="2194" y="584"/>
                    </a:lnTo>
                    <a:lnTo>
                      <a:pt x="2194" y="135"/>
                    </a:lnTo>
                    <a:lnTo>
                      <a:pt x="2194" y="135"/>
                    </a:lnTo>
                    <a:lnTo>
                      <a:pt x="2165" y="149"/>
                    </a:lnTo>
                    <a:lnTo>
                      <a:pt x="2135" y="161"/>
                    </a:lnTo>
                    <a:lnTo>
                      <a:pt x="2104" y="171"/>
                    </a:lnTo>
                    <a:lnTo>
                      <a:pt x="2073" y="180"/>
                    </a:lnTo>
                    <a:lnTo>
                      <a:pt x="2041" y="186"/>
                    </a:lnTo>
                    <a:lnTo>
                      <a:pt x="2009" y="192"/>
                    </a:lnTo>
                    <a:lnTo>
                      <a:pt x="1976" y="195"/>
                    </a:lnTo>
                    <a:lnTo>
                      <a:pt x="1942" y="195"/>
                    </a:lnTo>
                    <a:lnTo>
                      <a:pt x="1942"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896117">
                  <a:defRPr/>
                </a:pPr>
                <a:endParaRPr lang="en-US" sz="1764" kern="0" dirty="0">
                  <a:solidFill>
                    <a:srgbClr val="FFFFFF"/>
                  </a:solidFill>
                </a:endParaRPr>
              </a:p>
            </p:txBody>
          </p:sp>
        </p:grpSp>
        <p:sp>
          <p:nvSpPr>
            <p:cNvPr id="438" name="Rectangle 437"/>
            <p:cNvSpPr/>
            <p:nvPr/>
          </p:nvSpPr>
          <p:spPr>
            <a:xfrm>
              <a:off x="6340519" y="2443589"/>
              <a:ext cx="1268870" cy="432594"/>
            </a:xfrm>
            <a:prstGeom prst="rect">
              <a:avLst/>
            </a:prstGeom>
          </p:spPr>
          <p:txBody>
            <a:bodyPr wrap="square">
              <a:spAutoFit/>
            </a:bodyPr>
            <a:lstStyle/>
            <a:p>
              <a:pPr defTabSz="896117"/>
              <a:r>
                <a:rPr lang="en-US" sz="1078" kern="0" dirty="0">
                  <a:solidFill>
                    <a:srgbClr val="FFFFFF"/>
                  </a:solidFill>
                  <a:cs typeface="Segoe UI Semilight" panose="020B0402040204020203" pitchFamily="34" charset="0"/>
                </a:rPr>
                <a:t>Machine Learning</a:t>
              </a:r>
            </a:p>
          </p:txBody>
        </p:sp>
        <p:grpSp>
          <p:nvGrpSpPr>
            <p:cNvPr id="439" name="Group 438"/>
            <p:cNvGrpSpPr/>
            <p:nvPr/>
          </p:nvGrpSpPr>
          <p:grpSpPr>
            <a:xfrm>
              <a:off x="5982706" y="4285927"/>
              <a:ext cx="352655" cy="270905"/>
              <a:chOff x="1260022" y="5196402"/>
              <a:chExt cx="3273425" cy="2514600"/>
            </a:xfrm>
            <a:solidFill>
              <a:srgbClr val="FFFFFF"/>
            </a:solidFill>
          </p:grpSpPr>
          <p:sp>
            <p:nvSpPr>
              <p:cNvPr id="442" name="Freeform 441"/>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117">
                  <a:defRPr/>
                </a:pPr>
                <a:endParaRPr lang="en-US" sz="1764" dirty="0">
                  <a:solidFill>
                    <a:srgbClr val="FFFFFF"/>
                  </a:solidFill>
                  <a:latin typeface="Segoe UI"/>
                </a:endParaRPr>
              </a:p>
            </p:txBody>
          </p:sp>
          <p:sp>
            <p:nvSpPr>
              <p:cNvPr id="443" name="Freeform 442"/>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117">
                  <a:defRPr/>
                </a:pPr>
                <a:endParaRPr lang="en-US" sz="1764" dirty="0">
                  <a:solidFill>
                    <a:srgbClr val="FFFFFF"/>
                  </a:solidFill>
                  <a:latin typeface="Segoe UI"/>
                </a:endParaRPr>
              </a:p>
            </p:txBody>
          </p:sp>
          <p:sp>
            <p:nvSpPr>
              <p:cNvPr id="444" name="Freeform 443"/>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117">
                  <a:defRPr/>
                </a:pPr>
                <a:endParaRPr lang="en-US" sz="1764" dirty="0">
                  <a:solidFill>
                    <a:srgbClr val="FFFFFF"/>
                  </a:solidFill>
                  <a:latin typeface="Segoe UI"/>
                </a:endParaRPr>
              </a:p>
            </p:txBody>
          </p:sp>
          <p:sp>
            <p:nvSpPr>
              <p:cNvPr id="445" name="Freeform 444"/>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117">
                  <a:defRPr/>
                </a:pPr>
                <a:endParaRPr lang="en-US" sz="1764" dirty="0">
                  <a:solidFill>
                    <a:srgbClr val="FFFFFF"/>
                  </a:solidFill>
                  <a:latin typeface="Segoe UI"/>
                </a:endParaRPr>
              </a:p>
            </p:txBody>
          </p:sp>
        </p:grpSp>
        <p:sp>
          <p:nvSpPr>
            <p:cNvPr id="440" name="Freeform 439"/>
            <p:cNvSpPr>
              <a:spLocks/>
            </p:cNvSpPr>
            <p:nvPr/>
          </p:nvSpPr>
          <p:spPr bwMode="auto">
            <a:xfrm>
              <a:off x="5984022" y="3716926"/>
              <a:ext cx="366380" cy="277258"/>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rgbClr val="FFFFFF"/>
            </a:solidFill>
            <a:ln w="6350">
              <a:noFill/>
            </a:ln>
          </p:spPr>
          <p:txBody>
            <a:bodyPr vert="horz" wrap="square" lIns="89619" tIns="44809" rIns="89619" bIns="44809" numCol="1" anchor="t" anchorCtr="0" compatLnSpc="1">
              <a:prstTxWarp prst="textNoShape">
                <a:avLst/>
              </a:prstTxWarp>
            </a:bodyPr>
            <a:lstStyle/>
            <a:p>
              <a:pPr defTabSz="896117">
                <a:defRPr/>
              </a:pPr>
              <a:endParaRPr lang="en-US" sz="1568" kern="0" dirty="0">
                <a:solidFill>
                  <a:srgbClr val="FFFFFF"/>
                </a:solidFill>
              </a:endParaRPr>
            </a:p>
          </p:txBody>
        </p:sp>
        <p:sp>
          <p:nvSpPr>
            <p:cNvPr id="441" name="Freeform 440"/>
            <p:cNvSpPr/>
            <p:nvPr/>
          </p:nvSpPr>
          <p:spPr bwMode="auto">
            <a:xfrm flipH="1">
              <a:off x="6027271" y="2521823"/>
              <a:ext cx="267252" cy="282819"/>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9619" tIns="44809" rIns="89619" bIns="44809" numCol="1" spcCol="0" rtlCol="0" fromWordArt="0" anchor="ctr" anchorCtr="0" forceAA="0" compatLnSpc="1">
              <a:prstTxWarp prst="textNoShape">
                <a:avLst/>
              </a:prstTxWarp>
              <a:noAutofit/>
            </a:bodyPr>
            <a:lstStyle/>
            <a:p>
              <a:pPr algn="ctr" defTabSz="913828" fontAlgn="base">
                <a:spcBef>
                  <a:spcPct val="0"/>
                </a:spcBef>
                <a:spcAft>
                  <a:spcPct val="0"/>
                </a:spcAft>
                <a:defRPr/>
              </a:pPr>
              <a:endParaRPr lang="en-US" sz="2352" kern="0" dirty="0">
                <a:solidFill>
                  <a:srgbClr val="FFFFFF"/>
                </a:solidFill>
                <a:latin typeface="Segoe UI"/>
                <a:ea typeface="Segoe UI" pitchFamily="34" charset="0"/>
                <a:cs typeface="Segoe UI" pitchFamily="34" charset="0"/>
              </a:endParaRPr>
            </a:p>
          </p:txBody>
        </p:sp>
      </p:grpSp>
      <p:grpSp>
        <p:nvGrpSpPr>
          <p:cNvPr id="449" name="Group 448"/>
          <p:cNvGrpSpPr/>
          <p:nvPr/>
        </p:nvGrpSpPr>
        <p:grpSpPr>
          <a:xfrm>
            <a:off x="3963261" y="1278166"/>
            <a:ext cx="1702763" cy="4104012"/>
            <a:chOff x="4043785" y="1657049"/>
            <a:chExt cx="1737360" cy="4187396"/>
          </a:xfrm>
        </p:grpSpPr>
        <p:sp>
          <p:nvSpPr>
            <p:cNvPr id="450" name="Rectangle 449"/>
            <p:cNvSpPr/>
            <p:nvPr/>
          </p:nvSpPr>
          <p:spPr bwMode="auto">
            <a:xfrm>
              <a:off x="4043785" y="1657049"/>
              <a:ext cx="1737360" cy="4187396"/>
            </a:xfrm>
            <a:prstGeom prst="rect">
              <a:avLst/>
            </a:prstGeom>
            <a:solidFill>
              <a:srgbClr val="0078D7"/>
            </a:solidFill>
            <a:ln w="3175">
              <a:noFill/>
            </a:ln>
            <a:effectLst/>
          </p:spPr>
          <p:txBody>
            <a:bodyPr spcFirstLastPara="0" vert="horz" wrap="square" lIns="17917" tIns="89619" rIns="17917" bIns="89581" numCol="1" spcCol="1270" anchor="t" anchorCtr="0">
              <a:noAutofit/>
            </a:bodyPr>
            <a:lstStyle/>
            <a:p>
              <a:pPr algn="ctr" defTabSz="710516">
                <a:spcBef>
                  <a:spcPct val="0"/>
                </a:spcBef>
                <a:spcAft>
                  <a:spcPct val="35000"/>
                </a:spcAft>
                <a:defRPr/>
              </a:pPr>
              <a:r>
                <a:rPr lang="en-US" sz="1372" kern="0" dirty="0">
                  <a:solidFill>
                    <a:srgbClr val="FFFFFF"/>
                  </a:solidFill>
                  <a:latin typeface="Segoe UI Semibold" panose="020B0702040204020203" pitchFamily="34" charset="0"/>
                  <a:cs typeface="Segoe UI Semibold" panose="020B0702040204020203" pitchFamily="34" charset="0"/>
                </a:rPr>
                <a:t>Big Data Stores</a:t>
              </a:r>
            </a:p>
          </p:txBody>
        </p:sp>
        <p:sp>
          <p:nvSpPr>
            <p:cNvPr id="451" name="Rectangle 450"/>
            <p:cNvSpPr/>
            <p:nvPr/>
          </p:nvSpPr>
          <p:spPr>
            <a:xfrm>
              <a:off x="4508692" y="3055939"/>
              <a:ext cx="1271016" cy="430887"/>
            </a:xfrm>
            <a:prstGeom prst="rect">
              <a:avLst/>
            </a:prstGeom>
          </p:spPr>
          <p:txBody>
            <a:bodyPr wrap="square">
              <a:spAutoFit/>
            </a:bodyPr>
            <a:lstStyle/>
            <a:p>
              <a:pPr defTabSz="896117"/>
              <a:r>
                <a:rPr lang="en-US" sz="1078" kern="0" dirty="0">
                  <a:solidFill>
                    <a:srgbClr val="FFFFFF"/>
                  </a:solidFill>
                  <a:cs typeface="Segoe UI Semilight" panose="020B0402040204020203" pitchFamily="34" charset="0"/>
                </a:rPr>
                <a:t>SQL Data </a:t>
              </a:r>
            </a:p>
            <a:p>
              <a:pPr defTabSz="896117"/>
              <a:r>
                <a:rPr lang="en-US" sz="1078" kern="0" dirty="0">
                  <a:solidFill>
                    <a:srgbClr val="FFFFFF"/>
                  </a:solidFill>
                  <a:cs typeface="Segoe UI Semilight" panose="020B0402040204020203" pitchFamily="34" charset="0"/>
                </a:rPr>
                <a:t>Warehouse</a:t>
              </a:r>
            </a:p>
          </p:txBody>
        </p:sp>
        <p:sp>
          <p:nvSpPr>
            <p:cNvPr id="452" name="Rectangle 451"/>
            <p:cNvSpPr/>
            <p:nvPr/>
          </p:nvSpPr>
          <p:spPr>
            <a:xfrm>
              <a:off x="4494875" y="2528227"/>
              <a:ext cx="1271016" cy="261610"/>
            </a:xfrm>
            <a:prstGeom prst="rect">
              <a:avLst/>
            </a:prstGeom>
          </p:spPr>
          <p:txBody>
            <a:bodyPr wrap="square">
              <a:spAutoFit/>
            </a:bodyPr>
            <a:lstStyle/>
            <a:p>
              <a:pPr defTabSz="896117"/>
              <a:r>
                <a:rPr lang="en-US" sz="1078" kern="0" dirty="0">
                  <a:solidFill>
                    <a:srgbClr val="FFFFFF"/>
                  </a:solidFill>
                  <a:cs typeface="Segoe UI Semilight" panose="020B0402040204020203" pitchFamily="34" charset="0"/>
                </a:rPr>
                <a:t>Data Lake Store</a:t>
              </a:r>
            </a:p>
          </p:txBody>
        </p:sp>
        <p:grpSp>
          <p:nvGrpSpPr>
            <p:cNvPr id="453" name="Group 452"/>
            <p:cNvGrpSpPr/>
            <p:nvPr/>
          </p:nvGrpSpPr>
          <p:grpSpPr>
            <a:xfrm>
              <a:off x="4186343" y="2533436"/>
              <a:ext cx="251192" cy="251192"/>
              <a:chOff x="4068192" y="3363795"/>
              <a:chExt cx="324957" cy="324957"/>
            </a:xfrm>
          </p:grpSpPr>
          <p:sp>
            <p:nvSpPr>
              <p:cNvPr id="457" name="Rounded Rectangle 456"/>
              <p:cNvSpPr/>
              <p:nvPr/>
            </p:nvSpPr>
            <p:spPr bwMode="auto">
              <a:xfrm>
                <a:off x="4068192" y="3363795"/>
                <a:ext cx="324957" cy="324957"/>
              </a:xfrm>
              <a:prstGeom prst="round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825" fontAlgn="base">
                  <a:lnSpc>
                    <a:spcPct val="90000"/>
                  </a:lnSpc>
                  <a:spcBef>
                    <a:spcPct val="0"/>
                  </a:spcBef>
                  <a:spcAft>
                    <a:spcPct val="0"/>
                  </a:spcAft>
                  <a:defRPr/>
                </a:pPr>
                <a:endParaRPr lang="en-US" sz="2306"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58" name="Rectangle 457"/>
              <p:cNvSpPr/>
              <p:nvPr/>
            </p:nvSpPr>
            <p:spPr bwMode="auto">
              <a:xfrm>
                <a:off x="4106551" y="3401141"/>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825" fontAlgn="base">
                  <a:lnSpc>
                    <a:spcPct val="90000"/>
                  </a:lnSpc>
                  <a:spcBef>
                    <a:spcPct val="0"/>
                  </a:spcBef>
                  <a:spcAft>
                    <a:spcPct val="0"/>
                  </a:spcAft>
                  <a:defRPr/>
                </a:pPr>
                <a:endParaRPr lang="en-US" sz="2306"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59" name="Rectangle 458"/>
              <p:cNvSpPr/>
              <p:nvPr/>
            </p:nvSpPr>
            <p:spPr bwMode="auto">
              <a:xfrm>
                <a:off x="4245904" y="3401141"/>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825" fontAlgn="base">
                  <a:lnSpc>
                    <a:spcPct val="90000"/>
                  </a:lnSpc>
                  <a:spcBef>
                    <a:spcPct val="0"/>
                  </a:spcBef>
                  <a:spcAft>
                    <a:spcPct val="0"/>
                  </a:spcAft>
                  <a:defRPr/>
                </a:pPr>
                <a:endParaRPr lang="en-US" sz="2306"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60" name="Oval 459"/>
              <p:cNvSpPr/>
              <p:nvPr/>
            </p:nvSpPr>
            <p:spPr bwMode="auto">
              <a:xfrm>
                <a:off x="4174625" y="3401529"/>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825" fontAlgn="base">
                  <a:lnSpc>
                    <a:spcPct val="90000"/>
                  </a:lnSpc>
                  <a:spcBef>
                    <a:spcPct val="0"/>
                  </a:spcBef>
                  <a:spcAft>
                    <a:spcPct val="0"/>
                  </a:spcAft>
                  <a:defRPr/>
                </a:pPr>
                <a:endParaRPr lang="en-US" sz="2306"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61" name="Oval 460"/>
              <p:cNvSpPr/>
              <p:nvPr/>
            </p:nvSpPr>
            <p:spPr bwMode="auto">
              <a:xfrm>
                <a:off x="4313978" y="3401529"/>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825" fontAlgn="base">
                  <a:lnSpc>
                    <a:spcPct val="90000"/>
                  </a:lnSpc>
                  <a:spcBef>
                    <a:spcPct val="0"/>
                  </a:spcBef>
                  <a:spcAft>
                    <a:spcPct val="0"/>
                  </a:spcAft>
                  <a:defRPr/>
                </a:pPr>
                <a:endParaRPr lang="en-US" sz="2306"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62" name="Rectangle 461"/>
              <p:cNvSpPr/>
              <p:nvPr/>
            </p:nvSpPr>
            <p:spPr bwMode="auto">
              <a:xfrm>
                <a:off x="4106551" y="3550317"/>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825" fontAlgn="base">
                  <a:lnSpc>
                    <a:spcPct val="90000"/>
                  </a:lnSpc>
                  <a:spcBef>
                    <a:spcPct val="0"/>
                  </a:spcBef>
                  <a:spcAft>
                    <a:spcPct val="0"/>
                  </a:spcAft>
                  <a:defRPr/>
                </a:pPr>
                <a:endParaRPr lang="en-US" sz="2306"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63" name="Rectangle 462"/>
              <p:cNvSpPr/>
              <p:nvPr/>
            </p:nvSpPr>
            <p:spPr bwMode="auto">
              <a:xfrm>
                <a:off x="4245904" y="3550317"/>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825" fontAlgn="base">
                  <a:lnSpc>
                    <a:spcPct val="90000"/>
                  </a:lnSpc>
                  <a:spcBef>
                    <a:spcPct val="0"/>
                  </a:spcBef>
                  <a:spcAft>
                    <a:spcPct val="0"/>
                  </a:spcAft>
                  <a:defRPr/>
                </a:pPr>
                <a:endParaRPr lang="en-US" sz="2306"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64" name="Oval 463"/>
              <p:cNvSpPr/>
              <p:nvPr/>
            </p:nvSpPr>
            <p:spPr bwMode="auto">
              <a:xfrm>
                <a:off x="4174625" y="3550705"/>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825" fontAlgn="base">
                  <a:lnSpc>
                    <a:spcPct val="90000"/>
                  </a:lnSpc>
                  <a:spcBef>
                    <a:spcPct val="0"/>
                  </a:spcBef>
                  <a:spcAft>
                    <a:spcPct val="0"/>
                  </a:spcAft>
                  <a:defRPr/>
                </a:pPr>
                <a:endParaRPr lang="en-US" sz="2306"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65" name="Oval 464"/>
              <p:cNvSpPr/>
              <p:nvPr/>
            </p:nvSpPr>
            <p:spPr bwMode="auto">
              <a:xfrm>
                <a:off x="4313978" y="3550705"/>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825" fontAlgn="base">
                  <a:lnSpc>
                    <a:spcPct val="90000"/>
                  </a:lnSpc>
                  <a:spcBef>
                    <a:spcPct val="0"/>
                  </a:spcBef>
                  <a:spcAft>
                    <a:spcPct val="0"/>
                  </a:spcAft>
                  <a:defRPr/>
                </a:pPr>
                <a:endParaRPr lang="en-US" sz="2306"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66" name="Rectangle 465"/>
              <p:cNvSpPr/>
              <p:nvPr/>
            </p:nvSpPr>
            <p:spPr bwMode="auto">
              <a:xfrm>
                <a:off x="4178218" y="3621636"/>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825" fontAlgn="base">
                  <a:lnSpc>
                    <a:spcPct val="90000"/>
                  </a:lnSpc>
                  <a:spcBef>
                    <a:spcPct val="0"/>
                  </a:spcBef>
                  <a:spcAft>
                    <a:spcPct val="0"/>
                  </a:spcAft>
                  <a:defRPr/>
                </a:pPr>
                <a:endParaRPr lang="en-US" sz="2306"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67" name="Rectangle 466"/>
              <p:cNvSpPr/>
              <p:nvPr/>
            </p:nvSpPr>
            <p:spPr bwMode="auto">
              <a:xfrm>
                <a:off x="4317571" y="3621636"/>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825" fontAlgn="base">
                  <a:lnSpc>
                    <a:spcPct val="90000"/>
                  </a:lnSpc>
                  <a:spcBef>
                    <a:spcPct val="0"/>
                  </a:spcBef>
                  <a:spcAft>
                    <a:spcPct val="0"/>
                  </a:spcAft>
                  <a:defRPr/>
                </a:pPr>
                <a:endParaRPr lang="en-US" sz="2306"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68" name="Oval 467"/>
              <p:cNvSpPr/>
              <p:nvPr/>
            </p:nvSpPr>
            <p:spPr bwMode="auto">
              <a:xfrm>
                <a:off x="4106939" y="3622024"/>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825" fontAlgn="base">
                  <a:lnSpc>
                    <a:spcPct val="90000"/>
                  </a:lnSpc>
                  <a:spcBef>
                    <a:spcPct val="0"/>
                  </a:spcBef>
                  <a:spcAft>
                    <a:spcPct val="0"/>
                  </a:spcAft>
                  <a:defRPr/>
                </a:pPr>
                <a:endParaRPr lang="en-US" sz="2306"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69" name="Oval 468"/>
              <p:cNvSpPr/>
              <p:nvPr/>
            </p:nvSpPr>
            <p:spPr bwMode="auto">
              <a:xfrm>
                <a:off x="4246293" y="3622024"/>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825" fontAlgn="base">
                  <a:lnSpc>
                    <a:spcPct val="90000"/>
                  </a:lnSpc>
                  <a:spcBef>
                    <a:spcPct val="0"/>
                  </a:spcBef>
                  <a:spcAft>
                    <a:spcPct val="0"/>
                  </a:spcAft>
                  <a:defRPr/>
                </a:pPr>
                <a:endParaRPr lang="en-US" sz="2306"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70" name="Rectangle 469"/>
              <p:cNvSpPr/>
              <p:nvPr/>
            </p:nvSpPr>
            <p:spPr bwMode="auto">
              <a:xfrm>
                <a:off x="4178218" y="3465945"/>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825" fontAlgn="base">
                  <a:lnSpc>
                    <a:spcPct val="90000"/>
                  </a:lnSpc>
                  <a:spcBef>
                    <a:spcPct val="0"/>
                  </a:spcBef>
                  <a:spcAft>
                    <a:spcPct val="0"/>
                  </a:spcAft>
                  <a:defRPr/>
                </a:pPr>
                <a:endParaRPr lang="en-US" sz="2306"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71" name="Rectangle 470"/>
              <p:cNvSpPr/>
              <p:nvPr/>
            </p:nvSpPr>
            <p:spPr bwMode="auto">
              <a:xfrm>
                <a:off x="4317571" y="3465945"/>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825" fontAlgn="base">
                  <a:lnSpc>
                    <a:spcPct val="90000"/>
                  </a:lnSpc>
                  <a:spcBef>
                    <a:spcPct val="0"/>
                  </a:spcBef>
                  <a:spcAft>
                    <a:spcPct val="0"/>
                  </a:spcAft>
                  <a:defRPr/>
                </a:pPr>
                <a:endParaRPr lang="en-US" sz="2306"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72" name="Oval 471"/>
              <p:cNvSpPr/>
              <p:nvPr/>
            </p:nvSpPr>
            <p:spPr bwMode="auto">
              <a:xfrm>
                <a:off x="4106939" y="3466334"/>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825" fontAlgn="base">
                  <a:lnSpc>
                    <a:spcPct val="90000"/>
                  </a:lnSpc>
                  <a:spcBef>
                    <a:spcPct val="0"/>
                  </a:spcBef>
                  <a:spcAft>
                    <a:spcPct val="0"/>
                  </a:spcAft>
                  <a:defRPr/>
                </a:pPr>
                <a:endParaRPr lang="en-US" sz="2306"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73" name="Oval 472"/>
              <p:cNvSpPr/>
              <p:nvPr/>
            </p:nvSpPr>
            <p:spPr bwMode="auto">
              <a:xfrm>
                <a:off x="4246293" y="3466334"/>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825" fontAlgn="base">
                  <a:lnSpc>
                    <a:spcPct val="90000"/>
                  </a:lnSpc>
                  <a:spcBef>
                    <a:spcPct val="0"/>
                  </a:spcBef>
                  <a:spcAft>
                    <a:spcPct val="0"/>
                  </a:spcAft>
                  <a:defRPr/>
                </a:pPr>
                <a:endParaRPr lang="en-US" sz="2306"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454" name="Group 453"/>
            <p:cNvGrpSpPr/>
            <p:nvPr/>
          </p:nvGrpSpPr>
          <p:grpSpPr>
            <a:xfrm>
              <a:off x="4186988" y="3119355"/>
              <a:ext cx="248256" cy="304055"/>
              <a:chOff x="-3084513" y="3390510"/>
              <a:chExt cx="2716213" cy="3363913"/>
            </a:xfrm>
            <a:solidFill>
              <a:srgbClr val="FFFFFF"/>
            </a:solidFill>
          </p:grpSpPr>
          <p:sp>
            <p:nvSpPr>
              <p:cNvPr id="455"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896117">
                  <a:defRPr/>
                </a:pPr>
                <a:endParaRPr lang="en-US" sz="1764" kern="0" dirty="0">
                  <a:solidFill>
                    <a:srgbClr val="FFFFFF"/>
                  </a:solidFill>
                </a:endParaRPr>
              </a:p>
            </p:txBody>
          </p:sp>
          <p:sp>
            <p:nvSpPr>
              <p:cNvPr id="456"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896117">
                  <a:defRPr/>
                </a:pPr>
                <a:endParaRPr lang="en-US" sz="1764" kern="0" dirty="0">
                  <a:solidFill>
                    <a:srgbClr val="FFFFFF"/>
                  </a:solidFill>
                </a:endParaRPr>
              </a:p>
            </p:txBody>
          </p:sp>
        </p:grpSp>
      </p:grpSp>
      <p:grpSp>
        <p:nvGrpSpPr>
          <p:cNvPr id="474" name="Group 473"/>
          <p:cNvGrpSpPr/>
          <p:nvPr/>
        </p:nvGrpSpPr>
        <p:grpSpPr>
          <a:xfrm>
            <a:off x="797684" y="1287128"/>
            <a:ext cx="1506921" cy="4520072"/>
            <a:chOff x="813890" y="1666194"/>
            <a:chExt cx="1537539" cy="4611909"/>
          </a:xfrm>
        </p:grpSpPr>
        <p:sp>
          <p:nvSpPr>
            <p:cNvPr id="475" name="TextBox 474"/>
            <p:cNvSpPr txBox="1"/>
            <p:nvPr/>
          </p:nvSpPr>
          <p:spPr>
            <a:xfrm>
              <a:off x="1261370" y="1927965"/>
              <a:ext cx="1090059" cy="563250"/>
            </a:xfrm>
            <a:prstGeom prst="rect">
              <a:avLst/>
            </a:prstGeom>
            <a:noFill/>
          </p:spPr>
          <p:txBody>
            <a:bodyPr wrap="square" lIns="0" tIns="143370" rIns="179212" bIns="143370" rtlCol="0">
              <a:noAutofit/>
            </a:bodyPr>
            <a:lstStyle/>
            <a:p>
              <a:pPr defTabSz="913918">
                <a:lnSpc>
                  <a:spcPct val="90000"/>
                </a:lnSpc>
                <a:spcAft>
                  <a:spcPts val="588"/>
                </a:spcAft>
              </a:pPr>
              <a:r>
                <a:rPr lang="en-US" sz="1176" kern="0" spc="-29" dirty="0">
                  <a:solidFill>
                    <a:srgbClr val="002050"/>
                  </a:solidFill>
                  <a:latin typeface="Segoe UI Semilight" panose="020B0402040204020203" pitchFamily="34" charset="0"/>
                  <a:cs typeface="Segoe UI Semilight" panose="020B0402040204020203" pitchFamily="34" charset="0"/>
                </a:rPr>
                <a:t>Data </a:t>
              </a:r>
              <a:br>
                <a:rPr lang="en-US" sz="1176" kern="0" spc="-29" dirty="0">
                  <a:solidFill>
                    <a:srgbClr val="002050"/>
                  </a:solidFill>
                  <a:latin typeface="Segoe UI Semilight" panose="020B0402040204020203" pitchFamily="34" charset="0"/>
                  <a:cs typeface="Segoe UI Semilight" panose="020B0402040204020203" pitchFamily="34" charset="0"/>
                </a:rPr>
              </a:br>
              <a:r>
                <a:rPr lang="en-US" sz="1176" kern="0" spc="-29" dirty="0">
                  <a:solidFill>
                    <a:srgbClr val="002050"/>
                  </a:solidFill>
                  <a:latin typeface="Segoe UI Semilight" panose="020B0402040204020203" pitchFamily="34" charset="0"/>
                  <a:cs typeface="Segoe UI Semilight" panose="020B0402040204020203" pitchFamily="34" charset="0"/>
                </a:rPr>
                <a:t>Sources</a:t>
              </a:r>
            </a:p>
          </p:txBody>
        </p:sp>
        <p:sp>
          <p:nvSpPr>
            <p:cNvPr id="476" name="TextBox 475"/>
            <p:cNvSpPr txBox="1"/>
            <p:nvPr/>
          </p:nvSpPr>
          <p:spPr>
            <a:xfrm>
              <a:off x="1214236" y="3529646"/>
              <a:ext cx="1090059" cy="579230"/>
            </a:xfrm>
            <a:prstGeom prst="rect">
              <a:avLst/>
            </a:prstGeom>
            <a:noFill/>
          </p:spPr>
          <p:txBody>
            <a:bodyPr wrap="square" lIns="0" tIns="143370" rIns="179212" bIns="143370" rtlCol="0">
              <a:noAutofit/>
            </a:bodyPr>
            <a:lstStyle/>
            <a:p>
              <a:pPr defTabSz="913918">
                <a:lnSpc>
                  <a:spcPct val="90000"/>
                </a:lnSpc>
                <a:spcBef>
                  <a:spcPct val="0"/>
                </a:spcBef>
                <a:spcAft>
                  <a:spcPts val="588"/>
                </a:spcAft>
              </a:pPr>
              <a:r>
                <a:rPr lang="en-US" sz="1176" kern="0" spc="-29" dirty="0">
                  <a:solidFill>
                    <a:srgbClr val="002050"/>
                  </a:solidFill>
                  <a:latin typeface="Segoe UI Semilight" panose="020B0402040204020203" pitchFamily="34" charset="0"/>
                  <a:cs typeface="Segoe UI Semilight" panose="020B0402040204020203" pitchFamily="34" charset="0"/>
                </a:rPr>
                <a:t>Apps</a:t>
              </a:r>
            </a:p>
          </p:txBody>
        </p:sp>
        <p:sp>
          <p:nvSpPr>
            <p:cNvPr id="477" name="TextBox 476"/>
            <p:cNvSpPr txBox="1"/>
            <p:nvPr/>
          </p:nvSpPr>
          <p:spPr>
            <a:xfrm>
              <a:off x="1261370" y="4995093"/>
              <a:ext cx="974964" cy="616531"/>
            </a:xfrm>
            <a:prstGeom prst="rect">
              <a:avLst/>
            </a:prstGeom>
            <a:noFill/>
          </p:spPr>
          <p:txBody>
            <a:bodyPr wrap="square" lIns="0" tIns="143370" rIns="179212" bIns="143370" rtlCol="0">
              <a:noAutofit/>
            </a:bodyPr>
            <a:lstStyle/>
            <a:p>
              <a:pPr defTabSz="913918">
                <a:lnSpc>
                  <a:spcPct val="90000"/>
                </a:lnSpc>
                <a:spcBef>
                  <a:spcPct val="0"/>
                </a:spcBef>
                <a:spcAft>
                  <a:spcPts val="588"/>
                </a:spcAft>
              </a:pPr>
              <a:r>
                <a:rPr lang="en-US" sz="1176" kern="0" spc="-29" dirty="0">
                  <a:solidFill>
                    <a:srgbClr val="002050"/>
                  </a:solidFill>
                  <a:latin typeface="Segoe UI Semilight" panose="020B0402040204020203" pitchFamily="34" charset="0"/>
                  <a:cs typeface="Segoe UI Semilight" panose="020B0402040204020203" pitchFamily="34" charset="0"/>
                </a:rPr>
                <a:t>Sensors </a:t>
              </a:r>
              <a:br>
                <a:rPr lang="en-US" sz="1176" kern="0" spc="-29" dirty="0">
                  <a:solidFill>
                    <a:srgbClr val="002050"/>
                  </a:solidFill>
                  <a:latin typeface="Segoe UI Semilight" panose="020B0402040204020203" pitchFamily="34" charset="0"/>
                  <a:cs typeface="Segoe UI Semilight" panose="020B0402040204020203" pitchFamily="34" charset="0"/>
                </a:rPr>
              </a:br>
              <a:r>
                <a:rPr lang="en-US" sz="1176" kern="0" spc="-29" dirty="0">
                  <a:solidFill>
                    <a:srgbClr val="002050"/>
                  </a:solidFill>
                  <a:latin typeface="Segoe UI Semilight" panose="020B0402040204020203" pitchFamily="34" charset="0"/>
                  <a:cs typeface="Segoe UI Semilight" panose="020B0402040204020203" pitchFamily="34" charset="0"/>
                </a:rPr>
                <a:t>and </a:t>
              </a:r>
              <a:br>
                <a:rPr lang="en-US" sz="1176" kern="0" spc="-29" dirty="0">
                  <a:solidFill>
                    <a:srgbClr val="002050"/>
                  </a:solidFill>
                  <a:latin typeface="Segoe UI Semilight" panose="020B0402040204020203" pitchFamily="34" charset="0"/>
                  <a:cs typeface="Segoe UI Semilight" panose="020B0402040204020203" pitchFamily="34" charset="0"/>
                </a:rPr>
              </a:br>
              <a:r>
                <a:rPr lang="en-US" sz="1176" kern="0" spc="-29" dirty="0">
                  <a:solidFill>
                    <a:srgbClr val="002050"/>
                  </a:solidFill>
                  <a:latin typeface="Segoe UI Semilight" panose="020B0402040204020203" pitchFamily="34" charset="0"/>
                  <a:cs typeface="Segoe UI Semilight" panose="020B0402040204020203" pitchFamily="34" charset="0"/>
                </a:rPr>
                <a:t>devices</a:t>
              </a:r>
            </a:p>
          </p:txBody>
        </p:sp>
        <p:sp>
          <p:nvSpPr>
            <p:cNvPr id="478" name="Rectangle 477"/>
            <p:cNvSpPr/>
            <p:nvPr/>
          </p:nvSpPr>
          <p:spPr>
            <a:xfrm>
              <a:off x="813890" y="5956959"/>
              <a:ext cx="933597" cy="321144"/>
            </a:xfrm>
            <a:prstGeom prst="rect">
              <a:avLst/>
            </a:prstGeom>
          </p:spPr>
          <p:txBody>
            <a:bodyPr wrap="none" lIns="0" tIns="0" rIns="0" bIns="0" anchor="ctr">
              <a:noAutofit/>
            </a:bodyPr>
            <a:lstStyle/>
            <a:p>
              <a:pPr defTabSz="896117">
                <a:lnSpc>
                  <a:spcPct val="90000"/>
                </a:lnSpc>
              </a:pPr>
              <a:r>
                <a:rPr lang="en-US" sz="2352" kern="0" dirty="0">
                  <a:solidFill>
                    <a:srgbClr val="002050"/>
                  </a:solidFill>
                  <a:latin typeface="Segoe UI Light"/>
                </a:rPr>
                <a:t>Data</a:t>
              </a:r>
            </a:p>
          </p:txBody>
        </p:sp>
        <p:grpSp>
          <p:nvGrpSpPr>
            <p:cNvPr id="479" name="Group 478"/>
            <p:cNvGrpSpPr/>
            <p:nvPr/>
          </p:nvGrpSpPr>
          <p:grpSpPr>
            <a:xfrm>
              <a:off x="1789019" y="1666194"/>
              <a:ext cx="308472" cy="4199169"/>
              <a:chOff x="1776319" y="1369399"/>
              <a:chExt cx="308472" cy="3830198"/>
            </a:xfrm>
          </p:grpSpPr>
          <p:sp>
            <p:nvSpPr>
              <p:cNvPr id="494" name="Freeform 493"/>
              <p:cNvSpPr/>
              <p:nvPr/>
            </p:nvSpPr>
            <p:spPr bwMode="auto">
              <a:xfrm>
                <a:off x="1960934" y="1369399"/>
                <a:ext cx="123857" cy="3830198"/>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cap="flat" cmpd="sng" algn="ctr">
                <a:solidFill>
                  <a:srgbClr val="0078D7"/>
                </a:solidFill>
                <a:prstDash val="solid"/>
                <a:headEnd type="none" w="med" len="med"/>
                <a:tailEnd type="none" w="med" len="med"/>
              </a:ln>
              <a:effectLst/>
            </p:spPr>
            <p:txBody>
              <a:bodyPr rtlCol="0" anchor="ctr"/>
              <a:lstStyle/>
              <a:p>
                <a:pPr algn="ctr" defTabSz="896117">
                  <a:defRPr/>
                </a:pPr>
                <a:endParaRPr lang="en-US" sz="1764" kern="0" dirty="0">
                  <a:solidFill>
                    <a:srgbClr val="FFFFFF"/>
                  </a:solidFill>
                  <a:latin typeface="Segoe UI"/>
                </a:endParaRPr>
              </a:p>
            </p:txBody>
          </p:sp>
          <p:cxnSp>
            <p:nvCxnSpPr>
              <p:cNvPr id="495" name="Straight Connector 494"/>
              <p:cNvCxnSpPr/>
              <p:nvPr/>
            </p:nvCxnSpPr>
            <p:spPr>
              <a:xfrm>
                <a:off x="1776319" y="3284498"/>
                <a:ext cx="308472" cy="0"/>
              </a:xfrm>
              <a:prstGeom prst="line">
                <a:avLst/>
              </a:prstGeom>
              <a:noFill/>
              <a:ln w="12700" cap="flat" cmpd="sng" algn="ctr">
                <a:solidFill>
                  <a:srgbClr val="0078D7"/>
                </a:solidFill>
                <a:prstDash val="solid"/>
                <a:headEnd type="none"/>
                <a:tailEnd type="none"/>
              </a:ln>
              <a:effectLst/>
            </p:spPr>
          </p:cxnSp>
        </p:grpSp>
      </p:grpSp>
      <p:pic>
        <p:nvPicPr>
          <p:cNvPr id="496" name="Picture 49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05792" y="2906704"/>
            <a:ext cx="724675" cy="847918"/>
          </a:xfrm>
          <a:prstGeom prst="rect">
            <a:avLst/>
          </a:prstGeom>
        </p:spPr>
      </p:pic>
      <p:pic>
        <p:nvPicPr>
          <p:cNvPr id="497" name="Picture 49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83673" y="4481446"/>
            <a:ext cx="703012" cy="822572"/>
          </a:xfrm>
          <a:prstGeom prst="rect">
            <a:avLst/>
          </a:prstGeom>
        </p:spPr>
      </p:pic>
      <p:pic>
        <p:nvPicPr>
          <p:cNvPr id="498" name="Picture 49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83809" y="1477807"/>
            <a:ext cx="640288" cy="749180"/>
          </a:xfrm>
          <a:prstGeom prst="rect">
            <a:avLst/>
          </a:prstGeom>
        </p:spPr>
      </p:pic>
    </p:spTree>
    <p:extLst>
      <p:ext uri="{BB962C8B-B14F-4D97-AF65-F5344CB8AC3E}">
        <p14:creationId xmlns:p14="http://schemas.microsoft.com/office/powerpoint/2010/main" val="12235139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74"/>
                                        </p:tgtEl>
                                        <p:attrNameLst>
                                          <p:attrName>style.visibility</p:attrName>
                                        </p:attrNameLst>
                                      </p:cBhvr>
                                      <p:to>
                                        <p:strVal val="visible"/>
                                      </p:to>
                                    </p:set>
                                    <p:animEffect transition="in" filter="fade">
                                      <p:cBhvr>
                                        <p:cTn id="7" dur="500"/>
                                        <p:tgtEl>
                                          <p:spTgt spid="47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16"/>
                                        </p:tgtEl>
                                        <p:attrNameLst>
                                          <p:attrName>style.visibility</p:attrName>
                                        </p:attrNameLst>
                                      </p:cBhvr>
                                      <p:to>
                                        <p:strVal val="visible"/>
                                      </p:to>
                                    </p:set>
                                    <p:animEffect transition="in" filter="fade">
                                      <p:cBhvr>
                                        <p:cTn id="11" dur="500"/>
                                        <p:tgtEl>
                                          <p:spTgt spid="416"/>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49"/>
                                        </p:tgtEl>
                                        <p:attrNameLst>
                                          <p:attrName>style.visibility</p:attrName>
                                        </p:attrNameLst>
                                      </p:cBhvr>
                                      <p:to>
                                        <p:strVal val="visible"/>
                                      </p:to>
                                    </p:set>
                                    <p:animEffect transition="in" filter="fade">
                                      <p:cBhvr>
                                        <p:cTn id="15" dur="500"/>
                                        <p:tgtEl>
                                          <p:spTgt spid="449"/>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431"/>
                                        </p:tgtEl>
                                        <p:attrNameLst>
                                          <p:attrName>style.visibility</p:attrName>
                                        </p:attrNameLst>
                                      </p:cBhvr>
                                      <p:to>
                                        <p:strVal val="visible"/>
                                      </p:to>
                                    </p:set>
                                    <p:animEffect transition="in" filter="fade">
                                      <p:cBhvr>
                                        <p:cTn id="19" dur="500"/>
                                        <p:tgtEl>
                                          <p:spTgt spid="431"/>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391"/>
                                        </p:tgtEl>
                                        <p:attrNameLst>
                                          <p:attrName>style.visibility</p:attrName>
                                        </p:attrNameLst>
                                      </p:cBhvr>
                                      <p:to>
                                        <p:strVal val="visible"/>
                                      </p:to>
                                    </p:set>
                                    <p:animEffect transition="in" filter="fade">
                                      <p:cBhvr>
                                        <p:cTn id="23" dur="500"/>
                                        <p:tgtEl>
                                          <p:spTgt spid="391"/>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364"/>
                                        </p:tgtEl>
                                        <p:attrNameLst>
                                          <p:attrName>style.visibility</p:attrName>
                                        </p:attrNameLst>
                                      </p:cBhvr>
                                      <p:to>
                                        <p:strVal val="visible"/>
                                      </p:to>
                                    </p:set>
                                    <p:animEffect transition="in" filter="fade">
                                      <p:cBhvr>
                                        <p:cTn id="27" dur="500"/>
                                        <p:tgtEl>
                                          <p:spTgt spid="3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p:txBody>
          <a:bodyPr/>
          <a:lstStyle/>
          <a:p>
            <a:r>
              <a:rPr lang="en-US" dirty="0">
                <a:solidFill>
                  <a:schemeClr val="bg1"/>
                </a:solidFill>
              </a:rPr>
              <a:t>Information Management</a:t>
            </a:r>
          </a:p>
        </p:txBody>
      </p:sp>
      <p:grpSp>
        <p:nvGrpSpPr>
          <p:cNvPr id="2" name="Group 1"/>
          <p:cNvGrpSpPr/>
          <p:nvPr/>
        </p:nvGrpSpPr>
        <p:grpSpPr>
          <a:xfrm>
            <a:off x="244440" y="1641540"/>
            <a:ext cx="3803129" cy="4207151"/>
            <a:chOff x="249407" y="1649551"/>
            <a:chExt cx="3880400" cy="4292631"/>
          </a:xfrm>
        </p:grpSpPr>
        <p:sp>
          <p:nvSpPr>
            <p:cNvPr id="130" name="TextBox 129"/>
            <p:cNvSpPr txBox="1"/>
            <p:nvPr/>
          </p:nvSpPr>
          <p:spPr>
            <a:xfrm>
              <a:off x="1164202" y="1958379"/>
              <a:ext cx="528754" cy="323165"/>
            </a:xfrm>
            <a:prstGeom prst="rect">
              <a:avLst/>
            </a:prstGeom>
            <a:noFill/>
          </p:spPr>
          <p:txBody>
            <a:bodyPr wrap="square" lIns="0" tIns="0" rIns="0" bIns="0" rtlCol="0" anchor="ctr" anchorCtr="0">
              <a:spAutoFit/>
            </a:bodyPr>
            <a:lstStyle/>
            <a:p>
              <a:pPr defTabSz="914005">
                <a:spcAft>
                  <a:spcPts val="588"/>
                </a:spcAft>
              </a:pPr>
              <a:r>
                <a:rPr lang="en-US" sz="1029" kern="0" dirty="0">
                  <a:solidFill>
                    <a:schemeClr val="bg2"/>
                  </a:solidFill>
                  <a:cs typeface="Segoe UI Semilight" panose="020B0402040204020203" pitchFamily="34" charset="0"/>
                </a:rPr>
                <a:t>Data Sources</a:t>
              </a:r>
            </a:p>
          </p:txBody>
        </p:sp>
        <p:sp>
          <p:nvSpPr>
            <p:cNvPr id="143" name="TextBox 142"/>
            <p:cNvSpPr txBox="1"/>
            <p:nvPr/>
          </p:nvSpPr>
          <p:spPr>
            <a:xfrm>
              <a:off x="1164202" y="3351045"/>
              <a:ext cx="528754" cy="161583"/>
            </a:xfrm>
            <a:prstGeom prst="rect">
              <a:avLst/>
            </a:prstGeom>
            <a:noFill/>
          </p:spPr>
          <p:txBody>
            <a:bodyPr wrap="square" lIns="0" tIns="0" rIns="0" bIns="0" rtlCol="0" anchor="ctr" anchorCtr="0">
              <a:spAutoFit/>
            </a:bodyPr>
            <a:lstStyle/>
            <a:p>
              <a:pPr defTabSz="914005">
                <a:spcBef>
                  <a:spcPct val="0"/>
                </a:spcBef>
                <a:spcAft>
                  <a:spcPts val="588"/>
                </a:spcAft>
              </a:pPr>
              <a:r>
                <a:rPr lang="en-US" sz="1029" kern="0" dirty="0">
                  <a:solidFill>
                    <a:schemeClr val="bg2"/>
                  </a:solidFill>
                  <a:cs typeface="Segoe UI Semilight" panose="020B0402040204020203" pitchFamily="34" charset="0"/>
                </a:rPr>
                <a:t>Apps</a:t>
              </a:r>
            </a:p>
          </p:txBody>
        </p:sp>
        <p:sp>
          <p:nvSpPr>
            <p:cNvPr id="150" name="TextBox 149"/>
            <p:cNvSpPr txBox="1"/>
            <p:nvPr/>
          </p:nvSpPr>
          <p:spPr>
            <a:xfrm>
              <a:off x="1164202" y="4768746"/>
              <a:ext cx="735728" cy="323165"/>
            </a:xfrm>
            <a:prstGeom prst="rect">
              <a:avLst/>
            </a:prstGeom>
            <a:noFill/>
          </p:spPr>
          <p:txBody>
            <a:bodyPr wrap="square" lIns="0" tIns="0" rIns="0" bIns="0" rtlCol="0" anchor="ctr" anchorCtr="0">
              <a:spAutoFit/>
            </a:bodyPr>
            <a:lstStyle/>
            <a:p>
              <a:pPr defTabSz="914005">
                <a:spcBef>
                  <a:spcPct val="0"/>
                </a:spcBef>
                <a:spcAft>
                  <a:spcPts val="588"/>
                </a:spcAft>
              </a:pPr>
              <a:r>
                <a:rPr lang="en-US" sz="1029" kern="0" dirty="0">
                  <a:solidFill>
                    <a:schemeClr val="bg2"/>
                  </a:solidFill>
                  <a:cs typeface="Segoe UI Semilight" panose="020B0402040204020203" pitchFamily="34" charset="0"/>
                </a:rPr>
                <a:t>Sensors </a:t>
              </a:r>
              <a:br>
                <a:rPr lang="en-US" sz="1029" kern="0" dirty="0">
                  <a:solidFill>
                    <a:schemeClr val="bg2"/>
                  </a:solidFill>
                  <a:cs typeface="Segoe UI Semilight" panose="020B0402040204020203" pitchFamily="34" charset="0"/>
                </a:rPr>
              </a:br>
              <a:r>
                <a:rPr lang="en-US" sz="1029" kern="0" dirty="0">
                  <a:solidFill>
                    <a:schemeClr val="bg2"/>
                  </a:solidFill>
                  <a:cs typeface="Segoe UI Semilight" panose="020B0402040204020203" pitchFamily="34" charset="0"/>
                </a:rPr>
                <a:t>and devices</a:t>
              </a:r>
            </a:p>
          </p:txBody>
        </p:sp>
        <p:sp>
          <p:nvSpPr>
            <p:cNvPr id="151" name="TextBox 150"/>
            <p:cNvSpPr txBox="1"/>
            <p:nvPr/>
          </p:nvSpPr>
          <p:spPr>
            <a:xfrm>
              <a:off x="806041" y="5665183"/>
              <a:ext cx="474490" cy="276999"/>
            </a:xfrm>
            <a:prstGeom prst="rect">
              <a:avLst/>
            </a:prstGeom>
            <a:noFill/>
          </p:spPr>
          <p:txBody>
            <a:bodyPr wrap="none" lIns="0" tIns="0" rIns="0" bIns="0" rtlCol="0" anchor="ctr">
              <a:spAutoFit/>
            </a:bodyPr>
            <a:lstStyle>
              <a:defPPr>
                <a:defRPr lang="en-US"/>
              </a:defPPr>
              <a:lvl1pPr algn="ctr" defTabSz="932563">
                <a:spcBef>
                  <a:spcPct val="0"/>
                </a:spcBef>
                <a:spcAft>
                  <a:spcPts val="600"/>
                </a:spcAft>
                <a:defRPr sz="1100">
                  <a:solidFill>
                    <a:schemeClr val="bg1"/>
                  </a:solidFill>
                  <a:latin typeface="Segoe UI Semilight" panose="020B0402040204020203" pitchFamily="34" charset="0"/>
                  <a:cs typeface="Segoe UI Semilight" panose="020B0402040204020203" pitchFamily="34" charset="0"/>
                </a:defRPr>
              </a:lvl1pPr>
            </a:lstStyle>
            <a:p>
              <a:pPr defTabSz="914005">
                <a:spcAft>
                  <a:spcPts val="588"/>
                </a:spcAft>
              </a:pPr>
              <a:r>
                <a:rPr lang="en-US" sz="1764" kern="0" dirty="0">
                  <a:solidFill>
                    <a:schemeClr val="bg2"/>
                  </a:solidFill>
                  <a:latin typeface="+mn-lt"/>
                </a:rPr>
                <a:t>Data</a:t>
              </a:r>
            </a:p>
          </p:txBody>
        </p:sp>
        <p:grpSp>
          <p:nvGrpSpPr>
            <p:cNvPr id="152" name="Group 151"/>
            <p:cNvGrpSpPr/>
            <p:nvPr/>
          </p:nvGrpSpPr>
          <p:grpSpPr>
            <a:xfrm>
              <a:off x="1776319" y="1668481"/>
              <a:ext cx="308472" cy="3830198"/>
              <a:chOff x="1810439" y="1858178"/>
              <a:chExt cx="308472" cy="3830198"/>
            </a:xfrm>
            <a:solidFill>
              <a:srgbClr val="0078D7"/>
            </a:solidFill>
          </p:grpSpPr>
          <p:sp>
            <p:nvSpPr>
              <p:cNvPr id="153" name="Freeform 152"/>
              <p:cNvSpPr/>
              <p:nvPr/>
            </p:nvSpPr>
            <p:spPr bwMode="auto">
              <a:xfrm>
                <a:off x="1995054" y="1858178"/>
                <a:ext cx="123857" cy="3830198"/>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203"/>
                <a:endParaRPr lang="en-US" sz="1764" kern="0" dirty="0">
                  <a:solidFill>
                    <a:sysClr val="windowText" lastClr="000000"/>
                  </a:solidFill>
                </a:endParaRPr>
              </a:p>
            </p:txBody>
          </p:sp>
          <p:cxnSp>
            <p:nvCxnSpPr>
              <p:cNvPr id="154" name="Straight Connector 153"/>
              <p:cNvCxnSpPr/>
              <p:nvPr/>
            </p:nvCxnSpPr>
            <p:spPr>
              <a:xfrm>
                <a:off x="1810439" y="3639239"/>
                <a:ext cx="308472" cy="0"/>
              </a:xfrm>
              <a:prstGeom prst="line">
                <a:avLst/>
              </a:prstGeom>
              <a:grpFill/>
              <a:ln w="127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68" name="Rectangle 67"/>
            <p:cNvSpPr/>
            <p:nvPr/>
          </p:nvSpPr>
          <p:spPr bwMode="auto">
            <a:xfrm>
              <a:off x="2269406" y="1649551"/>
              <a:ext cx="1771946" cy="385834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4" tIns="91403" rIns="18274" bIns="91365" numCol="1" spcCol="1270" anchor="t" anchorCtr="0">
              <a:noAutofit/>
            </a:bodyPr>
            <a:lstStyle/>
            <a:p>
              <a:pPr algn="ctr" defTabSz="724725">
                <a:spcBef>
                  <a:spcPct val="0"/>
                </a:spcBef>
                <a:spcAft>
                  <a:spcPct val="35000"/>
                </a:spcAft>
              </a:pPr>
              <a:r>
                <a:rPr lang="en-US" sz="1400" kern="0" dirty="0">
                  <a:solidFill>
                    <a:schemeClr val="tx1"/>
                  </a:solidFill>
                  <a:latin typeface="Segoe UI Semibold" panose="020B0702040204020203" pitchFamily="34" charset="0"/>
                  <a:cs typeface="Segoe UI Semibold" panose="020B0702040204020203" pitchFamily="34" charset="0"/>
                </a:rPr>
                <a:t>Information Management</a:t>
              </a:r>
            </a:p>
          </p:txBody>
        </p:sp>
        <p:sp>
          <p:nvSpPr>
            <p:cNvPr id="69" name="Rectangle 68"/>
            <p:cNvSpPr/>
            <p:nvPr/>
          </p:nvSpPr>
          <p:spPr>
            <a:xfrm>
              <a:off x="2833488" y="4199155"/>
              <a:ext cx="1296319" cy="270285"/>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Event Hubs</a:t>
              </a:r>
              <a:endParaRPr lang="en-US" sz="1100" kern="0" dirty="0">
                <a:solidFill>
                  <a:sysClr val="windowText" lastClr="000000"/>
                </a:solidFill>
              </a:endParaRPr>
            </a:p>
          </p:txBody>
        </p:sp>
        <p:sp>
          <p:nvSpPr>
            <p:cNvPr id="70" name="Rectangle 69"/>
            <p:cNvSpPr/>
            <p:nvPr/>
          </p:nvSpPr>
          <p:spPr>
            <a:xfrm>
              <a:off x="2833488" y="3390244"/>
              <a:ext cx="1296319" cy="270285"/>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Data Catalog</a:t>
              </a:r>
            </a:p>
          </p:txBody>
        </p:sp>
        <p:grpSp>
          <p:nvGrpSpPr>
            <p:cNvPr id="71" name="Group 70"/>
            <p:cNvGrpSpPr/>
            <p:nvPr/>
          </p:nvGrpSpPr>
          <p:grpSpPr>
            <a:xfrm>
              <a:off x="2512312" y="3346955"/>
              <a:ext cx="280471" cy="298350"/>
              <a:chOff x="3232150" y="382588"/>
              <a:chExt cx="5727700" cy="6092825"/>
            </a:xfrm>
            <a:solidFill>
              <a:schemeClr val="tx1"/>
            </a:solidFill>
          </p:grpSpPr>
          <p:sp>
            <p:nvSpPr>
              <p:cNvPr id="72"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73"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74"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grpSp>
        <p:sp>
          <p:nvSpPr>
            <p:cNvPr id="75" name="Rectangle 74"/>
            <p:cNvSpPr/>
            <p:nvPr/>
          </p:nvSpPr>
          <p:spPr>
            <a:xfrm>
              <a:off x="2833488" y="2538073"/>
              <a:ext cx="1296319" cy="270285"/>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Data Factory </a:t>
              </a:r>
              <a:endParaRPr lang="en-US" sz="1100" kern="0" dirty="0">
                <a:solidFill>
                  <a:sysClr val="windowText" lastClr="000000"/>
                </a:solidFill>
              </a:endParaRPr>
            </a:p>
          </p:txBody>
        </p:sp>
        <p:sp>
          <p:nvSpPr>
            <p:cNvPr id="76" name="Freeform 75"/>
            <p:cNvSpPr/>
            <p:nvPr/>
          </p:nvSpPr>
          <p:spPr bwMode="auto">
            <a:xfrm>
              <a:off x="2508225" y="2475589"/>
              <a:ext cx="292163" cy="307023"/>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pPr>
              <a:endParaRPr lang="en-US" sz="2399" kern="0">
                <a:solidFill>
                  <a:schemeClr val="tx1"/>
                </a:solidFill>
                <a:ea typeface="Segoe UI" pitchFamily="34" charset="0"/>
                <a:cs typeface="Segoe UI" pitchFamily="34" charset="0"/>
              </a:endParaRPr>
            </a:p>
          </p:txBody>
        </p:sp>
        <p:sp>
          <p:nvSpPr>
            <p:cNvPr id="77" name="Freeform 76"/>
            <p:cNvSpPr/>
            <p:nvPr/>
          </p:nvSpPr>
          <p:spPr bwMode="auto">
            <a:xfrm>
              <a:off x="2528952" y="4204179"/>
              <a:ext cx="236184" cy="247159"/>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pPr>
              <a:endParaRPr lang="en-US" sz="2399" kern="0" dirty="0">
                <a:solidFill>
                  <a:schemeClr val="tx1"/>
                </a:solidFill>
                <a:ea typeface="Segoe UI" pitchFamily="34" charset="0"/>
                <a:cs typeface="Segoe UI" pitchFamily="34" charset="0"/>
              </a:endParaRPr>
            </a:p>
          </p:txBody>
        </p:sp>
        <p:pic>
          <p:nvPicPr>
            <p:cNvPr id="46" name="Picture 4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49407" y="3043119"/>
              <a:ext cx="776178" cy="908180"/>
            </a:xfrm>
            <a:prstGeom prst="rect">
              <a:avLst/>
            </a:prstGeom>
          </p:spPr>
        </p:pic>
        <p:pic>
          <p:nvPicPr>
            <p:cNvPr id="47" name="Picture 4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32823" y="4489811"/>
              <a:ext cx="752976" cy="881033"/>
            </a:xfrm>
            <a:prstGeom prst="rect">
              <a:avLst/>
            </a:prstGeom>
          </p:spPr>
        </p:pic>
        <p:pic>
          <p:nvPicPr>
            <p:cNvPr id="48" name="Picture 4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32969" y="1695508"/>
              <a:ext cx="685793" cy="802425"/>
            </a:xfrm>
            <a:prstGeom prst="rect">
              <a:avLst/>
            </a:prstGeom>
          </p:spPr>
        </p:pic>
      </p:grpSp>
    </p:spTree>
    <p:extLst>
      <p:ext uri="{BB962C8B-B14F-4D97-AF65-F5344CB8AC3E}">
        <p14:creationId xmlns:p14="http://schemas.microsoft.com/office/powerpoint/2010/main" val="3176784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5" presetClass="path" presetSubtype="0" accel="50000" decel="50000" fill="hold" nodeType="clickEffect">
                                  <p:stCondLst>
                                    <p:cond delay="0"/>
                                  </p:stCondLst>
                                  <p:childTnLst>
                                    <p:animMotion origin="layout" path="M 2.42788E-6 -1.87472E-6 L -0.18331 -1.87472E-6 " pathEditMode="relative" rAng="0" ptsTypes="AA">
                                      <p:cBhvr>
                                        <p:cTn id="6" dur="2000" fill="hold"/>
                                        <p:tgtEl>
                                          <p:spTgt spid="2"/>
                                        </p:tgtEl>
                                        <p:attrNameLst>
                                          <p:attrName>ppt_x</p:attrName>
                                          <p:attrName>ppt_y</p:attrName>
                                        </p:attrNameLst>
                                      </p:cBhvr>
                                      <p:rCtr x="-916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06" name="Rectangle 305"/>
          <p:cNvSpPr/>
          <p:nvPr/>
        </p:nvSpPr>
        <p:spPr bwMode="auto">
          <a:xfrm>
            <a:off x="1" y="5171771"/>
            <a:ext cx="12188824" cy="1154529"/>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kern="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pPr defTabSz="896203">
              <a:spcBef>
                <a:spcPts val="0"/>
              </a:spcBef>
              <a:spcAft>
                <a:spcPts val="588"/>
              </a:spcAft>
              <a:defRPr/>
            </a:pPr>
            <a:r>
              <a:rPr lang="en-US" kern="0" spc="0" dirty="0">
                <a:ln>
                  <a:noFill/>
                </a:ln>
              </a:rPr>
              <a:t>Compose and orchestrate data services at scale</a:t>
            </a:r>
          </a:p>
        </p:txBody>
      </p:sp>
      <p:grpSp>
        <p:nvGrpSpPr>
          <p:cNvPr id="3" name="Group 2"/>
          <p:cNvGrpSpPr/>
          <p:nvPr/>
        </p:nvGrpSpPr>
        <p:grpSpPr>
          <a:xfrm>
            <a:off x="10921768" y="1526763"/>
            <a:ext cx="7226579" cy="2805438"/>
            <a:chOff x="8333265" y="1782586"/>
            <a:chExt cx="7373407" cy="2862438"/>
          </a:xfrm>
          <a:solidFill>
            <a:srgbClr val="0078D7"/>
          </a:solidFill>
        </p:grpSpPr>
        <p:cxnSp>
          <p:nvCxnSpPr>
            <p:cNvPr id="571" name="Straight Connector 570"/>
            <p:cNvCxnSpPr>
              <a:stCxn id="715" idx="6"/>
              <a:endCxn id="574" idx="2"/>
            </p:cNvCxnSpPr>
            <p:nvPr/>
          </p:nvCxnSpPr>
          <p:spPr>
            <a:xfrm>
              <a:off x="9662441" y="3393670"/>
              <a:ext cx="168632" cy="0"/>
            </a:xfrm>
            <a:prstGeom prst="line">
              <a:avLst/>
            </a:prstGeom>
            <a:grpFill/>
            <a:ln>
              <a:solidFill>
                <a:srgbClr val="0078D7"/>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72" name="Straight Connector 571"/>
            <p:cNvCxnSpPr>
              <a:stCxn id="588" idx="6"/>
              <a:endCxn id="630" idx="2"/>
            </p:cNvCxnSpPr>
            <p:nvPr/>
          </p:nvCxnSpPr>
          <p:spPr>
            <a:xfrm>
              <a:off x="12658057" y="3393670"/>
              <a:ext cx="168631" cy="0"/>
            </a:xfrm>
            <a:prstGeom prst="line">
              <a:avLst/>
            </a:prstGeom>
            <a:grpFill/>
            <a:ln>
              <a:solidFill>
                <a:srgbClr val="0078D7"/>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573" name="Group 572"/>
            <p:cNvGrpSpPr/>
            <p:nvPr/>
          </p:nvGrpSpPr>
          <p:grpSpPr>
            <a:xfrm>
              <a:off x="9831073" y="2729082"/>
              <a:ext cx="1329176" cy="1329176"/>
              <a:chOff x="6330582" y="2729082"/>
              <a:chExt cx="1329176" cy="1329176"/>
            </a:xfrm>
            <a:grpFill/>
          </p:grpSpPr>
          <p:sp>
            <p:nvSpPr>
              <p:cNvPr id="574" name="Oval 573"/>
              <p:cNvSpPr/>
              <p:nvPr/>
            </p:nvSpPr>
            <p:spPr bwMode="auto">
              <a:xfrm>
                <a:off x="6330582" y="2729082"/>
                <a:ext cx="1329176" cy="1329176"/>
              </a:xfrm>
              <a:prstGeom prst="ellipse">
                <a:avLst/>
              </a:prstGeom>
              <a:noFill/>
              <a:ln w="19050">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985811" numCol="1" rtlCol="0" anchor="t" anchorCtr="0" compatLnSpc="1">
                <a:prstTxWarp prst="textNoShape">
                  <a:avLst/>
                </a:prstTxWarp>
              </a:bodyPr>
              <a:lstStyle/>
              <a:p>
                <a:pPr algn="ctr" defTabSz="913916" fontAlgn="base">
                  <a:spcBef>
                    <a:spcPct val="0"/>
                  </a:spcBef>
                  <a:spcAft>
                    <a:spcPct val="0"/>
                  </a:spcAft>
                  <a:defRPr/>
                </a:pPr>
                <a:r>
                  <a:rPr lang="en-US" sz="1176" kern="0" dirty="0">
                    <a:solidFill>
                      <a:schemeClr val="accent2">
                        <a:lumMod val="75000"/>
                      </a:schemeClr>
                    </a:solidFill>
                  </a:rPr>
                  <a:t>PREPARE</a:t>
                </a:r>
              </a:p>
            </p:txBody>
          </p:sp>
          <p:sp>
            <p:nvSpPr>
              <p:cNvPr id="575" name="Freeform 574"/>
              <p:cNvSpPr>
                <a:spLocks/>
              </p:cNvSpPr>
              <p:nvPr/>
            </p:nvSpPr>
            <p:spPr bwMode="auto">
              <a:xfrm>
                <a:off x="6539636" y="3209358"/>
                <a:ext cx="268592" cy="346642"/>
              </a:xfrm>
              <a:custGeom>
                <a:avLst/>
                <a:gdLst>
                  <a:gd name="connsiteX0" fmla="*/ 134296 w 268592"/>
                  <a:gd name="connsiteY0" fmla="*/ 12674 h 346642"/>
                  <a:gd name="connsiteX1" fmla="*/ 10863 w 268592"/>
                  <a:gd name="connsiteY1" fmla="*/ 61971 h 346642"/>
                  <a:gd name="connsiteX2" fmla="*/ 134296 w 268592"/>
                  <a:gd name="connsiteY2" fmla="*/ 111268 h 346642"/>
                  <a:gd name="connsiteX3" fmla="*/ 257730 w 268592"/>
                  <a:gd name="connsiteY3" fmla="*/ 61971 h 346642"/>
                  <a:gd name="connsiteX4" fmla="*/ 134296 w 268592"/>
                  <a:gd name="connsiteY4" fmla="*/ 12674 h 346642"/>
                  <a:gd name="connsiteX5" fmla="*/ 134296 w 268592"/>
                  <a:gd name="connsiteY5" fmla="*/ 0 h 346642"/>
                  <a:gd name="connsiteX6" fmla="*/ 227250 w 268592"/>
                  <a:gd name="connsiteY6" fmla="*/ 16693 h 346642"/>
                  <a:gd name="connsiteX7" fmla="*/ 268592 w 268592"/>
                  <a:gd name="connsiteY7" fmla="*/ 61731 h 346642"/>
                  <a:gd name="connsiteX8" fmla="*/ 268199 w 268592"/>
                  <a:gd name="connsiteY8" fmla="*/ 65510 h 346642"/>
                  <a:gd name="connsiteX9" fmla="*/ 268592 w 268592"/>
                  <a:gd name="connsiteY9" fmla="*/ 65510 h 346642"/>
                  <a:gd name="connsiteX10" fmla="*/ 268592 w 268592"/>
                  <a:gd name="connsiteY10" fmla="*/ 221257 h 346642"/>
                  <a:gd name="connsiteX11" fmla="*/ 258196 w 268592"/>
                  <a:gd name="connsiteY11" fmla="*/ 221257 h 346642"/>
                  <a:gd name="connsiteX12" fmla="*/ 258196 w 268592"/>
                  <a:gd name="connsiteY12" fmla="*/ 129929 h 346642"/>
                  <a:gd name="connsiteX13" fmla="*/ 257730 w 268592"/>
                  <a:gd name="connsiteY13" fmla="*/ 129929 h 346642"/>
                  <a:gd name="connsiteX14" fmla="*/ 257730 w 268592"/>
                  <a:gd name="connsiteY14" fmla="*/ 86865 h 346642"/>
                  <a:gd name="connsiteX15" fmla="*/ 252087 w 268592"/>
                  <a:gd name="connsiteY15" fmla="*/ 92264 h 346642"/>
                  <a:gd name="connsiteX16" fmla="*/ 227250 w 268592"/>
                  <a:gd name="connsiteY16" fmla="*/ 107085 h 346642"/>
                  <a:gd name="connsiteX17" fmla="*/ 134296 w 268592"/>
                  <a:gd name="connsiteY17" fmla="*/ 123777 h 346642"/>
                  <a:gd name="connsiteX18" fmla="*/ 41343 w 268592"/>
                  <a:gd name="connsiteY18" fmla="*/ 107085 h 346642"/>
                  <a:gd name="connsiteX19" fmla="*/ 16506 w 268592"/>
                  <a:gd name="connsiteY19" fmla="*/ 92264 h 346642"/>
                  <a:gd name="connsiteX20" fmla="*/ 10863 w 268592"/>
                  <a:gd name="connsiteY20" fmla="*/ 86865 h 346642"/>
                  <a:gd name="connsiteX21" fmla="*/ 10863 w 268592"/>
                  <a:gd name="connsiteY21" fmla="*/ 129929 h 346642"/>
                  <a:gd name="connsiteX22" fmla="*/ 10632 w 268592"/>
                  <a:gd name="connsiteY22" fmla="*/ 129929 h 346642"/>
                  <a:gd name="connsiteX23" fmla="*/ 10632 w 268592"/>
                  <a:gd name="connsiteY23" fmla="*/ 280560 h 346642"/>
                  <a:gd name="connsiteX24" fmla="*/ 10863 w 268592"/>
                  <a:gd name="connsiteY24" fmla="*/ 280560 h 346642"/>
                  <a:gd name="connsiteX25" fmla="*/ 10863 w 268592"/>
                  <a:gd name="connsiteY25" fmla="*/ 284918 h 346642"/>
                  <a:gd name="connsiteX26" fmla="*/ 10809 w 268592"/>
                  <a:gd name="connsiteY26" fmla="*/ 284918 h 346642"/>
                  <a:gd name="connsiteX27" fmla="*/ 134296 w 268592"/>
                  <a:gd name="connsiteY27" fmla="*/ 334045 h 346642"/>
                  <a:gd name="connsiteX28" fmla="*/ 248711 w 268592"/>
                  <a:gd name="connsiteY28" fmla="*/ 302426 h 346642"/>
                  <a:gd name="connsiteX29" fmla="*/ 249655 w 268592"/>
                  <a:gd name="connsiteY29" fmla="*/ 300604 h 346642"/>
                  <a:gd name="connsiteX30" fmla="*/ 261884 w 268592"/>
                  <a:gd name="connsiteY30" fmla="*/ 300604 h 346642"/>
                  <a:gd name="connsiteX31" fmla="*/ 257953 w 268592"/>
                  <a:gd name="connsiteY31" fmla="*/ 309797 h 346642"/>
                  <a:gd name="connsiteX32" fmla="*/ 227250 w 268592"/>
                  <a:gd name="connsiteY32" fmla="*/ 329952 h 346642"/>
                  <a:gd name="connsiteX33" fmla="*/ 134296 w 268592"/>
                  <a:gd name="connsiteY33" fmla="*/ 346642 h 346642"/>
                  <a:gd name="connsiteX34" fmla="*/ 41343 w 268592"/>
                  <a:gd name="connsiteY34" fmla="*/ 329952 h 346642"/>
                  <a:gd name="connsiteX35" fmla="*/ 0 w 268592"/>
                  <a:gd name="connsiteY35" fmla="*/ 284918 h 346642"/>
                  <a:gd name="connsiteX36" fmla="*/ 0 w 268592"/>
                  <a:gd name="connsiteY36" fmla="*/ 212166 h 346642"/>
                  <a:gd name="connsiteX37" fmla="*/ 0 w 268592"/>
                  <a:gd name="connsiteY37" fmla="*/ 132995 h 346642"/>
                  <a:gd name="connsiteX38" fmla="*/ 0 w 268592"/>
                  <a:gd name="connsiteY38" fmla="*/ 65510 h 346642"/>
                  <a:gd name="connsiteX39" fmla="*/ 393 w 268592"/>
                  <a:gd name="connsiteY39" fmla="*/ 65510 h 346642"/>
                  <a:gd name="connsiteX40" fmla="*/ 0 w 268592"/>
                  <a:gd name="connsiteY40" fmla="*/ 61731 h 346642"/>
                  <a:gd name="connsiteX41" fmla="*/ 41343 w 268592"/>
                  <a:gd name="connsiteY41" fmla="*/ 16693 h 346642"/>
                  <a:gd name="connsiteX42" fmla="*/ 134296 w 268592"/>
                  <a:gd name="connsiteY42" fmla="*/ 0 h 346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68592" h="346642">
                    <a:moveTo>
                      <a:pt x="134296" y="12674"/>
                    </a:moveTo>
                    <a:cubicBezTo>
                      <a:pt x="66126" y="12674"/>
                      <a:pt x="10863" y="34745"/>
                      <a:pt x="10863" y="61971"/>
                    </a:cubicBezTo>
                    <a:cubicBezTo>
                      <a:pt x="10863" y="89197"/>
                      <a:pt x="66126" y="111268"/>
                      <a:pt x="134296" y="111268"/>
                    </a:cubicBezTo>
                    <a:cubicBezTo>
                      <a:pt x="202467" y="111268"/>
                      <a:pt x="257730" y="89197"/>
                      <a:pt x="257730" y="61971"/>
                    </a:cubicBezTo>
                    <a:cubicBezTo>
                      <a:pt x="257730" y="34745"/>
                      <a:pt x="202467" y="12674"/>
                      <a:pt x="134296" y="12674"/>
                    </a:cubicBezTo>
                    <a:close/>
                    <a:moveTo>
                      <a:pt x="134296" y="0"/>
                    </a:moveTo>
                    <a:cubicBezTo>
                      <a:pt x="169424" y="0"/>
                      <a:pt x="202390" y="5984"/>
                      <a:pt x="227250" y="16693"/>
                    </a:cubicBezTo>
                    <a:cubicBezTo>
                      <a:pt x="254001" y="28031"/>
                      <a:pt x="268592" y="44094"/>
                      <a:pt x="268592" y="61731"/>
                    </a:cubicBezTo>
                    <a:lnTo>
                      <a:pt x="268199" y="65510"/>
                    </a:lnTo>
                    <a:lnTo>
                      <a:pt x="268592" y="65510"/>
                    </a:lnTo>
                    <a:lnTo>
                      <a:pt x="268592" y="221257"/>
                    </a:lnTo>
                    <a:lnTo>
                      <a:pt x="258196" y="221257"/>
                    </a:lnTo>
                    <a:lnTo>
                      <a:pt x="258196" y="129929"/>
                    </a:lnTo>
                    <a:lnTo>
                      <a:pt x="257730" y="129929"/>
                    </a:lnTo>
                    <a:lnTo>
                      <a:pt x="257730" y="86865"/>
                    </a:lnTo>
                    <a:lnTo>
                      <a:pt x="252087" y="92264"/>
                    </a:lnTo>
                    <a:cubicBezTo>
                      <a:pt x="245603" y="97725"/>
                      <a:pt x="237281" y="102715"/>
                      <a:pt x="227250" y="107085"/>
                    </a:cubicBezTo>
                    <a:cubicBezTo>
                      <a:pt x="202390" y="117793"/>
                      <a:pt x="169424" y="123777"/>
                      <a:pt x="134296" y="123777"/>
                    </a:cubicBezTo>
                    <a:cubicBezTo>
                      <a:pt x="99168" y="123777"/>
                      <a:pt x="66203" y="117793"/>
                      <a:pt x="41343" y="107085"/>
                    </a:cubicBezTo>
                    <a:cubicBezTo>
                      <a:pt x="31311" y="102715"/>
                      <a:pt x="22990" y="97725"/>
                      <a:pt x="16506" y="92264"/>
                    </a:cubicBezTo>
                    <a:lnTo>
                      <a:pt x="10863" y="86865"/>
                    </a:lnTo>
                    <a:lnTo>
                      <a:pt x="10863" y="129929"/>
                    </a:lnTo>
                    <a:lnTo>
                      <a:pt x="10632" y="129929"/>
                    </a:lnTo>
                    <a:lnTo>
                      <a:pt x="10632" y="280560"/>
                    </a:lnTo>
                    <a:lnTo>
                      <a:pt x="10863" y="280560"/>
                    </a:lnTo>
                    <a:lnTo>
                      <a:pt x="10863" y="284918"/>
                    </a:lnTo>
                    <a:lnTo>
                      <a:pt x="10809" y="284918"/>
                    </a:lnTo>
                    <a:cubicBezTo>
                      <a:pt x="10809" y="308222"/>
                      <a:pt x="61609" y="334045"/>
                      <a:pt x="134296" y="334045"/>
                    </a:cubicBezTo>
                    <a:cubicBezTo>
                      <a:pt x="188812" y="334045"/>
                      <a:pt x="231016" y="319520"/>
                      <a:pt x="248711" y="302426"/>
                    </a:cubicBezTo>
                    <a:lnTo>
                      <a:pt x="249655" y="300604"/>
                    </a:lnTo>
                    <a:lnTo>
                      <a:pt x="261884" y="300604"/>
                    </a:lnTo>
                    <a:lnTo>
                      <a:pt x="257953" y="309797"/>
                    </a:lnTo>
                    <a:cubicBezTo>
                      <a:pt x="250961" y="317434"/>
                      <a:pt x="240625" y="324283"/>
                      <a:pt x="227250" y="329952"/>
                    </a:cubicBezTo>
                    <a:cubicBezTo>
                      <a:pt x="202390" y="340659"/>
                      <a:pt x="169424" y="346642"/>
                      <a:pt x="134296" y="346642"/>
                    </a:cubicBezTo>
                    <a:cubicBezTo>
                      <a:pt x="99168" y="346642"/>
                      <a:pt x="66203" y="340659"/>
                      <a:pt x="41343" y="329952"/>
                    </a:cubicBezTo>
                    <a:cubicBezTo>
                      <a:pt x="14592" y="318615"/>
                      <a:pt x="0" y="302554"/>
                      <a:pt x="0" y="284918"/>
                    </a:cubicBezTo>
                    <a:lnTo>
                      <a:pt x="0" y="212166"/>
                    </a:lnTo>
                    <a:lnTo>
                      <a:pt x="0" y="132995"/>
                    </a:lnTo>
                    <a:lnTo>
                      <a:pt x="0" y="65510"/>
                    </a:lnTo>
                    <a:lnTo>
                      <a:pt x="393" y="65510"/>
                    </a:lnTo>
                    <a:lnTo>
                      <a:pt x="0" y="61731"/>
                    </a:lnTo>
                    <a:cubicBezTo>
                      <a:pt x="0" y="44094"/>
                      <a:pt x="14592" y="28031"/>
                      <a:pt x="41343" y="16693"/>
                    </a:cubicBezTo>
                    <a:cubicBezTo>
                      <a:pt x="66203" y="5984"/>
                      <a:pt x="99168" y="0"/>
                      <a:pt x="134296" y="0"/>
                    </a:cubicBezTo>
                    <a:close/>
                  </a:path>
                </a:pathLst>
              </a:custGeom>
              <a:grpFill/>
              <a:ln>
                <a:noFill/>
              </a:ln>
            </p:spPr>
            <p:txBody>
              <a:bodyPr vert="horz" wrap="square" lIns="0" tIns="134429" rIns="0" bIns="0" numCol="1" anchor="t" anchorCtr="0" compatLnSpc="1">
                <a:prstTxWarp prst="textNoShape">
                  <a:avLst/>
                </a:prstTxWarp>
                <a:noAutofit/>
              </a:bodyPr>
              <a:lstStyle/>
              <a:p>
                <a:pPr algn="ctr" defTabSz="896203">
                  <a:defRPr/>
                </a:pPr>
                <a:endParaRPr lang="en-US" sz="686" kern="0" dirty="0">
                  <a:solidFill>
                    <a:schemeClr val="accent2">
                      <a:lumMod val="75000"/>
                    </a:schemeClr>
                  </a:solidFill>
                </a:endParaRPr>
              </a:p>
            </p:txBody>
          </p:sp>
          <p:sp>
            <p:nvSpPr>
              <p:cNvPr id="576" name="Freeform 575"/>
              <p:cNvSpPr>
                <a:spLocks noChangeArrowheads="1"/>
              </p:cNvSpPr>
              <p:nvPr/>
            </p:nvSpPr>
            <p:spPr bwMode="auto">
              <a:xfrm flipH="1">
                <a:off x="7083210" y="3221555"/>
                <a:ext cx="359782" cy="302695"/>
              </a:xfrm>
              <a:custGeom>
                <a:avLst/>
                <a:gdLst>
                  <a:gd name="connsiteX0" fmla="*/ 179965 w 359782"/>
                  <a:gd name="connsiteY0" fmla="*/ 201781 h 302695"/>
                  <a:gd name="connsiteX1" fmla="*/ 144234 w 359782"/>
                  <a:gd name="connsiteY1" fmla="*/ 216559 h 302695"/>
                  <a:gd name="connsiteX2" fmla="*/ 140431 w 359782"/>
                  <a:gd name="connsiteY2" fmla="*/ 225728 h 302695"/>
                  <a:gd name="connsiteX3" fmla="*/ 151884 w 359782"/>
                  <a:gd name="connsiteY3" fmla="*/ 225728 h 302695"/>
                  <a:gd name="connsiteX4" fmla="*/ 152336 w 359782"/>
                  <a:gd name="connsiteY4" fmla="*/ 224640 h 302695"/>
                  <a:gd name="connsiteX5" fmla="*/ 180040 w 359782"/>
                  <a:gd name="connsiteY5" fmla="*/ 213208 h 302695"/>
                  <a:gd name="connsiteX6" fmla="*/ 219218 w 359782"/>
                  <a:gd name="connsiteY6" fmla="*/ 252238 h 302695"/>
                  <a:gd name="connsiteX7" fmla="*/ 180040 w 359782"/>
                  <a:gd name="connsiteY7" fmla="*/ 291268 h 302695"/>
                  <a:gd name="connsiteX8" fmla="*/ 179736 w 359782"/>
                  <a:gd name="connsiteY8" fmla="*/ 291143 h 302695"/>
                  <a:gd name="connsiteX9" fmla="*/ 179736 w 359782"/>
                  <a:gd name="connsiteY9" fmla="*/ 302649 h 302695"/>
                  <a:gd name="connsiteX10" fmla="*/ 179965 w 359782"/>
                  <a:gd name="connsiteY10" fmla="*/ 302695 h 302695"/>
                  <a:gd name="connsiteX11" fmla="*/ 230497 w 359782"/>
                  <a:gd name="connsiteY11" fmla="*/ 252238 h 302695"/>
                  <a:gd name="connsiteX12" fmla="*/ 179965 w 359782"/>
                  <a:gd name="connsiteY12" fmla="*/ 201781 h 302695"/>
                  <a:gd name="connsiteX13" fmla="*/ 179933 w 359782"/>
                  <a:gd name="connsiteY13" fmla="*/ 134440 h 302695"/>
                  <a:gd name="connsiteX14" fmla="*/ 96831 w 359782"/>
                  <a:gd name="connsiteY14" fmla="*/ 168824 h 302695"/>
                  <a:gd name="connsiteX15" fmla="*/ 96831 w 359782"/>
                  <a:gd name="connsiteY15" fmla="*/ 177082 h 302695"/>
                  <a:gd name="connsiteX16" fmla="*/ 100807 w 359782"/>
                  <a:gd name="connsiteY16" fmla="*/ 178506 h 302695"/>
                  <a:gd name="connsiteX17" fmla="*/ 104783 w 359782"/>
                  <a:gd name="connsiteY17" fmla="*/ 177082 h 302695"/>
                  <a:gd name="connsiteX18" fmla="*/ 255013 w 359782"/>
                  <a:gd name="connsiteY18" fmla="*/ 177082 h 302695"/>
                  <a:gd name="connsiteX19" fmla="*/ 263248 w 359782"/>
                  <a:gd name="connsiteY19" fmla="*/ 177082 h 302695"/>
                  <a:gd name="connsiteX20" fmla="*/ 263248 w 359782"/>
                  <a:gd name="connsiteY20" fmla="*/ 168824 h 302695"/>
                  <a:gd name="connsiteX21" fmla="*/ 179933 w 359782"/>
                  <a:gd name="connsiteY21" fmla="*/ 134440 h 302695"/>
                  <a:gd name="connsiteX22" fmla="*/ 179966 w 359782"/>
                  <a:gd name="connsiteY22" fmla="*/ 67031 h 302695"/>
                  <a:gd name="connsiteX23" fmla="*/ 49342 w 359782"/>
                  <a:gd name="connsiteY23" fmla="*/ 121348 h 302695"/>
                  <a:gd name="connsiteX24" fmla="*/ 49342 w 359782"/>
                  <a:gd name="connsiteY24" fmla="*/ 129311 h 302695"/>
                  <a:gd name="connsiteX25" fmla="*/ 53317 w 359782"/>
                  <a:gd name="connsiteY25" fmla="*/ 131017 h 302695"/>
                  <a:gd name="connsiteX26" fmla="*/ 57293 w 359782"/>
                  <a:gd name="connsiteY26" fmla="*/ 129311 h 302695"/>
                  <a:gd name="connsiteX27" fmla="*/ 179966 w 359782"/>
                  <a:gd name="connsiteY27" fmla="*/ 78406 h 302695"/>
                  <a:gd name="connsiteX28" fmla="*/ 302638 w 359782"/>
                  <a:gd name="connsiteY28" fmla="*/ 129311 h 302695"/>
                  <a:gd name="connsiteX29" fmla="*/ 310589 w 359782"/>
                  <a:gd name="connsiteY29" fmla="*/ 129311 h 302695"/>
                  <a:gd name="connsiteX30" fmla="*/ 310589 w 359782"/>
                  <a:gd name="connsiteY30" fmla="*/ 121348 h 302695"/>
                  <a:gd name="connsiteX31" fmla="*/ 179966 w 359782"/>
                  <a:gd name="connsiteY31" fmla="*/ 67031 h 302695"/>
                  <a:gd name="connsiteX32" fmla="*/ 180033 w 359782"/>
                  <a:gd name="connsiteY32" fmla="*/ 0 h 302695"/>
                  <a:gd name="connsiteX33" fmla="*/ 1704 w 359782"/>
                  <a:gd name="connsiteY33" fmla="*/ 73869 h 302695"/>
                  <a:gd name="connsiteX34" fmla="*/ 1704 w 359782"/>
                  <a:gd name="connsiteY34" fmla="*/ 81824 h 302695"/>
                  <a:gd name="connsiteX35" fmla="*/ 9655 w 359782"/>
                  <a:gd name="connsiteY35" fmla="*/ 81824 h 302695"/>
                  <a:gd name="connsiteX36" fmla="*/ 350128 w 359782"/>
                  <a:gd name="connsiteY36" fmla="*/ 81824 h 302695"/>
                  <a:gd name="connsiteX37" fmla="*/ 354103 w 359782"/>
                  <a:gd name="connsiteY37" fmla="*/ 83529 h 302695"/>
                  <a:gd name="connsiteX38" fmla="*/ 358079 w 359782"/>
                  <a:gd name="connsiteY38" fmla="*/ 81824 h 302695"/>
                  <a:gd name="connsiteX39" fmla="*/ 358079 w 359782"/>
                  <a:gd name="connsiteY39" fmla="*/ 73869 h 302695"/>
                  <a:gd name="connsiteX40" fmla="*/ 180033 w 359782"/>
                  <a:gd name="connsiteY40" fmla="*/ 0 h 302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59782" h="302695">
                    <a:moveTo>
                      <a:pt x="179965" y="201781"/>
                    </a:moveTo>
                    <a:cubicBezTo>
                      <a:pt x="166011" y="201781"/>
                      <a:pt x="153379" y="207428"/>
                      <a:pt x="144234" y="216559"/>
                    </a:cubicBezTo>
                    <a:lnTo>
                      <a:pt x="140431" y="225728"/>
                    </a:lnTo>
                    <a:lnTo>
                      <a:pt x="151884" y="225728"/>
                    </a:lnTo>
                    <a:lnTo>
                      <a:pt x="152336" y="224640"/>
                    </a:lnTo>
                    <a:cubicBezTo>
                      <a:pt x="159426" y="217576"/>
                      <a:pt x="169221" y="213208"/>
                      <a:pt x="180040" y="213208"/>
                    </a:cubicBezTo>
                    <a:cubicBezTo>
                      <a:pt x="201677" y="213208"/>
                      <a:pt x="219218" y="230682"/>
                      <a:pt x="219218" y="252238"/>
                    </a:cubicBezTo>
                    <a:cubicBezTo>
                      <a:pt x="219218" y="273794"/>
                      <a:pt x="201677" y="291268"/>
                      <a:pt x="180040" y="291268"/>
                    </a:cubicBezTo>
                    <a:lnTo>
                      <a:pt x="179736" y="291143"/>
                    </a:lnTo>
                    <a:lnTo>
                      <a:pt x="179736" y="302649"/>
                    </a:lnTo>
                    <a:lnTo>
                      <a:pt x="179965" y="302695"/>
                    </a:lnTo>
                    <a:cubicBezTo>
                      <a:pt x="207873" y="302695"/>
                      <a:pt x="230497" y="280105"/>
                      <a:pt x="230497" y="252238"/>
                    </a:cubicBezTo>
                    <a:cubicBezTo>
                      <a:pt x="230497" y="224371"/>
                      <a:pt x="207873" y="201781"/>
                      <a:pt x="179965" y="201781"/>
                    </a:cubicBezTo>
                    <a:close/>
                    <a:moveTo>
                      <a:pt x="179933" y="134440"/>
                    </a:moveTo>
                    <a:cubicBezTo>
                      <a:pt x="149795" y="134440"/>
                      <a:pt x="119692" y="145901"/>
                      <a:pt x="96831" y="168824"/>
                    </a:cubicBezTo>
                    <a:cubicBezTo>
                      <a:pt x="94559" y="171102"/>
                      <a:pt x="94559" y="174804"/>
                      <a:pt x="96831" y="177082"/>
                    </a:cubicBezTo>
                    <a:cubicBezTo>
                      <a:pt x="97967" y="177936"/>
                      <a:pt x="99387" y="178506"/>
                      <a:pt x="100807" y="178506"/>
                    </a:cubicBezTo>
                    <a:cubicBezTo>
                      <a:pt x="102227" y="178506"/>
                      <a:pt x="103647" y="177936"/>
                      <a:pt x="104783" y="177082"/>
                    </a:cubicBezTo>
                    <a:cubicBezTo>
                      <a:pt x="146245" y="135508"/>
                      <a:pt x="213834" y="135508"/>
                      <a:pt x="255013" y="177082"/>
                    </a:cubicBezTo>
                    <a:cubicBezTo>
                      <a:pt x="257285" y="179075"/>
                      <a:pt x="260976" y="179075"/>
                      <a:pt x="263248" y="177082"/>
                    </a:cubicBezTo>
                    <a:cubicBezTo>
                      <a:pt x="265520" y="174804"/>
                      <a:pt x="265520" y="171102"/>
                      <a:pt x="263248" y="168824"/>
                    </a:cubicBezTo>
                    <a:cubicBezTo>
                      <a:pt x="240245" y="145901"/>
                      <a:pt x="210071" y="134440"/>
                      <a:pt x="179933" y="134440"/>
                    </a:cubicBezTo>
                    <a:close/>
                    <a:moveTo>
                      <a:pt x="179966" y="67031"/>
                    </a:moveTo>
                    <a:cubicBezTo>
                      <a:pt x="130556" y="67031"/>
                      <a:pt x="83985" y="86369"/>
                      <a:pt x="49342" y="121348"/>
                    </a:cubicBezTo>
                    <a:cubicBezTo>
                      <a:pt x="47070" y="123623"/>
                      <a:pt x="47070" y="127036"/>
                      <a:pt x="49342" y="129311"/>
                    </a:cubicBezTo>
                    <a:cubicBezTo>
                      <a:pt x="50194" y="130449"/>
                      <a:pt x="51897" y="131017"/>
                      <a:pt x="53317" y="131017"/>
                    </a:cubicBezTo>
                    <a:cubicBezTo>
                      <a:pt x="54737" y="131017"/>
                      <a:pt x="56157" y="130449"/>
                      <a:pt x="57293" y="129311"/>
                    </a:cubicBezTo>
                    <a:cubicBezTo>
                      <a:pt x="89949" y="96607"/>
                      <a:pt x="133679" y="78406"/>
                      <a:pt x="179966" y="78406"/>
                    </a:cubicBezTo>
                    <a:cubicBezTo>
                      <a:pt x="226252" y="78406"/>
                      <a:pt x="269698" y="96607"/>
                      <a:pt x="302638" y="129311"/>
                    </a:cubicBezTo>
                    <a:cubicBezTo>
                      <a:pt x="304910" y="131586"/>
                      <a:pt x="308318" y="131586"/>
                      <a:pt x="310589" y="129311"/>
                    </a:cubicBezTo>
                    <a:cubicBezTo>
                      <a:pt x="312861" y="127036"/>
                      <a:pt x="312861" y="123623"/>
                      <a:pt x="310589" y="121348"/>
                    </a:cubicBezTo>
                    <a:cubicBezTo>
                      <a:pt x="275662" y="86369"/>
                      <a:pt x="229375" y="67031"/>
                      <a:pt x="179966" y="67031"/>
                    </a:cubicBezTo>
                    <a:close/>
                    <a:moveTo>
                      <a:pt x="180033" y="0"/>
                    </a:moveTo>
                    <a:cubicBezTo>
                      <a:pt x="112734" y="0"/>
                      <a:pt x="49410" y="26138"/>
                      <a:pt x="1704" y="73869"/>
                    </a:cubicBezTo>
                    <a:cubicBezTo>
                      <a:pt x="-568" y="75858"/>
                      <a:pt x="-568" y="79551"/>
                      <a:pt x="1704" y="81824"/>
                    </a:cubicBezTo>
                    <a:cubicBezTo>
                      <a:pt x="3976" y="84097"/>
                      <a:pt x="7667" y="84097"/>
                      <a:pt x="9655" y="81824"/>
                    </a:cubicBezTo>
                    <a:cubicBezTo>
                      <a:pt x="103647" y="-12217"/>
                      <a:pt x="256420" y="-11933"/>
                      <a:pt x="350128" y="81824"/>
                    </a:cubicBezTo>
                    <a:cubicBezTo>
                      <a:pt x="351263" y="82961"/>
                      <a:pt x="352683" y="83529"/>
                      <a:pt x="354103" y="83529"/>
                    </a:cubicBezTo>
                    <a:cubicBezTo>
                      <a:pt x="355523" y="83529"/>
                      <a:pt x="356943" y="82961"/>
                      <a:pt x="358079" y="81824"/>
                    </a:cubicBezTo>
                    <a:cubicBezTo>
                      <a:pt x="360350" y="79551"/>
                      <a:pt x="360350" y="76142"/>
                      <a:pt x="358079" y="73869"/>
                    </a:cubicBezTo>
                    <a:cubicBezTo>
                      <a:pt x="310657" y="26138"/>
                      <a:pt x="247333" y="0"/>
                      <a:pt x="180033" y="0"/>
                    </a:cubicBezTo>
                    <a:close/>
                  </a:path>
                </a:pathLst>
              </a:custGeom>
              <a:grpFill/>
              <a:ln>
                <a:noFill/>
              </a:ln>
            </p:spPr>
            <p:txBody>
              <a:bodyPr vert="horz" wrap="square" lIns="89619" tIns="44810" rIns="89619" bIns="44810" numCol="1" anchor="t" anchorCtr="0" compatLnSpc="1">
                <a:prstTxWarp prst="textNoShape">
                  <a:avLst/>
                </a:prstTxWarp>
                <a:noAutofit/>
              </a:bodyPr>
              <a:lstStyle/>
              <a:p>
                <a:pPr defTabSz="896203">
                  <a:defRPr/>
                </a:pPr>
                <a:endParaRPr lang="en-US" sz="1764" kern="0" dirty="0">
                  <a:solidFill>
                    <a:schemeClr val="accent2">
                      <a:lumMod val="75000"/>
                    </a:schemeClr>
                  </a:solidFill>
                </a:endParaRPr>
              </a:p>
            </p:txBody>
          </p:sp>
          <p:sp>
            <p:nvSpPr>
              <p:cNvPr id="577" name="Freeform 576"/>
              <p:cNvSpPr>
                <a:spLocks/>
              </p:cNvSpPr>
              <p:nvPr/>
            </p:nvSpPr>
            <p:spPr bwMode="auto">
              <a:xfrm>
                <a:off x="6763784" y="3678867"/>
                <a:ext cx="325481" cy="190824"/>
              </a:xfrm>
              <a:custGeom>
                <a:avLst/>
                <a:gdLst>
                  <a:gd name="connsiteX0" fmla="*/ 141535 w 325481"/>
                  <a:gd name="connsiteY0" fmla="*/ 0 h 190824"/>
                  <a:gd name="connsiteX1" fmla="*/ 217726 w 325481"/>
                  <a:gd name="connsiteY1" fmla="*/ 50621 h 190824"/>
                  <a:gd name="connsiteX2" fmla="*/ 217726 w 325481"/>
                  <a:gd name="connsiteY2" fmla="*/ 51152 h 190824"/>
                  <a:gd name="connsiteX3" fmla="*/ 219048 w 325481"/>
                  <a:gd name="connsiteY3" fmla="*/ 54597 h 190824"/>
                  <a:gd name="connsiteX4" fmla="*/ 237038 w 325481"/>
                  <a:gd name="connsiteY4" fmla="*/ 51947 h 190824"/>
                  <a:gd name="connsiteX5" fmla="*/ 277646 w 325481"/>
                  <a:gd name="connsiteY5" fmla="*/ 66523 h 190824"/>
                  <a:gd name="connsiteX6" fmla="*/ 294713 w 325481"/>
                  <a:gd name="connsiteY6" fmla="*/ 94648 h 190824"/>
                  <a:gd name="connsiteX7" fmla="*/ 283124 w 325481"/>
                  <a:gd name="connsiteY7" fmla="*/ 94648 h 190824"/>
                  <a:gd name="connsiteX8" fmla="*/ 270834 w 325481"/>
                  <a:gd name="connsiteY8" fmla="*/ 74651 h 190824"/>
                  <a:gd name="connsiteX9" fmla="*/ 236970 w 325481"/>
                  <a:gd name="connsiteY9" fmla="*/ 62566 h 190824"/>
                  <a:gd name="connsiteX10" fmla="*/ 221097 w 325481"/>
                  <a:gd name="connsiteY10" fmla="*/ 64950 h 190824"/>
                  <a:gd name="connsiteX11" fmla="*/ 217393 w 325481"/>
                  <a:gd name="connsiteY11" fmla="*/ 66274 h 190824"/>
                  <a:gd name="connsiteX12" fmla="*/ 213160 w 325481"/>
                  <a:gd name="connsiteY12" fmla="*/ 66274 h 190824"/>
                  <a:gd name="connsiteX13" fmla="*/ 210515 w 325481"/>
                  <a:gd name="connsiteY13" fmla="*/ 63096 h 190824"/>
                  <a:gd name="connsiteX14" fmla="*/ 207869 w 325481"/>
                  <a:gd name="connsiteY14" fmla="*/ 54354 h 190824"/>
                  <a:gd name="connsiteX15" fmla="*/ 141465 w 325481"/>
                  <a:gd name="connsiteY15" fmla="*/ 10648 h 190824"/>
                  <a:gd name="connsiteX16" fmla="*/ 75061 w 325481"/>
                  <a:gd name="connsiteY16" fmla="*/ 54354 h 190824"/>
                  <a:gd name="connsiteX17" fmla="*/ 71093 w 325481"/>
                  <a:gd name="connsiteY17" fmla="*/ 67069 h 190824"/>
                  <a:gd name="connsiteX18" fmla="*/ 65802 w 325481"/>
                  <a:gd name="connsiteY18" fmla="*/ 70778 h 190824"/>
                  <a:gd name="connsiteX19" fmla="*/ 65273 w 325481"/>
                  <a:gd name="connsiteY19" fmla="*/ 70778 h 190824"/>
                  <a:gd name="connsiteX20" fmla="*/ 10509 w 325481"/>
                  <a:gd name="connsiteY20" fmla="*/ 125610 h 190824"/>
                  <a:gd name="connsiteX21" fmla="*/ 59717 w 325481"/>
                  <a:gd name="connsiteY21" fmla="*/ 179912 h 190824"/>
                  <a:gd name="connsiteX22" fmla="*/ 64479 w 325481"/>
                  <a:gd name="connsiteY22" fmla="*/ 180177 h 190824"/>
                  <a:gd name="connsiteX23" fmla="*/ 65008 w 325481"/>
                  <a:gd name="connsiteY23" fmla="*/ 180177 h 190824"/>
                  <a:gd name="connsiteX24" fmla="*/ 291205 w 325481"/>
                  <a:gd name="connsiteY24" fmla="*/ 180177 h 190824"/>
                  <a:gd name="connsiteX25" fmla="*/ 291734 w 325481"/>
                  <a:gd name="connsiteY25" fmla="*/ 180177 h 190824"/>
                  <a:gd name="connsiteX26" fmla="*/ 298083 w 325481"/>
                  <a:gd name="connsiteY26" fmla="*/ 179647 h 190824"/>
                  <a:gd name="connsiteX27" fmla="*/ 307210 w 325481"/>
                  <a:gd name="connsiteY27" fmla="*/ 173995 h 190824"/>
                  <a:gd name="connsiteX28" fmla="*/ 325481 w 325481"/>
                  <a:gd name="connsiteY28" fmla="*/ 173995 h 190824"/>
                  <a:gd name="connsiteX29" fmla="*/ 325233 w 325481"/>
                  <a:gd name="connsiteY29" fmla="*/ 174690 h 190824"/>
                  <a:gd name="connsiteX30" fmla="*/ 300001 w 325481"/>
                  <a:gd name="connsiteY30" fmla="*/ 190029 h 190824"/>
                  <a:gd name="connsiteX31" fmla="*/ 299472 w 325481"/>
                  <a:gd name="connsiteY31" fmla="*/ 190029 h 190824"/>
                  <a:gd name="connsiteX32" fmla="*/ 293916 w 325481"/>
                  <a:gd name="connsiteY32" fmla="*/ 190559 h 190824"/>
                  <a:gd name="connsiteX33" fmla="*/ 292329 w 325481"/>
                  <a:gd name="connsiteY33" fmla="*/ 190824 h 190824"/>
                  <a:gd name="connsiteX34" fmla="*/ 64286 w 325481"/>
                  <a:gd name="connsiteY34" fmla="*/ 190824 h 190824"/>
                  <a:gd name="connsiteX35" fmla="*/ 62963 w 325481"/>
                  <a:gd name="connsiteY35" fmla="*/ 190824 h 190824"/>
                  <a:gd name="connsiteX36" fmla="*/ 58995 w 325481"/>
                  <a:gd name="connsiteY36" fmla="*/ 190559 h 190824"/>
                  <a:gd name="connsiteX37" fmla="*/ 58731 w 325481"/>
                  <a:gd name="connsiteY37" fmla="*/ 190559 h 190824"/>
                  <a:gd name="connsiteX38" fmla="*/ 0 w 325481"/>
                  <a:gd name="connsiteY38" fmla="*/ 125626 h 190824"/>
                  <a:gd name="connsiteX39" fmla="*/ 62434 w 325481"/>
                  <a:gd name="connsiteY39" fmla="*/ 60163 h 190824"/>
                  <a:gd name="connsiteX40" fmla="*/ 65080 w 325481"/>
                  <a:gd name="connsiteY40" fmla="*/ 51152 h 190824"/>
                  <a:gd name="connsiteX41" fmla="*/ 65344 w 325481"/>
                  <a:gd name="connsiteY41" fmla="*/ 50621 h 190824"/>
                  <a:gd name="connsiteX42" fmla="*/ 141535 w 325481"/>
                  <a:gd name="connsiteY42" fmla="*/ 0 h 190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325481" h="190824">
                    <a:moveTo>
                      <a:pt x="141535" y="0"/>
                    </a:moveTo>
                    <a:cubicBezTo>
                      <a:pt x="174868" y="0"/>
                      <a:pt x="204763" y="19878"/>
                      <a:pt x="217726" y="50621"/>
                    </a:cubicBezTo>
                    <a:cubicBezTo>
                      <a:pt x="217726" y="50621"/>
                      <a:pt x="217726" y="50887"/>
                      <a:pt x="217726" y="51152"/>
                    </a:cubicBezTo>
                    <a:cubicBezTo>
                      <a:pt x="219048" y="54597"/>
                      <a:pt x="219048" y="54597"/>
                      <a:pt x="219048" y="54597"/>
                    </a:cubicBezTo>
                    <a:cubicBezTo>
                      <a:pt x="224868" y="52742"/>
                      <a:pt x="230953" y="51947"/>
                      <a:pt x="237038" y="51947"/>
                    </a:cubicBezTo>
                    <a:cubicBezTo>
                      <a:pt x="252249" y="51947"/>
                      <a:pt x="266469" y="57380"/>
                      <a:pt x="277646" y="66523"/>
                    </a:cubicBezTo>
                    <a:lnTo>
                      <a:pt x="294713" y="94648"/>
                    </a:lnTo>
                    <a:lnTo>
                      <a:pt x="283124" y="94648"/>
                    </a:lnTo>
                    <a:lnTo>
                      <a:pt x="270834" y="74651"/>
                    </a:lnTo>
                    <a:cubicBezTo>
                      <a:pt x="261508" y="67069"/>
                      <a:pt x="249669" y="62566"/>
                      <a:pt x="236970" y="62566"/>
                    </a:cubicBezTo>
                    <a:cubicBezTo>
                      <a:pt x="231679" y="62566"/>
                      <a:pt x="226124" y="63361"/>
                      <a:pt x="221097" y="64950"/>
                    </a:cubicBezTo>
                    <a:cubicBezTo>
                      <a:pt x="217393" y="66274"/>
                      <a:pt x="217393" y="66274"/>
                      <a:pt x="217393" y="66274"/>
                    </a:cubicBezTo>
                    <a:cubicBezTo>
                      <a:pt x="215806" y="66804"/>
                      <a:pt x="214483" y="66804"/>
                      <a:pt x="213160" y="66274"/>
                    </a:cubicBezTo>
                    <a:cubicBezTo>
                      <a:pt x="211838" y="65480"/>
                      <a:pt x="210779" y="64420"/>
                      <a:pt x="210515" y="63096"/>
                    </a:cubicBezTo>
                    <a:cubicBezTo>
                      <a:pt x="207869" y="54354"/>
                      <a:pt x="207869" y="54354"/>
                      <a:pt x="207869" y="54354"/>
                    </a:cubicBezTo>
                    <a:cubicBezTo>
                      <a:pt x="196493" y="27865"/>
                      <a:pt x="170302" y="10648"/>
                      <a:pt x="141465" y="10648"/>
                    </a:cubicBezTo>
                    <a:cubicBezTo>
                      <a:pt x="112629" y="10648"/>
                      <a:pt x="86437" y="27865"/>
                      <a:pt x="75061" y="54354"/>
                    </a:cubicBezTo>
                    <a:cubicBezTo>
                      <a:pt x="71093" y="67069"/>
                      <a:pt x="71093" y="67069"/>
                      <a:pt x="71093" y="67069"/>
                    </a:cubicBezTo>
                    <a:cubicBezTo>
                      <a:pt x="70564" y="69453"/>
                      <a:pt x="68183" y="71042"/>
                      <a:pt x="65802" y="70778"/>
                    </a:cubicBezTo>
                    <a:cubicBezTo>
                      <a:pt x="65273" y="70778"/>
                      <a:pt x="65273" y="70778"/>
                      <a:pt x="65273" y="70778"/>
                    </a:cubicBezTo>
                    <a:cubicBezTo>
                      <a:pt x="35113" y="70778"/>
                      <a:pt x="10509" y="95412"/>
                      <a:pt x="10509" y="125610"/>
                    </a:cubicBezTo>
                    <a:cubicBezTo>
                      <a:pt x="10509" y="153688"/>
                      <a:pt x="31674" y="176998"/>
                      <a:pt x="59717" y="179912"/>
                    </a:cubicBezTo>
                    <a:cubicBezTo>
                      <a:pt x="64479" y="180177"/>
                      <a:pt x="64479" y="180177"/>
                      <a:pt x="64479" y="180177"/>
                    </a:cubicBezTo>
                    <a:cubicBezTo>
                      <a:pt x="64479" y="180177"/>
                      <a:pt x="64744" y="180177"/>
                      <a:pt x="65008" y="180177"/>
                    </a:cubicBezTo>
                    <a:cubicBezTo>
                      <a:pt x="291205" y="180177"/>
                      <a:pt x="291205" y="180177"/>
                      <a:pt x="291205" y="180177"/>
                    </a:cubicBezTo>
                    <a:cubicBezTo>
                      <a:pt x="291469" y="180177"/>
                      <a:pt x="291469" y="180177"/>
                      <a:pt x="291734" y="180177"/>
                    </a:cubicBezTo>
                    <a:cubicBezTo>
                      <a:pt x="298083" y="179647"/>
                      <a:pt x="298083" y="179647"/>
                      <a:pt x="298083" y="179647"/>
                    </a:cubicBezTo>
                    <a:lnTo>
                      <a:pt x="307210" y="173995"/>
                    </a:lnTo>
                    <a:lnTo>
                      <a:pt x="325481" y="173995"/>
                    </a:lnTo>
                    <a:lnTo>
                      <a:pt x="325233" y="174690"/>
                    </a:lnTo>
                    <a:cubicBezTo>
                      <a:pt x="318983" y="182343"/>
                      <a:pt x="310186" y="187909"/>
                      <a:pt x="300001" y="190029"/>
                    </a:cubicBezTo>
                    <a:cubicBezTo>
                      <a:pt x="300001" y="190029"/>
                      <a:pt x="299736" y="190029"/>
                      <a:pt x="299472" y="190029"/>
                    </a:cubicBezTo>
                    <a:cubicBezTo>
                      <a:pt x="293916" y="190559"/>
                      <a:pt x="293916" y="190559"/>
                      <a:pt x="293916" y="190559"/>
                    </a:cubicBezTo>
                    <a:cubicBezTo>
                      <a:pt x="293387" y="190824"/>
                      <a:pt x="292858" y="190824"/>
                      <a:pt x="292329" y="190824"/>
                    </a:cubicBezTo>
                    <a:cubicBezTo>
                      <a:pt x="64286" y="190824"/>
                      <a:pt x="64286" y="190824"/>
                      <a:pt x="64286" y="190824"/>
                    </a:cubicBezTo>
                    <a:cubicBezTo>
                      <a:pt x="63757" y="190824"/>
                      <a:pt x="63492" y="190824"/>
                      <a:pt x="62963" y="190824"/>
                    </a:cubicBezTo>
                    <a:cubicBezTo>
                      <a:pt x="58995" y="190559"/>
                      <a:pt x="58995" y="190559"/>
                      <a:pt x="58995" y="190559"/>
                    </a:cubicBezTo>
                    <a:cubicBezTo>
                      <a:pt x="58995" y="190559"/>
                      <a:pt x="58995" y="190559"/>
                      <a:pt x="58731" y="190559"/>
                    </a:cubicBezTo>
                    <a:cubicBezTo>
                      <a:pt x="25397" y="187114"/>
                      <a:pt x="0" y="159285"/>
                      <a:pt x="0" y="125626"/>
                    </a:cubicBezTo>
                    <a:cubicBezTo>
                      <a:pt x="0" y="90642"/>
                      <a:pt x="27778" y="62018"/>
                      <a:pt x="62434" y="60163"/>
                    </a:cubicBezTo>
                    <a:cubicBezTo>
                      <a:pt x="65080" y="51152"/>
                      <a:pt x="65080" y="51152"/>
                      <a:pt x="65080" y="51152"/>
                    </a:cubicBezTo>
                    <a:cubicBezTo>
                      <a:pt x="65344" y="50887"/>
                      <a:pt x="65344" y="50621"/>
                      <a:pt x="65344" y="50621"/>
                    </a:cubicBezTo>
                    <a:cubicBezTo>
                      <a:pt x="78307" y="19878"/>
                      <a:pt x="108202" y="0"/>
                      <a:pt x="141535" y="0"/>
                    </a:cubicBezTo>
                    <a:close/>
                  </a:path>
                </a:pathLst>
              </a:custGeom>
              <a:grpFill/>
              <a:ln>
                <a:noFill/>
              </a:ln>
            </p:spPr>
            <p:txBody>
              <a:bodyPr vert="horz" wrap="square" lIns="89619" tIns="44810" rIns="89619" bIns="44810" numCol="1" anchor="t" anchorCtr="0" compatLnSpc="1">
                <a:prstTxWarp prst="textNoShape">
                  <a:avLst/>
                </a:prstTxWarp>
                <a:noAutofit/>
              </a:bodyPr>
              <a:lstStyle/>
              <a:p>
                <a:pPr defTabSz="896203">
                  <a:defRPr/>
                </a:pPr>
                <a:endParaRPr lang="en-US" sz="1764" kern="0" dirty="0">
                  <a:solidFill>
                    <a:schemeClr val="accent2">
                      <a:lumMod val="75000"/>
                    </a:schemeClr>
                  </a:solidFill>
                </a:endParaRPr>
              </a:p>
            </p:txBody>
          </p:sp>
          <p:grpSp>
            <p:nvGrpSpPr>
              <p:cNvPr id="578" name="Group 577"/>
              <p:cNvGrpSpPr/>
              <p:nvPr/>
            </p:nvGrpSpPr>
            <p:grpSpPr>
              <a:xfrm>
                <a:off x="6770791" y="3423638"/>
                <a:ext cx="166584" cy="78932"/>
                <a:chOff x="6265966" y="3966563"/>
                <a:chExt cx="937472" cy="444202"/>
              </a:xfrm>
              <a:grpFill/>
            </p:grpSpPr>
            <p:sp>
              <p:nvSpPr>
                <p:cNvPr id="585" name="Rectangle 584"/>
                <p:cNvSpPr/>
                <p:nvPr/>
              </p:nvSpPr>
              <p:spPr bwMode="auto">
                <a:xfrm rot="2990979">
                  <a:off x="6084049" y="4148480"/>
                  <a:ext cx="444202" cy="80367"/>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586" name="Rectangle 585"/>
                <p:cNvSpPr/>
                <p:nvPr/>
              </p:nvSpPr>
              <p:spPr bwMode="auto">
                <a:xfrm rot="19191831">
                  <a:off x="6289038" y="4019160"/>
                  <a:ext cx="914400" cy="80367"/>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grpSp>
          <p:grpSp>
            <p:nvGrpSpPr>
              <p:cNvPr id="579" name="Group 578"/>
              <p:cNvGrpSpPr/>
              <p:nvPr/>
            </p:nvGrpSpPr>
            <p:grpSpPr>
              <a:xfrm>
                <a:off x="7039873" y="3766538"/>
                <a:ext cx="166584" cy="78932"/>
                <a:chOff x="6265966" y="3966563"/>
                <a:chExt cx="937472" cy="444202"/>
              </a:xfrm>
              <a:grpFill/>
            </p:grpSpPr>
            <p:sp>
              <p:nvSpPr>
                <p:cNvPr id="583" name="Rectangle 582"/>
                <p:cNvSpPr/>
                <p:nvPr/>
              </p:nvSpPr>
              <p:spPr bwMode="auto">
                <a:xfrm rot="2990979">
                  <a:off x="6084049" y="4148480"/>
                  <a:ext cx="444202" cy="80367"/>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584" name="Rectangle 583"/>
                <p:cNvSpPr/>
                <p:nvPr/>
              </p:nvSpPr>
              <p:spPr bwMode="auto">
                <a:xfrm rot="19191831">
                  <a:off x="6289038" y="4019160"/>
                  <a:ext cx="914400" cy="80367"/>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grpSp>
          <p:grpSp>
            <p:nvGrpSpPr>
              <p:cNvPr id="580" name="Group 579"/>
              <p:cNvGrpSpPr/>
              <p:nvPr/>
            </p:nvGrpSpPr>
            <p:grpSpPr>
              <a:xfrm>
                <a:off x="7277998" y="3440306"/>
                <a:ext cx="166584" cy="78932"/>
                <a:chOff x="6265966" y="3966563"/>
                <a:chExt cx="937472" cy="444202"/>
              </a:xfrm>
              <a:grpFill/>
            </p:grpSpPr>
            <p:sp>
              <p:nvSpPr>
                <p:cNvPr id="581" name="Rectangle 580"/>
                <p:cNvSpPr/>
                <p:nvPr/>
              </p:nvSpPr>
              <p:spPr bwMode="auto">
                <a:xfrm rot="2990979">
                  <a:off x="6084049" y="4148480"/>
                  <a:ext cx="444202" cy="80367"/>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582" name="Rectangle 581"/>
                <p:cNvSpPr/>
                <p:nvPr/>
              </p:nvSpPr>
              <p:spPr bwMode="auto">
                <a:xfrm rot="19191831">
                  <a:off x="6289038" y="4019160"/>
                  <a:ext cx="914400" cy="80367"/>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grpSp>
        </p:grpSp>
        <p:grpSp>
          <p:nvGrpSpPr>
            <p:cNvPr id="587" name="Group 586"/>
            <p:cNvGrpSpPr/>
            <p:nvPr/>
          </p:nvGrpSpPr>
          <p:grpSpPr>
            <a:xfrm>
              <a:off x="11328881" y="2729082"/>
              <a:ext cx="1329176" cy="1329176"/>
              <a:chOff x="7853491" y="2729082"/>
              <a:chExt cx="1329176" cy="1329176"/>
            </a:xfrm>
            <a:grpFill/>
          </p:grpSpPr>
          <p:sp>
            <p:nvSpPr>
              <p:cNvPr id="588" name="Oval 587"/>
              <p:cNvSpPr/>
              <p:nvPr/>
            </p:nvSpPr>
            <p:spPr bwMode="auto">
              <a:xfrm>
                <a:off x="7853491" y="2729082"/>
                <a:ext cx="1329176" cy="1329176"/>
              </a:xfrm>
              <a:prstGeom prst="ellipse">
                <a:avLst/>
              </a:prstGeom>
              <a:noFill/>
              <a:ln w="19050">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89619" rIns="0" bIns="985811" numCol="1" rtlCol="0" anchor="t" anchorCtr="0" compatLnSpc="1">
                <a:prstTxWarp prst="textNoShape">
                  <a:avLst/>
                </a:prstTxWarp>
              </a:bodyPr>
              <a:lstStyle/>
              <a:p>
                <a:pPr algn="ctr" defTabSz="913916" fontAlgn="base">
                  <a:spcBef>
                    <a:spcPct val="0"/>
                  </a:spcBef>
                  <a:spcAft>
                    <a:spcPct val="0"/>
                  </a:spcAft>
                  <a:defRPr/>
                </a:pPr>
                <a:r>
                  <a:rPr lang="en-US" sz="1176" kern="0" dirty="0">
                    <a:solidFill>
                      <a:schemeClr val="accent2">
                        <a:lumMod val="75000"/>
                      </a:schemeClr>
                    </a:solidFill>
                  </a:rPr>
                  <a:t>TRANSFORM &amp; ANALYZE</a:t>
                </a:r>
              </a:p>
            </p:txBody>
          </p:sp>
          <p:sp>
            <p:nvSpPr>
              <p:cNvPr id="589" name="Freeform 588"/>
              <p:cNvSpPr/>
              <p:nvPr/>
            </p:nvSpPr>
            <p:spPr bwMode="auto">
              <a:xfrm>
                <a:off x="8237254" y="3735127"/>
                <a:ext cx="194753" cy="216927"/>
              </a:xfrm>
              <a:custGeom>
                <a:avLst/>
                <a:gdLst>
                  <a:gd name="connsiteX0" fmla="*/ 840105 w 2099417"/>
                  <a:gd name="connsiteY0" fmla="*/ 193365 h 2338449"/>
                  <a:gd name="connsiteX1" fmla="*/ 840105 w 2099417"/>
                  <a:gd name="connsiteY1" fmla="*/ 637578 h 2338449"/>
                  <a:gd name="connsiteX2" fmla="*/ 706532 w 2099417"/>
                  <a:gd name="connsiteY2" fmla="*/ 898901 h 2338449"/>
                  <a:gd name="connsiteX3" fmla="*/ 170288 w 2099417"/>
                  <a:gd name="connsiteY3" fmla="*/ 1975105 h 2338449"/>
                  <a:gd name="connsiteX4" fmla="*/ 322383 w 2099417"/>
                  <a:gd name="connsiteY4" fmla="*/ 2220285 h 2338449"/>
                  <a:gd name="connsiteX5" fmla="*/ 1777036 w 2099417"/>
                  <a:gd name="connsiteY5" fmla="*/ 2220285 h 2338449"/>
                  <a:gd name="connsiteX6" fmla="*/ 1929130 w 2099417"/>
                  <a:gd name="connsiteY6" fmla="*/ 1975105 h 2338449"/>
                  <a:gd name="connsiteX7" fmla="*/ 1395989 w 2099417"/>
                  <a:gd name="connsiteY7" fmla="*/ 905127 h 2338449"/>
                  <a:gd name="connsiteX8" fmla="*/ 1261586 w 2099417"/>
                  <a:gd name="connsiteY8" fmla="*/ 642306 h 2338449"/>
                  <a:gd name="connsiteX9" fmla="*/ 1261586 w 2099417"/>
                  <a:gd name="connsiteY9" fmla="*/ 193365 h 2338449"/>
                  <a:gd name="connsiteX10" fmla="*/ 510540 w 2099417"/>
                  <a:gd name="connsiteY10" fmla="*/ 0 h 2338449"/>
                  <a:gd name="connsiteX11" fmla="*/ 1592580 w 2099417"/>
                  <a:gd name="connsiteY11" fmla="*/ 0 h 2338449"/>
                  <a:gd name="connsiteX12" fmla="*/ 1592580 w 2099417"/>
                  <a:gd name="connsiteY12" fmla="*/ 193365 h 2338449"/>
                  <a:gd name="connsiteX13" fmla="*/ 1463040 w 2099417"/>
                  <a:gd name="connsiteY13" fmla="*/ 193365 h 2338449"/>
                  <a:gd name="connsiteX14" fmla="*/ 1463040 w 2099417"/>
                  <a:gd name="connsiteY14" fmla="*/ 620444 h 2338449"/>
                  <a:gd name="connsiteX15" fmla="*/ 2099417 w 2099417"/>
                  <a:gd name="connsiteY15" fmla="*/ 1991685 h 2338449"/>
                  <a:gd name="connsiteX16" fmla="*/ 1901297 w 2099417"/>
                  <a:gd name="connsiteY16" fmla="*/ 2334585 h 2338449"/>
                  <a:gd name="connsiteX17" fmla="*/ 1463040 w 2099417"/>
                  <a:gd name="connsiteY17" fmla="*/ 2338417 h 2338449"/>
                  <a:gd name="connsiteX18" fmla="*/ 1463040 w 2099417"/>
                  <a:gd name="connsiteY18" fmla="*/ 2338449 h 2338449"/>
                  <a:gd name="connsiteX19" fmla="*/ 1459337 w 2099417"/>
                  <a:gd name="connsiteY19" fmla="*/ 2338449 h 2338449"/>
                  <a:gd name="connsiteX20" fmla="*/ 640080 w 2099417"/>
                  <a:gd name="connsiteY20" fmla="*/ 2338449 h 2338449"/>
                  <a:gd name="connsiteX21" fmla="*/ 198120 w 2099417"/>
                  <a:gd name="connsiteY21" fmla="*/ 2334585 h 2338449"/>
                  <a:gd name="connsiteX22" fmla="*/ 0 w 2099417"/>
                  <a:gd name="connsiteY22" fmla="*/ 1991685 h 2338449"/>
                  <a:gd name="connsiteX23" fmla="*/ 640080 w 2099417"/>
                  <a:gd name="connsiteY23" fmla="*/ 612465 h 2338449"/>
                  <a:gd name="connsiteX24" fmla="*/ 640080 w 2099417"/>
                  <a:gd name="connsiteY24" fmla="*/ 193365 h 2338449"/>
                  <a:gd name="connsiteX25" fmla="*/ 510540 w 2099417"/>
                  <a:gd name="connsiteY25" fmla="*/ 193365 h 2338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099417" h="2338449">
                    <a:moveTo>
                      <a:pt x="840105" y="193365"/>
                    </a:moveTo>
                    <a:lnTo>
                      <a:pt x="840105" y="637578"/>
                    </a:lnTo>
                    <a:lnTo>
                      <a:pt x="706532" y="898901"/>
                    </a:lnTo>
                    <a:lnTo>
                      <a:pt x="170288" y="1975105"/>
                    </a:lnTo>
                    <a:lnTo>
                      <a:pt x="322383" y="2220285"/>
                    </a:lnTo>
                    <a:lnTo>
                      <a:pt x="1777036" y="2220285"/>
                    </a:lnTo>
                    <a:lnTo>
                      <a:pt x="1929130" y="1975105"/>
                    </a:lnTo>
                    <a:lnTo>
                      <a:pt x="1395989" y="905127"/>
                    </a:lnTo>
                    <a:lnTo>
                      <a:pt x="1261586" y="642306"/>
                    </a:lnTo>
                    <a:lnTo>
                      <a:pt x="1261586" y="193365"/>
                    </a:lnTo>
                    <a:close/>
                    <a:moveTo>
                      <a:pt x="510540" y="0"/>
                    </a:moveTo>
                    <a:lnTo>
                      <a:pt x="1592580" y="0"/>
                    </a:lnTo>
                    <a:lnTo>
                      <a:pt x="1592580" y="193365"/>
                    </a:lnTo>
                    <a:lnTo>
                      <a:pt x="1463040" y="193365"/>
                    </a:lnTo>
                    <a:lnTo>
                      <a:pt x="1463040" y="620444"/>
                    </a:lnTo>
                    <a:lnTo>
                      <a:pt x="2099417" y="1991685"/>
                    </a:lnTo>
                    <a:lnTo>
                      <a:pt x="1901297" y="2334585"/>
                    </a:lnTo>
                    <a:lnTo>
                      <a:pt x="1463040" y="2338417"/>
                    </a:lnTo>
                    <a:lnTo>
                      <a:pt x="1463040" y="2338449"/>
                    </a:lnTo>
                    <a:lnTo>
                      <a:pt x="1459337" y="2338449"/>
                    </a:lnTo>
                    <a:lnTo>
                      <a:pt x="640080" y="2338449"/>
                    </a:lnTo>
                    <a:lnTo>
                      <a:pt x="198120" y="2334585"/>
                    </a:lnTo>
                    <a:lnTo>
                      <a:pt x="0" y="1991685"/>
                    </a:lnTo>
                    <a:lnTo>
                      <a:pt x="640080" y="612465"/>
                    </a:lnTo>
                    <a:lnTo>
                      <a:pt x="640080" y="193365"/>
                    </a:lnTo>
                    <a:lnTo>
                      <a:pt x="510540" y="193365"/>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spcBef>
                    <a:spcPct val="0"/>
                  </a:spcBef>
                  <a:spcAft>
                    <a:spcPct val="0"/>
                  </a:spcAft>
                  <a:defRPr/>
                </a:pPr>
                <a:endParaRPr lang="en-US" sz="1960" kern="0" dirty="0" err="1">
                  <a:solidFill>
                    <a:schemeClr val="accent2">
                      <a:lumMod val="75000"/>
                    </a:schemeClr>
                  </a:solidFill>
                  <a:ea typeface="Segoe UI" pitchFamily="34" charset="0"/>
                  <a:cs typeface="Segoe UI" pitchFamily="34" charset="0"/>
                </a:endParaRPr>
              </a:p>
            </p:txBody>
          </p:sp>
          <p:grpSp>
            <p:nvGrpSpPr>
              <p:cNvPr id="590" name="Group 589"/>
              <p:cNvGrpSpPr/>
              <p:nvPr/>
            </p:nvGrpSpPr>
            <p:grpSpPr>
              <a:xfrm>
                <a:off x="7985542" y="3325887"/>
                <a:ext cx="1065075" cy="341257"/>
                <a:chOff x="8007488" y="3207777"/>
                <a:chExt cx="1065075" cy="341257"/>
              </a:xfrm>
              <a:grpFill/>
            </p:grpSpPr>
            <p:sp>
              <p:nvSpPr>
                <p:cNvPr id="607" name="Freeform 606"/>
                <p:cNvSpPr/>
                <p:nvPr/>
              </p:nvSpPr>
              <p:spPr bwMode="auto">
                <a:xfrm>
                  <a:off x="8166808" y="3207777"/>
                  <a:ext cx="91927" cy="91927"/>
                </a:xfrm>
                <a:custGeom>
                  <a:avLst/>
                  <a:gdLst>
                    <a:gd name="connsiteX0" fmla="*/ 61913 w 914400"/>
                    <a:gd name="connsiteY0" fmla="*/ 61913 h 914400"/>
                    <a:gd name="connsiteX1" fmla="*/ 61913 w 914400"/>
                    <a:gd name="connsiteY1" fmla="*/ 852488 h 914400"/>
                    <a:gd name="connsiteX2" fmla="*/ 852488 w 914400"/>
                    <a:gd name="connsiteY2" fmla="*/ 852488 h 914400"/>
                    <a:gd name="connsiteX3" fmla="*/ 852488 w 914400"/>
                    <a:gd name="connsiteY3" fmla="*/ 61913 h 914400"/>
                    <a:gd name="connsiteX4" fmla="*/ 0 w 914400"/>
                    <a:gd name="connsiteY4" fmla="*/ 0 h 914400"/>
                    <a:gd name="connsiteX5" fmla="*/ 914400 w 914400"/>
                    <a:gd name="connsiteY5" fmla="*/ 0 h 914400"/>
                    <a:gd name="connsiteX6" fmla="*/ 914400 w 914400"/>
                    <a:gd name="connsiteY6" fmla="*/ 914400 h 914400"/>
                    <a:gd name="connsiteX7" fmla="*/ 0 w 914400"/>
                    <a:gd name="connsiteY7" fmla="*/ 9144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400" h="914400">
                      <a:moveTo>
                        <a:pt x="61913" y="61913"/>
                      </a:moveTo>
                      <a:lnTo>
                        <a:pt x="61913" y="852488"/>
                      </a:lnTo>
                      <a:lnTo>
                        <a:pt x="852488" y="852488"/>
                      </a:lnTo>
                      <a:lnTo>
                        <a:pt x="852488" y="61913"/>
                      </a:lnTo>
                      <a:close/>
                      <a:moveTo>
                        <a:pt x="0" y="0"/>
                      </a:moveTo>
                      <a:lnTo>
                        <a:pt x="914400" y="0"/>
                      </a:lnTo>
                      <a:lnTo>
                        <a:pt x="914400" y="914400"/>
                      </a:lnTo>
                      <a:lnTo>
                        <a:pt x="0" y="91440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608" name="Freeform 607"/>
                <p:cNvSpPr/>
                <p:nvPr/>
              </p:nvSpPr>
              <p:spPr bwMode="auto">
                <a:xfrm>
                  <a:off x="8007488" y="3292650"/>
                  <a:ext cx="96013" cy="96013"/>
                </a:xfrm>
                <a:custGeom>
                  <a:avLst/>
                  <a:gdLst>
                    <a:gd name="connsiteX0" fmla="*/ 457200 w 914400"/>
                    <a:gd name="connsiteY0" fmla="*/ 45244 h 914400"/>
                    <a:gd name="connsiteX1" fmla="*/ 45244 w 914400"/>
                    <a:gd name="connsiteY1" fmla="*/ 457200 h 914400"/>
                    <a:gd name="connsiteX2" fmla="*/ 457200 w 914400"/>
                    <a:gd name="connsiteY2" fmla="*/ 869156 h 914400"/>
                    <a:gd name="connsiteX3" fmla="*/ 869156 w 914400"/>
                    <a:gd name="connsiteY3" fmla="*/ 457200 h 914400"/>
                    <a:gd name="connsiteX4" fmla="*/ 457200 w 914400"/>
                    <a:gd name="connsiteY4" fmla="*/ 45244 h 914400"/>
                    <a:gd name="connsiteX5" fmla="*/ 457200 w 914400"/>
                    <a:gd name="connsiteY5" fmla="*/ 0 h 914400"/>
                    <a:gd name="connsiteX6" fmla="*/ 914400 w 914400"/>
                    <a:gd name="connsiteY6" fmla="*/ 457200 h 914400"/>
                    <a:gd name="connsiteX7" fmla="*/ 457200 w 914400"/>
                    <a:gd name="connsiteY7" fmla="*/ 914400 h 914400"/>
                    <a:gd name="connsiteX8" fmla="*/ 0 w 914400"/>
                    <a:gd name="connsiteY8" fmla="*/ 457200 h 914400"/>
                    <a:gd name="connsiteX9" fmla="*/ 457200 w 914400"/>
                    <a:gd name="connsiteY9" fmla="*/ 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4400" h="914400">
                      <a:moveTo>
                        <a:pt x="457200" y="45244"/>
                      </a:moveTo>
                      <a:cubicBezTo>
                        <a:pt x="229683" y="45244"/>
                        <a:pt x="45244" y="229683"/>
                        <a:pt x="45244" y="457200"/>
                      </a:cubicBezTo>
                      <a:cubicBezTo>
                        <a:pt x="45244" y="684717"/>
                        <a:pt x="229683" y="869156"/>
                        <a:pt x="457200" y="869156"/>
                      </a:cubicBezTo>
                      <a:cubicBezTo>
                        <a:pt x="684717" y="869156"/>
                        <a:pt x="869156" y="684717"/>
                        <a:pt x="869156" y="457200"/>
                      </a:cubicBezTo>
                      <a:cubicBezTo>
                        <a:pt x="869156" y="229683"/>
                        <a:pt x="684717" y="45244"/>
                        <a:pt x="457200" y="45244"/>
                      </a:cubicBezTo>
                      <a:close/>
                      <a:moveTo>
                        <a:pt x="457200" y="0"/>
                      </a:moveTo>
                      <a:cubicBezTo>
                        <a:pt x="709705" y="0"/>
                        <a:pt x="914400" y="204695"/>
                        <a:pt x="914400" y="457200"/>
                      </a:cubicBezTo>
                      <a:cubicBezTo>
                        <a:pt x="914400" y="709705"/>
                        <a:pt x="709705" y="914400"/>
                        <a:pt x="457200" y="914400"/>
                      </a:cubicBezTo>
                      <a:cubicBezTo>
                        <a:pt x="204695" y="914400"/>
                        <a:pt x="0" y="709705"/>
                        <a:pt x="0" y="457200"/>
                      </a:cubicBezTo>
                      <a:cubicBezTo>
                        <a:pt x="0" y="204695"/>
                        <a:pt x="204695" y="0"/>
                        <a:pt x="457200" y="0"/>
                      </a:cubicBez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609" name="Freeform 608"/>
                <p:cNvSpPr/>
                <p:nvPr/>
              </p:nvSpPr>
              <p:spPr bwMode="auto">
                <a:xfrm rot="2897313">
                  <a:off x="8162046" y="3386372"/>
                  <a:ext cx="91927" cy="91927"/>
                </a:xfrm>
                <a:custGeom>
                  <a:avLst/>
                  <a:gdLst>
                    <a:gd name="connsiteX0" fmla="*/ 61913 w 914400"/>
                    <a:gd name="connsiteY0" fmla="*/ 61913 h 914400"/>
                    <a:gd name="connsiteX1" fmla="*/ 61913 w 914400"/>
                    <a:gd name="connsiteY1" fmla="*/ 852488 h 914400"/>
                    <a:gd name="connsiteX2" fmla="*/ 852488 w 914400"/>
                    <a:gd name="connsiteY2" fmla="*/ 852488 h 914400"/>
                    <a:gd name="connsiteX3" fmla="*/ 852488 w 914400"/>
                    <a:gd name="connsiteY3" fmla="*/ 61913 h 914400"/>
                    <a:gd name="connsiteX4" fmla="*/ 0 w 914400"/>
                    <a:gd name="connsiteY4" fmla="*/ 0 h 914400"/>
                    <a:gd name="connsiteX5" fmla="*/ 914400 w 914400"/>
                    <a:gd name="connsiteY5" fmla="*/ 0 h 914400"/>
                    <a:gd name="connsiteX6" fmla="*/ 914400 w 914400"/>
                    <a:gd name="connsiteY6" fmla="*/ 914400 h 914400"/>
                    <a:gd name="connsiteX7" fmla="*/ 0 w 914400"/>
                    <a:gd name="connsiteY7" fmla="*/ 9144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400" h="914400">
                      <a:moveTo>
                        <a:pt x="61913" y="61913"/>
                      </a:moveTo>
                      <a:lnTo>
                        <a:pt x="61913" y="852488"/>
                      </a:lnTo>
                      <a:lnTo>
                        <a:pt x="852488" y="852488"/>
                      </a:lnTo>
                      <a:lnTo>
                        <a:pt x="852488" y="61913"/>
                      </a:lnTo>
                      <a:close/>
                      <a:moveTo>
                        <a:pt x="0" y="0"/>
                      </a:moveTo>
                      <a:lnTo>
                        <a:pt x="914400" y="0"/>
                      </a:lnTo>
                      <a:lnTo>
                        <a:pt x="914400" y="914400"/>
                      </a:lnTo>
                      <a:lnTo>
                        <a:pt x="0" y="91440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grpSp>
              <p:nvGrpSpPr>
                <p:cNvPr id="610" name="Group 609"/>
                <p:cNvGrpSpPr/>
                <p:nvPr/>
              </p:nvGrpSpPr>
              <p:grpSpPr>
                <a:xfrm>
                  <a:off x="8099516" y="3245644"/>
                  <a:ext cx="594427" cy="188119"/>
                  <a:chOff x="8099517" y="3245644"/>
                  <a:chExt cx="668721" cy="188119"/>
                </a:xfrm>
                <a:grpFill/>
              </p:grpSpPr>
              <p:cxnSp>
                <p:nvCxnSpPr>
                  <p:cNvPr id="623" name="Straight Connector 622"/>
                  <p:cNvCxnSpPr/>
                  <p:nvPr/>
                </p:nvCxnSpPr>
                <p:spPr>
                  <a:xfrm>
                    <a:off x="8099517" y="3338901"/>
                    <a:ext cx="623002" cy="0"/>
                  </a:xfrm>
                  <a:prstGeom prst="line">
                    <a:avLst/>
                  </a:prstGeom>
                  <a:grpFill/>
                  <a:ln w="3175">
                    <a:solidFill>
                      <a:srgbClr val="0078D7"/>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624" name="Freeform 623"/>
                  <p:cNvSpPr/>
                  <p:nvPr/>
                </p:nvSpPr>
                <p:spPr bwMode="auto">
                  <a:xfrm>
                    <a:off x="8279607" y="3245644"/>
                    <a:ext cx="442912" cy="52387"/>
                  </a:xfrm>
                  <a:custGeom>
                    <a:avLst/>
                    <a:gdLst>
                      <a:gd name="connsiteX0" fmla="*/ 0 w 521494"/>
                      <a:gd name="connsiteY0" fmla="*/ 0 h 76200"/>
                      <a:gd name="connsiteX1" fmla="*/ 285750 w 521494"/>
                      <a:gd name="connsiteY1" fmla="*/ 0 h 76200"/>
                      <a:gd name="connsiteX2" fmla="*/ 285750 w 521494"/>
                      <a:gd name="connsiteY2" fmla="*/ 76200 h 76200"/>
                      <a:gd name="connsiteX3" fmla="*/ 521494 w 521494"/>
                      <a:gd name="connsiteY3" fmla="*/ 76200 h 76200"/>
                    </a:gdLst>
                    <a:ahLst/>
                    <a:cxnLst>
                      <a:cxn ang="0">
                        <a:pos x="connsiteX0" y="connsiteY0"/>
                      </a:cxn>
                      <a:cxn ang="0">
                        <a:pos x="connsiteX1" y="connsiteY1"/>
                      </a:cxn>
                      <a:cxn ang="0">
                        <a:pos x="connsiteX2" y="connsiteY2"/>
                      </a:cxn>
                      <a:cxn ang="0">
                        <a:pos x="connsiteX3" y="connsiteY3"/>
                      </a:cxn>
                    </a:cxnLst>
                    <a:rect l="l" t="t" r="r" b="b"/>
                    <a:pathLst>
                      <a:path w="521494" h="76200">
                        <a:moveTo>
                          <a:pt x="0" y="0"/>
                        </a:moveTo>
                        <a:lnTo>
                          <a:pt x="285750" y="0"/>
                        </a:lnTo>
                        <a:lnTo>
                          <a:pt x="285750" y="76200"/>
                        </a:lnTo>
                        <a:lnTo>
                          <a:pt x="521494" y="76200"/>
                        </a:lnTo>
                      </a:path>
                    </a:pathLst>
                  </a:custGeom>
                  <a:noFill/>
                  <a:ln w="3175">
                    <a:solidFill>
                      <a:srgbClr val="0078D7"/>
                    </a:solidFill>
                    <a:prstDash val="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896203">
                      <a:defRPr/>
                    </a:pPr>
                    <a:endParaRPr lang="en-US" sz="1764" kern="0">
                      <a:solidFill>
                        <a:schemeClr val="accent2">
                          <a:lumMod val="75000"/>
                        </a:schemeClr>
                      </a:solidFill>
                    </a:endParaRPr>
                  </a:p>
                </p:txBody>
              </p:sp>
              <p:sp>
                <p:nvSpPr>
                  <p:cNvPr id="625" name="Freeform 624"/>
                  <p:cNvSpPr/>
                  <p:nvPr/>
                </p:nvSpPr>
                <p:spPr bwMode="auto">
                  <a:xfrm flipV="1">
                    <a:off x="8279607" y="3388044"/>
                    <a:ext cx="442912" cy="45719"/>
                  </a:xfrm>
                  <a:custGeom>
                    <a:avLst/>
                    <a:gdLst>
                      <a:gd name="connsiteX0" fmla="*/ 0 w 521494"/>
                      <a:gd name="connsiteY0" fmla="*/ 0 h 76200"/>
                      <a:gd name="connsiteX1" fmla="*/ 285750 w 521494"/>
                      <a:gd name="connsiteY1" fmla="*/ 0 h 76200"/>
                      <a:gd name="connsiteX2" fmla="*/ 285750 w 521494"/>
                      <a:gd name="connsiteY2" fmla="*/ 76200 h 76200"/>
                      <a:gd name="connsiteX3" fmla="*/ 521494 w 521494"/>
                      <a:gd name="connsiteY3" fmla="*/ 76200 h 76200"/>
                    </a:gdLst>
                    <a:ahLst/>
                    <a:cxnLst>
                      <a:cxn ang="0">
                        <a:pos x="connsiteX0" y="connsiteY0"/>
                      </a:cxn>
                      <a:cxn ang="0">
                        <a:pos x="connsiteX1" y="connsiteY1"/>
                      </a:cxn>
                      <a:cxn ang="0">
                        <a:pos x="connsiteX2" y="connsiteY2"/>
                      </a:cxn>
                      <a:cxn ang="0">
                        <a:pos x="connsiteX3" y="connsiteY3"/>
                      </a:cxn>
                    </a:cxnLst>
                    <a:rect l="l" t="t" r="r" b="b"/>
                    <a:pathLst>
                      <a:path w="521494" h="76200">
                        <a:moveTo>
                          <a:pt x="0" y="0"/>
                        </a:moveTo>
                        <a:lnTo>
                          <a:pt x="285750" y="0"/>
                        </a:lnTo>
                        <a:lnTo>
                          <a:pt x="285750" y="76200"/>
                        </a:lnTo>
                        <a:lnTo>
                          <a:pt x="521494" y="76200"/>
                        </a:lnTo>
                      </a:path>
                    </a:pathLst>
                  </a:custGeom>
                  <a:noFill/>
                  <a:ln w="3175">
                    <a:solidFill>
                      <a:srgbClr val="0078D7"/>
                    </a:solidFill>
                    <a:prstDash val="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896203">
                      <a:defRPr/>
                    </a:pPr>
                    <a:endParaRPr lang="en-US" sz="1764" kern="0">
                      <a:solidFill>
                        <a:schemeClr val="accent2">
                          <a:lumMod val="75000"/>
                        </a:schemeClr>
                      </a:solidFill>
                    </a:endParaRPr>
                  </a:p>
                </p:txBody>
              </p:sp>
              <p:sp>
                <p:nvSpPr>
                  <p:cNvPr id="626" name="Isosceles Triangle 625"/>
                  <p:cNvSpPr/>
                  <p:nvPr/>
                </p:nvSpPr>
                <p:spPr bwMode="auto">
                  <a:xfrm rot="5400000">
                    <a:off x="8722519" y="3271470"/>
                    <a:ext cx="45719" cy="45719"/>
                  </a:xfrm>
                  <a:prstGeom prst="triangl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627" name="Isosceles Triangle 626"/>
                  <p:cNvSpPr/>
                  <p:nvPr/>
                </p:nvSpPr>
                <p:spPr bwMode="auto">
                  <a:xfrm rot="5400000">
                    <a:off x="8722519" y="3319095"/>
                    <a:ext cx="45719" cy="45719"/>
                  </a:xfrm>
                  <a:prstGeom prst="triangl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628" name="Isosceles Triangle 627"/>
                  <p:cNvSpPr/>
                  <p:nvPr/>
                </p:nvSpPr>
                <p:spPr bwMode="auto">
                  <a:xfrm rot="5400000">
                    <a:off x="8722519" y="3366720"/>
                    <a:ext cx="45719" cy="45719"/>
                  </a:xfrm>
                  <a:prstGeom prst="triangl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grpSp>
            <p:grpSp>
              <p:nvGrpSpPr>
                <p:cNvPr id="611" name="Group 610"/>
                <p:cNvGrpSpPr/>
                <p:nvPr/>
              </p:nvGrpSpPr>
              <p:grpSpPr>
                <a:xfrm>
                  <a:off x="8705850" y="3246154"/>
                  <a:ext cx="188119" cy="181932"/>
                  <a:chOff x="6107906" y="3893854"/>
                  <a:chExt cx="260177" cy="181932"/>
                </a:xfrm>
                <a:grpFill/>
              </p:grpSpPr>
              <p:sp>
                <p:nvSpPr>
                  <p:cNvPr id="617" name="Freeform 616"/>
                  <p:cNvSpPr/>
                  <p:nvPr/>
                </p:nvSpPr>
                <p:spPr bwMode="auto">
                  <a:xfrm>
                    <a:off x="6107906" y="3893854"/>
                    <a:ext cx="260177" cy="181932"/>
                  </a:xfrm>
                  <a:custGeom>
                    <a:avLst/>
                    <a:gdLst>
                      <a:gd name="connsiteX0" fmla="*/ 115224 w 5006109"/>
                      <a:gd name="connsiteY0" fmla="*/ 113026 h 3500582"/>
                      <a:gd name="connsiteX1" fmla="*/ 115224 w 5006109"/>
                      <a:gd name="connsiteY1" fmla="*/ 3387556 h 3500582"/>
                      <a:gd name="connsiteX2" fmla="*/ 4890886 w 5006109"/>
                      <a:gd name="connsiteY2" fmla="*/ 3387556 h 3500582"/>
                      <a:gd name="connsiteX3" fmla="*/ 4890886 w 5006109"/>
                      <a:gd name="connsiteY3" fmla="*/ 113026 h 3500582"/>
                      <a:gd name="connsiteX4" fmla="*/ 0 w 5006109"/>
                      <a:gd name="connsiteY4" fmla="*/ 0 h 3500582"/>
                      <a:gd name="connsiteX5" fmla="*/ 5006109 w 5006109"/>
                      <a:gd name="connsiteY5" fmla="*/ 0 h 3500582"/>
                      <a:gd name="connsiteX6" fmla="*/ 5006109 w 5006109"/>
                      <a:gd name="connsiteY6" fmla="*/ 3500582 h 3500582"/>
                      <a:gd name="connsiteX7" fmla="*/ 0 w 5006109"/>
                      <a:gd name="connsiteY7" fmla="*/ 3500582 h 3500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06109" h="3500582">
                        <a:moveTo>
                          <a:pt x="115224" y="113026"/>
                        </a:moveTo>
                        <a:lnTo>
                          <a:pt x="115224" y="3387556"/>
                        </a:lnTo>
                        <a:lnTo>
                          <a:pt x="4890886" y="3387556"/>
                        </a:lnTo>
                        <a:lnTo>
                          <a:pt x="4890886" y="113026"/>
                        </a:lnTo>
                        <a:close/>
                        <a:moveTo>
                          <a:pt x="0" y="0"/>
                        </a:moveTo>
                        <a:lnTo>
                          <a:pt x="5006109" y="0"/>
                        </a:lnTo>
                        <a:lnTo>
                          <a:pt x="5006109" y="3500582"/>
                        </a:lnTo>
                        <a:lnTo>
                          <a:pt x="0" y="3500582"/>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grpSp>
                <p:nvGrpSpPr>
                  <p:cNvPr id="618" name="Group 617"/>
                  <p:cNvGrpSpPr/>
                  <p:nvPr/>
                </p:nvGrpSpPr>
                <p:grpSpPr>
                  <a:xfrm>
                    <a:off x="6132036" y="3939103"/>
                    <a:ext cx="215584" cy="123793"/>
                    <a:chOff x="6417785" y="4091503"/>
                    <a:chExt cx="1997553" cy="1147034"/>
                  </a:xfrm>
                  <a:grpFill/>
                </p:grpSpPr>
                <p:sp>
                  <p:nvSpPr>
                    <p:cNvPr id="619" name="Freeform 618"/>
                    <p:cNvSpPr/>
                    <p:nvPr/>
                  </p:nvSpPr>
                  <p:spPr bwMode="auto">
                    <a:xfrm>
                      <a:off x="6417785" y="4091503"/>
                      <a:ext cx="1997553" cy="265972"/>
                    </a:xfrm>
                    <a:custGeom>
                      <a:avLst/>
                      <a:gdLst>
                        <a:gd name="connsiteX0" fmla="*/ 107464 w 1997553"/>
                        <a:gd name="connsiteY0" fmla="*/ 22625 h 265972"/>
                        <a:gd name="connsiteX1" fmla="*/ 107464 w 1997553"/>
                        <a:gd name="connsiteY1" fmla="*/ 23297 h 265972"/>
                        <a:gd name="connsiteX2" fmla="*/ 30641 w 1997553"/>
                        <a:gd name="connsiteY2" fmla="*/ 23297 h 265972"/>
                        <a:gd name="connsiteX3" fmla="*/ 30641 w 1997553"/>
                        <a:gd name="connsiteY3" fmla="*/ 244753 h 265972"/>
                        <a:gd name="connsiteX4" fmla="*/ 329241 w 1997553"/>
                        <a:gd name="connsiteY4" fmla="*/ 244753 h 265972"/>
                        <a:gd name="connsiteX5" fmla="*/ 329241 w 1997553"/>
                        <a:gd name="connsiteY5" fmla="*/ 243347 h 265972"/>
                        <a:gd name="connsiteX6" fmla="*/ 1673703 w 1997553"/>
                        <a:gd name="connsiteY6" fmla="*/ 243347 h 265972"/>
                        <a:gd name="connsiteX7" fmla="*/ 1673703 w 1997553"/>
                        <a:gd name="connsiteY7" fmla="*/ 244753 h 265972"/>
                        <a:gd name="connsiteX8" fmla="*/ 1972303 w 1997553"/>
                        <a:gd name="connsiteY8" fmla="*/ 244753 h 265972"/>
                        <a:gd name="connsiteX9" fmla="*/ 1972303 w 1997553"/>
                        <a:gd name="connsiteY9" fmla="*/ 23297 h 265972"/>
                        <a:gd name="connsiteX10" fmla="*/ 1890090 w 1997553"/>
                        <a:gd name="connsiteY10" fmla="*/ 23297 h 265972"/>
                        <a:gd name="connsiteX11" fmla="*/ 1890090 w 1997553"/>
                        <a:gd name="connsiteY11" fmla="*/ 22625 h 265972"/>
                        <a:gd name="connsiteX12" fmla="*/ 0 w 1997553"/>
                        <a:gd name="connsiteY12" fmla="*/ 0 h 265972"/>
                        <a:gd name="connsiteX13" fmla="*/ 1997553 w 1997553"/>
                        <a:gd name="connsiteY13" fmla="*/ 0 h 265972"/>
                        <a:gd name="connsiteX14" fmla="*/ 1997553 w 1997553"/>
                        <a:gd name="connsiteY14" fmla="*/ 265972 h 265972"/>
                        <a:gd name="connsiteX15" fmla="*/ 0 w 1997553"/>
                        <a:gd name="connsiteY15" fmla="*/ 265972 h 265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97553" h="265972">
                          <a:moveTo>
                            <a:pt x="107464" y="22625"/>
                          </a:moveTo>
                          <a:lnTo>
                            <a:pt x="107464" y="23297"/>
                          </a:lnTo>
                          <a:lnTo>
                            <a:pt x="30641" y="23297"/>
                          </a:lnTo>
                          <a:lnTo>
                            <a:pt x="30641" y="244753"/>
                          </a:lnTo>
                          <a:lnTo>
                            <a:pt x="329241" y="244753"/>
                          </a:lnTo>
                          <a:lnTo>
                            <a:pt x="329241" y="243347"/>
                          </a:lnTo>
                          <a:lnTo>
                            <a:pt x="1673703" y="243347"/>
                          </a:lnTo>
                          <a:lnTo>
                            <a:pt x="1673703" y="244753"/>
                          </a:lnTo>
                          <a:lnTo>
                            <a:pt x="1972303" y="244753"/>
                          </a:lnTo>
                          <a:lnTo>
                            <a:pt x="1972303" y="23297"/>
                          </a:lnTo>
                          <a:lnTo>
                            <a:pt x="1890090" y="23297"/>
                          </a:lnTo>
                          <a:lnTo>
                            <a:pt x="1890090" y="22625"/>
                          </a:lnTo>
                          <a:close/>
                          <a:moveTo>
                            <a:pt x="0" y="0"/>
                          </a:moveTo>
                          <a:lnTo>
                            <a:pt x="1997553" y="0"/>
                          </a:lnTo>
                          <a:lnTo>
                            <a:pt x="1997553" y="265972"/>
                          </a:lnTo>
                          <a:lnTo>
                            <a:pt x="0" y="265972"/>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620" name="Freeform 619"/>
                    <p:cNvSpPr/>
                    <p:nvPr/>
                  </p:nvSpPr>
                  <p:spPr bwMode="auto">
                    <a:xfrm>
                      <a:off x="6417785" y="4386778"/>
                      <a:ext cx="1997553" cy="265972"/>
                    </a:xfrm>
                    <a:custGeom>
                      <a:avLst/>
                      <a:gdLst>
                        <a:gd name="connsiteX0" fmla="*/ 107464 w 1997553"/>
                        <a:gd name="connsiteY0" fmla="*/ 22625 h 265972"/>
                        <a:gd name="connsiteX1" fmla="*/ 107464 w 1997553"/>
                        <a:gd name="connsiteY1" fmla="*/ 23297 h 265972"/>
                        <a:gd name="connsiteX2" fmla="*/ 30641 w 1997553"/>
                        <a:gd name="connsiteY2" fmla="*/ 23297 h 265972"/>
                        <a:gd name="connsiteX3" fmla="*/ 30641 w 1997553"/>
                        <a:gd name="connsiteY3" fmla="*/ 244753 h 265972"/>
                        <a:gd name="connsiteX4" fmla="*/ 329241 w 1997553"/>
                        <a:gd name="connsiteY4" fmla="*/ 244753 h 265972"/>
                        <a:gd name="connsiteX5" fmla="*/ 329241 w 1997553"/>
                        <a:gd name="connsiteY5" fmla="*/ 243347 h 265972"/>
                        <a:gd name="connsiteX6" fmla="*/ 1673703 w 1997553"/>
                        <a:gd name="connsiteY6" fmla="*/ 243347 h 265972"/>
                        <a:gd name="connsiteX7" fmla="*/ 1673703 w 1997553"/>
                        <a:gd name="connsiteY7" fmla="*/ 244753 h 265972"/>
                        <a:gd name="connsiteX8" fmla="*/ 1972303 w 1997553"/>
                        <a:gd name="connsiteY8" fmla="*/ 244753 h 265972"/>
                        <a:gd name="connsiteX9" fmla="*/ 1972303 w 1997553"/>
                        <a:gd name="connsiteY9" fmla="*/ 23297 h 265972"/>
                        <a:gd name="connsiteX10" fmla="*/ 1890090 w 1997553"/>
                        <a:gd name="connsiteY10" fmla="*/ 23297 h 265972"/>
                        <a:gd name="connsiteX11" fmla="*/ 1890090 w 1997553"/>
                        <a:gd name="connsiteY11" fmla="*/ 22625 h 265972"/>
                        <a:gd name="connsiteX12" fmla="*/ 0 w 1997553"/>
                        <a:gd name="connsiteY12" fmla="*/ 0 h 265972"/>
                        <a:gd name="connsiteX13" fmla="*/ 1997553 w 1997553"/>
                        <a:gd name="connsiteY13" fmla="*/ 0 h 265972"/>
                        <a:gd name="connsiteX14" fmla="*/ 1997553 w 1997553"/>
                        <a:gd name="connsiteY14" fmla="*/ 265972 h 265972"/>
                        <a:gd name="connsiteX15" fmla="*/ 0 w 1997553"/>
                        <a:gd name="connsiteY15" fmla="*/ 265972 h 265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97553" h="265972">
                          <a:moveTo>
                            <a:pt x="107464" y="22625"/>
                          </a:moveTo>
                          <a:lnTo>
                            <a:pt x="107464" y="23297"/>
                          </a:lnTo>
                          <a:lnTo>
                            <a:pt x="30641" y="23297"/>
                          </a:lnTo>
                          <a:lnTo>
                            <a:pt x="30641" y="244753"/>
                          </a:lnTo>
                          <a:lnTo>
                            <a:pt x="329241" y="244753"/>
                          </a:lnTo>
                          <a:lnTo>
                            <a:pt x="329241" y="243347"/>
                          </a:lnTo>
                          <a:lnTo>
                            <a:pt x="1673703" y="243347"/>
                          </a:lnTo>
                          <a:lnTo>
                            <a:pt x="1673703" y="244753"/>
                          </a:lnTo>
                          <a:lnTo>
                            <a:pt x="1972303" y="244753"/>
                          </a:lnTo>
                          <a:lnTo>
                            <a:pt x="1972303" y="23297"/>
                          </a:lnTo>
                          <a:lnTo>
                            <a:pt x="1890090" y="23297"/>
                          </a:lnTo>
                          <a:lnTo>
                            <a:pt x="1890090" y="22625"/>
                          </a:lnTo>
                          <a:close/>
                          <a:moveTo>
                            <a:pt x="0" y="0"/>
                          </a:moveTo>
                          <a:lnTo>
                            <a:pt x="1997553" y="0"/>
                          </a:lnTo>
                          <a:lnTo>
                            <a:pt x="1997553" y="265972"/>
                          </a:lnTo>
                          <a:lnTo>
                            <a:pt x="0" y="265972"/>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621" name="Freeform 620"/>
                    <p:cNvSpPr/>
                    <p:nvPr/>
                  </p:nvSpPr>
                  <p:spPr bwMode="auto">
                    <a:xfrm>
                      <a:off x="6417785" y="4679671"/>
                      <a:ext cx="1997553" cy="265972"/>
                    </a:xfrm>
                    <a:custGeom>
                      <a:avLst/>
                      <a:gdLst>
                        <a:gd name="connsiteX0" fmla="*/ 107464 w 1997553"/>
                        <a:gd name="connsiteY0" fmla="*/ 22625 h 265972"/>
                        <a:gd name="connsiteX1" fmla="*/ 107464 w 1997553"/>
                        <a:gd name="connsiteY1" fmla="*/ 23297 h 265972"/>
                        <a:gd name="connsiteX2" fmla="*/ 30641 w 1997553"/>
                        <a:gd name="connsiteY2" fmla="*/ 23297 h 265972"/>
                        <a:gd name="connsiteX3" fmla="*/ 30641 w 1997553"/>
                        <a:gd name="connsiteY3" fmla="*/ 244753 h 265972"/>
                        <a:gd name="connsiteX4" fmla="*/ 329241 w 1997553"/>
                        <a:gd name="connsiteY4" fmla="*/ 244753 h 265972"/>
                        <a:gd name="connsiteX5" fmla="*/ 329241 w 1997553"/>
                        <a:gd name="connsiteY5" fmla="*/ 243347 h 265972"/>
                        <a:gd name="connsiteX6" fmla="*/ 1673703 w 1997553"/>
                        <a:gd name="connsiteY6" fmla="*/ 243347 h 265972"/>
                        <a:gd name="connsiteX7" fmla="*/ 1673703 w 1997553"/>
                        <a:gd name="connsiteY7" fmla="*/ 244753 h 265972"/>
                        <a:gd name="connsiteX8" fmla="*/ 1972303 w 1997553"/>
                        <a:gd name="connsiteY8" fmla="*/ 244753 h 265972"/>
                        <a:gd name="connsiteX9" fmla="*/ 1972303 w 1997553"/>
                        <a:gd name="connsiteY9" fmla="*/ 23297 h 265972"/>
                        <a:gd name="connsiteX10" fmla="*/ 1890090 w 1997553"/>
                        <a:gd name="connsiteY10" fmla="*/ 23297 h 265972"/>
                        <a:gd name="connsiteX11" fmla="*/ 1890090 w 1997553"/>
                        <a:gd name="connsiteY11" fmla="*/ 22625 h 265972"/>
                        <a:gd name="connsiteX12" fmla="*/ 0 w 1997553"/>
                        <a:gd name="connsiteY12" fmla="*/ 0 h 265972"/>
                        <a:gd name="connsiteX13" fmla="*/ 1997553 w 1997553"/>
                        <a:gd name="connsiteY13" fmla="*/ 0 h 265972"/>
                        <a:gd name="connsiteX14" fmla="*/ 1997553 w 1997553"/>
                        <a:gd name="connsiteY14" fmla="*/ 265972 h 265972"/>
                        <a:gd name="connsiteX15" fmla="*/ 0 w 1997553"/>
                        <a:gd name="connsiteY15" fmla="*/ 265972 h 265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97553" h="265972">
                          <a:moveTo>
                            <a:pt x="107464" y="22625"/>
                          </a:moveTo>
                          <a:lnTo>
                            <a:pt x="107464" y="23297"/>
                          </a:lnTo>
                          <a:lnTo>
                            <a:pt x="30641" y="23297"/>
                          </a:lnTo>
                          <a:lnTo>
                            <a:pt x="30641" y="244753"/>
                          </a:lnTo>
                          <a:lnTo>
                            <a:pt x="329241" y="244753"/>
                          </a:lnTo>
                          <a:lnTo>
                            <a:pt x="329241" y="243347"/>
                          </a:lnTo>
                          <a:lnTo>
                            <a:pt x="1673703" y="243347"/>
                          </a:lnTo>
                          <a:lnTo>
                            <a:pt x="1673703" y="244753"/>
                          </a:lnTo>
                          <a:lnTo>
                            <a:pt x="1972303" y="244753"/>
                          </a:lnTo>
                          <a:lnTo>
                            <a:pt x="1972303" y="23297"/>
                          </a:lnTo>
                          <a:lnTo>
                            <a:pt x="1890090" y="23297"/>
                          </a:lnTo>
                          <a:lnTo>
                            <a:pt x="1890090" y="22625"/>
                          </a:lnTo>
                          <a:close/>
                          <a:moveTo>
                            <a:pt x="0" y="0"/>
                          </a:moveTo>
                          <a:lnTo>
                            <a:pt x="1997553" y="0"/>
                          </a:lnTo>
                          <a:lnTo>
                            <a:pt x="1997553" y="265972"/>
                          </a:lnTo>
                          <a:lnTo>
                            <a:pt x="0" y="265972"/>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622" name="Freeform 621"/>
                    <p:cNvSpPr/>
                    <p:nvPr/>
                  </p:nvSpPr>
                  <p:spPr bwMode="auto">
                    <a:xfrm>
                      <a:off x="6417785" y="4972565"/>
                      <a:ext cx="1997553" cy="265972"/>
                    </a:xfrm>
                    <a:custGeom>
                      <a:avLst/>
                      <a:gdLst>
                        <a:gd name="connsiteX0" fmla="*/ 107464 w 1997553"/>
                        <a:gd name="connsiteY0" fmla="*/ 22625 h 265972"/>
                        <a:gd name="connsiteX1" fmla="*/ 107464 w 1997553"/>
                        <a:gd name="connsiteY1" fmla="*/ 23297 h 265972"/>
                        <a:gd name="connsiteX2" fmla="*/ 30641 w 1997553"/>
                        <a:gd name="connsiteY2" fmla="*/ 23297 h 265972"/>
                        <a:gd name="connsiteX3" fmla="*/ 30641 w 1997553"/>
                        <a:gd name="connsiteY3" fmla="*/ 244753 h 265972"/>
                        <a:gd name="connsiteX4" fmla="*/ 329241 w 1997553"/>
                        <a:gd name="connsiteY4" fmla="*/ 244753 h 265972"/>
                        <a:gd name="connsiteX5" fmla="*/ 329241 w 1997553"/>
                        <a:gd name="connsiteY5" fmla="*/ 243347 h 265972"/>
                        <a:gd name="connsiteX6" fmla="*/ 1673703 w 1997553"/>
                        <a:gd name="connsiteY6" fmla="*/ 243347 h 265972"/>
                        <a:gd name="connsiteX7" fmla="*/ 1673703 w 1997553"/>
                        <a:gd name="connsiteY7" fmla="*/ 244753 h 265972"/>
                        <a:gd name="connsiteX8" fmla="*/ 1972303 w 1997553"/>
                        <a:gd name="connsiteY8" fmla="*/ 244753 h 265972"/>
                        <a:gd name="connsiteX9" fmla="*/ 1972303 w 1997553"/>
                        <a:gd name="connsiteY9" fmla="*/ 23297 h 265972"/>
                        <a:gd name="connsiteX10" fmla="*/ 1890090 w 1997553"/>
                        <a:gd name="connsiteY10" fmla="*/ 23297 h 265972"/>
                        <a:gd name="connsiteX11" fmla="*/ 1890090 w 1997553"/>
                        <a:gd name="connsiteY11" fmla="*/ 22625 h 265972"/>
                        <a:gd name="connsiteX12" fmla="*/ 0 w 1997553"/>
                        <a:gd name="connsiteY12" fmla="*/ 0 h 265972"/>
                        <a:gd name="connsiteX13" fmla="*/ 1997553 w 1997553"/>
                        <a:gd name="connsiteY13" fmla="*/ 0 h 265972"/>
                        <a:gd name="connsiteX14" fmla="*/ 1997553 w 1997553"/>
                        <a:gd name="connsiteY14" fmla="*/ 265972 h 265972"/>
                        <a:gd name="connsiteX15" fmla="*/ 0 w 1997553"/>
                        <a:gd name="connsiteY15" fmla="*/ 265972 h 265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97553" h="265972">
                          <a:moveTo>
                            <a:pt x="107464" y="22625"/>
                          </a:moveTo>
                          <a:lnTo>
                            <a:pt x="107464" y="23297"/>
                          </a:lnTo>
                          <a:lnTo>
                            <a:pt x="30641" y="23297"/>
                          </a:lnTo>
                          <a:lnTo>
                            <a:pt x="30641" y="244753"/>
                          </a:lnTo>
                          <a:lnTo>
                            <a:pt x="329241" y="244753"/>
                          </a:lnTo>
                          <a:lnTo>
                            <a:pt x="329241" y="243347"/>
                          </a:lnTo>
                          <a:lnTo>
                            <a:pt x="1673703" y="243347"/>
                          </a:lnTo>
                          <a:lnTo>
                            <a:pt x="1673703" y="244753"/>
                          </a:lnTo>
                          <a:lnTo>
                            <a:pt x="1972303" y="244753"/>
                          </a:lnTo>
                          <a:lnTo>
                            <a:pt x="1972303" y="23297"/>
                          </a:lnTo>
                          <a:lnTo>
                            <a:pt x="1890090" y="23297"/>
                          </a:lnTo>
                          <a:lnTo>
                            <a:pt x="1890090" y="22625"/>
                          </a:lnTo>
                          <a:close/>
                          <a:moveTo>
                            <a:pt x="0" y="0"/>
                          </a:moveTo>
                          <a:lnTo>
                            <a:pt x="1997553" y="0"/>
                          </a:lnTo>
                          <a:lnTo>
                            <a:pt x="1997553" y="265972"/>
                          </a:lnTo>
                          <a:lnTo>
                            <a:pt x="0" y="265972"/>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grpSp>
            </p:grpSp>
            <p:grpSp>
              <p:nvGrpSpPr>
                <p:cNvPr id="612" name="Group 611"/>
                <p:cNvGrpSpPr/>
                <p:nvPr/>
              </p:nvGrpSpPr>
              <p:grpSpPr>
                <a:xfrm>
                  <a:off x="8942871" y="3419465"/>
                  <a:ext cx="129692" cy="129569"/>
                  <a:chOff x="4432300" y="1766888"/>
                  <a:chExt cx="3324225" cy="3321050"/>
                </a:xfrm>
                <a:grpFill/>
              </p:grpSpPr>
              <p:sp>
                <p:nvSpPr>
                  <p:cNvPr id="615" name="Freeform 614"/>
                  <p:cNvSpPr>
                    <a:spLocks/>
                  </p:cNvSpPr>
                  <p:nvPr/>
                </p:nvSpPr>
                <p:spPr bwMode="auto">
                  <a:xfrm>
                    <a:off x="4432300" y="2167270"/>
                    <a:ext cx="2257425" cy="2920668"/>
                  </a:xfrm>
                  <a:custGeom>
                    <a:avLst/>
                    <a:gdLst>
                      <a:gd name="connsiteX0" fmla="*/ 194437 w 2257425"/>
                      <a:gd name="connsiteY0" fmla="*/ 122771 h 2920668"/>
                      <a:gd name="connsiteX1" fmla="*/ 121523 w 2257425"/>
                      <a:gd name="connsiteY1" fmla="*/ 195680 h 2920668"/>
                      <a:gd name="connsiteX2" fmla="*/ 121523 w 2257425"/>
                      <a:gd name="connsiteY2" fmla="*/ 2726243 h 2920668"/>
                      <a:gd name="connsiteX3" fmla="*/ 194437 w 2257425"/>
                      <a:gd name="connsiteY3" fmla="*/ 2799152 h 2920668"/>
                      <a:gd name="connsiteX4" fmla="*/ 2059814 w 2257425"/>
                      <a:gd name="connsiteY4" fmla="*/ 2799152 h 2920668"/>
                      <a:gd name="connsiteX5" fmla="*/ 2132727 w 2257425"/>
                      <a:gd name="connsiteY5" fmla="*/ 2726243 h 2920668"/>
                      <a:gd name="connsiteX6" fmla="*/ 2132727 w 2257425"/>
                      <a:gd name="connsiteY6" fmla="*/ 1078413 h 2920668"/>
                      <a:gd name="connsiteX7" fmla="*/ 2132727 w 2257425"/>
                      <a:gd name="connsiteY7" fmla="*/ 1054761 h 2920668"/>
                      <a:gd name="connsiteX8" fmla="*/ 2129823 w 2257425"/>
                      <a:gd name="connsiteY8" fmla="*/ 1055355 h 2920668"/>
                      <a:gd name="connsiteX9" fmla="*/ 2126785 w 2257425"/>
                      <a:gd name="connsiteY9" fmla="*/ 1055355 h 2920668"/>
                      <a:gd name="connsiteX10" fmla="*/ 2123747 w 2257425"/>
                      <a:gd name="connsiteY10" fmla="*/ 1055355 h 2920668"/>
                      <a:gd name="connsiteX11" fmla="*/ 1327752 w 2257425"/>
                      <a:gd name="connsiteY11" fmla="*/ 1055355 h 2920668"/>
                      <a:gd name="connsiteX12" fmla="*/ 1200150 w 2257425"/>
                      <a:gd name="connsiteY12" fmla="*/ 927704 h 2920668"/>
                      <a:gd name="connsiteX13" fmla="*/ 1200150 w 2257425"/>
                      <a:gd name="connsiteY13" fmla="*/ 128364 h 2920668"/>
                      <a:gd name="connsiteX14" fmla="*/ 1200966 w 2257425"/>
                      <a:gd name="connsiteY14" fmla="*/ 122771 h 2920668"/>
                      <a:gd name="connsiteX15" fmla="*/ 1128166 w 2257425"/>
                      <a:gd name="connsiteY15" fmla="*/ 122771 h 2920668"/>
                      <a:gd name="connsiteX16" fmla="*/ 194437 w 2257425"/>
                      <a:gd name="connsiteY16" fmla="*/ 122771 h 2920668"/>
                      <a:gd name="connsiteX17" fmla="*/ 1331572 w 2257425"/>
                      <a:gd name="connsiteY17" fmla="*/ 121972 h 2920668"/>
                      <a:gd name="connsiteX18" fmla="*/ 1327638 w 2257425"/>
                      <a:gd name="connsiteY18" fmla="*/ 122771 h 2920668"/>
                      <a:gd name="connsiteX19" fmla="*/ 1324994 w 2257425"/>
                      <a:gd name="connsiteY19" fmla="*/ 122771 h 2920668"/>
                      <a:gd name="connsiteX20" fmla="*/ 1322388 w 2257425"/>
                      <a:gd name="connsiteY20" fmla="*/ 127982 h 2920668"/>
                      <a:gd name="connsiteX21" fmla="*/ 1322388 w 2257425"/>
                      <a:gd name="connsiteY21" fmla="*/ 927042 h 2920668"/>
                      <a:gd name="connsiteX22" fmla="*/ 1328466 w 2257425"/>
                      <a:gd name="connsiteY22" fmla="*/ 933118 h 2920668"/>
                      <a:gd name="connsiteX23" fmla="*/ 2130699 w 2257425"/>
                      <a:gd name="connsiteY23" fmla="*/ 933118 h 2920668"/>
                      <a:gd name="connsiteX24" fmla="*/ 2132727 w 2257425"/>
                      <a:gd name="connsiteY24" fmla="*/ 931091 h 2920668"/>
                      <a:gd name="connsiteX25" fmla="*/ 2132727 w 2257425"/>
                      <a:gd name="connsiteY25" fmla="*/ 927812 h 2920668"/>
                      <a:gd name="connsiteX26" fmla="*/ 2134009 w 2257425"/>
                      <a:gd name="connsiteY26" fmla="*/ 921508 h 2920668"/>
                      <a:gd name="connsiteX27" fmla="*/ 2133737 w 2257425"/>
                      <a:gd name="connsiteY27" fmla="*/ 920965 h 2920668"/>
                      <a:gd name="connsiteX28" fmla="*/ 2127660 w 2257425"/>
                      <a:gd name="connsiteY28" fmla="*/ 917927 h 2920668"/>
                      <a:gd name="connsiteX29" fmla="*/ 1333060 w 2257425"/>
                      <a:gd name="connsiteY29" fmla="*/ 123460 h 2920668"/>
                      <a:gd name="connsiteX30" fmla="*/ 1315932 w 2257425"/>
                      <a:gd name="connsiteY30" fmla="*/ 0 h 2920668"/>
                      <a:gd name="connsiteX31" fmla="*/ 1325803 w 2257425"/>
                      <a:gd name="connsiteY31" fmla="*/ 1255 h 2920668"/>
                      <a:gd name="connsiteX32" fmla="*/ 1327638 w 2257425"/>
                      <a:gd name="connsiteY32" fmla="*/ 1255 h 2920668"/>
                      <a:gd name="connsiteX33" fmla="*/ 1330705 w 2257425"/>
                      <a:gd name="connsiteY33" fmla="*/ 1878 h 2920668"/>
                      <a:gd name="connsiteX34" fmla="*/ 1370138 w 2257425"/>
                      <a:gd name="connsiteY34" fmla="*/ 6892 h 2920668"/>
                      <a:gd name="connsiteX35" fmla="*/ 1418897 w 2257425"/>
                      <a:gd name="connsiteY35" fmla="*/ 37184 h 2920668"/>
                      <a:gd name="connsiteX36" fmla="*/ 2205777 w 2257425"/>
                      <a:gd name="connsiteY36" fmla="*/ 827406 h 2920668"/>
                      <a:gd name="connsiteX37" fmla="*/ 2257425 w 2257425"/>
                      <a:gd name="connsiteY37" fmla="*/ 927704 h 2920668"/>
                      <a:gd name="connsiteX38" fmla="*/ 2254250 w 2257425"/>
                      <a:gd name="connsiteY38" fmla="*/ 943227 h 2920668"/>
                      <a:gd name="connsiteX39" fmla="*/ 2254250 w 2257425"/>
                      <a:gd name="connsiteY39" fmla="*/ 1091201 h 2920668"/>
                      <a:gd name="connsiteX40" fmla="*/ 2254250 w 2257425"/>
                      <a:gd name="connsiteY40" fmla="*/ 2726243 h 2920668"/>
                      <a:gd name="connsiteX41" fmla="*/ 2059814 w 2257425"/>
                      <a:gd name="connsiteY41" fmla="*/ 2920668 h 2920668"/>
                      <a:gd name="connsiteX42" fmla="*/ 194437 w 2257425"/>
                      <a:gd name="connsiteY42" fmla="*/ 2920668 h 2920668"/>
                      <a:gd name="connsiteX43" fmla="*/ 0 w 2257425"/>
                      <a:gd name="connsiteY43" fmla="*/ 2726243 h 2920668"/>
                      <a:gd name="connsiteX44" fmla="*/ 0 w 2257425"/>
                      <a:gd name="connsiteY44" fmla="*/ 195680 h 2920668"/>
                      <a:gd name="connsiteX45" fmla="*/ 194437 w 2257425"/>
                      <a:gd name="connsiteY45" fmla="*/ 1255 h 2920668"/>
                      <a:gd name="connsiteX46" fmla="*/ 1309932 w 2257425"/>
                      <a:gd name="connsiteY46" fmla="*/ 1255 h 2920668"/>
                      <a:gd name="connsiteX47" fmla="*/ 1311235 w 2257425"/>
                      <a:gd name="connsiteY47" fmla="*/ 1255 h 2920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257425" h="2920668">
                        <a:moveTo>
                          <a:pt x="194437" y="122771"/>
                        </a:moveTo>
                        <a:cubicBezTo>
                          <a:pt x="154942" y="122771"/>
                          <a:pt x="121523" y="153150"/>
                          <a:pt x="121523" y="195680"/>
                        </a:cubicBezTo>
                        <a:cubicBezTo>
                          <a:pt x="121523" y="2726243"/>
                          <a:pt x="121523" y="2726243"/>
                          <a:pt x="121523" y="2726243"/>
                        </a:cubicBezTo>
                        <a:cubicBezTo>
                          <a:pt x="121523" y="2768774"/>
                          <a:pt x="154942" y="2799152"/>
                          <a:pt x="194437" y="2799152"/>
                        </a:cubicBezTo>
                        <a:cubicBezTo>
                          <a:pt x="2059814" y="2799152"/>
                          <a:pt x="2059814" y="2799152"/>
                          <a:pt x="2059814" y="2799152"/>
                        </a:cubicBezTo>
                        <a:cubicBezTo>
                          <a:pt x="2099308" y="2799152"/>
                          <a:pt x="2132727" y="2768774"/>
                          <a:pt x="2132727" y="2726243"/>
                        </a:cubicBezTo>
                        <a:cubicBezTo>
                          <a:pt x="2132727" y="1714626"/>
                          <a:pt x="2132727" y="1272043"/>
                          <a:pt x="2132727" y="1078413"/>
                        </a:cubicBezTo>
                        <a:lnTo>
                          <a:pt x="2132727" y="1054761"/>
                        </a:lnTo>
                        <a:lnTo>
                          <a:pt x="2129823" y="1055355"/>
                        </a:lnTo>
                        <a:lnTo>
                          <a:pt x="2126785" y="1055355"/>
                        </a:lnTo>
                        <a:cubicBezTo>
                          <a:pt x="2123747" y="1055355"/>
                          <a:pt x="2123747" y="1055355"/>
                          <a:pt x="2123747" y="1055355"/>
                        </a:cubicBezTo>
                        <a:cubicBezTo>
                          <a:pt x="1327752" y="1055355"/>
                          <a:pt x="1327752" y="1055355"/>
                          <a:pt x="1327752" y="1055355"/>
                        </a:cubicBezTo>
                        <a:cubicBezTo>
                          <a:pt x="1257875" y="1055355"/>
                          <a:pt x="1200150" y="997608"/>
                          <a:pt x="1200150" y="927704"/>
                        </a:cubicBezTo>
                        <a:cubicBezTo>
                          <a:pt x="1200150" y="128364"/>
                          <a:pt x="1200150" y="128364"/>
                          <a:pt x="1200150" y="128364"/>
                        </a:cubicBezTo>
                        <a:lnTo>
                          <a:pt x="1200966" y="122771"/>
                        </a:lnTo>
                        <a:lnTo>
                          <a:pt x="1128166" y="122771"/>
                        </a:lnTo>
                        <a:cubicBezTo>
                          <a:pt x="194437" y="122771"/>
                          <a:pt x="194437" y="122771"/>
                          <a:pt x="194437" y="122771"/>
                        </a:cubicBezTo>
                        <a:close/>
                        <a:moveTo>
                          <a:pt x="1331572" y="121972"/>
                        </a:moveTo>
                        <a:lnTo>
                          <a:pt x="1327638" y="122771"/>
                        </a:lnTo>
                        <a:lnTo>
                          <a:pt x="1324994" y="122771"/>
                        </a:lnTo>
                        <a:lnTo>
                          <a:pt x="1322388" y="127982"/>
                        </a:lnTo>
                        <a:cubicBezTo>
                          <a:pt x="1322388" y="927042"/>
                          <a:pt x="1322388" y="927042"/>
                          <a:pt x="1322388" y="927042"/>
                        </a:cubicBezTo>
                        <a:cubicBezTo>
                          <a:pt x="1322388" y="930080"/>
                          <a:pt x="1325427" y="933118"/>
                          <a:pt x="1328466" y="933118"/>
                        </a:cubicBezTo>
                        <a:cubicBezTo>
                          <a:pt x="2130699" y="933118"/>
                          <a:pt x="2130699" y="933118"/>
                          <a:pt x="2130699" y="933118"/>
                        </a:cubicBezTo>
                        <a:lnTo>
                          <a:pt x="2132727" y="931091"/>
                        </a:lnTo>
                        <a:lnTo>
                          <a:pt x="2132727" y="927812"/>
                        </a:lnTo>
                        <a:lnTo>
                          <a:pt x="2134009" y="921508"/>
                        </a:lnTo>
                        <a:lnTo>
                          <a:pt x="2133737" y="920965"/>
                        </a:lnTo>
                        <a:cubicBezTo>
                          <a:pt x="2127660" y="917927"/>
                          <a:pt x="2127660" y="917927"/>
                          <a:pt x="2127660" y="917927"/>
                        </a:cubicBezTo>
                        <a:cubicBezTo>
                          <a:pt x="1431025" y="221408"/>
                          <a:pt x="1343945" y="134343"/>
                          <a:pt x="1333060" y="123460"/>
                        </a:cubicBezTo>
                        <a:close/>
                        <a:moveTo>
                          <a:pt x="1315932" y="0"/>
                        </a:moveTo>
                        <a:lnTo>
                          <a:pt x="1325803" y="1255"/>
                        </a:lnTo>
                        <a:lnTo>
                          <a:pt x="1327638" y="1255"/>
                        </a:lnTo>
                        <a:lnTo>
                          <a:pt x="1330705" y="1878"/>
                        </a:lnTo>
                        <a:lnTo>
                          <a:pt x="1370138" y="6892"/>
                        </a:lnTo>
                        <a:cubicBezTo>
                          <a:pt x="1387566" y="13249"/>
                          <a:pt x="1404086" y="23507"/>
                          <a:pt x="1418897" y="37184"/>
                        </a:cubicBezTo>
                        <a:cubicBezTo>
                          <a:pt x="2205777" y="827406"/>
                          <a:pt x="2205777" y="827406"/>
                          <a:pt x="2205777" y="827406"/>
                        </a:cubicBezTo>
                        <a:cubicBezTo>
                          <a:pt x="2239196" y="851721"/>
                          <a:pt x="2257425" y="888193"/>
                          <a:pt x="2257425" y="927704"/>
                        </a:cubicBezTo>
                        <a:lnTo>
                          <a:pt x="2254250" y="943227"/>
                        </a:lnTo>
                        <a:lnTo>
                          <a:pt x="2254250" y="1091201"/>
                        </a:lnTo>
                        <a:cubicBezTo>
                          <a:pt x="2254250" y="2726243"/>
                          <a:pt x="2254250" y="2726243"/>
                          <a:pt x="2254250" y="2726243"/>
                        </a:cubicBezTo>
                        <a:cubicBezTo>
                          <a:pt x="2254250" y="2835607"/>
                          <a:pt x="2166146" y="2920668"/>
                          <a:pt x="2059814" y="2920668"/>
                        </a:cubicBezTo>
                        <a:cubicBezTo>
                          <a:pt x="194437" y="2920668"/>
                          <a:pt x="194437" y="2920668"/>
                          <a:pt x="194437" y="2920668"/>
                        </a:cubicBezTo>
                        <a:cubicBezTo>
                          <a:pt x="88104" y="2920668"/>
                          <a:pt x="0" y="2835607"/>
                          <a:pt x="0" y="2726243"/>
                        </a:cubicBezTo>
                        <a:cubicBezTo>
                          <a:pt x="0" y="195680"/>
                          <a:pt x="0" y="195680"/>
                          <a:pt x="0" y="195680"/>
                        </a:cubicBezTo>
                        <a:cubicBezTo>
                          <a:pt x="0" y="86316"/>
                          <a:pt x="88104" y="1255"/>
                          <a:pt x="194437" y="1255"/>
                        </a:cubicBezTo>
                        <a:cubicBezTo>
                          <a:pt x="1044338" y="1255"/>
                          <a:pt x="1256813" y="1255"/>
                          <a:pt x="1309932" y="1255"/>
                        </a:cubicBezTo>
                        <a:lnTo>
                          <a:pt x="1311235" y="12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noAutofit/>
                  </a:bodyPr>
                  <a:lstStyle/>
                  <a:p>
                    <a:pPr defTabSz="896203">
                      <a:defRPr/>
                    </a:pPr>
                    <a:endParaRPr lang="en-US" sz="1764" kern="0">
                      <a:solidFill>
                        <a:schemeClr val="accent2">
                          <a:lumMod val="75000"/>
                        </a:schemeClr>
                      </a:solidFill>
                    </a:endParaRPr>
                  </a:p>
                </p:txBody>
              </p:sp>
              <p:sp>
                <p:nvSpPr>
                  <p:cNvPr id="616" name="Freeform 615"/>
                  <p:cNvSpPr>
                    <a:spLocks/>
                  </p:cNvSpPr>
                  <p:nvPr/>
                </p:nvSpPr>
                <p:spPr bwMode="auto">
                  <a:xfrm>
                    <a:off x="5499100" y="1766888"/>
                    <a:ext cx="2257425" cy="2922588"/>
                  </a:xfrm>
                  <a:custGeom>
                    <a:avLst/>
                    <a:gdLst>
                      <a:gd name="connsiteX0" fmla="*/ 1323839 w 2257425"/>
                      <a:gd name="connsiteY0" fmla="*/ 122238 h 2922588"/>
                      <a:gd name="connsiteX1" fmla="*/ 1320800 w 2257425"/>
                      <a:gd name="connsiteY1" fmla="*/ 128315 h 2922588"/>
                      <a:gd name="connsiteX2" fmla="*/ 1320800 w 2257425"/>
                      <a:gd name="connsiteY2" fmla="*/ 927375 h 2922588"/>
                      <a:gd name="connsiteX3" fmla="*/ 1326878 w 2257425"/>
                      <a:gd name="connsiteY3" fmla="*/ 933451 h 2922588"/>
                      <a:gd name="connsiteX4" fmla="*/ 2129111 w 2257425"/>
                      <a:gd name="connsiteY4" fmla="*/ 933451 h 2922588"/>
                      <a:gd name="connsiteX5" fmla="*/ 2132699 w 2257425"/>
                      <a:gd name="connsiteY5" fmla="*/ 929864 h 2922588"/>
                      <a:gd name="connsiteX6" fmla="*/ 2132699 w 2257425"/>
                      <a:gd name="connsiteY6" fmla="*/ 927508 h 2922588"/>
                      <a:gd name="connsiteX7" fmla="*/ 2133142 w 2257425"/>
                      <a:gd name="connsiteY7" fmla="*/ 925329 h 2922588"/>
                      <a:gd name="connsiteX8" fmla="*/ 2132149 w 2257425"/>
                      <a:gd name="connsiteY8" fmla="*/ 924336 h 2922588"/>
                      <a:gd name="connsiteX9" fmla="*/ 2126072 w 2257425"/>
                      <a:gd name="connsiteY9" fmla="*/ 921298 h 2922588"/>
                      <a:gd name="connsiteX10" fmla="*/ 1329917 w 2257425"/>
                      <a:gd name="connsiteY10" fmla="*/ 125276 h 2922588"/>
                      <a:gd name="connsiteX11" fmla="*/ 1326878 w 2257425"/>
                      <a:gd name="connsiteY11" fmla="*/ 122238 h 2922588"/>
                      <a:gd name="connsiteX12" fmla="*/ 1323839 w 2257425"/>
                      <a:gd name="connsiteY12" fmla="*/ 122238 h 2922588"/>
                      <a:gd name="connsiteX13" fmla="*/ 194307 w 2257425"/>
                      <a:gd name="connsiteY13" fmla="*/ 0 h 2922588"/>
                      <a:gd name="connsiteX14" fmla="*/ 1326754 w 2257425"/>
                      <a:gd name="connsiteY14" fmla="*/ 0 h 2922588"/>
                      <a:gd name="connsiteX15" fmla="*/ 1342448 w 2257425"/>
                      <a:gd name="connsiteY15" fmla="*/ 3196 h 2922588"/>
                      <a:gd name="connsiteX16" fmla="*/ 1371473 w 2257425"/>
                      <a:gd name="connsiteY16" fmla="*/ 6572 h 2922588"/>
                      <a:gd name="connsiteX17" fmla="*/ 1418897 w 2257425"/>
                      <a:gd name="connsiteY17" fmla="*/ 36059 h 2922588"/>
                      <a:gd name="connsiteX18" fmla="*/ 2208815 w 2257425"/>
                      <a:gd name="connsiteY18" fmla="*/ 826181 h 2922588"/>
                      <a:gd name="connsiteX19" fmla="*/ 2257425 w 2257425"/>
                      <a:gd name="connsiteY19" fmla="*/ 926465 h 2922588"/>
                      <a:gd name="connsiteX20" fmla="*/ 2254250 w 2257425"/>
                      <a:gd name="connsiteY20" fmla="*/ 942060 h 2922588"/>
                      <a:gd name="connsiteX21" fmla="*/ 2254250 w 2257425"/>
                      <a:gd name="connsiteY21" fmla="*/ 1091106 h 2922588"/>
                      <a:gd name="connsiteX22" fmla="*/ 2254250 w 2257425"/>
                      <a:gd name="connsiteY22" fmla="*/ 2728242 h 2922588"/>
                      <a:gd name="connsiteX23" fmla="*/ 2059768 w 2257425"/>
                      <a:gd name="connsiteY23" fmla="*/ 2922588 h 2922588"/>
                      <a:gd name="connsiteX24" fmla="*/ 1394276 w 2257425"/>
                      <a:gd name="connsiteY24" fmla="*/ 2922588 h 2922588"/>
                      <a:gd name="connsiteX25" fmla="*/ 1333500 w 2257425"/>
                      <a:gd name="connsiteY25" fmla="*/ 2861855 h 2922588"/>
                      <a:gd name="connsiteX26" fmla="*/ 1394276 w 2257425"/>
                      <a:gd name="connsiteY26" fmla="*/ 2801122 h 2922588"/>
                      <a:gd name="connsiteX27" fmla="*/ 2059768 w 2257425"/>
                      <a:gd name="connsiteY27" fmla="*/ 2801122 h 2922588"/>
                      <a:gd name="connsiteX28" fmla="*/ 2132699 w 2257425"/>
                      <a:gd name="connsiteY28" fmla="*/ 2728242 h 2922588"/>
                      <a:gd name="connsiteX29" fmla="*/ 2132699 w 2257425"/>
                      <a:gd name="connsiteY29" fmla="*/ 1078302 h 2922588"/>
                      <a:gd name="connsiteX30" fmla="*/ 2132699 w 2257425"/>
                      <a:gd name="connsiteY30" fmla="*/ 1054100 h 2922588"/>
                      <a:gd name="connsiteX31" fmla="*/ 2129823 w 2257425"/>
                      <a:gd name="connsiteY31" fmla="*/ 1054100 h 2922588"/>
                      <a:gd name="connsiteX32" fmla="*/ 2126785 w 2257425"/>
                      <a:gd name="connsiteY32" fmla="*/ 1054100 h 2922588"/>
                      <a:gd name="connsiteX33" fmla="*/ 1327752 w 2257425"/>
                      <a:gd name="connsiteY33" fmla="*/ 1054100 h 2922588"/>
                      <a:gd name="connsiteX34" fmla="*/ 1200150 w 2257425"/>
                      <a:gd name="connsiteY34" fmla="*/ 926465 h 2922588"/>
                      <a:gd name="connsiteX35" fmla="*/ 1200150 w 2257425"/>
                      <a:gd name="connsiteY35" fmla="*/ 127227 h 2922588"/>
                      <a:gd name="connsiteX36" fmla="*/ 1201811 w 2257425"/>
                      <a:gd name="connsiteY36" fmla="*/ 121709 h 2922588"/>
                      <a:gd name="connsiteX37" fmla="*/ 1127415 w 2257425"/>
                      <a:gd name="connsiteY37" fmla="*/ 121709 h 2922588"/>
                      <a:gd name="connsiteX38" fmla="*/ 194307 w 2257425"/>
                      <a:gd name="connsiteY38" fmla="*/ 121709 h 2922588"/>
                      <a:gd name="connsiteX39" fmla="*/ 121442 w 2257425"/>
                      <a:gd name="connsiteY39" fmla="*/ 161264 h 2922588"/>
                      <a:gd name="connsiteX40" fmla="*/ 121442 w 2257425"/>
                      <a:gd name="connsiteY40" fmla="*/ 194734 h 2922588"/>
                      <a:gd name="connsiteX41" fmla="*/ 60721 w 2257425"/>
                      <a:gd name="connsiteY41" fmla="*/ 255588 h 2922588"/>
                      <a:gd name="connsiteX42" fmla="*/ 0 w 2257425"/>
                      <a:gd name="connsiteY42" fmla="*/ 194734 h 2922588"/>
                      <a:gd name="connsiteX43" fmla="*/ 0 w 2257425"/>
                      <a:gd name="connsiteY43" fmla="*/ 161264 h 2922588"/>
                      <a:gd name="connsiteX44" fmla="*/ 194307 w 2257425"/>
                      <a:gd name="connsiteY44" fmla="*/ 0 h 2922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2257425" h="2922588">
                        <a:moveTo>
                          <a:pt x="1323839" y="122238"/>
                        </a:moveTo>
                        <a:cubicBezTo>
                          <a:pt x="1320800" y="122238"/>
                          <a:pt x="1320800" y="125276"/>
                          <a:pt x="1320800" y="128315"/>
                        </a:cubicBezTo>
                        <a:cubicBezTo>
                          <a:pt x="1320800" y="927375"/>
                          <a:pt x="1320800" y="927375"/>
                          <a:pt x="1320800" y="927375"/>
                        </a:cubicBezTo>
                        <a:cubicBezTo>
                          <a:pt x="1320800" y="930413"/>
                          <a:pt x="1323839" y="933451"/>
                          <a:pt x="1326878" y="933451"/>
                        </a:cubicBezTo>
                        <a:cubicBezTo>
                          <a:pt x="2129111" y="933451"/>
                          <a:pt x="2129111" y="933451"/>
                          <a:pt x="2129111" y="933451"/>
                        </a:cubicBezTo>
                        <a:lnTo>
                          <a:pt x="2132699" y="929864"/>
                        </a:lnTo>
                        <a:lnTo>
                          <a:pt x="2132699" y="927508"/>
                        </a:lnTo>
                        <a:lnTo>
                          <a:pt x="2133142" y="925329"/>
                        </a:lnTo>
                        <a:lnTo>
                          <a:pt x="2132149" y="924336"/>
                        </a:lnTo>
                        <a:cubicBezTo>
                          <a:pt x="2126072" y="921298"/>
                          <a:pt x="2126072" y="921298"/>
                          <a:pt x="2126072" y="921298"/>
                        </a:cubicBezTo>
                        <a:cubicBezTo>
                          <a:pt x="1329917" y="125276"/>
                          <a:pt x="1329917" y="125276"/>
                          <a:pt x="1329917" y="125276"/>
                        </a:cubicBezTo>
                        <a:cubicBezTo>
                          <a:pt x="1329917" y="122238"/>
                          <a:pt x="1326878" y="122238"/>
                          <a:pt x="1326878" y="122238"/>
                        </a:cubicBezTo>
                        <a:cubicBezTo>
                          <a:pt x="1326878" y="122238"/>
                          <a:pt x="1323839" y="122238"/>
                          <a:pt x="1323839" y="122238"/>
                        </a:cubicBezTo>
                        <a:close/>
                        <a:moveTo>
                          <a:pt x="194307" y="0"/>
                        </a:moveTo>
                        <a:cubicBezTo>
                          <a:pt x="1326754" y="0"/>
                          <a:pt x="1326754" y="0"/>
                          <a:pt x="1326754" y="0"/>
                        </a:cubicBezTo>
                        <a:lnTo>
                          <a:pt x="1342448" y="3196"/>
                        </a:lnTo>
                        <a:lnTo>
                          <a:pt x="1371473" y="6572"/>
                        </a:lnTo>
                        <a:cubicBezTo>
                          <a:pt x="1388990" y="12555"/>
                          <a:pt x="1405226" y="22384"/>
                          <a:pt x="1418897" y="36059"/>
                        </a:cubicBezTo>
                        <a:cubicBezTo>
                          <a:pt x="2208815" y="826181"/>
                          <a:pt x="2208815" y="826181"/>
                          <a:pt x="2208815" y="826181"/>
                        </a:cubicBezTo>
                        <a:cubicBezTo>
                          <a:pt x="2239196" y="850492"/>
                          <a:pt x="2257425" y="886959"/>
                          <a:pt x="2257425" y="926465"/>
                        </a:cubicBezTo>
                        <a:lnTo>
                          <a:pt x="2254250" y="942060"/>
                        </a:lnTo>
                        <a:lnTo>
                          <a:pt x="2254250" y="1091106"/>
                        </a:lnTo>
                        <a:cubicBezTo>
                          <a:pt x="2254250" y="2728242"/>
                          <a:pt x="2254250" y="2728242"/>
                          <a:pt x="2254250" y="2728242"/>
                        </a:cubicBezTo>
                        <a:cubicBezTo>
                          <a:pt x="2254250" y="2834525"/>
                          <a:pt x="2169164" y="2922588"/>
                          <a:pt x="2059768" y="2922588"/>
                        </a:cubicBezTo>
                        <a:cubicBezTo>
                          <a:pt x="1394276" y="2922588"/>
                          <a:pt x="1394276" y="2922588"/>
                          <a:pt x="1394276" y="2922588"/>
                        </a:cubicBezTo>
                        <a:cubicBezTo>
                          <a:pt x="1360849" y="2922588"/>
                          <a:pt x="1333500" y="2895258"/>
                          <a:pt x="1333500" y="2861855"/>
                        </a:cubicBezTo>
                        <a:cubicBezTo>
                          <a:pt x="1333500" y="2828452"/>
                          <a:pt x="1360849" y="2801122"/>
                          <a:pt x="1394276" y="2801122"/>
                        </a:cubicBezTo>
                        <a:cubicBezTo>
                          <a:pt x="2059768" y="2801122"/>
                          <a:pt x="2059768" y="2801122"/>
                          <a:pt x="2059768" y="2801122"/>
                        </a:cubicBezTo>
                        <a:cubicBezTo>
                          <a:pt x="2102311" y="2801122"/>
                          <a:pt x="2132699" y="2767719"/>
                          <a:pt x="2132699" y="2728242"/>
                        </a:cubicBezTo>
                        <a:cubicBezTo>
                          <a:pt x="2132699" y="1715329"/>
                          <a:pt x="2132699" y="1272180"/>
                          <a:pt x="2132699" y="1078302"/>
                        </a:cubicBezTo>
                        <a:lnTo>
                          <a:pt x="2132699" y="1054100"/>
                        </a:lnTo>
                        <a:lnTo>
                          <a:pt x="2129823" y="1054100"/>
                        </a:lnTo>
                        <a:cubicBezTo>
                          <a:pt x="2126785" y="1054100"/>
                          <a:pt x="2126785" y="1054100"/>
                          <a:pt x="2126785" y="1054100"/>
                        </a:cubicBezTo>
                        <a:cubicBezTo>
                          <a:pt x="1327752" y="1054100"/>
                          <a:pt x="1327752" y="1054100"/>
                          <a:pt x="1327752" y="1054100"/>
                        </a:cubicBezTo>
                        <a:cubicBezTo>
                          <a:pt x="1257875" y="1054100"/>
                          <a:pt x="1200150" y="996361"/>
                          <a:pt x="1200150" y="926465"/>
                        </a:cubicBezTo>
                        <a:cubicBezTo>
                          <a:pt x="1200150" y="127227"/>
                          <a:pt x="1200150" y="127227"/>
                          <a:pt x="1200150" y="127227"/>
                        </a:cubicBezTo>
                        <a:lnTo>
                          <a:pt x="1201811" y="121709"/>
                        </a:lnTo>
                        <a:lnTo>
                          <a:pt x="1127415" y="121709"/>
                        </a:lnTo>
                        <a:cubicBezTo>
                          <a:pt x="194307" y="121709"/>
                          <a:pt x="194307" y="121709"/>
                          <a:pt x="194307" y="121709"/>
                        </a:cubicBezTo>
                        <a:cubicBezTo>
                          <a:pt x="154839" y="121709"/>
                          <a:pt x="121442" y="139965"/>
                          <a:pt x="121442" y="161264"/>
                        </a:cubicBezTo>
                        <a:cubicBezTo>
                          <a:pt x="121442" y="194734"/>
                          <a:pt x="121442" y="194734"/>
                          <a:pt x="121442" y="194734"/>
                        </a:cubicBezTo>
                        <a:cubicBezTo>
                          <a:pt x="121442" y="228204"/>
                          <a:pt x="94118" y="255588"/>
                          <a:pt x="60721" y="255588"/>
                        </a:cubicBezTo>
                        <a:cubicBezTo>
                          <a:pt x="27325" y="255588"/>
                          <a:pt x="0" y="228204"/>
                          <a:pt x="0" y="194734"/>
                        </a:cubicBezTo>
                        <a:cubicBezTo>
                          <a:pt x="0" y="161264"/>
                          <a:pt x="0" y="161264"/>
                          <a:pt x="0" y="161264"/>
                        </a:cubicBezTo>
                        <a:cubicBezTo>
                          <a:pt x="0" y="69982"/>
                          <a:pt x="81974" y="0"/>
                          <a:pt x="194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noAutofit/>
                  </a:bodyPr>
                  <a:lstStyle/>
                  <a:p>
                    <a:pPr defTabSz="896203">
                      <a:defRPr/>
                    </a:pPr>
                    <a:endParaRPr lang="en-US" sz="1764" kern="0">
                      <a:solidFill>
                        <a:schemeClr val="accent2">
                          <a:lumMod val="75000"/>
                        </a:schemeClr>
                      </a:solidFill>
                    </a:endParaRPr>
                  </a:p>
                </p:txBody>
              </p:sp>
            </p:grpSp>
            <p:sp>
              <p:nvSpPr>
                <p:cNvPr id="613" name="Freeform 612"/>
                <p:cNvSpPr/>
                <p:nvPr/>
              </p:nvSpPr>
              <p:spPr bwMode="auto">
                <a:xfrm>
                  <a:off x="8888251" y="3309938"/>
                  <a:ext cx="129698" cy="103187"/>
                </a:xfrm>
                <a:custGeom>
                  <a:avLst/>
                  <a:gdLst>
                    <a:gd name="connsiteX0" fmla="*/ 0 w 521494"/>
                    <a:gd name="connsiteY0" fmla="*/ 0 h 76200"/>
                    <a:gd name="connsiteX1" fmla="*/ 285750 w 521494"/>
                    <a:gd name="connsiteY1" fmla="*/ 0 h 76200"/>
                    <a:gd name="connsiteX2" fmla="*/ 285750 w 521494"/>
                    <a:gd name="connsiteY2" fmla="*/ 76200 h 76200"/>
                    <a:gd name="connsiteX3" fmla="*/ 521494 w 521494"/>
                    <a:gd name="connsiteY3" fmla="*/ 76200 h 76200"/>
                    <a:gd name="connsiteX0" fmla="*/ 0 w 285750"/>
                    <a:gd name="connsiteY0" fmla="*/ 0 h 76200"/>
                    <a:gd name="connsiteX1" fmla="*/ 285750 w 285750"/>
                    <a:gd name="connsiteY1" fmla="*/ 0 h 76200"/>
                    <a:gd name="connsiteX2" fmla="*/ 285750 w 285750"/>
                    <a:gd name="connsiteY2" fmla="*/ 76200 h 76200"/>
                  </a:gdLst>
                  <a:ahLst/>
                  <a:cxnLst>
                    <a:cxn ang="0">
                      <a:pos x="connsiteX0" y="connsiteY0"/>
                    </a:cxn>
                    <a:cxn ang="0">
                      <a:pos x="connsiteX1" y="connsiteY1"/>
                    </a:cxn>
                    <a:cxn ang="0">
                      <a:pos x="connsiteX2" y="connsiteY2"/>
                    </a:cxn>
                  </a:cxnLst>
                  <a:rect l="l" t="t" r="r" b="b"/>
                  <a:pathLst>
                    <a:path w="285750" h="76200">
                      <a:moveTo>
                        <a:pt x="0" y="0"/>
                      </a:moveTo>
                      <a:lnTo>
                        <a:pt x="285750" y="0"/>
                      </a:lnTo>
                      <a:lnTo>
                        <a:pt x="285750" y="76200"/>
                      </a:lnTo>
                    </a:path>
                  </a:pathLst>
                </a:custGeom>
                <a:grpFill/>
                <a:ln w="317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896203">
                    <a:defRPr/>
                  </a:pPr>
                  <a:endParaRPr lang="en-US" sz="1764" kern="0">
                    <a:solidFill>
                      <a:schemeClr val="accent2">
                        <a:lumMod val="75000"/>
                      </a:schemeClr>
                    </a:solidFill>
                  </a:endParaRPr>
                </a:p>
              </p:txBody>
            </p:sp>
            <p:sp>
              <p:nvSpPr>
                <p:cNvPr id="614" name="Isosceles Triangle 613"/>
                <p:cNvSpPr/>
                <p:nvPr/>
              </p:nvSpPr>
              <p:spPr bwMode="auto">
                <a:xfrm rot="10800000">
                  <a:off x="8996046" y="3376404"/>
                  <a:ext cx="45719" cy="40640"/>
                </a:xfrm>
                <a:prstGeom prst="triangl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grpSp>
          <p:cxnSp>
            <p:nvCxnSpPr>
              <p:cNvPr id="591" name="Straight Connector 590"/>
              <p:cNvCxnSpPr/>
              <p:nvPr/>
            </p:nvCxnSpPr>
            <p:spPr>
              <a:xfrm>
                <a:off x="7971476" y="3692366"/>
                <a:ext cx="1093206" cy="0"/>
              </a:xfrm>
              <a:prstGeom prst="line">
                <a:avLst/>
              </a:prstGeom>
              <a:grpFill/>
              <a:ln>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592" name="Group 591"/>
              <p:cNvGrpSpPr/>
              <p:nvPr/>
            </p:nvGrpSpPr>
            <p:grpSpPr>
              <a:xfrm>
                <a:off x="8620696" y="3720983"/>
                <a:ext cx="218503" cy="245406"/>
                <a:chOff x="3104286" y="1336108"/>
                <a:chExt cx="4649064" cy="5221480"/>
              </a:xfrm>
              <a:grpFill/>
            </p:grpSpPr>
            <p:sp>
              <p:nvSpPr>
                <p:cNvPr id="593" name="Freeform 592"/>
                <p:cNvSpPr>
                  <a:spLocks/>
                </p:cNvSpPr>
                <p:nvPr/>
              </p:nvSpPr>
              <p:spPr bwMode="auto">
                <a:xfrm>
                  <a:off x="3104286" y="1336108"/>
                  <a:ext cx="4045814" cy="5221480"/>
                </a:xfrm>
                <a:custGeom>
                  <a:avLst/>
                  <a:gdLst>
                    <a:gd name="connsiteX0" fmla="*/ 1616331 w 1684452"/>
                    <a:gd name="connsiteY0" fmla="*/ 466888 h 1863160"/>
                    <a:gd name="connsiteX1" fmla="*/ 1580938 w 1684452"/>
                    <a:gd name="connsiteY1" fmla="*/ 495908 h 1863160"/>
                    <a:gd name="connsiteX2" fmla="*/ 1425175 w 1684452"/>
                    <a:gd name="connsiteY2" fmla="*/ 575567 h 1863160"/>
                    <a:gd name="connsiteX3" fmla="*/ 842226 w 1684452"/>
                    <a:gd name="connsiteY3" fmla="*/ 665288 h 1863160"/>
                    <a:gd name="connsiteX4" fmla="*/ 259277 w 1684452"/>
                    <a:gd name="connsiteY4" fmla="*/ 575567 h 1863160"/>
                    <a:gd name="connsiteX5" fmla="*/ 103515 w 1684452"/>
                    <a:gd name="connsiteY5" fmla="*/ 495908 h 1863160"/>
                    <a:gd name="connsiteX6" fmla="*/ 68122 w 1684452"/>
                    <a:gd name="connsiteY6" fmla="*/ 466889 h 1863160"/>
                    <a:gd name="connsiteX7" fmla="*/ 68122 w 1684452"/>
                    <a:gd name="connsiteY7" fmla="*/ 698353 h 1863160"/>
                    <a:gd name="connsiteX8" fmla="*/ 66676 w 1684452"/>
                    <a:gd name="connsiteY8" fmla="*/ 698353 h 1863160"/>
                    <a:gd name="connsiteX9" fmla="*/ 66676 w 1684452"/>
                    <a:gd name="connsiteY9" fmla="*/ 1507978 h 1863160"/>
                    <a:gd name="connsiteX10" fmla="*/ 68122 w 1684452"/>
                    <a:gd name="connsiteY10" fmla="*/ 1507978 h 1863160"/>
                    <a:gd name="connsiteX11" fmla="*/ 68122 w 1684452"/>
                    <a:gd name="connsiteY11" fmla="*/ 1531401 h 1863160"/>
                    <a:gd name="connsiteX12" fmla="*/ 67785 w 1684452"/>
                    <a:gd name="connsiteY12" fmla="*/ 1531401 h 1863160"/>
                    <a:gd name="connsiteX13" fmla="*/ 842226 w 1684452"/>
                    <a:gd name="connsiteY13" fmla="*/ 1795454 h 1863160"/>
                    <a:gd name="connsiteX14" fmla="*/ 1616667 w 1684452"/>
                    <a:gd name="connsiteY14" fmla="*/ 1531401 h 1863160"/>
                    <a:gd name="connsiteX15" fmla="*/ 1616331 w 1684452"/>
                    <a:gd name="connsiteY15" fmla="*/ 1531401 h 1863160"/>
                    <a:gd name="connsiteX16" fmla="*/ 1616331 w 1684452"/>
                    <a:gd name="connsiteY16" fmla="*/ 1507978 h 1863160"/>
                    <a:gd name="connsiteX17" fmla="*/ 1619250 w 1684452"/>
                    <a:gd name="connsiteY17" fmla="*/ 1507978 h 1863160"/>
                    <a:gd name="connsiteX18" fmla="*/ 1619250 w 1684452"/>
                    <a:gd name="connsiteY18" fmla="*/ 698353 h 1863160"/>
                    <a:gd name="connsiteX19" fmla="*/ 1616331 w 1684452"/>
                    <a:gd name="connsiteY19" fmla="*/ 698353 h 1863160"/>
                    <a:gd name="connsiteX20" fmla="*/ 842226 w 1684452"/>
                    <a:gd name="connsiteY20" fmla="*/ 68122 h 1863160"/>
                    <a:gd name="connsiteX21" fmla="*/ 68122 w 1684452"/>
                    <a:gd name="connsiteY21" fmla="*/ 333087 h 1863160"/>
                    <a:gd name="connsiteX22" fmla="*/ 842226 w 1684452"/>
                    <a:gd name="connsiteY22" fmla="*/ 598052 h 1863160"/>
                    <a:gd name="connsiteX23" fmla="*/ 1616331 w 1684452"/>
                    <a:gd name="connsiteY23" fmla="*/ 333087 h 1863160"/>
                    <a:gd name="connsiteX24" fmla="*/ 842226 w 1684452"/>
                    <a:gd name="connsiteY24" fmla="*/ 68122 h 1863160"/>
                    <a:gd name="connsiteX25" fmla="*/ 842226 w 1684452"/>
                    <a:gd name="connsiteY25" fmla="*/ 0 h 1863160"/>
                    <a:gd name="connsiteX26" fmla="*/ 1425175 w 1684452"/>
                    <a:gd name="connsiteY26" fmla="*/ 89721 h 1863160"/>
                    <a:gd name="connsiteX27" fmla="*/ 1684452 w 1684452"/>
                    <a:gd name="connsiteY27" fmla="*/ 331797 h 1863160"/>
                    <a:gd name="connsiteX28" fmla="*/ 1681988 w 1684452"/>
                    <a:gd name="connsiteY28" fmla="*/ 352107 h 1863160"/>
                    <a:gd name="connsiteX29" fmla="*/ 1684452 w 1684452"/>
                    <a:gd name="connsiteY29" fmla="*/ 352107 h 1863160"/>
                    <a:gd name="connsiteX30" fmla="*/ 1684452 w 1684452"/>
                    <a:gd name="connsiteY30" fmla="*/ 1531401 h 1863160"/>
                    <a:gd name="connsiteX31" fmla="*/ 1684452 w 1684452"/>
                    <a:gd name="connsiteY31" fmla="*/ 1531401 h 1863160"/>
                    <a:gd name="connsiteX32" fmla="*/ 1425175 w 1684452"/>
                    <a:gd name="connsiteY32" fmla="*/ 1773450 h 1863160"/>
                    <a:gd name="connsiteX33" fmla="*/ 842226 w 1684452"/>
                    <a:gd name="connsiteY33" fmla="*/ 1863160 h 1863160"/>
                    <a:gd name="connsiteX34" fmla="*/ 259277 w 1684452"/>
                    <a:gd name="connsiteY34" fmla="*/ 1773450 h 1863160"/>
                    <a:gd name="connsiteX35" fmla="*/ 0 w 1684452"/>
                    <a:gd name="connsiteY35" fmla="*/ 1531401 h 1863160"/>
                    <a:gd name="connsiteX36" fmla="*/ 0 w 1684452"/>
                    <a:gd name="connsiteY36" fmla="*/ 1140367 h 1863160"/>
                    <a:gd name="connsiteX37" fmla="*/ 0 w 1684452"/>
                    <a:gd name="connsiteY37" fmla="*/ 714831 h 1863160"/>
                    <a:gd name="connsiteX38" fmla="*/ 0 w 1684452"/>
                    <a:gd name="connsiteY38" fmla="*/ 352107 h 1863160"/>
                    <a:gd name="connsiteX39" fmla="*/ 2463 w 1684452"/>
                    <a:gd name="connsiteY39" fmla="*/ 352107 h 1863160"/>
                    <a:gd name="connsiteX40" fmla="*/ 0 w 1684452"/>
                    <a:gd name="connsiteY40" fmla="*/ 331797 h 1863160"/>
                    <a:gd name="connsiteX41" fmla="*/ 259277 w 1684452"/>
                    <a:gd name="connsiteY41" fmla="*/ 89721 h 1863160"/>
                    <a:gd name="connsiteX42" fmla="*/ 842226 w 1684452"/>
                    <a:gd name="connsiteY42" fmla="*/ 0 h 1863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684452" h="1863160">
                      <a:moveTo>
                        <a:pt x="1616331" y="466888"/>
                      </a:moveTo>
                      <a:lnTo>
                        <a:pt x="1580938" y="495908"/>
                      </a:lnTo>
                      <a:cubicBezTo>
                        <a:pt x="1540277" y="525258"/>
                        <a:pt x="1488088" y="552079"/>
                        <a:pt x="1425175" y="575567"/>
                      </a:cubicBezTo>
                      <a:cubicBezTo>
                        <a:pt x="1269270" y="633124"/>
                        <a:pt x="1062526" y="665288"/>
                        <a:pt x="842226" y="665288"/>
                      </a:cubicBezTo>
                      <a:cubicBezTo>
                        <a:pt x="621925" y="665288"/>
                        <a:pt x="415182" y="633124"/>
                        <a:pt x="259277" y="575567"/>
                      </a:cubicBezTo>
                      <a:cubicBezTo>
                        <a:pt x="196365" y="552079"/>
                        <a:pt x="144176" y="525258"/>
                        <a:pt x="103515" y="495908"/>
                      </a:cubicBezTo>
                      <a:lnTo>
                        <a:pt x="68122" y="466889"/>
                      </a:lnTo>
                      <a:lnTo>
                        <a:pt x="68122" y="698353"/>
                      </a:lnTo>
                      <a:lnTo>
                        <a:pt x="66676" y="698353"/>
                      </a:lnTo>
                      <a:lnTo>
                        <a:pt x="66676" y="1507978"/>
                      </a:lnTo>
                      <a:lnTo>
                        <a:pt x="68122" y="1507978"/>
                      </a:lnTo>
                      <a:lnTo>
                        <a:pt x="68122" y="1531401"/>
                      </a:lnTo>
                      <a:lnTo>
                        <a:pt x="67785" y="1531401"/>
                      </a:lnTo>
                      <a:cubicBezTo>
                        <a:pt x="67785" y="1656657"/>
                        <a:pt x="386374" y="1795454"/>
                        <a:pt x="842226" y="1795454"/>
                      </a:cubicBezTo>
                      <a:cubicBezTo>
                        <a:pt x="1298078" y="1795454"/>
                        <a:pt x="1616667" y="1656657"/>
                        <a:pt x="1616667" y="1531401"/>
                      </a:cubicBezTo>
                      <a:lnTo>
                        <a:pt x="1616331" y="1531401"/>
                      </a:lnTo>
                      <a:lnTo>
                        <a:pt x="1616331" y="1507978"/>
                      </a:lnTo>
                      <a:lnTo>
                        <a:pt x="1619250" y="1507978"/>
                      </a:lnTo>
                      <a:lnTo>
                        <a:pt x="1619250" y="698353"/>
                      </a:lnTo>
                      <a:lnTo>
                        <a:pt x="1616331" y="698353"/>
                      </a:lnTo>
                      <a:close/>
                      <a:moveTo>
                        <a:pt x="842226" y="68122"/>
                      </a:moveTo>
                      <a:cubicBezTo>
                        <a:pt x="414700" y="68122"/>
                        <a:pt x="68122" y="186750"/>
                        <a:pt x="68122" y="333087"/>
                      </a:cubicBezTo>
                      <a:cubicBezTo>
                        <a:pt x="68122" y="479424"/>
                        <a:pt x="414700" y="598052"/>
                        <a:pt x="842226" y="598052"/>
                      </a:cubicBezTo>
                      <a:cubicBezTo>
                        <a:pt x="1269753" y="598052"/>
                        <a:pt x="1616331" y="479424"/>
                        <a:pt x="1616331" y="333087"/>
                      </a:cubicBezTo>
                      <a:cubicBezTo>
                        <a:pt x="1616331" y="186750"/>
                        <a:pt x="1269753" y="68122"/>
                        <a:pt x="842226" y="68122"/>
                      </a:cubicBezTo>
                      <a:close/>
                      <a:moveTo>
                        <a:pt x="842226" y="0"/>
                      </a:moveTo>
                      <a:cubicBezTo>
                        <a:pt x="1062526" y="0"/>
                        <a:pt x="1269270" y="32164"/>
                        <a:pt x="1425175" y="89721"/>
                      </a:cubicBezTo>
                      <a:cubicBezTo>
                        <a:pt x="1592942" y="150663"/>
                        <a:pt x="1684452" y="236998"/>
                        <a:pt x="1684452" y="331797"/>
                      </a:cubicBezTo>
                      <a:lnTo>
                        <a:pt x="1681988" y="352107"/>
                      </a:lnTo>
                      <a:lnTo>
                        <a:pt x="1684452" y="352107"/>
                      </a:lnTo>
                      <a:lnTo>
                        <a:pt x="1684452" y="1531401"/>
                      </a:lnTo>
                      <a:lnTo>
                        <a:pt x="1684452" y="1531401"/>
                      </a:lnTo>
                      <a:cubicBezTo>
                        <a:pt x="1684452" y="1626189"/>
                        <a:pt x="1592942" y="1712515"/>
                        <a:pt x="1425175" y="1773450"/>
                      </a:cubicBezTo>
                      <a:cubicBezTo>
                        <a:pt x="1269270" y="1831000"/>
                        <a:pt x="1062526" y="1863160"/>
                        <a:pt x="842226" y="1863160"/>
                      </a:cubicBezTo>
                      <a:cubicBezTo>
                        <a:pt x="621925" y="1863160"/>
                        <a:pt x="415182" y="1831000"/>
                        <a:pt x="259277" y="1773450"/>
                      </a:cubicBezTo>
                      <a:cubicBezTo>
                        <a:pt x="91510" y="1712515"/>
                        <a:pt x="0" y="1626189"/>
                        <a:pt x="0" y="1531401"/>
                      </a:cubicBezTo>
                      <a:lnTo>
                        <a:pt x="0" y="1140367"/>
                      </a:lnTo>
                      <a:lnTo>
                        <a:pt x="0" y="714831"/>
                      </a:lnTo>
                      <a:lnTo>
                        <a:pt x="0" y="352107"/>
                      </a:lnTo>
                      <a:lnTo>
                        <a:pt x="2463" y="352107"/>
                      </a:lnTo>
                      <a:lnTo>
                        <a:pt x="0" y="331797"/>
                      </a:lnTo>
                      <a:cubicBezTo>
                        <a:pt x="0" y="236998"/>
                        <a:pt x="91510" y="150663"/>
                        <a:pt x="259277" y="89721"/>
                      </a:cubicBezTo>
                      <a:cubicBezTo>
                        <a:pt x="415182" y="32164"/>
                        <a:pt x="621925" y="0"/>
                        <a:pt x="842226" y="0"/>
                      </a:cubicBezTo>
                      <a:close/>
                    </a:path>
                  </a:pathLst>
                </a:custGeom>
                <a:grpFill/>
                <a:ln>
                  <a:noFill/>
                </a:ln>
              </p:spPr>
              <p:txBody>
                <a:bodyPr vert="horz" wrap="square" lIns="0" tIns="134429" rIns="0" bIns="0" numCol="1" anchor="t" anchorCtr="0" compatLnSpc="1">
                  <a:prstTxWarp prst="textNoShape">
                    <a:avLst/>
                  </a:prstTxWarp>
                  <a:noAutofit/>
                </a:bodyPr>
                <a:lstStyle/>
                <a:p>
                  <a:pPr algn="ctr" defTabSz="896203">
                    <a:defRPr/>
                  </a:pPr>
                  <a:endParaRPr lang="en-US" sz="686" kern="0" dirty="0">
                    <a:solidFill>
                      <a:schemeClr val="accent2">
                        <a:lumMod val="75000"/>
                      </a:schemeClr>
                    </a:solidFill>
                  </a:endParaRPr>
                </a:p>
              </p:txBody>
            </p:sp>
            <p:grpSp>
              <p:nvGrpSpPr>
                <p:cNvPr id="594" name="Group 593"/>
                <p:cNvGrpSpPr/>
                <p:nvPr/>
              </p:nvGrpSpPr>
              <p:grpSpPr>
                <a:xfrm>
                  <a:off x="3248025" y="3081906"/>
                  <a:ext cx="4505325" cy="2741835"/>
                  <a:chOff x="3248025" y="3081906"/>
                  <a:chExt cx="4505325" cy="2741835"/>
                </a:xfrm>
                <a:grpFill/>
              </p:grpSpPr>
              <p:grpSp>
                <p:nvGrpSpPr>
                  <p:cNvPr id="595" name="Group 594"/>
                  <p:cNvGrpSpPr/>
                  <p:nvPr/>
                </p:nvGrpSpPr>
                <p:grpSpPr>
                  <a:xfrm>
                    <a:off x="3248025" y="3081906"/>
                    <a:ext cx="3993352" cy="2741835"/>
                    <a:chOff x="3248025" y="3081906"/>
                    <a:chExt cx="3993352" cy="2741835"/>
                  </a:xfrm>
                  <a:grpFill/>
                </p:grpSpPr>
                <p:sp>
                  <p:nvSpPr>
                    <p:cNvPr id="597" name="Rectangle 596"/>
                    <p:cNvSpPr/>
                    <p:nvPr/>
                  </p:nvSpPr>
                  <p:spPr bwMode="auto">
                    <a:xfrm>
                      <a:off x="3248025" y="4695824"/>
                      <a:ext cx="1416050" cy="15240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598" name="Rectangle 597"/>
                    <p:cNvSpPr/>
                    <p:nvPr/>
                  </p:nvSpPr>
                  <p:spPr bwMode="auto">
                    <a:xfrm>
                      <a:off x="3644899" y="5003799"/>
                      <a:ext cx="2613025" cy="15240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599" name="Rectangle 598"/>
                    <p:cNvSpPr/>
                    <p:nvPr/>
                  </p:nvSpPr>
                  <p:spPr bwMode="auto">
                    <a:xfrm>
                      <a:off x="3595689" y="3446461"/>
                      <a:ext cx="2662236" cy="15240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600" name="Rectangle 599"/>
                    <p:cNvSpPr/>
                    <p:nvPr/>
                  </p:nvSpPr>
                  <p:spPr bwMode="auto">
                    <a:xfrm>
                      <a:off x="3591716" y="3789361"/>
                      <a:ext cx="3649661" cy="15240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601" name="Rectangle 600"/>
                    <p:cNvSpPr/>
                    <p:nvPr/>
                  </p:nvSpPr>
                  <p:spPr bwMode="auto">
                    <a:xfrm rot="16200000">
                      <a:off x="3924698" y="4486669"/>
                      <a:ext cx="2521742" cy="15240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602" name="Rectangle 601"/>
                    <p:cNvSpPr/>
                    <p:nvPr/>
                  </p:nvSpPr>
                  <p:spPr bwMode="auto">
                    <a:xfrm rot="16200000">
                      <a:off x="5334002" y="4225130"/>
                      <a:ext cx="1709739" cy="15240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603" name="Rectangle 602"/>
                    <p:cNvSpPr/>
                    <p:nvPr/>
                  </p:nvSpPr>
                  <p:spPr bwMode="auto">
                    <a:xfrm rot="16200000">
                      <a:off x="4082259" y="5183185"/>
                      <a:ext cx="1127126" cy="15240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604" name="Rectangle 603"/>
                    <p:cNvSpPr/>
                    <p:nvPr/>
                  </p:nvSpPr>
                  <p:spPr bwMode="auto">
                    <a:xfrm>
                      <a:off x="4569621" y="5670548"/>
                      <a:ext cx="692149" cy="15240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605" name="Rectangle 604"/>
                    <p:cNvSpPr/>
                    <p:nvPr/>
                  </p:nvSpPr>
                  <p:spPr bwMode="auto">
                    <a:xfrm rot="18627450">
                      <a:off x="3310979" y="4132943"/>
                      <a:ext cx="2254475" cy="15240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606" name="Rectangle 605"/>
                    <p:cNvSpPr/>
                    <p:nvPr/>
                  </p:nvSpPr>
                  <p:spPr bwMode="auto">
                    <a:xfrm rot="5400000">
                      <a:off x="3425426" y="3623071"/>
                      <a:ext cx="484981" cy="15240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grpSp>
              <p:sp>
                <p:nvSpPr>
                  <p:cNvPr id="596" name="Isosceles Triangle 595"/>
                  <p:cNvSpPr/>
                  <p:nvPr/>
                </p:nvSpPr>
                <p:spPr bwMode="auto">
                  <a:xfrm rot="5400000">
                    <a:off x="7156450" y="3606800"/>
                    <a:ext cx="679450" cy="514350"/>
                  </a:xfrm>
                  <a:prstGeom prst="triangl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grpSp>
          </p:grpSp>
        </p:grpSp>
        <p:grpSp>
          <p:nvGrpSpPr>
            <p:cNvPr id="629" name="Group 628"/>
            <p:cNvGrpSpPr/>
            <p:nvPr/>
          </p:nvGrpSpPr>
          <p:grpSpPr>
            <a:xfrm>
              <a:off x="12826688" y="2729082"/>
              <a:ext cx="1329176" cy="1329176"/>
              <a:chOff x="9376400" y="2729082"/>
              <a:chExt cx="1329176" cy="1329176"/>
            </a:xfrm>
            <a:grpFill/>
          </p:grpSpPr>
          <p:sp>
            <p:nvSpPr>
              <p:cNvPr id="630" name="Oval 629"/>
              <p:cNvSpPr/>
              <p:nvPr/>
            </p:nvSpPr>
            <p:spPr bwMode="auto">
              <a:xfrm>
                <a:off x="9376400" y="2729082"/>
                <a:ext cx="1329176" cy="1329176"/>
              </a:xfrm>
              <a:prstGeom prst="ellipse">
                <a:avLst/>
              </a:prstGeom>
              <a:noFill/>
              <a:ln w="19050">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985811" numCol="1" rtlCol="0" anchor="t" anchorCtr="0" compatLnSpc="1">
                <a:prstTxWarp prst="textNoShape">
                  <a:avLst/>
                </a:prstTxWarp>
              </a:bodyPr>
              <a:lstStyle/>
              <a:p>
                <a:pPr algn="ctr" defTabSz="913916" fontAlgn="base">
                  <a:spcBef>
                    <a:spcPct val="0"/>
                  </a:spcBef>
                  <a:spcAft>
                    <a:spcPct val="0"/>
                  </a:spcAft>
                  <a:defRPr/>
                </a:pPr>
                <a:r>
                  <a:rPr lang="en-US" sz="1176" kern="0" dirty="0">
                    <a:solidFill>
                      <a:schemeClr val="accent2">
                        <a:lumMod val="75000"/>
                      </a:schemeClr>
                    </a:solidFill>
                  </a:rPr>
                  <a:t>PUBLISH</a:t>
                </a:r>
              </a:p>
            </p:txBody>
          </p:sp>
          <p:sp>
            <p:nvSpPr>
              <p:cNvPr id="631" name="Freeform 630"/>
              <p:cNvSpPr>
                <a:spLocks/>
              </p:cNvSpPr>
              <p:nvPr/>
            </p:nvSpPr>
            <p:spPr bwMode="auto">
              <a:xfrm>
                <a:off x="9610344" y="3142917"/>
                <a:ext cx="419729" cy="238955"/>
              </a:xfrm>
              <a:custGeom>
                <a:avLst/>
                <a:gdLst>
                  <a:gd name="connsiteX0" fmla="*/ 1624088 w 3848100"/>
                  <a:gd name="connsiteY0" fmla="*/ 122238 h 2190750"/>
                  <a:gd name="connsiteX1" fmla="*/ 861739 w 3848100"/>
                  <a:gd name="connsiteY1" fmla="*/ 624012 h 2190750"/>
                  <a:gd name="connsiteX2" fmla="*/ 816180 w 3848100"/>
                  <a:gd name="connsiteY2" fmla="*/ 769983 h 2190750"/>
                  <a:gd name="connsiteX3" fmla="*/ 755435 w 3848100"/>
                  <a:gd name="connsiteY3" fmla="*/ 812558 h 2190750"/>
                  <a:gd name="connsiteX4" fmla="*/ 749360 w 3848100"/>
                  <a:gd name="connsiteY4" fmla="*/ 812558 h 2190750"/>
                  <a:gd name="connsiteX5" fmla="*/ 120650 w 3848100"/>
                  <a:gd name="connsiteY5" fmla="*/ 1442056 h 2190750"/>
                  <a:gd name="connsiteX6" fmla="*/ 685578 w 3848100"/>
                  <a:gd name="connsiteY6" fmla="*/ 2065472 h 2190750"/>
                  <a:gd name="connsiteX7" fmla="*/ 740249 w 3848100"/>
                  <a:gd name="connsiteY7" fmla="*/ 2068513 h 2190750"/>
                  <a:gd name="connsiteX8" fmla="*/ 746323 w 3848100"/>
                  <a:gd name="connsiteY8" fmla="*/ 2068513 h 2190750"/>
                  <a:gd name="connsiteX9" fmla="*/ 3343170 w 3848100"/>
                  <a:gd name="connsiteY9" fmla="*/ 2068513 h 2190750"/>
                  <a:gd name="connsiteX10" fmla="*/ 3349244 w 3848100"/>
                  <a:gd name="connsiteY10" fmla="*/ 2068513 h 2190750"/>
                  <a:gd name="connsiteX11" fmla="*/ 3422138 w 3848100"/>
                  <a:gd name="connsiteY11" fmla="*/ 2062431 h 2190750"/>
                  <a:gd name="connsiteX12" fmla="*/ 3725863 w 3848100"/>
                  <a:gd name="connsiteY12" fmla="*/ 1685340 h 2190750"/>
                  <a:gd name="connsiteX13" fmla="*/ 3422138 w 3848100"/>
                  <a:gd name="connsiteY13" fmla="*/ 1311291 h 2190750"/>
                  <a:gd name="connsiteX14" fmla="*/ 3382654 w 3848100"/>
                  <a:gd name="connsiteY14" fmla="*/ 1308250 h 2190750"/>
                  <a:gd name="connsiteX15" fmla="*/ 3327984 w 3848100"/>
                  <a:gd name="connsiteY15" fmla="*/ 1253511 h 2190750"/>
                  <a:gd name="connsiteX16" fmla="*/ 3324946 w 3848100"/>
                  <a:gd name="connsiteY16" fmla="*/ 1207895 h 2190750"/>
                  <a:gd name="connsiteX17" fmla="*/ 2720534 w 3848100"/>
                  <a:gd name="connsiteY17" fmla="*/ 718285 h 2190750"/>
                  <a:gd name="connsiteX18" fmla="*/ 2538299 w 3848100"/>
                  <a:gd name="connsiteY18" fmla="*/ 745654 h 2190750"/>
                  <a:gd name="connsiteX19" fmla="*/ 2495778 w 3848100"/>
                  <a:gd name="connsiteY19" fmla="*/ 760860 h 2190750"/>
                  <a:gd name="connsiteX20" fmla="*/ 2447182 w 3848100"/>
                  <a:gd name="connsiteY20" fmla="*/ 760860 h 2190750"/>
                  <a:gd name="connsiteX21" fmla="*/ 2416809 w 3848100"/>
                  <a:gd name="connsiteY21" fmla="*/ 724367 h 2190750"/>
                  <a:gd name="connsiteX22" fmla="*/ 2386437 w 3848100"/>
                  <a:gd name="connsiteY22" fmla="*/ 624012 h 2190750"/>
                  <a:gd name="connsiteX23" fmla="*/ 1624088 w 3848100"/>
                  <a:gd name="connsiteY23" fmla="*/ 122238 h 2190750"/>
                  <a:gd name="connsiteX24" fmla="*/ 1624889 w 3848100"/>
                  <a:gd name="connsiteY24" fmla="*/ 0 h 2190750"/>
                  <a:gd name="connsiteX25" fmla="*/ 2499595 w 3848100"/>
                  <a:gd name="connsiteY25" fmla="*/ 581157 h 2190750"/>
                  <a:gd name="connsiteX26" fmla="*/ 2499595 w 3848100"/>
                  <a:gd name="connsiteY26" fmla="*/ 587243 h 2190750"/>
                  <a:gd name="connsiteX27" fmla="*/ 2514781 w 3848100"/>
                  <a:gd name="connsiteY27" fmla="*/ 626798 h 2190750"/>
                  <a:gd name="connsiteX28" fmla="*/ 2721308 w 3848100"/>
                  <a:gd name="connsiteY28" fmla="*/ 596371 h 2190750"/>
                  <a:gd name="connsiteX29" fmla="*/ 3444156 w 3848100"/>
                  <a:gd name="connsiteY29" fmla="*/ 1186656 h 2190750"/>
                  <a:gd name="connsiteX30" fmla="*/ 3447193 w 3848100"/>
                  <a:gd name="connsiteY30" fmla="*/ 1192742 h 2190750"/>
                  <a:gd name="connsiteX31" fmla="*/ 3848100 w 3848100"/>
                  <a:gd name="connsiteY31" fmla="*/ 1685661 h 2190750"/>
                  <a:gd name="connsiteX32" fmla="*/ 3444156 w 3848100"/>
                  <a:gd name="connsiteY32" fmla="*/ 2181622 h 2190750"/>
                  <a:gd name="connsiteX33" fmla="*/ 3438082 w 3848100"/>
                  <a:gd name="connsiteY33" fmla="*/ 2181622 h 2190750"/>
                  <a:gd name="connsiteX34" fmla="*/ 3374301 w 3848100"/>
                  <a:gd name="connsiteY34" fmla="*/ 2187707 h 2190750"/>
                  <a:gd name="connsiteX35" fmla="*/ 3356078 w 3848100"/>
                  <a:gd name="connsiteY35" fmla="*/ 2190750 h 2190750"/>
                  <a:gd name="connsiteX36" fmla="*/ 738034 w 3848100"/>
                  <a:gd name="connsiteY36" fmla="*/ 2190750 h 2190750"/>
                  <a:gd name="connsiteX37" fmla="*/ 722848 w 3848100"/>
                  <a:gd name="connsiteY37" fmla="*/ 2190750 h 2190750"/>
                  <a:gd name="connsiteX38" fmla="*/ 677290 w 3848100"/>
                  <a:gd name="connsiteY38" fmla="*/ 2187707 h 2190750"/>
                  <a:gd name="connsiteX39" fmla="*/ 674253 w 3848100"/>
                  <a:gd name="connsiteY39" fmla="*/ 2187707 h 2190750"/>
                  <a:gd name="connsiteX40" fmla="*/ 0 w 3848100"/>
                  <a:gd name="connsiteY40" fmla="*/ 1442244 h 2190750"/>
                  <a:gd name="connsiteX41" fmla="*/ 716773 w 3848100"/>
                  <a:gd name="connsiteY41" fmla="*/ 690695 h 2190750"/>
                  <a:gd name="connsiteX42" fmla="*/ 747145 w 3848100"/>
                  <a:gd name="connsiteY42" fmla="*/ 587243 h 2190750"/>
                  <a:gd name="connsiteX43" fmla="*/ 750182 w 3848100"/>
                  <a:gd name="connsiteY43" fmla="*/ 581157 h 2190750"/>
                  <a:gd name="connsiteX44" fmla="*/ 1624889 w 3848100"/>
                  <a:gd name="connsiteY44" fmla="*/ 0 h 2190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848100" h="2190750">
                    <a:moveTo>
                      <a:pt x="1624088" y="122238"/>
                    </a:moveTo>
                    <a:cubicBezTo>
                      <a:pt x="1293028" y="122238"/>
                      <a:pt x="992340" y="319907"/>
                      <a:pt x="861739" y="624012"/>
                    </a:cubicBezTo>
                    <a:cubicBezTo>
                      <a:pt x="816180" y="769983"/>
                      <a:pt x="816180" y="769983"/>
                      <a:pt x="816180" y="769983"/>
                    </a:cubicBezTo>
                    <a:cubicBezTo>
                      <a:pt x="810105" y="797352"/>
                      <a:pt x="782770" y="815599"/>
                      <a:pt x="755435" y="812558"/>
                    </a:cubicBezTo>
                    <a:cubicBezTo>
                      <a:pt x="749360" y="812558"/>
                      <a:pt x="749360" y="812558"/>
                      <a:pt x="749360" y="812558"/>
                    </a:cubicBezTo>
                    <a:cubicBezTo>
                      <a:pt x="403114" y="812558"/>
                      <a:pt x="120650" y="1095376"/>
                      <a:pt x="120650" y="1442056"/>
                    </a:cubicBezTo>
                    <a:cubicBezTo>
                      <a:pt x="120650" y="1764408"/>
                      <a:pt x="363630" y="2032021"/>
                      <a:pt x="685578" y="2065472"/>
                    </a:cubicBezTo>
                    <a:cubicBezTo>
                      <a:pt x="740249" y="2068513"/>
                      <a:pt x="740249" y="2068513"/>
                      <a:pt x="740249" y="2068513"/>
                    </a:cubicBezTo>
                    <a:cubicBezTo>
                      <a:pt x="740249" y="2068513"/>
                      <a:pt x="743286" y="2068513"/>
                      <a:pt x="746323" y="2068513"/>
                    </a:cubicBezTo>
                    <a:cubicBezTo>
                      <a:pt x="3343170" y="2068513"/>
                      <a:pt x="3343170" y="2068513"/>
                      <a:pt x="3343170" y="2068513"/>
                    </a:cubicBezTo>
                    <a:cubicBezTo>
                      <a:pt x="3346207" y="2068513"/>
                      <a:pt x="3346207" y="2068513"/>
                      <a:pt x="3349244" y="2068513"/>
                    </a:cubicBezTo>
                    <a:cubicBezTo>
                      <a:pt x="3422138" y="2062431"/>
                      <a:pt x="3422138" y="2062431"/>
                      <a:pt x="3422138" y="2062431"/>
                    </a:cubicBezTo>
                    <a:cubicBezTo>
                      <a:pt x="3598299" y="2022897"/>
                      <a:pt x="3725863" y="1867804"/>
                      <a:pt x="3725863" y="1685340"/>
                    </a:cubicBezTo>
                    <a:cubicBezTo>
                      <a:pt x="3725863" y="1505918"/>
                      <a:pt x="3598299" y="1350824"/>
                      <a:pt x="3422138" y="1311291"/>
                    </a:cubicBezTo>
                    <a:cubicBezTo>
                      <a:pt x="3382654" y="1308250"/>
                      <a:pt x="3382654" y="1308250"/>
                      <a:pt x="3382654" y="1308250"/>
                    </a:cubicBezTo>
                    <a:cubicBezTo>
                      <a:pt x="3355319" y="1305208"/>
                      <a:pt x="3331021" y="1283921"/>
                      <a:pt x="3327984" y="1253511"/>
                    </a:cubicBezTo>
                    <a:cubicBezTo>
                      <a:pt x="3324946" y="1207895"/>
                      <a:pt x="3324946" y="1207895"/>
                      <a:pt x="3324946" y="1207895"/>
                    </a:cubicBezTo>
                    <a:cubicBezTo>
                      <a:pt x="3264201" y="925077"/>
                      <a:pt x="3012110" y="718285"/>
                      <a:pt x="2720534" y="718285"/>
                    </a:cubicBezTo>
                    <a:cubicBezTo>
                      <a:pt x="2659789" y="718285"/>
                      <a:pt x="2596007" y="727408"/>
                      <a:pt x="2538299" y="745654"/>
                    </a:cubicBezTo>
                    <a:cubicBezTo>
                      <a:pt x="2495778" y="760860"/>
                      <a:pt x="2495778" y="760860"/>
                      <a:pt x="2495778" y="760860"/>
                    </a:cubicBezTo>
                    <a:cubicBezTo>
                      <a:pt x="2477554" y="766942"/>
                      <a:pt x="2462368" y="766942"/>
                      <a:pt x="2447182" y="760860"/>
                    </a:cubicBezTo>
                    <a:cubicBezTo>
                      <a:pt x="2431996" y="751736"/>
                      <a:pt x="2419847" y="739572"/>
                      <a:pt x="2416809" y="724367"/>
                    </a:cubicBezTo>
                    <a:cubicBezTo>
                      <a:pt x="2386437" y="624012"/>
                      <a:pt x="2386437" y="624012"/>
                      <a:pt x="2386437" y="624012"/>
                    </a:cubicBezTo>
                    <a:cubicBezTo>
                      <a:pt x="2255835" y="319907"/>
                      <a:pt x="1955148" y="122238"/>
                      <a:pt x="1624088" y="122238"/>
                    </a:cubicBezTo>
                    <a:close/>
                    <a:moveTo>
                      <a:pt x="1624889" y="0"/>
                    </a:moveTo>
                    <a:cubicBezTo>
                      <a:pt x="2007572" y="0"/>
                      <a:pt x="2350773" y="228203"/>
                      <a:pt x="2499595" y="581157"/>
                    </a:cubicBezTo>
                    <a:cubicBezTo>
                      <a:pt x="2499595" y="581157"/>
                      <a:pt x="2499595" y="584200"/>
                      <a:pt x="2499595" y="587243"/>
                    </a:cubicBezTo>
                    <a:cubicBezTo>
                      <a:pt x="2514781" y="626798"/>
                      <a:pt x="2514781" y="626798"/>
                      <a:pt x="2514781" y="626798"/>
                    </a:cubicBezTo>
                    <a:cubicBezTo>
                      <a:pt x="2581598" y="605499"/>
                      <a:pt x="2651453" y="596371"/>
                      <a:pt x="2721308" y="596371"/>
                    </a:cubicBezTo>
                    <a:cubicBezTo>
                      <a:pt x="3070583" y="596371"/>
                      <a:pt x="3374301" y="845873"/>
                      <a:pt x="3444156" y="1186656"/>
                    </a:cubicBezTo>
                    <a:cubicBezTo>
                      <a:pt x="3444156" y="1186656"/>
                      <a:pt x="3447193" y="1189699"/>
                      <a:pt x="3447193" y="1192742"/>
                    </a:cubicBezTo>
                    <a:cubicBezTo>
                      <a:pt x="3678018" y="1241425"/>
                      <a:pt x="3848100" y="1448329"/>
                      <a:pt x="3848100" y="1685661"/>
                    </a:cubicBezTo>
                    <a:cubicBezTo>
                      <a:pt x="3848100" y="1926035"/>
                      <a:pt x="3678018" y="2132939"/>
                      <a:pt x="3444156" y="2181622"/>
                    </a:cubicBezTo>
                    <a:cubicBezTo>
                      <a:pt x="3444156" y="2181622"/>
                      <a:pt x="3441119" y="2181622"/>
                      <a:pt x="3438082" y="2181622"/>
                    </a:cubicBezTo>
                    <a:cubicBezTo>
                      <a:pt x="3374301" y="2187707"/>
                      <a:pt x="3374301" y="2187707"/>
                      <a:pt x="3374301" y="2187707"/>
                    </a:cubicBezTo>
                    <a:cubicBezTo>
                      <a:pt x="3368227" y="2190750"/>
                      <a:pt x="3362152" y="2190750"/>
                      <a:pt x="3356078" y="2190750"/>
                    </a:cubicBezTo>
                    <a:cubicBezTo>
                      <a:pt x="738034" y="2190750"/>
                      <a:pt x="738034" y="2190750"/>
                      <a:pt x="738034" y="2190750"/>
                    </a:cubicBezTo>
                    <a:cubicBezTo>
                      <a:pt x="731959" y="2190750"/>
                      <a:pt x="728922" y="2190750"/>
                      <a:pt x="722848" y="2190750"/>
                    </a:cubicBezTo>
                    <a:cubicBezTo>
                      <a:pt x="677290" y="2187707"/>
                      <a:pt x="677290" y="2187707"/>
                      <a:pt x="677290" y="2187707"/>
                    </a:cubicBezTo>
                    <a:cubicBezTo>
                      <a:pt x="677290" y="2187707"/>
                      <a:pt x="677290" y="2187707"/>
                      <a:pt x="674253" y="2187707"/>
                    </a:cubicBezTo>
                    <a:cubicBezTo>
                      <a:pt x="291569" y="2148152"/>
                      <a:pt x="0" y="1828668"/>
                      <a:pt x="0" y="1442244"/>
                    </a:cubicBezTo>
                    <a:cubicBezTo>
                      <a:pt x="0" y="1040606"/>
                      <a:pt x="318904" y="711994"/>
                      <a:pt x="716773" y="690695"/>
                    </a:cubicBezTo>
                    <a:cubicBezTo>
                      <a:pt x="747145" y="587243"/>
                      <a:pt x="747145" y="587243"/>
                      <a:pt x="747145" y="587243"/>
                    </a:cubicBezTo>
                    <a:cubicBezTo>
                      <a:pt x="750182" y="584200"/>
                      <a:pt x="750182" y="581157"/>
                      <a:pt x="750182" y="581157"/>
                    </a:cubicBezTo>
                    <a:cubicBezTo>
                      <a:pt x="899004" y="228203"/>
                      <a:pt x="1242205" y="0"/>
                      <a:pt x="1624889" y="0"/>
                    </a:cubicBezTo>
                    <a:close/>
                  </a:path>
                </a:pathLst>
              </a:custGeom>
              <a:grpFill/>
              <a:ln>
                <a:noFill/>
              </a:ln>
            </p:spPr>
            <p:txBody>
              <a:bodyPr vert="horz" wrap="square" lIns="89619" tIns="44810" rIns="89619" bIns="44810" numCol="1" anchor="t" anchorCtr="0" compatLnSpc="1">
                <a:prstTxWarp prst="textNoShape">
                  <a:avLst/>
                </a:prstTxWarp>
                <a:noAutofit/>
              </a:bodyPr>
              <a:lstStyle/>
              <a:p>
                <a:pPr defTabSz="896203">
                  <a:defRPr/>
                </a:pPr>
                <a:endParaRPr lang="en-US" sz="1764" kern="0" dirty="0">
                  <a:solidFill>
                    <a:schemeClr val="accent2">
                      <a:lumMod val="75000"/>
                    </a:schemeClr>
                  </a:solidFill>
                </a:endParaRPr>
              </a:p>
            </p:txBody>
          </p:sp>
          <p:sp>
            <p:nvSpPr>
              <p:cNvPr id="632" name="Freeform 631"/>
              <p:cNvSpPr>
                <a:spLocks/>
              </p:cNvSpPr>
              <p:nvPr/>
            </p:nvSpPr>
            <p:spPr bwMode="auto">
              <a:xfrm>
                <a:off x="9594132" y="3405504"/>
                <a:ext cx="305928" cy="425452"/>
              </a:xfrm>
              <a:custGeom>
                <a:avLst/>
                <a:gdLst>
                  <a:gd name="connsiteX0" fmla="*/ 838496 w 1114676"/>
                  <a:gd name="connsiteY0" fmla="*/ 1272420 h 1550172"/>
                  <a:gd name="connsiteX1" fmla="*/ 838496 w 1114676"/>
                  <a:gd name="connsiteY1" fmla="*/ 1317489 h 1550172"/>
                  <a:gd name="connsiteX2" fmla="*/ 957458 w 1114676"/>
                  <a:gd name="connsiteY2" fmla="*/ 1317489 h 1550172"/>
                  <a:gd name="connsiteX3" fmla="*/ 957458 w 1114676"/>
                  <a:gd name="connsiteY3" fmla="*/ 1272420 h 1550172"/>
                  <a:gd name="connsiteX4" fmla="*/ 823473 w 1114676"/>
                  <a:gd name="connsiteY4" fmla="*/ 1216345 h 1550172"/>
                  <a:gd name="connsiteX5" fmla="*/ 974403 w 1114676"/>
                  <a:gd name="connsiteY5" fmla="*/ 1216345 h 1550172"/>
                  <a:gd name="connsiteX6" fmla="*/ 1013532 w 1114676"/>
                  <a:gd name="connsiteY6" fmla="*/ 1257054 h 1550172"/>
                  <a:gd name="connsiteX7" fmla="*/ 1013532 w 1114676"/>
                  <a:gd name="connsiteY7" fmla="*/ 1332856 h 1550172"/>
                  <a:gd name="connsiteX8" fmla="*/ 974403 w 1114676"/>
                  <a:gd name="connsiteY8" fmla="*/ 1373564 h 1550172"/>
                  <a:gd name="connsiteX9" fmla="*/ 823473 w 1114676"/>
                  <a:gd name="connsiteY9" fmla="*/ 1373564 h 1550172"/>
                  <a:gd name="connsiteX10" fmla="*/ 782946 w 1114676"/>
                  <a:gd name="connsiteY10" fmla="*/ 1332856 h 1550172"/>
                  <a:gd name="connsiteX11" fmla="*/ 782946 w 1114676"/>
                  <a:gd name="connsiteY11" fmla="*/ 1257054 h 1550172"/>
                  <a:gd name="connsiteX12" fmla="*/ 823473 w 1114676"/>
                  <a:gd name="connsiteY12" fmla="*/ 1216345 h 1550172"/>
                  <a:gd name="connsiteX13" fmla="*/ 410339 w 1114676"/>
                  <a:gd name="connsiteY13" fmla="*/ 1051266 h 1550172"/>
                  <a:gd name="connsiteX14" fmla="*/ 410339 w 1114676"/>
                  <a:gd name="connsiteY14" fmla="*/ 1220538 h 1550172"/>
                  <a:gd name="connsiteX15" fmla="*/ 480039 w 1114676"/>
                  <a:gd name="connsiteY15" fmla="*/ 1220538 h 1550172"/>
                  <a:gd name="connsiteX16" fmla="*/ 480039 w 1114676"/>
                  <a:gd name="connsiteY16" fmla="*/ 1051266 h 1550172"/>
                  <a:gd name="connsiteX17" fmla="*/ 177656 w 1114676"/>
                  <a:gd name="connsiteY17" fmla="*/ 1051266 h 1550172"/>
                  <a:gd name="connsiteX18" fmla="*/ 177656 w 1114676"/>
                  <a:gd name="connsiteY18" fmla="*/ 1220538 h 1550172"/>
                  <a:gd name="connsiteX19" fmla="*/ 247881 w 1114676"/>
                  <a:gd name="connsiteY19" fmla="*/ 1220538 h 1550172"/>
                  <a:gd name="connsiteX20" fmla="*/ 247881 w 1114676"/>
                  <a:gd name="connsiteY20" fmla="*/ 1051266 h 1550172"/>
                  <a:gd name="connsiteX21" fmla="*/ 838496 w 1114676"/>
                  <a:gd name="connsiteY21" fmla="*/ 1047074 h 1550172"/>
                  <a:gd name="connsiteX22" fmla="*/ 838496 w 1114676"/>
                  <a:gd name="connsiteY22" fmla="*/ 1091619 h 1550172"/>
                  <a:gd name="connsiteX23" fmla="*/ 957458 w 1114676"/>
                  <a:gd name="connsiteY23" fmla="*/ 1091619 h 1550172"/>
                  <a:gd name="connsiteX24" fmla="*/ 957458 w 1114676"/>
                  <a:gd name="connsiteY24" fmla="*/ 1047074 h 1550172"/>
                  <a:gd name="connsiteX25" fmla="*/ 394831 w 1114676"/>
                  <a:gd name="connsiteY25" fmla="*/ 995192 h 1550172"/>
                  <a:gd name="connsiteX26" fmla="*/ 495547 w 1114676"/>
                  <a:gd name="connsiteY26" fmla="*/ 995192 h 1550172"/>
                  <a:gd name="connsiteX27" fmla="*/ 536114 w 1114676"/>
                  <a:gd name="connsiteY27" fmla="*/ 1035795 h 1550172"/>
                  <a:gd name="connsiteX28" fmla="*/ 536114 w 1114676"/>
                  <a:gd name="connsiteY28" fmla="*/ 1236009 h 1550172"/>
                  <a:gd name="connsiteX29" fmla="*/ 495547 w 1114676"/>
                  <a:gd name="connsiteY29" fmla="*/ 1276612 h 1550172"/>
                  <a:gd name="connsiteX30" fmla="*/ 394831 w 1114676"/>
                  <a:gd name="connsiteY30" fmla="*/ 1276612 h 1550172"/>
                  <a:gd name="connsiteX31" fmla="*/ 354265 w 1114676"/>
                  <a:gd name="connsiteY31" fmla="*/ 1236009 h 1550172"/>
                  <a:gd name="connsiteX32" fmla="*/ 354265 w 1114676"/>
                  <a:gd name="connsiteY32" fmla="*/ 1035795 h 1550172"/>
                  <a:gd name="connsiteX33" fmla="*/ 394831 w 1114676"/>
                  <a:gd name="connsiteY33" fmla="*/ 995192 h 1550172"/>
                  <a:gd name="connsiteX34" fmla="*/ 162672 w 1114676"/>
                  <a:gd name="connsiteY34" fmla="*/ 995192 h 1550172"/>
                  <a:gd name="connsiteX35" fmla="*/ 263389 w 1114676"/>
                  <a:gd name="connsiteY35" fmla="*/ 995192 h 1550172"/>
                  <a:gd name="connsiteX36" fmla="*/ 303955 w 1114676"/>
                  <a:gd name="connsiteY36" fmla="*/ 1035795 h 1550172"/>
                  <a:gd name="connsiteX37" fmla="*/ 303955 w 1114676"/>
                  <a:gd name="connsiteY37" fmla="*/ 1236009 h 1550172"/>
                  <a:gd name="connsiteX38" fmla="*/ 263389 w 1114676"/>
                  <a:gd name="connsiteY38" fmla="*/ 1276612 h 1550172"/>
                  <a:gd name="connsiteX39" fmla="*/ 162672 w 1114676"/>
                  <a:gd name="connsiteY39" fmla="*/ 1276612 h 1550172"/>
                  <a:gd name="connsiteX40" fmla="*/ 122106 w 1114676"/>
                  <a:gd name="connsiteY40" fmla="*/ 1236009 h 1550172"/>
                  <a:gd name="connsiteX41" fmla="*/ 122106 w 1114676"/>
                  <a:gd name="connsiteY41" fmla="*/ 1035795 h 1550172"/>
                  <a:gd name="connsiteX42" fmla="*/ 162672 w 1114676"/>
                  <a:gd name="connsiteY42" fmla="*/ 995192 h 1550172"/>
                  <a:gd name="connsiteX43" fmla="*/ 823473 w 1114676"/>
                  <a:gd name="connsiteY43" fmla="*/ 990999 h 1550172"/>
                  <a:gd name="connsiteX44" fmla="*/ 974403 w 1114676"/>
                  <a:gd name="connsiteY44" fmla="*/ 990999 h 1550172"/>
                  <a:gd name="connsiteX45" fmla="*/ 1013532 w 1114676"/>
                  <a:gd name="connsiteY45" fmla="*/ 1031572 h 1550172"/>
                  <a:gd name="connsiteX46" fmla="*/ 1013532 w 1114676"/>
                  <a:gd name="connsiteY46" fmla="*/ 1107121 h 1550172"/>
                  <a:gd name="connsiteX47" fmla="*/ 974403 w 1114676"/>
                  <a:gd name="connsiteY47" fmla="*/ 1147694 h 1550172"/>
                  <a:gd name="connsiteX48" fmla="*/ 823473 w 1114676"/>
                  <a:gd name="connsiteY48" fmla="*/ 1147694 h 1550172"/>
                  <a:gd name="connsiteX49" fmla="*/ 782946 w 1114676"/>
                  <a:gd name="connsiteY49" fmla="*/ 1107121 h 1550172"/>
                  <a:gd name="connsiteX50" fmla="*/ 782946 w 1114676"/>
                  <a:gd name="connsiteY50" fmla="*/ 1031572 h 1550172"/>
                  <a:gd name="connsiteX51" fmla="*/ 823473 w 1114676"/>
                  <a:gd name="connsiteY51" fmla="*/ 990999 h 1550172"/>
                  <a:gd name="connsiteX52" fmla="*/ 838496 w 1114676"/>
                  <a:gd name="connsiteY52" fmla="*/ 820155 h 1550172"/>
                  <a:gd name="connsiteX53" fmla="*/ 838496 w 1114676"/>
                  <a:gd name="connsiteY53" fmla="*/ 864701 h 1550172"/>
                  <a:gd name="connsiteX54" fmla="*/ 957458 w 1114676"/>
                  <a:gd name="connsiteY54" fmla="*/ 864701 h 1550172"/>
                  <a:gd name="connsiteX55" fmla="*/ 957458 w 1114676"/>
                  <a:gd name="connsiteY55" fmla="*/ 820155 h 1550172"/>
                  <a:gd name="connsiteX56" fmla="*/ 823473 w 1114676"/>
                  <a:gd name="connsiteY56" fmla="*/ 764081 h 1550172"/>
                  <a:gd name="connsiteX57" fmla="*/ 974403 w 1114676"/>
                  <a:gd name="connsiteY57" fmla="*/ 764081 h 1550172"/>
                  <a:gd name="connsiteX58" fmla="*/ 1013532 w 1114676"/>
                  <a:gd name="connsiteY58" fmla="*/ 804653 h 1550172"/>
                  <a:gd name="connsiteX59" fmla="*/ 1013532 w 1114676"/>
                  <a:gd name="connsiteY59" fmla="*/ 880202 h 1550172"/>
                  <a:gd name="connsiteX60" fmla="*/ 974403 w 1114676"/>
                  <a:gd name="connsiteY60" fmla="*/ 920775 h 1550172"/>
                  <a:gd name="connsiteX61" fmla="*/ 823473 w 1114676"/>
                  <a:gd name="connsiteY61" fmla="*/ 920775 h 1550172"/>
                  <a:gd name="connsiteX62" fmla="*/ 782946 w 1114676"/>
                  <a:gd name="connsiteY62" fmla="*/ 880202 h 1550172"/>
                  <a:gd name="connsiteX63" fmla="*/ 782946 w 1114676"/>
                  <a:gd name="connsiteY63" fmla="*/ 804653 h 1550172"/>
                  <a:gd name="connsiteX64" fmla="*/ 823473 w 1114676"/>
                  <a:gd name="connsiteY64" fmla="*/ 764081 h 1550172"/>
                  <a:gd name="connsiteX65" fmla="*/ 737877 w 1114676"/>
                  <a:gd name="connsiteY65" fmla="*/ 670274 h 1550172"/>
                  <a:gd name="connsiteX66" fmla="*/ 737877 w 1114676"/>
                  <a:gd name="connsiteY66" fmla="*/ 1494098 h 1550172"/>
                  <a:gd name="connsiteX67" fmla="*/ 1058602 w 1114676"/>
                  <a:gd name="connsiteY67" fmla="*/ 1494098 h 1550172"/>
                  <a:gd name="connsiteX68" fmla="*/ 1058602 w 1114676"/>
                  <a:gd name="connsiteY68" fmla="*/ 670274 h 1550172"/>
                  <a:gd name="connsiteX69" fmla="*/ 410339 w 1114676"/>
                  <a:gd name="connsiteY69" fmla="*/ 619440 h 1550172"/>
                  <a:gd name="connsiteX70" fmla="*/ 410339 w 1114676"/>
                  <a:gd name="connsiteY70" fmla="*/ 789236 h 1550172"/>
                  <a:gd name="connsiteX71" fmla="*/ 480039 w 1114676"/>
                  <a:gd name="connsiteY71" fmla="*/ 789236 h 1550172"/>
                  <a:gd name="connsiteX72" fmla="*/ 480039 w 1114676"/>
                  <a:gd name="connsiteY72" fmla="*/ 619440 h 1550172"/>
                  <a:gd name="connsiteX73" fmla="*/ 177656 w 1114676"/>
                  <a:gd name="connsiteY73" fmla="*/ 619440 h 1550172"/>
                  <a:gd name="connsiteX74" fmla="*/ 177656 w 1114676"/>
                  <a:gd name="connsiteY74" fmla="*/ 789236 h 1550172"/>
                  <a:gd name="connsiteX75" fmla="*/ 247881 w 1114676"/>
                  <a:gd name="connsiteY75" fmla="*/ 789236 h 1550172"/>
                  <a:gd name="connsiteX76" fmla="*/ 247881 w 1114676"/>
                  <a:gd name="connsiteY76" fmla="*/ 619440 h 1550172"/>
                  <a:gd name="connsiteX77" fmla="*/ 735036 w 1114676"/>
                  <a:gd name="connsiteY77" fmla="*/ 614199 h 1550172"/>
                  <a:gd name="connsiteX78" fmla="*/ 1061443 w 1114676"/>
                  <a:gd name="connsiteY78" fmla="*/ 614199 h 1550172"/>
                  <a:gd name="connsiteX79" fmla="*/ 1114676 w 1114676"/>
                  <a:gd name="connsiteY79" fmla="*/ 667443 h 1550172"/>
                  <a:gd name="connsiteX80" fmla="*/ 1114676 w 1114676"/>
                  <a:gd name="connsiteY80" fmla="*/ 1496928 h 1550172"/>
                  <a:gd name="connsiteX81" fmla="*/ 1061443 w 1114676"/>
                  <a:gd name="connsiteY81" fmla="*/ 1550172 h 1550172"/>
                  <a:gd name="connsiteX82" fmla="*/ 735036 w 1114676"/>
                  <a:gd name="connsiteY82" fmla="*/ 1550172 h 1550172"/>
                  <a:gd name="connsiteX83" fmla="*/ 681802 w 1114676"/>
                  <a:gd name="connsiteY83" fmla="*/ 1496928 h 1550172"/>
                  <a:gd name="connsiteX84" fmla="*/ 681802 w 1114676"/>
                  <a:gd name="connsiteY84" fmla="*/ 667443 h 1550172"/>
                  <a:gd name="connsiteX85" fmla="*/ 735036 w 1114676"/>
                  <a:gd name="connsiteY85" fmla="*/ 614199 h 1550172"/>
                  <a:gd name="connsiteX86" fmla="*/ 394831 w 1114676"/>
                  <a:gd name="connsiteY86" fmla="*/ 563366 h 1550172"/>
                  <a:gd name="connsiteX87" fmla="*/ 495547 w 1114676"/>
                  <a:gd name="connsiteY87" fmla="*/ 563366 h 1550172"/>
                  <a:gd name="connsiteX88" fmla="*/ 536114 w 1114676"/>
                  <a:gd name="connsiteY88" fmla="*/ 604044 h 1550172"/>
                  <a:gd name="connsiteX89" fmla="*/ 536114 w 1114676"/>
                  <a:gd name="connsiteY89" fmla="*/ 804632 h 1550172"/>
                  <a:gd name="connsiteX90" fmla="*/ 495547 w 1114676"/>
                  <a:gd name="connsiteY90" fmla="*/ 845310 h 1550172"/>
                  <a:gd name="connsiteX91" fmla="*/ 394831 w 1114676"/>
                  <a:gd name="connsiteY91" fmla="*/ 845310 h 1550172"/>
                  <a:gd name="connsiteX92" fmla="*/ 354265 w 1114676"/>
                  <a:gd name="connsiteY92" fmla="*/ 804632 h 1550172"/>
                  <a:gd name="connsiteX93" fmla="*/ 354265 w 1114676"/>
                  <a:gd name="connsiteY93" fmla="*/ 604044 h 1550172"/>
                  <a:gd name="connsiteX94" fmla="*/ 394831 w 1114676"/>
                  <a:gd name="connsiteY94" fmla="*/ 563366 h 1550172"/>
                  <a:gd name="connsiteX95" fmla="*/ 162672 w 1114676"/>
                  <a:gd name="connsiteY95" fmla="*/ 563366 h 1550172"/>
                  <a:gd name="connsiteX96" fmla="*/ 263389 w 1114676"/>
                  <a:gd name="connsiteY96" fmla="*/ 563366 h 1550172"/>
                  <a:gd name="connsiteX97" fmla="*/ 303955 w 1114676"/>
                  <a:gd name="connsiteY97" fmla="*/ 604044 h 1550172"/>
                  <a:gd name="connsiteX98" fmla="*/ 303955 w 1114676"/>
                  <a:gd name="connsiteY98" fmla="*/ 804632 h 1550172"/>
                  <a:gd name="connsiteX99" fmla="*/ 263389 w 1114676"/>
                  <a:gd name="connsiteY99" fmla="*/ 845310 h 1550172"/>
                  <a:gd name="connsiteX100" fmla="*/ 162672 w 1114676"/>
                  <a:gd name="connsiteY100" fmla="*/ 845310 h 1550172"/>
                  <a:gd name="connsiteX101" fmla="*/ 122106 w 1114676"/>
                  <a:gd name="connsiteY101" fmla="*/ 804632 h 1550172"/>
                  <a:gd name="connsiteX102" fmla="*/ 122106 w 1114676"/>
                  <a:gd name="connsiteY102" fmla="*/ 604044 h 1550172"/>
                  <a:gd name="connsiteX103" fmla="*/ 162672 w 1114676"/>
                  <a:gd name="connsiteY103" fmla="*/ 563366 h 1550172"/>
                  <a:gd name="connsiteX104" fmla="*/ 56074 w 1114676"/>
                  <a:gd name="connsiteY104" fmla="*/ 468510 h 1550172"/>
                  <a:gd name="connsiteX105" fmla="*/ 56074 w 1114676"/>
                  <a:gd name="connsiteY105" fmla="*/ 1494098 h 1550172"/>
                  <a:gd name="connsiteX106" fmla="*/ 602145 w 1114676"/>
                  <a:gd name="connsiteY106" fmla="*/ 1494098 h 1550172"/>
                  <a:gd name="connsiteX107" fmla="*/ 602145 w 1114676"/>
                  <a:gd name="connsiteY107" fmla="*/ 468510 h 1550172"/>
                  <a:gd name="connsiteX108" fmla="*/ 155556 w 1114676"/>
                  <a:gd name="connsiteY108" fmla="*/ 316994 h 1550172"/>
                  <a:gd name="connsiteX109" fmla="*/ 155556 w 1114676"/>
                  <a:gd name="connsiteY109" fmla="*/ 406960 h 1550172"/>
                  <a:gd name="connsiteX110" fmla="*/ 155556 w 1114676"/>
                  <a:gd name="connsiteY110" fmla="*/ 412436 h 1550172"/>
                  <a:gd name="connsiteX111" fmla="*/ 194671 w 1114676"/>
                  <a:gd name="connsiteY111" fmla="*/ 412436 h 1550172"/>
                  <a:gd name="connsiteX112" fmla="*/ 471348 w 1114676"/>
                  <a:gd name="connsiteY112" fmla="*/ 412436 h 1550172"/>
                  <a:gd name="connsiteX113" fmla="*/ 502663 w 1114676"/>
                  <a:gd name="connsiteY113" fmla="*/ 412436 h 1550172"/>
                  <a:gd name="connsiteX114" fmla="*/ 502663 w 1114676"/>
                  <a:gd name="connsiteY114" fmla="*/ 396731 h 1550172"/>
                  <a:gd name="connsiteX115" fmla="*/ 502663 w 1114676"/>
                  <a:gd name="connsiteY115" fmla="*/ 316994 h 1550172"/>
                  <a:gd name="connsiteX116" fmla="*/ 155556 w 1114676"/>
                  <a:gd name="connsiteY116" fmla="*/ 316994 h 1550172"/>
                  <a:gd name="connsiteX117" fmla="*/ 205890 w 1114676"/>
                  <a:gd name="connsiteY117" fmla="*/ 167163 h 1550172"/>
                  <a:gd name="connsiteX118" fmla="*/ 205890 w 1114676"/>
                  <a:gd name="connsiteY118" fmla="*/ 239278 h 1550172"/>
                  <a:gd name="connsiteX119" fmla="*/ 205890 w 1114676"/>
                  <a:gd name="connsiteY119" fmla="*/ 260982 h 1550172"/>
                  <a:gd name="connsiteX120" fmla="*/ 214842 w 1114676"/>
                  <a:gd name="connsiteY120" fmla="*/ 260982 h 1550172"/>
                  <a:gd name="connsiteX121" fmla="*/ 442688 w 1114676"/>
                  <a:gd name="connsiteY121" fmla="*/ 260982 h 1550172"/>
                  <a:gd name="connsiteX122" fmla="*/ 452329 w 1114676"/>
                  <a:gd name="connsiteY122" fmla="*/ 260982 h 1550172"/>
                  <a:gd name="connsiteX123" fmla="*/ 452329 w 1114676"/>
                  <a:gd name="connsiteY123" fmla="*/ 250729 h 1550172"/>
                  <a:gd name="connsiteX124" fmla="*/ 452329 w 1114676"/>
                  <a:gd name="connsiteY124" fmla="*/ 167163 h 1550172"/>
                  <a:gd name="connsiteX125" fmla="*/ 338074 w 1114676"/>
                  <a:gd name="connsiteY125" fmla="*/ 167163 h 1550172"/>
                  <a:gd name="connsiteX126" fmla="*/ 328909 w 1114676"/>
                  <a:gd name="connsiteY126" fmla="*/ 167163 h 1550172"/>
                  <a:gd name="connsiteX127" fmla="*/ 328848 w 1114676"/>
                  <a:gd name="connsiteY127" fmla="*/ 167176 h 1550172"/>
                  <a:gd name="connsiteX128" fmla="*/ 328787 w 1114676"/>
                  <a:gd name="connsiteY128" fmla="*/ 167163 h 1550172"/>
                  <a:gd name="connsiteX129" fmla="*/ 309857 w 1114676"/>
                  <a:gd name="connsiteY129" fmla="*/ 167163 h 1550172"/>
                  <a:gd name="connsiteX130" fmla="*/ 205890 w 1114676"/>
                  <a:gd name="connsiteY130" fmla="*/ 167163 h 1550172"/>
                  <a:gd name="connsiteX131" fmla="*/ 328848 w 1114676"/>
                  <a:gd name="connsiteY131" fmla="*/ 0 h 1550172"/>
                  <a:gd name="connsiteX132" fmla="*/ 356885 w 1114676"/>
                  <a:gd name="connsiteY132" fmla="*/ 28097 h 1550172"/>
                  <a:gd name="connsiteX133" fmla="*/ 356885 w 1114676"/>
                  <a:gd name="connsiteY133" fmla="*/ 92259 h 1550172"/>
                  <a:gd name="connsiteX134" fmla="*/ 356885 w 1114676"/>
                  <a:gd name="connsiteY134" fmla="*/ 111101 h 1550172"/>
                  <a:gd name="connsiteX135" fmla="*/ 373229 w 1114676"/>
                  <a:gd name="connsiteY135" fmla="*/ 111101 h 1550172"/>
                  <a:gd name="connsiteX136" fmla="*/ 455130 w 1114676"/>
                  <a:gd name="connsiteY136" fmla="*/ 111101 h 1550172"/>
                  <a:gd name="connsiteX137" fmla="*/ 508338 w 1114676"/>
                  <a:gd name="connsiteY137" fmla="*/ 164360 h 1550172"/>
                  <a:gd name="connsiteX138" fmla="*/ 508338 w 1114676"/>
                  <a:gd name="connsiteY138" fmla="*/ 261563 h 1550172"/>
                  <a:gd name="connsiteX139" fmla="*/ 526173 w 1114676"/>
                  <a:gd name="connsiteY139" fmla="*/ 265161 h 1550172"/>
                  <a:gd name="connsiteX140" fmla="*/ 558648 w 1114676"/>
                  <a:gd name="connsiteY140" fmla="*/ 314194 h 1550172"/>
                  <a:gd name="connsiteX141" fmla="*/ 558648 w 1114676"/>
                  <a:gd name="connsiteY141" fmla="*/ 412436 h 1550172"/>
                  <a:gd name="connsiteX142" fmla="*/ 560079 w 1114676"/>
                  <a:gd name="connsiteY142" fmla="*/ 412436 h 1550172"/>
                  <a:gd name="connsiteX143" fmla="*/ 606402 w 1114676"/>
                  <a:gd name="connsiteY143" fmla="*/ 412436 h 1550172"/>
                  <a:gd name="connsiteX144" fmla="*/ 658220 w 1114676"/>
                  <a:gd name="connsiteY144" fmla="*/ 465680 h 1550172"/>
                  <a:gd name="connsiteX145" fmla="*/ 658220 w 1114676"/>
                  <a:gd name="connsiteY145" fmla="*/ 1496928 h 1550172"/>
                  <a:gd name="connsiteX146" fmla="*/ 606402 w 1114676"/>
                  <a:gd name="connsiteY146" fmla="*/ 1550172 h 1550172"/>
                  <a:gd name="connsiteX147" fmla="*/ 53218 w 1114676"/>
                  <a:gd name="connsiteY147" fmla="*/ 1550172 h 1550172"/>
                  <a:gd name="connsiteX148" fmla="*/ 0 w 1114676"/>
                  <a:gd name="connsiteY148" fmla="*/ 1496928 h 1550172"/>
                  <a:gd name="connsiteX149" fmla="*/ 0 w 1114676"/>
                  <a:gd name="connsiteY149" fmla="*/ 465680 h 1550172"/>
                  <a:gd name="connsiteX150" fmla="*/ 53218 w 1114676"/>
                  <a:gd name="connsiteY150" fmla="*/ 412436 h 1550172"/>
                  <a:gd name="connsiteX151" fmla="*/ 99571 w 1114676"/>
                  <a:gd name="connsiteY151" fmla="*/ 412436 h 1550172"/>
                  <a:gd name="connsiteX152" fmla="*/ 99571 w 1114676"/>
                  <a:gd name="connsiteY152" fmla="*/ 395807 h 1550172"/>
                  <a:gd name="connsiteX153" fmla="*/ 99571 w 1114676"/>
                  <a:gd name="connsiteY153" fmla="*/ 314194 h 1550172"/>
                  <a:gd name="connsiteX154" fmla="*/ 132047 w 1114676"/>
                  <a:gd name="connsiteY154" fmla="*/ 265161 h 1550172"/>
                  <a:gd name="connsiteX155" fmla="*/ 149881 w 1114676"/>
                  <a:gd name="connsiteY155" fmla="*/ 261563 h 1550172"/>
                  <a:gd name="connsiteX156" fmla="*/ 149881 w 1114676"/>
                  <a:gd name="connsiteY156" fmla="*/ 249804 h 1550172"/>
                  <a:gd name="connsiteX157" fmla="*/ 149881 w 1114676"/>
                  <a:gd name="connsiteY157" fmla="*/ 164360 h 1550172"/>
                  <a:gd name="connsiteX158" fmla="*/ 203090 w 1114676"/>
                  <a:gd name="connsiteY158" fmla="*/ 111101 h 1550172"/>
                  <a:gd name="connsiteX159" fmla="*/ 286282 w 1114676"/>
                  <a:gd name="connsiteY159" fmla="*/ 111101 h 1550172"/>
                  <a:gd name="connsiteX160" fmla="*/ 300810 w 1114676"/>
                  <a:gd name="connsiteY160" fmla="*/ 111101 h 1550172"/>
                  <a:gd name="connsiteX161" fmla="*/ 300810 w 1114676"/>
                  <a:gd name="connsiteY161" fmla="*/ 102446 h 1550172"/>
                  <a:gd name="connsiteX162" fmla="*/ 300810 w 1114676"/>
                  <a:gd name="connsiteY162" fmla="*/ 28097 h 1550172"/>
                  <a:gd name="connsiteX163" fmla="*/ 328848 w 1114676"/>
                  <a:gd name="connsiteY163" fmla="*/ 0 h 1550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Lst>
                <a:rect l="l" t="t" r="r" b="b"/>
                <a:pathLst>
                  <a:path w="1114676" h="1550172">
                    <a:moveTo>
                      <a:pt x="838496" y="1272420"/>
                    </a:moveTo>
                    <a:lnTo>
                      <a:pt x="838496" y="1317489"/>
                    </a:lnTo>
                    <a:lnTo>
                      <a:pt x="957458" y="1317489"/>
                    </a:lnTo>
                    <a:lnTo>
                      <a:pt x="957458" y="1272420"/>
                    </a:lnTo>
                    <a:close/>
                    <a:moveTo>
                      <a:pt x="823473" y="1216345"/>
                    </a:moveTo>
                    <a:cubicBezTo>
                      <a:pt x="974403" y="1216345"/>
                      <a:pt x="974403" y="1216345"/>
                      <a:pt x="974403" y="1216345"/>
                    </a:cubicBezTo>
                    <a:cubicBezTo>
                      <a:pt x="995365" y="1216345"/>
                      <a:pt x="1013532" y="1234594"/>
                      <a:pt x="1013532" y="1257054"/>
                    </a:cubicBezTo>
                    <a:cubicBezTo>
                      <a:pt x="1013532" y="1332856"/>
                      <a:pt x="1013532" y="1332856"/>
                      <a:pt x="1013532" y="1332856"/>
                    </a:cubicBezTo>
                    <a:cubicBezTo>
                      <a:pt x="1013532" y="1355315"/>
                      <a:pt x="995365" y="1373564"/>
                      <a:pt x="974403" y="1373564"/>
                    </a:cubicBezTo>
                    <a:cubicBezTo>
                      <a:pt x="823473" y="1373564"/>
                      <a:pt x="823473" y="1373564"/>
                      <a:pt x="823473" y="1373564"/>
                    </a:cubicBezTo>
                    <a:cubicBezTo>
                      <a:pt x="801114" y="1373564"/>
                      <a:pt x="782946" y="1355315"/>
                      <a:pt x="782946" y="1332856"/>
                    </a:cubicBezTo>
                    <a:cubicBezTo>
                      <a:pt x="782946" y="1257054"/>
                      <a:pt x="782946" y="1257054"/>
                      <a:pt x="782946" y="1257054"/>
                    </a:cubicBezTo>
                    <a:cubicBezTo>
                      <a:pt x="782946" y="1234594"/>
                      <a:pt x="801114" y="1216345"/>
                      <a:pt x="823473" y="1216345"/>
                    </a:cubicBezTo>
                    <a:close/>
                    <a:moveTo>
                      <a:pt x="410339" y="1051266"/>
                    </a:moveTo>
                    <a:lnTo>
                      <a:pt x="410339" y="1220538"/>
                    </a:lnTo>
                    <a:lnTo>
                      <a:pt x="480039" y="1220538"/>
                    </a:lnTo>
                    <a:lnTo>
                      <a:pt x="480039" y="1051266"/>
                    </a:lnTo>
                    <a:close/>
                    <a:moveTo>
                      <a:pt x="177656" y="1051266"/>
                    </a:moveTo>
                    <a:lnTo>
                      <a:pt x="177656" y="1220538"/>
                    </a:lnTo>
                    <a:lnTo>
                      <a:pt x="247881" y="1220538"/>
                    </a:lnTo>
                    <a:lnTo>
                      <a:pt x="247881" y="1051266"/>
                    </a:lnTo>
                    <a:close/>
                    <a:moveTo>
                      <a:pt x="838496" y="1047074"/>
                    </a:moveTo>
                    <a:lnTo>
                      <a:pt x="838496" y="1091619"/>
                    </a:lnTo>
                    <a:lnTo>
                      <a:pt x="957458" y="1091619"/>
                    </a:lnTo>
                    <a:lnTo>
                      <a:pt x="957458" y="1047074"/>
                    </a:lnTo>
                    <a:close/>
                    <a:moveTo>
                      <a:pt x="394831" y="995192"/>
                    </a:moveTo>
                    <a:cubicBezTo>
                      <a:pt x="495547" y="995192"/>
                      <a:pt x="495547" y="995192"/>
                      <a:pt x="495547" y="995192"/>
                    </a:cubicBezTo>
                    <a:cubicBezTo>
                      <a:pt x="517929" y="995192"/>
                      <a:pt x="536114" y="1013393"/>
                      <a:pt x="536114" y="1035795"/>
                    </a:cubicBezTo>
                    <a:cubicBezTo>
                      <a:pt x="536114" y="1236009"/>
                      <a:pt x="536114" y="1236009"/>
                      <a:pt x="536114" y="1236009"/>
                    </a:cubicBezTo>
                    <a:cubicBezTo>
                      <a:pt x="536114" y="1258411"/>
                      <a:pt x="517929" y="1276612"/>
                      <a:pt x="495547" y="1276612"/>
                    </a:cubicBezTo>
                    <a:cubicBezTo>
                      <a:pt x="394831" y="1276612"/>
                      <a:pt x="394831" y="1276612"/>
                      <a:pt x="394831" y="1276612"/>
                    </a:cubicBezTo>
                    <a:cubicBezTo>
                      <a:pt x="372450" y="1276612"/>
                      <a:pt x="354265" y="1258411"/>
                      <a:pt x="354265" y="1236009"/>
                    </a:cubicBezTo>
                    <a:cubicBezTo>
                      <a:pt x="354265" y="1035795"/>
                      <a:pt x="354265" y="1035795"/>
                      <a:pt x="354265" y="1035795"/>
                    </a:cubicBezTo>
                    <a:cubicBezTo>
                      <a:pt x="354265" y="1013393"/>
                      <a:pt x="372450" y="995192"/>
                      <a:pt x="394831" y="995192"/>
                    </a:cubicBezTo>
                    <a:close/>
                    <a:moveTo>
                      <a:pt x="162672" y="995192"/>
                    </a:moveTo>
                    <a:cubicBezTo>
                      <a:pt x="263389" y="995192"/>
                      <a:pt x="263389" y="995192"/>
                      <a:pt x="263389" y="995192"/>
                    </a:cubicBezTo>
                    <a:cubicBezTo>
                      <a:pt x="285770" y="995192"/>
                      <a:pt x="303955" y="1013393"/>
                      <a:pt x="303955" y="1035795"/>
                    </a:cubicBezTo>
                    <a:cubicBezTo>
                      <a:pt x="303955" y="1236009"/>
                      <a:pt x="303955" y="1236009"/>
                      <a:pt x="303955" y="1236009"/>
                    </a:cubicBezTo>
                    <a:cubicBezTo>
                      <a:pt x="303955" y="1258411"/>
                      <a:pt x="285770" y="1276612"/>
                      <a:pt x="263389" y="1276612"/>
                    </a:cubicBezTo>
                    <a:cubicBezTo>
                      <a:pt x="162672" y="1276612"/>
                      <a:pt x="162672" y="1276612"/>
                      <a:pt x="162672" y="1276612"/>
                    </a:cubicBezTo>
                    <a:cubicBezTo>
                      <a:pt x="140291" y="1276612"/>
                      <a:pt x="122106" y="1258411"/>
                      <a:pt x="122106" y="1236009"/>
                    </a:cubicBezTo>
                    <a:cubicBezTo>
                      <a:pt x="122106" y="1035795"/>
                      <a:pt x="122106" y="1035795"/>
                      <a:pt x="122106" y="1035795"/>
                    </a:cubicBezTo>
                    <a:cubicBezTo>
                      <a:pt x="122106" y="1013393"/>
                      <a:pt x="140291" y="995192"/>
                      <a:pt x="162672" y="995192"/>
                    </a:cubicBezTo>
                    <a:close/>
                    <a:moveTo>
                      <a:pt x="823473" y="990999"/>
                    </a:moveTo>
                    <a:cubicBezTo>
                      <a:pt x="974403" y="990999"/>
                      <a:pt x="974403" y="990999"/>
                      <a:pt x="974403" y="990999"/>
                    </a:cubicBezTo>
                    <a:cubicBezTo>
                      <a:pt x="995365" y="990999"/>
                      <a:pt x="1013532" y="1009187"/>
                      <a:pt x="1013532" y="1031572"/>
                    </a:cubicBezTo>
                    <a:cubicBezTo>
                      <a:pt x="1013532" y="1107121"/>
                      <a:pt x="1013532" y="1107121"/>
                      <a:pt x="1013532" y="1107121"/>
                    </a:cubicBezTo>
                    <a:cubicBezTo>
                      <a:pt x="1013532" y="1129506"/>
                      <a:pt x="995365" y="1147694"/>
                      <a:pt x="974403" y="1147694"/>
                    </a:cubicBezTo>
                    <a:cubicBezTo>
                      <a:pt x="823473" y="1147694"/>
                      <a:pt x="823473" y="1147694"/>
                      <a:pt x="823473" y="1147694"/>
                    </a:cubicBezTo>
                    <a:cubicBezTo>
                      <a:pt x="801114" y="1147694"/>
                      <a:pt x="782946" y="1129506"/>
                      <a:pt x="782946" y="1107121"/>
                    </a:cubicBezTo>
                    <a:cubicBezTo>
                      <a:pt x="782946" y="1031572"/>
                      <a:pt x="782946" y="1031572"/>
                      <a:pt x="782946" y="1031572"/>
                    </a:cubicBezTo>
                    <a:cubicBezTo>
                      <a:pt x="782946" y="1009187"/>
                      <a:pt x="801114" y="990999"/>
                      <a:pt x="823473" y="990999"/>
                    </a:cubicBezTo>
                    <a:close/>
                    <a:moveTo>
                      <a:pt x="838496" y="820155"/>
                    </a:moveTo>
                    <a:lnTo>
                      <a:pt x="838496" y="864701"/>
                    </a:lnTo>
                    <a:lnTo>
                      <a:pt x="957458" y="864701"/>
                    </a:lnTo>
                    <a:lnTo>
                      <a:pt x="957458" y="820155"/>
                    </a:lnTo>
                    <a:close/>
                    <a:moveTo>
                      <a:pt x="823473" y="764081"/>
                    </a:moveTo>
                    <a:cubicBezTo>
                      <a:pt x="974403" y="764081"/>
                      <a:pt x="974403" y="764081"/>
                      <a:pt x="974403" y="764081"/>
                    </a:cubicBezTo>
                    <a:cubicBezTo>
                      <a:pt x="995365" y="764081"/>
                      <a:pt x="1013532" y="782269"/>
                      <a:pt x="1013532" y="804653"/>
                    </a:cubicBezTo>
                    <a:cubicBezTo>
                      <a:pt x="1013532" y="880202"/>
                      <a:pt x="1013532" y="880202"/>
                      <a:pt x="1013532" y="880202"/>
                    </a:cubicBezTo>
                    <a:cubicBezTo>
                      <a:pt x="1013532" y="902587"/>
                      <a:pt x="995365" y="920775"/>
                      <a:pt x="974403" y="920775"/>
                    </a:cubicBezTo>
                    <a:cubicBezTo>
                      <a:pt x="823473" y="920775"/>
                      <a:pt x="823473" y="920775"/>
                      <a:pt x="823473" y="920775"/>
                    </a:cubicBezTo>
                    <a:cubicBezTo>
                      <a:pt x="801114" y="920775"/>
                      <a:pt x="782946" y="902587"/>
                      <a:pt x="782946" y="880202"/>
                    </a:cubicBezTo>
                    <a:cubicBezTo>
                      <a:pt x="782946" y="804653"/>
                      <a:pt x="782946" y="804653"/>
                      <a:pt x="782946" y="804653"/>
                    </a:cubicBezTo>
                    <a:cubicBezTo>
                      <a:pt x="782946" y="782269"/>
                      <a:pt x="801114" y="764081"/>
                      <a:pt x="823473" y="764081"/>
                    </a:cubicBezTo>
                    <a:close/>
                    <a:moveTo>
                      <a:pt x="737877" y="670274"/>
                    </a:moveTo>
                    <a:lnTo>
                      <a:pt x="737877" y="1494098"/>
                    </a:lnTo>
                    <a:lnTo>
                      <a:pt x="1058602" y="1494098"/>
                    </a:lnTo>
                    <a:lnTo>
                      <a:pt x="1058602" y="670274"/>
                    </a:lnTo>
                    <a:close/>
                    <a:moveTo>
                      <a:pt x="410339" y="619440"/>
                    </a:moveTo>
                    <a:lnTo>
                      <a:pt x="410339" y="789236"/>
                    </a:lnTo>
                    <a:lnTo>
                      <a:pt x="480039" y="789236"/>
                    </a:lnTo>
                    <a:lnTo>
                      <a:pt x="480039" y="619440"/>
                    </a:lnTo>
                    <a:close/>
                    <a:moveTo>
                      <a:pt x="177656" y="619440"/>
                    </a:moveTo>
                    <a:lnTo>
                      <a:pt x="177656" y="789236"/>
                    </a:lnTo>
                    <a:lnTo>
                      <a:pt x="247881" y="789236"/>
                    </a:lnTo>
                    <a:lnTo>
                      <a:pt x="247881" y="619440"/>
                    </a:lnTo>
                    <a:close/>
                    <a:moveTo>
                      <a:pt x="735036" y="614199"/>
                    </a:moveTo>
                    <a:cubicBezTo>
                      <a:pt x="1061443" y="614199"/>
                      <a:pt x="1061443" y="614199"/>
                      <a:pt x="1061443" y="614199"/>
                    </a:cubicBezTo>
                    <a:cubicBezTo>
                      <a:pt x="1090861" y="614199"/>
                      <a:pt x="1114676" y="638019"/>
                      <a:pt x="1114676" y="667443"/>
                    </a:cubicBezTo>
                    <a:cubicBezTo>
                      <a:pt x="1114676" y="1496928"/>
                      <a:pt x="1114676" y="1496928"/>
                      <a:pt x="1114676" y="1496928"/>
                    </a:cubicBezTo>
                    <a:cubicBezTo>
                      <a:pt x="1114676" y="1526352"/>
                      <a:pt x="1090861" y="1550172"/>
                      <a:pt x="1061443" y="1550172"/>
                    </a:cubicBezTo>
                    <a:cubicBezTo>
                      <a:pt x="735036" y="1550172"/>
                      <a:pt x="735036" y="1550172"/>
                      <a:pt x="735036" y="1550172"/>
                    </a:cubicBezTo>
                    <a:cubicBezTo>
                      <a:pt x="705618" y="1550172"/>
                      <a:pt x="681802" y="1526352"/>
                      <a:pt x="681802" y="1496928"/>
                    </a:cubicBezTo>
                    <a:cubicBezTo>
                      <a:pt x="681802" y="667443"/>
                      <a:pt x="681802" y="667443"/>
                      <a:pt x="681802" y="667443"/>
                    </a:cubicBezTo>
                    <a:cubicBezTo>
                      <a:pt x="681802" y="638019"/>
                      <a:pt x="705618" y="614199"/>
                      <a:pt x="735036" y="614199"/>
                    </a:cubicBezTo>
                    <a:close/>
                    <a:moveTo>
                      <a:pt x="394831" y="563366"/>
                    </a:moveTo>
                    <a:cubicBezTo>
                      <a:pt x="495547" y="563366"/>
                      <a:pt x="495547" y="563366"/>
                      <a:pt x="495547" y="563366"/>
                    </a:cubicBezTo>
                    <a:cubicBezTo>
                      <a:pt x="517929" y="563366"/>
                      <a:pt x="536114" y="581601"/>
                      <a:pt x="536114" y="604044"/>
                    </a:cubicBezTo>
                    <a:cubicBezTo>
                      <a:pt x="536114" y="804632"/>
                      <a:pt x="536114" y="804632"/>
                      <a:pt x="536114" y="804632"/>
                    </a:cubicBezTo>
                    <a:cubicBezTo>
                      <a:pt x="536114" y="827075"/>
                      <a:pt x="517929" y="845310"/>
                      <a:pt x="495547" y="845310"/>
                    </a:cubicBezTo>
                    <a:cubicBezTo>
                      <a:pt x="394831" y="845310"/>
                      <a:pt x="394831" y="845310"/>
                      <a:pt x="394831" y="845310"/>
                    </a:cubicBezTo>
                    <a:cubicBezTo>
                      <a:pt x="372450" y="845310"/>
                      <a:pt x="354265" y="827075"/>
                      <a:pt x="354265" y="804632"/>
                    </a:cubicBezTo>
                    <a:cubicBezTo>
                      <a:pt x="354265" y="604044"/>
                      <a:pt x="354265" y="604044"/>
                      <a:pt x="354265" y="604044"/>
                    </a:cubicBezTo>
                    <a:cubicBezTo>
                      <a:pt x="354265" y="581601"/>
                      <a:pt x="372450" y="563366"/>
                      <a:pt x="394831" y="563366"/>
                    </a:cubicBezTo>
                    <a:close/>
                    <a:moveTo>
                      <a:pt x="162672" y="563366"/>
                    </a:moveTo>
                    <a:cubicBezTo>
                      <a:pt x="263389" y="563366"/>
                      <a:pt x="263389" y="563366"/>
                      <a:pt x="263389" y="563366"/>
                    </a:cubicBezTo>
                    <a:cubicBezTo>
                      <a:pt x="285770" y="563366"/>
                      <a:pt x="303955" y="581601"/>
                      <a:pt x="303955" y="604044"/>
                    </a:cubicBezTo>
                    <a:cubicBezTo>
                      <a:pt x="303955" y="804632"/>
                      <a:pt x="303955" y="804632"/>
                      <a:pt x="303955" y="804632"/>
                    </a:cubicBezTo>
                    <a:cubicBezTo>
                      <a:pt x="303955" y="827075"/>
                      <a:pt x="285770" y="845310"/>
                      <a:pt x="263389" y="845310"/>
                    </a:cubicBezTo>
                    <a:cubicBezTo>
                      <a:pt x="162672" y="845310"/>
                      <a:pt x="162672" y="845310"/>
                      <a:pt x="162672" y="845310"/>
                    </a:cubicBezTo>
                    <a:cubicBezTo>
                      <a:pt x="140291" y="845310"/>
                      <a:pt x="122106" y="827075"/>
                      <a:pt x="122106" y="804632"/>
                    </a:cubicBezTo>
                    <a:cubicBezTo>
                      <a:pt x="122106" y="604044"/>
                      <a:pt x="122106" y="604044"/>
                      <a:pt x="122106" y="604044"/>
                    </a:cubicBezTo>
                    <a:cubicBezTo>
                      <a:pt x="122106" y="581601"/>
                      <a:pt x="140291" y="563366"/>
                      <a:pt x="162672" y="563366"/>
                    </a:cubicBezTo>
                    <a:close/>
                    <a:moveTo>
                      <a:pt x="56074" y="468510"/>
                    </a:moveTo>
                    <a:lnTo>
                      <a:pt x="56074" y="1494098"/>
                    </a:lnTo>
                    <a:lnTo>
                      <a:pt x="602145" y="1494098"/>
                    </a:lnTo>
                    <a:lnTo>
                      <a:pt x="602145" y="468510"/>
                    </a:lnTo>
                    <a:close/>
                    <a:moveTo>
                      <a:pt x="155556" y="316994"/>
                    </a:moveTo>
                    <a:cubicBezTo>
                      <a:pt x="155556" y="361628"/>
                      <a:pt x="155556" y="389525"/>
                      <a:pt x="155556" y="406960"/>
                    </a:cubicBezTo>
                    <a:lnTo>
                      <a:pt x="155556" y="412436"/>
                    </a:lnTo>
                    <a:lnTo>
                      <a:pt x="194671" y="412436"/>
                    </a:lnTo>
                    <a:cubicBezTo>
                      <a:pt x="322450" y="412436"/>
                      <a:pt x="410573" y="412436"/>
                      <a:pt x="471348" y="412436"/>
                    </a:cubicBezTo>
                    <a:lnTo>
                      <a:pt x="502663" y="412436"/>
                    </a:lnTo>
                    <a:lnTo>
                      <a:pt x="502663" y="396731"/>
                    </a:lnTo>
                    <a:cubicBezTo>
                      <a:pt x="502663" y="316994"/>
                      <a:pt x="502663" y="316994"/>
                      <a:pt x="502663" y="316994"/>
                    </a:cubicBezTo>
                    <a:cubicBezTo>
                      <a:pt x="155556" y="316994"/>
                      <a:pt x="155556" y="316994"/>
                      <a:pt x="155556" y="316994"/>
                    </a:cubicBezTo>
                    <a:close/>
                    <a:moveTo>
                      <a:pt x="205890" y="167163"/>
                    </a:moveTo>
                    <a:cubicBezTo>
                      <a:pt x="205890" y="198348"/>
                      <a:pt x="205890" y="221737"/>
                      <a:pt x="205890" y="239278"/>
                    </a:cubicBezTo>
                    <a:lnTo>
                      <a:pt x="205890" y="260982"/>
                    </a:lnTo>
                    <a:lnTo>
                      <a:pt x="214842" y="260982"/>
                    </a:lnTo>
                    <a:cubicBezTo>
                      <a:pt x="331090" y="260982"/>
                      <a:pt x="400839" y="260982"/>
                      <a:pt x="442688" y="260982"/>
                    </a:cubicBezTo>
                    <a:lnTo>
                      <a:pt x="452329" y="260982"/>
                    </a:lnTo>
                    <a:lnTo>
                      <a:pt x="452329" y="250729"/>
                    </a:lnTo>
                    <a:cubicBezTo>
                      <a:pt x="452329" y="167163"/>
                      <a:pt x="452329" y="167163"/>
                      <a:pt x="452329" y="167163"/>
                    </a:cubicBezTo>
                    <a:cubicBezTo>
                      <a:pt x="406122" y="167163"/>
                      <a:pt x="368578" y="167163"/>
                      <a:pt x="338074" y="167163"/>
                    </a:cubicBezTo>
                    <a:lnTo>
                      <a:pt x="328909" y="167163"/>
                    </a:lnTo>
                    <a:lnTo>
                      <a:pt x="328848" y="167176"/>
                    </a:lnTo>
                    <a:lnTo>
                      <a:pt x="328787" y="167163"/>
                    </a:lnTo>
                    <a:lnTo>
                      <a:pt x="309857" y="167163"/>
                    </a:lnTo>
                    <a:cubicBezTo>
                      <a:pt x="205890" y="167163"/>
                      <a:pt x="205890" y="167163"/>
                      <a:pt x="205890" y="167163"/>
                    </a:cubicBezTo>
                    <a:close/>
                    <a:moveTo>
                      <a:pt x="328848" y="0"/>
                    </a:moveTo>
                    <a:cubicBezTo>
                      <a:pt x="344268" y="0"/>
                      <a:pt x="356885" y="12644"/>
                      <a:pt x="356885" y="28097"/>
                    </a:cubicBezTo>
                    <a:cubicBezTo>
                      <a:pt x="356885" y="55842"/>
                      <a:pt x="356885" y="76652"/>
                      <a:pt x="356885" y="92259"/>
                    </a:cubicBezTo>
                    <a:lnTo>
                      <a:pt x="356885" y="111101"/>
                    </a:lnTo>
                    <a:lnTo>
                      <a:pt x="373229" y="111101"/>
                    </a:lnTo>
                    <a:cubicBezTo>
                      <a:pt x="455130" y="111101"/>
                      <a:pt x="455130" y="111101"/>
                      <a:pt x="455130" y="111101"/>
                    </a:cubicBezTo>
                    <a:cubicBezTo>
                      <a:pt x="484535" y="111101"/>
                      <a:pt x="508338" y="134927"/>
                      <a:pt x="508338" y="164360"/>
                    </a:cubicBezTo>
                    <a:lnTo>
                      <a:pt x="508338" y="261563"/>
                    </a:lnTo>
                    <a:lnTo>
                      <a:pt x="526173" y="265161"/>
                    </a:lnTo>
                    <a:cubicBezTo>
                      <a:pt x="545264" y="273235"/>
                      <a:pt x="558648" y="292139"/>
                      <a:pt x="558648" y="314194"/>
                    </a:cubicBezTo>
                    <a:lnTo>
                      <a:pt x="558648" y="412436"/>
                    </a:lnTo>
                    <a:lnTo>
                      <a:pt x="560079" y="412436"/>
                    </a:lnTo>
                    <a:cubicBezTo>
                      <a:pt x="606402" y="412436"/>
                      <a:pt x="606402" y="412436"/>
                      <a:pt x="606402" y="412436"/>
                    </a:cubicBezTo>
                    <a:cubicBezTo>
                      <a:pt x="634412" y="412436"/>
                      <a:pt x="658220" y="436256"/>
                      <a:pt x="658220" y="465680"/>
                    </a:cubicBezTo>
                    <a:cubicBezTo>
                      <a:pt x="658220" y="1496928"/>
                      <a:pt x="658220" y="1496928"/>
                      <a:pt x="658220" y="1496928"/>
                    </a:cubicBezTo>
                    <a:cubicBezTo>
                      <a:pt x="658220" y="1526353"/>
                      <a:pt x="634412" y="1550172"/>
                      <a:pt x="606402" y="1550172"/>
                    </a:cubicBezTo>
                    <a:cubicBezTo>
                      <a:pt x="53218" y="1550172"/>
                      <a:pt x="53218" y="1550172"/>
                      <a:pt x="53218" y="1550172"/>
                    </a:cubicBezTo>
                    <a:cubicBezTo>
                      <a:pt x="23808" y="1550172"/>
                      <a:pt x="0" y="1526353"/>
                      <a:pt x="0" y="1496928"/>
                    </a:cubicBezTo>
                    <a:cubicBezTo>
                      <a:pt x="0" y="465680"/>
                      <a:pt x="0" y="465680"/>
                      <a:pt x="0" y="465680"/>
                    </a:cubicBezTo>
                    <a:cubicBezTo>
                      <a:pt x="0" y="436256"/>
                      <a:pt x="23808" y="412436"/>
                      <a:pt x="53218" y="412436"/>
                    </a:cubicBezTo>
                    <a:lnTo>
                      <a:pt x="99571" y="412436"/>
                    </a:lnTo>
                    <a:lnTo>
                      <a:pt x="99571" y="395807"/>
                    </a:lnTo>
                    <a:cubicBezTo>
                      <a:pt x="99571" y="314194"/>
                      <a:pt x="99571" y="314194"/>
                      <a:pt x="99571" y="314194"/>
                    </a:cubicBezTo>
                    <a:cubicBezTo>
                      <a:pt x="99571" y="292139"/>
                      <a:pt x="112955" y="273235"/>
                      <a:pt x="132047" y="265161"/>
                    </a:cubicBezTo>
                    <a:lnTo>
                      <a:pt x="149881" y="261563"/>
                    </a:lnTo>
                    <a:lnTo>
                      <a:pt x="149881" y="249804"/>
                    </a:lnTo>
                    <a:cubicBezTo>
                      <a:pt x="149881" y="164360"/>
                      <a:pt x="149881" y="164360"/>
                      <a:pt x="149881" y="164360"/>
                    </a:cubicBezTo>
                    <a:cubicBezTo>
                      <a:pt x="149881" y="134927"/>
                      <a:pt x="173685" y="111101"/>
                      <a:pt x="203090" y="111101"/>
                    </a:cubicBezTo>
                    <a:cubicBezTo>
                      <a:pt x="234595" y="111101"/>
                      <a:pt x="262161" y="111101"/>
                      <a:pt x="286282" y="111101"/>
                    </a:cubicBezTo>
                    <a:lnTo>
                      <a:pt x="300810" y="111101"/>
                    </a:lnTo>
                    <a:lnTo>
                      <a:pt x="300810" y="102446"/>
                    </a:lnTo>
                    <a:cubicBezTo>
                      <a:pt x="300810" y="28097"/>
                      <a:pt x="300810" y="28097"/>
                      <a:pt x="300810" y="28097"/>
                    </a:cubicBezTo>
                    <a:cubicBezTo>
                      <a:pt x="300810" y="12644"/>
                      <a:pt x="313427" y="0"/>
                      <a:pt x="328848" y="0"/>
                    </a:cubicBezTo>
                    <a:close/>
                  </a:path>
                </a:pathLst>
              </a:custGeom>
              <a:grpFill/>
              <a:ln>
                <a:noFill/>
              </a:ln>
            </p:spPr>
            <p:txBody>
              <a:bodyPr vert="horz" wrap="square" lIns="89619" tIns="44810" rIns="89619" bIns="44810" numCol="1" anchor="t" anchorCtr="0" compatLnSpc="1">
                <a:prstTxWarp prst="textNoShape">
                  <a:avLst/>
                </a:prstTxWarp>
                <a:noAutofit/>
              </a:bodyPr>
              <a:lstStyle/>
              <a:p>
                <a:pPr defTabSz="896203">
                  <a:defRPr/>
                </a:pPr>
                <a:endParaRPr lang="en-US" sz="1764" kern="0">
                  <a:solidFill>
                    <a:schemeClr val="accent2">
                      <a:lumMod val="75000"/>
                    </a:schemeClr>
                  </a:solidFill>
                </a:endParaRPr>
              </a:p>
            </p:txBody>
          </p:sp>
          <p:sp>
            <p:nvSpPr>
              <p:cNvPr id="633" name="Freeform 632"/>
              <p:cNvSpPr>
                <a:spLocks/>
              </p:cNvSpPr>
              <p:nvPr/>
            </p:nvSpPr>
            <p:spPr bwMode="auto">
              <a:xfrm>
                <a:off x="10266448" y="3110864"/>
                <a:ext cx="212800" cy="274637"/>
              </a:xfrm>
              <a:custGeom>
                <a:avLst/>
                <a:gdLst>
                  <a:gd name="connsiteX0" fmla="*/ 1616331 w 1684452"/>
                  <a:gd name="connsiteY0" fmla="*/ 466888 h 1863160"/>
                  <a:gd name="connsiteX1" fmla="*/ 1580938 w 1684452"/>
                  <a:gd name="connsiteY1" fmla="*/ 495908 h 1863160"/>
                  <a:gd name="connsiteX2" fmla="*/ 1425175 w 1684452"/>
                  <a:gd name="connsiteY2" fmla="*/ 575567 h 1863160"/>
                  <a:gd name="connsiteX3" fmla="*/ 842226 w 1684452"/>
                  <a:gd name="connsiteY3" fmla="*/ 665288 h 1863160"/>
                  <a:gd name="connsiteX4" fmla="*/ 259277 w 1684452"/>
                  <a:gd name="connsiteY4" fmla="*/ 575567 h 1863160"/>
                  <a:gd name="connsiteX5" fmla="*/ 103515 w 1684452"/>
                  <a:gd name="connsiteY5" fmla="*/ 495908 h 1863160"/>
                  <a:gd name="connsiteX6" fmla="*/ 68122 w 1684452"/>
                  <a:gd name="connsiteY6" fmla="*/ 466889 h 1863160"/>
                  <a:gd name="connsiteX7" fmla="*/ 68122 w 1684452"/>
                  <a:gd name="connsiteY7" fmla="*/ 698353 h 1863160"/>
                  <a:gd name="connsiteX8" fmla="*/ 66676 w 1684452"/>
                  <a:gd name="connsiteY8" fmla="*/ 698353 h 1863160"/>
                  <a:gd name="connsiteX9" fmla="*/ 66676 w 1684452"/>
                  <a:gd name="connsiteY9" fmla="*/ 1507978 h 1863160"/>
                  <a:gd name="connsiteX10" fmla="*/ 68122 w 1684452"/>
                  <a:gd name="connsiteY10" fmla="*/ 1507978 h 1863160"/>
                  <a:gd name="connsiteX11" fmla="*/ 68122 w 1684452"/>
                  <a:gd name="connsiteY11" fmla="*/ 1531401 h 1863160"/>
                  <a:gd name="connsiteX12" fmla="*/ 67785 w 1684452"/>
                  <a:gd name="connsiteY12" fmla="*/ 1531401 h 1863160"/>
                  <a:gd name="connsiteX13" fmla="*/ 842226 w 1684452"/>
                  <a:gd name="connsiteY13" fmla="*/ 1795454 h 1863160"/>
                  <a:gd name="connsiteX14" fmla="*/ 1616667 w 1684452"/>
                  <a:gd name="connsiteY14" fmla="*/ 1531401 h 1863160"/>
                  <a:gd name="connsiteX15" fmla="*/ 1616331 w 1684452"/>
                  <a:gd name="connsiteY15" fmla="*/ 1531401 h 1863160"/>
                  <a:gd name="connsiteX16" fmla="*/ 1616331 w 1684452"/>
                  <a:gd name="connsiteY16" fmla="*/ 1507978 h 1863160"/>
                  <a:gd name="connsiteX17" fmla="*/ 1619250 w 1684452"/>
                  <a:gd name="connsiteY17" fmla="*/ 1507978 h 1863160"/>
                  <a:gd name="connsiteX18" fmla="*/ 1619250 w 1684452"/>
                  <a:gd name="connsiteY18" fmla="*/ 698353 h 1863160"/>
                  <a:gd name="connsiteX19" fmla="*/ 1616331 w 1684452"/>
                  <a:gd name="connsiteY19" fmla="*/ 698353 h 1863160"/>
                  <a:gd name="connsiteX20" fmla="*/ 842226 w 1684452"/>
                  <a:gd name="connsiteY20" fmla="*/ 68122 h 1863160"/>
                  <a:gd name="connsiteX21" fmla="*/ 68122 w 1684452"/>
                  <a:gd name="connsiteY21" fmla="*/ 333087 h 1863160"/>
                  <a:gd name="connsiteX22" fmla="*/ 842226 w 1684452"/>
                  <a:gd name="connsiteY22" fmla="*/ 598052 h 1863160"/>
                  <a:gd name="connsiteX23" fmla="*/ 1616331 w 1684452"/>
                  <a:gd name="connsiteY23" fmla="*/ 333087 h 1863160"/>
                  <a:gd name="connsiteX24" fmla="*/ 842226 w 1684452"/>
                  <a:gd name="connsiteY24" fmla="*/ 68122 h 1863160"/>
                  <a:gd name="connsiteX25" fmla="*/ 842226 w 1684452"/>
                  <a:gd name="connsiteY25" fmla="*/ 0 h 1863160"/>
                  <a:gd name="connsiteX26" fmla="*/ 1425175 w 1684452"/>
                  <a:gd name="connsiteY26" fmla="*/ 89721 h 1863160"/>
                  <a:gd name="connsiteX27" fmla="*/ 1684452 w 1684452"/>
                  <a:gd name="connsiteY27" fmla="*/ 331797 h 1863160"/>
                  <a:gd name="connsiteX28" fmla="*/ 1681988 w 1684452"/>
                  <a:gd name="connsiteY28" fmla="*/ 352107 h 1863160"/>
                  <a:gd name="connsiteX29" fmla="*/ 1684452 w 1684452"/>
                  <a:gd name="connsiteY29" fmla="*/ 352107 h 1863160"/>
                  <a:gd name="connsiteX30" fmla="*/ 1684452 w 1684452"/>
                  <a:gd name="connsiteY30" fmla="*/ 1531401 h 1863160"/>
                  <a:gd name="connsiteX31" fmla="*/ 1684452 w 1684452"/>
                  <a:gd name="connsiteY31" fmla="*/ 1531401 h 1863160"/>
                  <a:gd name="connsiteX32" fmla="*/ 1425175 w 1684452"/>
                  <a:gd name="connsiteY32" fmla="*/ 1773450 h 1863160"/>
                  <a:gd name="connsiteX33" fmla="*/ 842226 w 1684452"/>
                  <a:gd name="connsiteY33" fmla="*/ 1863160 h 1863160"/>
                  <a:gd name="connsiteX34" fmla="*/ 259277 w 1684452"/>
                  <a:gd name="connsiteY34" fmla="*/ 1773450 h 1863160"/>
                  <a:gd name="connsiteX35" fmla="*/ 0 w 1684452"/>
                  <a:gd name="connsiteY35" fmla="*/ 1531401 h 1863160"/>
                  <a:gd name="connsiteX36" fmla="*/ 0 w 1684452"/>
                  <a:gd name="connsiteY36" fmla="*/ 1140367 h 1863160"/>
                  <a:gd name="connsiteX37" fmla="*/ 0 w 1684452"/>
                  <a:gd name="connsiteY37" fmla="*/ 714831 h 1863160"/>
                  <a:gd name="connsiteX38" fmla="*/ 0 w 1684452"/>
                  <a:gd name="connsiteY38" fmla="*/ 352107 h 1863160"/>
                  <a:gd name="connsiteX39" fmla="*/ 2463 w 1684452"/>
                  <a:gd name="connsiteY39" fmla="*/ 352107 h 1863160"/>
                  <a:gd name="connsiteX40" fmla="*/ 0 w 1684452"/>
                  <a:gd name="connsiteY40" fmla="*/ 331797 h 1863160"/>
                  <a:gd name="connsiteX41" fmla="*/ 259277 w 1684452"/>
                  <a:gd name="connsiteY41" fmla="*/ 89721 h 1863160"/>
                  <a:gd name="connsiteX42" fmla="*/ 842226 w 1684452"/>
                  <a:gd name="connsiteY42" fmla="*/ 0 h 1863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684452" h="1863160">
                    <a:moveTo>
                      <a:pt x="1616331" y="466888"/>
                    </a:moveTo>
                    <a:lnTo>
                      <a:pt x="1580938" y="495908"/>
                    </a:lnTo>
                    <a:cubicBezTo>
                      <a:pt x="1540277" y="525258"/>
                      <a:pt x="1488088" y="552079"/>
                      <a:pt x="1425175" y="575567"/>
                    </a:cubicBezTo>
                    <a:cubicBezTo>
                      <a:pt x="1269270" y="633124"/>
                      <a:pt x="1062526" y="665288"/>
                      <a:pt x="842226" y="665288"/>
                    </a:cubicBezTo>
                    <a:cubicBezTo>
                      <a:pt x="621925" y="665288"/>
                      <a:pt x="415182" y="633124"/>
                      <a:pt x="259277" y="575567"/>
                    </a:cubicBezTo>
                    <a:cubicBezTo>
                      <a:pt x="196365" y="552079"/>
                      <a:pt x="144176" y="525258"/>
                      <a:pt x="103515" y="495908"/>
                    </a:cubicBezTo>
                    <a:lnTo>
                      <a:pt x="68122" y="466889"/>
                    </a:lnTo>
                    <a:lnTo>
                      <a:pt x="68122" y="698353"/>
                    </a:lnTo>
                    <a:lnTo>
                      <a:pt x="66676" y="698353"/>
                    </a:lnTo>
                    <a:lnTo>
                      <a:pt x="66676" y="1507978"/>
                    </a:lnTo>
                    <a:lnTo>
                      <a:pt x="68122" y="1507978"/>
                    </a:lnTo>
                    <a:lnTo>
                      <a:pt x="68122" y="1531401"/>
                    </a:lnTo>
                    <a:lnTo>
                      <a:pt x="67785" y="1531401"/>
                    </a:lnTo>
                    <a:cubicBezTo>
                      <a:pt x="67785" y="1656657"/>
                      <a:pt x="386374" y="1795454"/>
                      <a:pt x="842226" y="1795454"/>
                    </a:cubicBezTo>
                    <a:cubicBezTo>
                      <a:pt x="1298078" y="1795454"/>
                      <a:pt x="1616667" y="1656657"/>
                      <a:pt x="1616667" y="1531401"/>
                    </a:cubicBezTo>
                    <a:lnTo>
                      <a:pt x="1616331" y="1531401"/>
                    </a:lnTo>
                    <a:lnTo>
                      <a:pt x="1616331" y="1507978"/>
                    </a:lnTo>
                    <a:lnTo>
                      <a:pt x="1619250" y="1507978"/>
                    </a:lnTo>
                    <a:lnTo>
                      <a:pt x="1619250" y="698353"/>
                    </a:lnTo>
                    <a:lnTo>
                      <a:pt x="1616331" y="698353"/>
                    </a:lnTo>
                    <a:close/>
                    <a:moveTo>
                      <a:pt x="842226" y="68122"/>
                    </a:moveTo>
                    <a:cubicBezTo>
                      <a:pt x="414700" y="68122"/>
                      <a:pt x="68122" y="186750"/>
                      <a:pt x="68122" y="333087"/>
                    </a:cubicBezTo>
                    <a:cubicBezTo>
                      <a:pt x="68122" y="479424"/>
                      <a:pt x="414700" y="598052"/>
                      <a:pt x="842226" y="598052"/>
                    </a:cubicBezTo>
                    <a:cubicBezTo>
                      <a:pt x="1269753" y="598052"/>
                      <a:pt x="1616331" y="479424"/>
                      <a:pt x="1616331" y="333087"/>
                    </a:cubicBezTo>
                    <a:cubicBezTo>
                      <a:pt x="1616331" y="186750"/>
                      <a:pt x="1269753" y="68122"/>
                      <a:pt x="842226" y="68122"/>
                    </a:cubicBezTo>
                    <a:close/>
                    <a:moveTo>
                      <a:pt x="842226" y="0"/>
                    </a:moveTo>
                    <a:cubicBezTo>
                      <a:pt x="1062526" y="0"/>
                      <a:pt x="1269270" y="32164"/>
                      <a:pt x="1425175" y="89721"/>
                    </a:cubicBezTo>
                    <a:cubicBezTo>
                      <a:pt x="1592942" y="150663"/>
                      <a:pt x="1684452" y="236998"/>
                      <a:pt x="1684452" y="331797"/>
                    </a:cubicBezTo>
                    <a:lnTo>
                      <a:pt x="1681988" y="352107"/>
                    </a:lnTo>
                    <a:lnTo>
                      <a:pt x="1684452" y="352107"/>
                    </a:lnTo>
                    <a:lnTo>
                      <a:pt x="1684452" y="1531401"/>
                    </a:lnTo>
                    <a:lnTo>
                      <a:pt x="1684452" y="1531401"/>
                    </a:lnTo>
                    <a:cubicBezTo>
                      <a:pt x="1684452" y="1626189"/>
                      <a:pt x="1592942" y="1712515"/>
                      <a:pt x="1425175" y="1773450"/>
                    </a:cubicBezTo>
                    <a:cubicBezTo>
                      <a:pt x="1269270" y="1831000"/>
                      <a:pt x="1062526" y="1863160"/>
                      <a:pt x="842226" y="1863160"/>
                    </a:cubicBezTo>
                    <a:cubicBezTo>
                      <a:pt x="621925" y="1863160"/>
                      <a:pt x="415182" y="1831000"/>
                      <a:pt x="259277" y="1773450"/>
                    </a:cubicBezTo>
                    <a:cubicBezTo>
                      <a:pt x="91510" y="1712515"/>
                      <a:pt x="0" y="1626189"/>
                      <a:pt x="0" y="1531401"/>
                    </a:cubicBezTo>
                    <a:lnTo>
                      <a:pt x="0" y="1140367"/>
                    </a:lnTo>
                    <a:lnTo>
                      <a:pt x="0" y="714831"/>
                    </a:lnTo>
                    <a:lnTo>
                      <a:pt x="0" y="352107"/>
                    </a:lnTo>
                    <a:lnTo>
                      <a:pt x="2463" y="352107"/>
                    </a:lnTo>
                    <a:lnTo>
                      <a:pt x="0" y="331797"/>
                    </a:lnTo>
                    <a:cubicBezTo>
                      <a:pt x="0" y="236998"/>
                      <a:pt x="91510" y="150663"/>
                      <a:pt x="259277" y="89721"/>
                    </a:cubicBezTo>
                    <a:cubicBezTo>
                      <a:pt x="415182" y="32164"/>
                      <a:pt x="621925" y="0"/>
                      <a:pt x="842226" y="0"/>
                    </a:cubicBezTo>
                    <a:close/>
                  </a:path>
                </a:pathLst>
              </a:custGeom>
              <a:grpFill/>
              <a:ln>
                <a:noFill/>
              </a:ln>
            </p:spPr>
            <p:txBody>
              <a:bodyPr vert="horz" wrap="square" lIns="0" tIns="134429" rIns="0" bIns="0" numCol="1" anchor="t" anchorCtr="0" compatLnSpc="1">
                <a:prstTxWarp prst="textNoShape">
                  <a:avLst/>
                </a:prstTxWarp>
                <a:noAutofit/>
              </a:bodyPr>
              <a:lstStyle/>
              <a:p>
                <a:pPr algn="ctr" defTabSz="896203">
                  <a:defRPr/>
                </a:pPr>
                <a:r>
                  <a:rPr lang="en-US" sz="686" kern="0" dirty="0">
                    <a:solidFill>
                      <a:schemeClr val="accent2">
                        <a:lumMod val="75000"/>
                      </a:schemeClr>
                    </a:solidFill>
                  </a:rPr>
                  <a:t>SQL</a:t>
                </a:r>
              </a:p>
            </p:txBody>
          </p:sp>
          <p:grpSp>
            <p:nvGrpSpPr>
              <p:cNvPr id="634" name="Group 633"/>
              <p:cNvGrpSpPr/>
              <p:nvPr/>
            </p:nvGrpSpPr>
            <p:grpSpPr>
              <a:xfrm>
                <a:off x="10223148" y="3471118"/>
                <a:ext cx="322531" cy="225534"/>
                <a:chOff x="1182255" y="2216727"/>
                <a:chExt cx="5006109" cy="3500582"/>
              </a:xfrm>
              <a:grpFill/>
            </p:grpSpPr>
            <p:sp>
              <p:nvSpPr>
                <p:cNvPr id="636" name="Freeform 635"/>
                <p:cNvSpPr/>
                <p:nvPr/>
              </p:nvSpPr>
              <p:spPr bwMode="auto">
                <a:xfrm>
                  <a:off x="1182255" y="2216727"/>
                  <a:ext cx="5006109" cy="3500582"/>
                </a:xfrm>
                <a:custGeom>
                  <a:avLst/>
                  <a:gdLst>
                    <a:gd name="connsiteX0" fmla="*/ 115224 w 5006109"/>
                    <a:gd name="connsiteY0" fmla="*/ 113026 h 3500582"/>
                    <a:gd name="connsiteX1" fmla="*/ 115224 w 5006109"/>
                    <a:gd name="connsiteY1" fmla="*/ 3387556 h 3500582"/>
                    <a:gd name="connsiteX2" fmla="*/ 4890886 w 5006109"/>
                    <a:gd name="connsiteY2" fmla="*/ 3387556 h 3500582"/>
                    <a:gd name="connsiteX3" fmla="*/ 4890886 w 5006109"/>
                    <a:gd name="connsiteY3" fmla="*/ 113026 h 3500582"/>
                    <a:gd name="connsiteX4" fmla="*/ 0 w 5006109"/>
                    <a:gd name="connsiteY4" fmla="*/ 0 h 3500582"/>
                    <a:gd name="connsiteX5" fmla="*/ 5006109 w 5006109"/>
                    <a:gd name="connsiteY5" fmla="*/ 0 h 3500582"/>
                    <a:gd name="connsiteX6" fmla="*/ 5006109 w 5006109"/>
                    <a:gd name="connsiteY6" fmla="*/ 3500582 h 3500582"/>
                    <a:gd name="connsiteX7" fmla="*/ 0 w 5006109"/>
                    <a:gd name="connsiteY7" fmla="*/ 3500582 h 3500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06109" h="3500582">
                      <a:moveTo>
                        <a:pt x="115224" y="113026"/>
                      </a:moveTo>
                      <a:lnTo>
                        <a:pt x="115224" y="3387556"/>
                      </a:lnTo>
                      <a:lnTo>
                        <a:pt x="4890886" y="3387556"/>
                      </a:lnTo>
                      <a:lnTo>
                        <a:pt x="4890886" y="113026"/>
                      </a:lnTo>
                      <a:close/>
                      <a:moveTo>
                        <a:pt x="0" y="0"/>
                      </a:moveTo>
                      <a:lnTo>
                        <a:pt x="5006109" y="0"/>
                      </a:lnTo>
                      <a:lnTo>
                        <a:pt x="5006109" y="3500582"/>
                      </a:lnTo>
                      <a:lnTo>
                        <a:pt x="0" y="3500582"/>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grpSp>
              <p:nvGrpSpPr>
                <p:cNvPr id="637" name="Group 636"/>
                <p:cNvGrpSpPr/>
                <p:nvPr/>
              </p:nvGrpSpPr>
              <p:grpSpPr>
                <a:xfrm>
                  <a:off x="1371600" y="2904099"/>
                  <a:ext cx="4622800" cy="2628550"/>
                  <a:chOff x="1371600" y="3272399"/>
                  <a:chExt cx="4622800" cy="2628550"/>
                </a:xfrm>
                <a:grpFill/>
              </p:grpSpPr>
              <p:grpSp>
                <p:nvGrpSpPr>
                  <p:cNvPr id="638" name="Group 637"/>
                  <p:cNvGrpSpPr/>
                  <p:nvPr/>
                </p:nvGrpSpPr>
                <p:grpSpPr>
                  <a:xfrm>
                    <a:off x="1371600" y="3272399"/>
                    <a:ext cx="4622800" cy="609250"/>
                    <a:chOff x="1403350" y="3272399"/>
                    <a:chExt cx="4216400" cy="609250"/>
                  </a:xfrm>
                  <a:grpFill/>
                </p:grpSpPr>
                <p:sp>
                  <p:nvSpPr>
                    <p:cNvPr id="654" name="Freeform 653"/>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655" name="Freeform 654"/>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656" name="Freeform 655"/>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657" name="Freeform 656"/>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grpSp>
              <p:grpSp>
                <p:nvGrpSpPr>
                  <p:cNvPr id="639" name="Group 638"/>
                  <p:cNvGrpSpPr/>
                  <p:nvPr/>
                </p:nvGrpSpPr>
                <p:grpSpPr>
                  <a:xfrm>
                    <a:off x="1371600" y="3945499"/>
                    <a:ext cx="4622800" cy="609250"/>
                    <a:chOff x="1403350" y="3272399"/>
                    <a:chExt cx="4216400" cy="609250"/>
                  </a:xfrm>
                  <a:grpFill/>
                </p:grpSpPr>
                <p:sp>
                  <p:nvSpPr>
                    <p:cNvPr id="650" name="Freeform 649"/>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651" name="Freeform 650"/>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652" name="Freeform 651"/>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653" name="Freeform 652"/>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grpSp>
              <p:grpSp>
                <p:nvGrpSpPr>
                  <p:cNvPr id="640" name="Group 639"/>
                  <p:cNvGrpSpPr/>
                  <p:nvPr/>
                </p:nvGrpSpPr>
                <p:grpSpPr>
                  <a:xfrm>
                    <a:off x="1371600" y="4618599"/>
                    <a:ext cx="4622800" cy="609250"/>
                    <a:chOff x="1403350" y="3272399"/>
                    <a:chExt cx="4216400" cy="609250"/>
                  </a:xfrm>
                  <a:grpFill/>
                </p:grpSpPr>
                <p:sp>
                  <p:nvSpPr>
                    <p:cNvPr id="646" name="Freeform 645"/>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647" name="Freeform 646"/>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648" name="Freeform 647"/>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649" name="Freeform 648"/>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grpSp>
              <p:grpSp>
                <p:nvGrpSpPr>
                  <p:cNvPr id="641" name="Group 640"/>
                  <p:cNvGrpSpPr/>
                  <p:nvPr/>
                </p:nvGrpSpPr>
                <p:grpSpPr>
                  <a:xfrm>
                    <a:off x="1371600" y="5291699"/>
                    <a:ext cx="4622800" cy="609250"/>
                    <a:chOff x="1403350" y="3272399"/>
                    <a:chExt cx="4216400" cy="609250"/>
                  </a:xfrm>
                  <a:grpFill/>
                </p:grpSpPr>
                <p:sp>
                  <p:nvSpPr>
                    <p:cNvPr id="642" name="Freeform 641"/>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643" name="Freeform 642"/>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644" name="Freeform 643"/>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645" name="Freeform 644"/>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grpSp>
            </p:grpSp>
          </p:grpSp>
          <p:sp>
            <p:nvSpPr>
              <p:cNvPr id="635" name="Freeform 634"/>
              <p:cNvSpPr>
                <a:spLocks/>
              </p:cNvSpPr>
              <p:nvPr/>
            </p:nvSpPr>
            <p:spPr bwMode="auto">
              <a:xfrm>
                <a:off x="9983618" y="3695432"/>
                <a:ext cx="174159" cy="244743"/>
              </a:xfrm>
              <a:custGeom>
                <a:avLst/>
                <a:gdLst>
                  <a:gd name="connsiteX0" fmla="*/ 1616331 w 1684452"/>
                  <a:gd name="connsiteY0" fmla="*/ 466888 h 1863160"/>
                  <a:gd name="connsiteX1" fmla="*/ 1580938 w 1684452"/>
                  <a:gd name="connsiteY1" fmla="*/ 495908 h 1863160"/>
                  <a:gd name="connsiteX2" fmla="*/ 1425175 w 1684452"/>
                  <a:gd name="connsiteY2" fmla="*/ 575567 h 1863160"/>
                  <a:gd name="connsiteX3" fmla="*/ 842226 w 1684452"/>
                  <a:gd name="connsiteY3" fmla="*/ 665288 h 1863160"/>
                  <a:gd name="connsiteX4" fmla="*/ 259277 w 1684452"/>
                  <a:gd name="connsiteY4" fmla="*/ 575567 h 1863160"/>
                  <a:gd name="connsiteX5" fmla="*/ 103515 w 1684452"/>
                  <a:gd name="connsiteY5" fmla="*/ 495908 h 1863160"/>
                  <a:gd name="connsiteX6" fmla="*/ 68122 w 1684452"/>
                  <a:gd name="connsiteY6" fmla="*/ 466889 h 1863160"/>
                  <a:gd name="connsiteX7" fmla="*/ 68122 w 1684452"/>
                  <a:gd name="connsiteY7" fmla="*/ 698353 h 1863160"/>
                  <a:gd name="connsiteX8" fmla="*/ 66676 w 1684452"/>
                  <a:gd name="connsiteY8" fmla="*/ 698353 h 1863160"/>
                  <a:gd name="connsiteX9" fmla="*/ 66676 w 1684452"/>
                  <a:gd name="connsiteY9" fmla="*/ 1507978 h 1863160"/>
                  <a:gd name="connsiteX10" fmla="*/ 68122 w 1684452"/>
                  <a:gd name="connsiteY10" fmla="*/ 1507978 h 1863160"/>
                  <a:gd name="connsiteX11" fmla="*/ 68122 w 1684452"/>
                  <a:gd name="connsiteY11" fmla="*/ 1531401 h 1863160"/>
                  <a:gd name="connsiteX12" fmla="*/ 67785 w 1684452"/>
                  <a:gd name="connsiteY12" fmla="*/ 1531401 h 1863160"/>
                  <a:gd name="connsiteX13" fmla="*/ 842226 w 1684452"/>
                  <a:gd name="connsiteY13" fmla="*/ 1795454 h 1863160"/>
                  <a:gd name="connsiteX14" fmla="*/ 1616667 w 1684452"/>
                  <a:gd name="connsiteY14" fmla="*/ 1531401 h 1863160"/>
                  <a:gd name="connsiteX15" fmla="*/ 1616331 w 1684452"/>
                  <a:gd name="connsiteY15" fmla="*/ 1531401 h 1863160"/>
                  <a:gd name="connsiteX16" fmla="*/ 1616331 w 1684452"/>
                  <a:gd name="connsiteY16" fmla="*/ 1507978 h 1863160"/>
                  <a:gd name="connsiteX17" fmla="*/ 1619250 w 1684452"/>
                  <a:gd name="connsiteY17" fmla="*/ 1507978 h 1863160"/>
                  <a:gd name="connsiteX18" fmla="*/ 1619250 w 1684452"/>
                  <a:gd name="connsiteY18" fmla="*/ 698353 h 1863160"/>
                  <a:gd name="connsiteX19" fmla="*/ 1616331 w 1684452"/>
                  <a:gd name="connsiteY19" fmla="*/ 698353 h 1863160"/>
                  <a:gd name="connsiteX20" fmla="*/ 842226 w 1684452"/>
                  <a:gd name="connsiteY20" fmla="*/ 68122 h 1863160"/>
                  <a:gd name="connsiteX21" fmla="*/ 68122 w 1684452"/>
                  <a:gd name="connsiteY21" fmla="*/ 333087 h 1863160"/>
                  <a:gd name="connsiteX22" fmla="*/ 842226 w 1684452"/>
                  <a:gd name="connsiteY22" fmla="*/ 598052 h 1863160"/>
                  <a:gd name="connsiteX23" fmla="*/ 1616331 w 1684452"/>
                  <a:gd name="connsiteY23" fmla="*/ 333087 h 1863160"/>
                  <a:gd name="connsiteX24" fmla="*/ 842226 w 1684452"/>
                  <a:gd name="connsiteY24" fmla="*/ 68122 h 1863160"/>
                  <a:gd name="connsiteX25" fmla="*/ 842226 w 1684452"/>
                  <a:gd name="connsiteY25" fmla="*/ 0 h 1863160"/>
                  <a:gd name="connsiteX26" fmla="*/ 1425175 w 1684452"/>
                  <a:gd name="connsiteY26" fmla="*/ 89721 h 1863160"/>
                  <a:gd name="connsiteX27" fmla="*/ 1684452 w 1684452"/>
                  <a:gd name="connsiteY27" fmla="*/ 331797 h 1863160"/>
                  <a:gd name="connsiteX28" fmla="*/ 1681988 w 1684452"/>
                  <a:gd name="connsiteY28" fmla="*/ 352107 h 1863160"/>
                  <a:gd name="connsiteX29" fmla="*/ 1684452 w 1684452"/>
                  <a:gd name="connsiteY29" fmla="*/ 352107 h 1863160"/>
                  <a:gd name="connsiteX30" fmla="*/ 1684452 w 1684452"/>
                  <a:gd name="connsiteY30" fmla="*/ 1531401 h 1863160"/>
                  <a:gd name="connsiteX31" fmla="*/ 1684452 w 1684452"/>
                  <a:gd name="connsiteY31" fmla="*/ 1531401 h 1863160"/>
                  <a:gd name="connsiteX32" fmla="*/ 1425175 w 1684452"/>
                  <a:gd name="connsiteY32" fmla="*/ 1773450 h 1863160"/>
                  <a:gd name="connsiteX33" fmla="*/ 842226 w 1684452"/>
                  <a:gd name="connsiteY33" fmla="*/ 1863160 h 1863160"/>
                  <a:gd name="connsiteX34" fmla="*/ 259277 w 1684452"/>
                  <a:gd name="connsiteY34" fmla="*/ 1773450 h 1863160"/>
                  <a:gd name="connsiteX35" fmla="*/ 0 w 1684452"/>
                  <a:gd name="connsiteY35" fmla="*/ 1531401 h 1863160"/>
                  <a:gd name="connsiteX36" fmla="*/ 0 w 1684452"/>
                  <a:gd name="connsiteY36" fmla="*/ 1140367 h 1863160"/>
                  <a:gd name="connsiteX37" fmla="*/ 0 w 1684452"/>
                  <a:gd name="connsiteY37" fmla="*/ 714831 h 1863160"/>
                  <a:gd name="connsiteX38" fmla="*/ 0 w 1684452"/>
                  <a:gd name="connsiteY38" fmla="*/ 352107 h 1863160"/>
                  <a:gd name="connsiteX39" fmla="*/ 2463 w 1684452"/>
                  <a:gd name="connsiteY39" fmla="*/ 352107 h 1863160"/>
                  <a:gd name="connsiteX40" fmla="*/ 0 w 1684452"/>
                  <a:gd name="connsiteY40" fmla="*/ 331797 h 1863160"/>
                  <a:gd name="connsiteX41" fmla="*/ 259277 w 1684452"/>
                  <a:gd name="connsiteY41" fmla="*/ 89721 h 1863160"/>
                  <a:gd name="connsiteX42" fmla="*/ 842226 w 1684452"/>
                  <a:gd name="connsiteY42" fmla="*/ 0 h 1863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684452" h="1863160">
                    <a:moveTo>
                      <a:pt x="1616331" y="466888"/>
                    </a:moveTo>
                    <a:lnTo>
                      <a:pt x="1580938" y="495908"/>
                    </a:lnTo>
                    <a:cubicBezTo>
                      <a:pt x="1540277" y="525258"/>
                      <a:pt x="1488088" y="552079"/>
                      <a:pt x="1425175" y="575567"/>
                    </a:cubicBezTo>
                    <a:cubicBezTo>
                      <a:pt x="1269270" y="633124"/>
                      <a:pt x="1062526" y="665288"/>
                      <a:pt x="842226" y="665288"/>
                    </a:cubicBezTo>
                    <a:cubicBezTo>
                      <a:pt x="621925" y="665288"/>
                      <a:pt x="415182" y="633124"/>
                      <a:pt x="259277" y="575567"/>
                    </a:cubicBezTo>
                    <a:cubicBezTo>
                      <a:pt x="196365" y="552079"/>
                      <a:pt x="144176" y="525258"/>
                      <a:pt x="103515" y="495908"/>
                    </a:cubicBezTo>
                    <a:lnTo>
                      <a:pt x="68122" y="466889"/>
                    </a:lnTo>
                    <a:lnTo>
                      <a:pt x="68122" y="698353"/>
                    </a:lnTo>
                    <a:lnTo>
                      <a:pt x="66676" y="698353"/>
                    </a:lnTo>
                    <a:lnTo>
                      <a:pt x="66676" y="1507978"/>
                    </a:lnTo>
                    <a:lnTo>
                      <a:pt x="68122" y="1507978"/>
                    </a:lnTo>
                    <a:lnTo>
                      <a:pt x="68122" y="1531401"/>
                    </a:lnTo>
                    <a:lnTo>
                      <a:pt x="67785" y="1531401"/>
                    </a:lnTo>
                    <a:cubicBezTo>
                      <a:pt x="67785" y="1656657"/>
                      <a:pt x="386374" y="1795454"/>
                      <a:pt x="842226" y="1795454"/>
                    </a:cubicBezTo>
                    <a:cubicBezTo>
                      <a:pt x="1298078" y="1795454"/>
                      <a:pt x="1616667" y="1656657"/>
                      <a:pt x="1616667" y="1531401"/>
                    </a:cubicBezTo>
                    <a:lnTo>
                      <a:pt x="1616331" y="1531401"/>
                    </a:lnTo>
                    <a:lnTo>
                      <a:pt x="1616331" y="1507978"/>
                    </a:lnTo>
                    <a:lnTo>
                      <a:pt x="1619250" y="1507978"/>
                    </a:lnTo>
                    <a:lnTo>
                      <a:pt x="1619250" y="698353"/>
                    </a:lnTo>
                    <a:lnTo>
                      <a:pt x="1616331" y="698353"/>
                    </a:lnTo>
                    <a:close/>
                    <a:moveTo>
                      <a:pt x="842226" y="68122"/>
                    </a:moveTo>
                    <a:cubicBezTo>
                      <a:pt x="414700" y="68122"/>
                      <a:pt x="68122" y="186750"/>
                      <a:pt x="68122" y="333087"/>
                    </a:cubicBezTo>
                    <a:cubicBezTo>
                      <a:pt x="68122" y="479424"/>
                      <a:pt x="414700" y="598052"/>
                      <a:pt x="842226" y="598052"/>
                    </a:cubicBezTo>
                    <a:cubicBezTo>
                      <a:pt x="1269753" y="598052"/>
                      <a:pt x="1616331" y="479424"/>
                      <a:pt x="1616331" y="333087"/>
                    </a:cubicBezTo>
                    <a:cubicBezTo>
                      <a:pt x="1616331" y="186750"/>
                      <a:pt x="1269753" y="68122"/>
                      <a:pt x="842226" y="68122"/>
                    </a:cubicBezTo>
                    <a:close/>
                    <a:moveTo>
                      <a:pt x="842226" y="0"/>
                    </a:moveTo>
                    <a:cubicBezTo>
                      <a:pt x="1062526" y="0"/>
                      <a:pt x="1269270" y="32164"/>
                      <a:pt x="1425175" y="89721"/>
                    </a:cubicBezTo>
                    <a:cubicBezTo>
                      <a:pt x="1592942" y="150663"/>
                      <a:pt x="1684452" y="236998"/>
                      <a:pt x="1684452" y="331797"/>
                    </a:cubicBezTo>
                    <a:lnTo>
                      <a:pt x="1681988" y="352107"/>
                    </a:lnTo>
                    <a:lnTo>
                      <a:pt x="1684452" y="352107"/>
                    </a:lnTo>
                    <a:lnTo>
                      <a:pt x="1684452" y="1531401"/>
                    </a:lnTo>
                    <a:lnTo>
                      <a:pt x="1684452" y="1531401"/>
                    </a:lnTo>
                    <a:cubicBezTo>
                      <a:pt x="1684452" y="1626189"/>
                      <a:pt x="1592942" y="1712515"/>
                      <a:pt x="1425175" y="1773450"/>
                    </a:cubicBezTo>
                    <a:cubicBezTo>
                      <a:pt x="1269270" y="1831000"/>
                      <a:pt x="1062526" y="1863160"/>
                      <a:pt x="842226" y="1863160"/>
                    </a:cubicBezTo>
                    <a:cubicBezTo>
                      <a:pt x="621925" y="1863160"/>
                      <a:pt x="415182" y="1831000"/>
                      <a:pt x="259277" y="1773450"/>
                    </a:cubicBezTo>
                    <a:cubicBezTo>
                      <a:pt x="91510" y="1712515"/>
                      <a:pt x="0" y="1626189"/>
                      <a:pt x="0" y="1531401"/>
                    </a:cubicBezTo>
                    <a:lnTo>
                      <a:pt x="0" y="1140367"/>
                    </a:lnTo>
                    <a:lnTo>
                      <a:pt x="0" y="714831"/>
                    </a:lnTo>
                    <a:lnTo>
                      <a:pt x="0" y="352107"/>
                    </a:lnTo>
                    <a:lnTo>
                      <a:pt x="2463" y="352107"/>
                    </a:lnTo>
                    <a:lnTo>
                      <a:pt x="0" y="331797"/>
                    </a:lnTo>
                    <a:cubicBezTo>
                      <a:pt x="0" y="236998"/>
                      <a:pt x="91510" y="150663"/>
                      <a:pt x="259277" y="89721"/>
                    </a:cubicBezTo>
                    <a:cubicBezTo>
                      <a:pt x="415182" y="32164"/>
                      <a:pt x="621925" y="0"/>
                      <a:pt x="842226" y="0"/>
                    </a:cubicBezTo>
                    <a:close/>
                  </a:path>
                </a:pathLst>
              </a:custGeom>
              <a:grpFill/>
              <a:ln>
                <a:noFill/>
              </a:ln>
            </p:spPr>
            <p:txBody>
              <a:bodyPr vert="horz" wrap="square" lIns="0" tIns="134429" rIns="0" bIns="0" numCol="1" anchor="t" anchorCtr="0" compatLnSpc="1">
                <a:prstTxWarp prst="textNoShape">
                  <a:avLst/>
                </a:prstTxWarp>
                <a:noAutofit/>
              </a:bodyPr>
              <a:lstStyle/>
              <a:p>
                <a:pPr algn="ctr" defTabSz="896203">
                  <a:defRPr/>
                </a:pPr>
                <a:endParaRPr lang="en-US" sz="686" kern="0" dirty="0">
                  <a:solidFill>
                    <a:schemeClr val="accent2">
                      <a:lumMod val="75000"/>
                    </a:schemeClr>
                  </a:solidFill>
                </a:endParaRPr>
              </a:p>
            </p:txBody>
          </p:sp>
        </p:grpSp>
        <p:grpSp>
          <p:nvGrpSpPr>
            <p:cNvPr id="662" name="Group 661"/>
            <p:cNvGrpSpPr/>
            <p:nvPr/>
          </p:nvGrpSpPr>
          <p:grpSpPr>
            <a:xfrm>
              <a:off x="15107216" y="1916113"/>
              <a:ext cx="453941" cy="552320"/>
              <a:chOff x="2256871" y="3439507"/>
              <a:chExt cx="340270" cy="414014"/>
            </a:xfrm>
            <a:grpFill/>
          </p:grpSpPr>
          <p:sp>
            <p:nvSpPr>
              <p:cNvPr id="663" name="Freeform 662"/>
              <p:cNvSpPr>
                <a:spLocks/>
              </p:cNvSpPr>
              <p:nvPr/>
            </p:nvSpPr>
            <p:spPr bwMode="auto">
              <a:xfrm>
                <a:off x="2256871" y="3439507"/>
                <a:ext cx="230395" cy="285134"/>
              </a:xfrm>
              <a:custGeom>
                <a:avLst/>
                <a:gdLst>
                  <a:gd name="connsiteX0" fmla="*/ 269926 w 295991"/>
                  <a:gd name="connsiteY0" fmla="*/ 150095 h 366315"/>
                  <a:gd name="connsiteX1" fmla="*/ 269926 w 295991"/>
                  <a:gd name="connsiteY1" fmla="*/ 159187 h 366315"/>
                  <a:gd name="connsiteX2" fmla="*/ 269926 w 295991"/>
                  <a:gd name="connsiteY2" fmla="*/ 176510 h 366315"/>
                  <a:gd name="connsiteX3" fmla="*/ 271783 w 295991"/>
                  <a:gd name="connsiteY3" fmla="*/ 176510 h 366315"/>
                  <a:gd name="connsiteX4" fmla="*/ 278265 w 295991"/>
                  <a:gd name="connsiteY4" fmla="*/ 176510 h 366315"/>
                  <a:gd name="connsiteX5" fmla="*/ 282589 w 295991"/>
                  <a:gd name="connsiteY5" fmla="*/ 176510 h 366315"/>
                  <a:gd name="connsiteX6" fmla="*/ 282589 w 295991"/>
                  <a:gd name="connsiteY6" fmla="*/ 165634 h 366315"/>
                  <a:gd name="connsiteX7" fmla="*/ 282589 w 295991"/>
                  <a:gd name="connsiteY7" fmla="*/ 150095 h 366315"/>
                  <a:gd name="connsiteX8" fmla="*/ 280664 w 295991"/>
                  <a:gd name="connsiteY8" fmla="*/ 150095 h 366315"/>
                  <a:gd name="connsiteX9" fmla="*/ 274182 w 295991"/>
                  <a:gd name="connsiteY9" fmla="*/ 150095 h 366315"/>
                  <a:gd name="connsiteX10" fmla="*/ 269926 w 295991"/>
                  <a:gd name="connsiteY10" fmla="*/ 109860 h 366315"/>
                  <a:gd name="connsiteX11" fmla="*/ 269926 w 295991"/>
                  <a:gd name="connsiteY11" fmla="*/ 129465 h 366315"/>
                  <a:gd name="connsiteX12" fmla="*/ 269926 w 295991"/>
                  <a:gd name="connsiteY12" fmla="*/ 136625 h 366315"/>
                  <a:gd name="connsiteX13" fmla="*/ 271783 w 295991"/>
                  <a:gd name="connsiteY13" fmla="*/ 136625 h 366315"/>
                  <a:gd name="connsiteX14" fmla="*/ 278265 w 295991"/>
                  <a:gd name="connsiteY14" fmla="*/ 136625 h 366315"/>
                  <a:gd name="connsiteX15" fmla="*/ 282589 w 295991"/>
                  <a:gd name="connsiteY15" fmla="*/ 136625 h 366315"/>
                  <a:gd name="connsiteX16" fmla="*/ 282589 w 295991"/>
                  <a:gd name="connsiteY16" fmla="*/ 125371 h 366315"/>
                  <a:gd name="connsiteX17" fmla="*/ 282589 w 295991"/>
                  <a:gd name="connsiteY17" fmla="*/ 115635 h 366315"/>
                  <a:gd name="connsiteX18" fmla="*/ 282589 w 295991"/>
                  <a:gd name="connsiteY18" fmla="*/ 109860 h 366315"/>
                  <a:gd name="connsiteX19" fmla="*/ 280664 w 295991"/>
                  <a:gd name="connsiteY19" fmla="*/ 109860 h 366315"/>
                  <a:gd name="connsiteX20" fmla="*/ 274182 w 295991"/>
                  <a:gd name="connsiteY20" fmla="*/ 109860 h 366315"/>
                  <a:gd name="connsiteX21" fmla="*/ 121755 w 295991"/>
                  <a:gd name="connsiteY21" fmla="*/ 91142 h 366315"/>
                  <a:gd name="connsiteX22" fmla="*/ 121755 w 295991"/>
                  <a:gd name="connsiteY22" fmla="*/ 108460 h 366315"/>
                  <a:gd name="connsiteX23" fmla="*/ 199427 w 295991"/>
                  <a:gd name="connsiteY23" fmla="*/ 108460 h 366315"/>
                  <a:gd name="connsiteX24" fmla="*/ 199427 w 295991"/>
                  <a:gd name="connsiteY24" fmla="*/ 91142 h 366315"/>
                  <a:gd name="connsiteX25" fmla="*/ 114991 w 295991"/>
                  <a:gd name="connsiteY25" fmla="*/ 77672 h 366315"/>
                  <a:gd name="connsiteX26" fmla="*/ 206191 w 295991"/>
                  <a:gd name="connsiteY26" fmla="*/ 77672 h 366315"/>
                  <a:gd name="connsiteX27" fmla="*/ 212897 w 295991"/>
                  <a:gd name="connsiteY27" fmla="*/ 84377 h 366315"/>
                  <a:gd name="connsiteX28" fmla="*/ 212897 w 295991"/>
                  <a:gd name="connsiteY28" fmla="*/ 115224 h 366315"/>
                  <a:gd name="connsiteX29" fmla="*/ 206191 w 295991"/>
                  <a:gd name="connsiteY29" fmla="*/ 121930 h 366315"/>
                  <a:gd name="connsiteX30" fmla="*/ 114991 w 295991"/>
                  <a:gd name="connsiteY30" fmla="*/ 121930 h 366315"/>
                  <a:gd name="connsiteX31" fmla="*/ 108285 w 295991"/>
                  <a:gd name="connsiteY31" fmla="*/ 115224 h 366315"/>
                  <a:gd name="connsiteX32" fmla="*/ 108285 w 295991"/>
                  <a:gd name="connsiteY32" fmla="*/ 84377 h 366315"/>
                  <a:gd name="connsiteX33" fmla="*/ 114991 w 295991"/>
                  <a:gd name="connsiteY33" fmla="*/ 77672 h 366315"/>
                  <a:gd name="connsiteX34" fmla="*/ 269926 w 295991"/>
                  <a:gd name="connsiteY34" fmla="*/ 70064 h 366315"/>
                  <a:gd name="connsiteX35" fmla="*/ 269926 w 295991"/>
                  <a:gd name="connsiteY35" fmla="*/ 96390 h 366315"/>
                  <a:gd name="connsiteX36" fmla="*/ 271783 w 295991"/>
                  <a:gd name="connsiteY36" fmla="*/ 96390 h 366315"/>
                  <a:gd name="connsiteX37" fmla="*/ 278265 w 295991"/>
                  <a:gd name="connsiteY37" fmla="*/ 96390 h 366315"/>
                  <a:gd name="connsiteX38" fmla="*/ 282589 w 295991"/>
                  <a:gd name="connsiteY38" fmla="*/ 96390 h 366315"/>
                  <a:gd name="connsiteX39" fmla="*/ 282589 w 295991"/>
                  <a:gd name="connsiteY39" fmla="*/ 93397 h 366315"/>
                  <a:gd name="connsiteX40" fmla="*/ 282589 w 295991"/>
                  <a:gd name="connsiteY40" fmla="*/ 70064 h 366315"/>
                  <a:gd name="connsiteX41" fmla="*/ 271355 w 295991"/>
                  <a:gd name="connsiteY41" fmla="*/ 70064 h 366315"/>
                  <a:gd name="connsiteX42" fmla="*/ 17030 w 295991"/>
                  <a:gd name="connsiteY42" fmla="*/ 0 h 366315"/>
                  <a:gd name="connsiteX43" fmla="*/ 263218 w 295991"/>
                  <a:gd name="connsiteY43" fmla="*/ 0 h 366315"/>
                  <a:gd name="connsiteX44" fmla="*/ 269926 w 295991"/>
                  <a:gd name="connsiteY44" fmla="*/ 6697 h 366315"/>
                  <a:gd name="connsiteX45" fmla="*/ 269926 w 295991"/>
                  <a:gd name="connsiteY45" fmla="*/ 38760 h 366315"/>
                  <a:gd name="connsiteX46" fmla="*/ 269926 w 295991"/>
                  <a:gd name="connsiteY46" fmla="*/ 56679 h 366315"/>
                  <a:gd name="connsiteX47" fmla="*/ 271783 w 295991"/>
                  <a:gd name="connsiteY47" fmla="*/ 56679 h 366315"/>
                  <a:gd name="connsiteX48" fmla="*/ 289290 w 295991"/>
                  <a:gd name="connsiteY48" fmla="*/ 56679 h 366315"/>
                  <a:gd name="connsiteX49" fmla="*/ 295991 w 295991"/>
                  <a:gd name="connsiteY49" fmla="*/ 63372 h 366315"/>
                  <a:gd name="connsiteX50" fmla="*/ 295991 w 295991"/>
                  <a:gd name="connsiteY50" fmla="*/ 85169 h 366315"/>
                  <a:gd name="connsiteX51" fmla="*/ 295991 w 295991"/>
                  <a:gd name="connsiteY51" fmla="*/ 103125 h 366315"/>
                  <a:gd name="connsiteX52" fmla="*/ 295991 w 295991"/>
                  <a:gd name="connsiteY52" fmla="*/ 105604 h 366315"/>
                  <a:gd name="connsiteX53" fmla="*/ 295991 w 295991"/>
                  <a:gd name="connsiteY53" fmla="*/ 142565 h 366315"/>
                  <a:gd name="connsiteX54" fmla="*/ 295991 w 295991"/>
                  <a:gd name="connsiteY54" fmla="*/ 143360 h 366315"/>
                  <a:gd name="connsiteX55" fmla="*/ 295991 w 295991"/>
                  <a:gd name="connsiteY55" fmla="*/ 159178 h 366315"/>
                  <a:gd name="connsiteX56" fmla="*/ 295991 w 295991"/>
                  <a:gd name="connsiteY56" fmla="*/ 183158 h 366315"/>
                  <a:gd name="connsiteX57" fmla="*/ 295991 w 295991"/>
                  <a:gd name="connsiteY57" fmla="*/ 184546 h 366315"/>
                  <a:gd name="connsiteX58" fmla="*/ 295991 w 295991"/>
                  <a:gd name="connsiteY58" fmla="*/ 205448 h 366315"/>
                  <a:gd name="connsiteX59" fmla="*/ 295991 w 295991"/>
                  <a:gd name="connsiteY59" fmla="*/ 216438 h 366315"/>
                  <a:gd name="connsiteX60" fmla="*/ 282589 w 295991"/>
                  <a:gd name="connsiteY60" fmla="*/ 216438 h 366315"/>
                  <a:gd name="connsiteX61" fmla="*/ 282589 w 295991"/>
                  <a:gd name="connsiteY61" fmla="*/ 213840 h 366315"/>
                  <a:gd name="connsiteX62" fmla="*/ 282589 w 295991"/>
                  <a:gd name="connsiteY62" fmla="*/ 191573 h 366315"/>
                  <a:gd name="connsiteX63" fmla="*/ 282589 w 295991"/>
                  <a:gd name="connsiteY63" fmla="*/ 189805 h 366315"/>
                  <a:gd name="connsiteX64" fmla="*/ 280664 w 295991"/>
                  <a:gd name="connsiteY64" fmla="*/ 189805 h 366315"/>
                  <a:gd name="connsiteX65" fmla="*/ 274182 w 295991"/>
                  <a:gd name="connsiteY65" fmla="*/ 189805 h 366315"/>
                  <a:gd name="connsiteX66" fmla="*/ 269926 w 295991"/>
                  <a:gd name="connsiteY66" fmla="*/ 189805 h 366315"/>
                  <a:gd name="connsiteX67" fmla="*/ 269926 w 295991"/>
                  <a:gd name="connsiteY67" fmla="*/ 198792 h 366315"/>
                  <a:gd name="connsiteX68" fmla="*/ 269926 w 295991"/>
                  <a:gd name="connsiteY68" fmla="*/ 216438 h 366315"/>
                  <a:gd name="connsiteX69" fmla="*/ 256456 w 295991"/>
                  <a:gd name="connsiteY69" fmla="*/ 216438 h 366315"/>
                  <a:gd name="connsiteX70" fmla="*/ 256456 w 295991"/>
                  <a:gd name="connsiteY70" fmla="*/ 183158 h 366315"/>
                  <a:gd name="connsiteX71" fmla="*/ 256456 w 295991"/>
                  <a:gd name="connsiteY71" fmla="*/ 143360 h 366315"/>
                  <a:gd name="connsiteX72" fmla="*/ 256456 w 295991"/>
                  <a:gd name="connsiteY72" fmla="*/ 103125 h 366315"/>
                  <a:gd name="connsiteX73" fmla="*/ 256456 w 295991"/>
                  <a:gd name="connsiteY73" fmla="*/ 63372 h 366315"/>
                  <a:gd name="connsiteX74" fmla="*/ 256456 w 295991"/>
                  <a:gd name="connsiteY74" fmla="*/ 13470 h 366315"/>
                  <a:gd name="connsiteX75" fmla="*/ 23791 w 295991"/>
                  <a:gd name="connsiteY75" fmla="*/ 13470 h 366315"/>
                  <a:gd name="connsiteX76" fmla="*/ 23791 w 295991"/>
                  <a:gd name="connsiteY76" fmla="*/ 53006 h 366315"/>
                  <a:gd name="connsiteX77" fmla="*/ 25744 w 295991"/>
                  <a:gd name="connsiteY77" fmla="*/ 53006 h 366315"/>
                  <a:gd name="connsiteX78" fmla="*/ 28465 w 295991"/>
                  <a:gd name="connsiteY78" fmla="*/ 53006 h 366315"/>
                  <a:gd name="connsiteX79" fmla="*/ 35162 w 295991"/>
                  <a:gd name="connsiteY79" fmla="*/ 59653 h 366315"/>
                  <a:gd name="connsiteX80" fmla="*/ 28465 w 295991"/>
                  <a:gd name="connsiteY80" fmla="*/ 66301 h 366315"/>
                  <a:gd name="connsiteX81" fmla="*/ 23791 w 295991"/>
                  <a:gd name="connsiteY81" fmla="*/ 66301 h 366315"/>
                  <a:gd name="connsiteX82" fmla="*/ 23791 w 295991"/>
                  <a:gd name="connsiteY82" fmla="*/ 88168 h 366315"/>
                  <a:gd name="connsiteX83" fmla="*/ 25744 w 295991"/>
                  <a:gd name="connsiteY83" fmla="*/ 88168 h 366315"/>
                  <a:gd name="connsiteX84" fmla="*/ 28465 w 295991"/>
                  <a:gd name="connsiteY84" fmla="*/ 88168 h 366315"/>
                  <a:gd name="connsiteX85" fmla="*/ 35162 w 295991"/>
                  <a:gd name="connsiteY85" fmla="*/ 94815 h 366315"/>
                  <a:gd name="connsiteX86" fmla="*/ 28465 w 295991"/>
                  <a:gd name="connsiteY86" fmla="*/ 101463 h 366315"/>
                  <a:gd name="connsiteX87" fmla="*/ 23791 w 295991"/>
                  <a:gd name="connsiteY87" fmla="*/ 101463 h 366315"/>
                  <a:gd name="connsiteX88" fmla="*/ 23791 w 295991"/>
                  <a:gd name="connsiteY88" fmla="*/ 123155 h 366315"/>
                  <a:gd name="connsiteX89" fmla="*/ 25744 w 295991"/>
                  <a:gd name="connsiteY89" fmla="*/ 123155 h 366315"/>
                  <a:gd name="connsiteX90" fmla="*/ 28465 w 295991"/>
                  <a:gd name="connsiteY90" fmla="*/ 123155 h 366315"/>
                  <a:gd name="connsiteX91" fmla="*/ 35162 w 295991"/>
                  <a:gd name="connsiteY91" fmla="*/ 129890 h 366315"/>
                  <a:gd name="connsiteX92" fmla="*/ 28465 w 295991"/>
                  <a:gd name="connsiteY92" fmla="*/ 136625 h 366315"/>
                  <a:gd name="connsiteX93" fmla="*/ 23791 w 295991"/>
                  <a:gd name="connsiteY93" fmla="*/ 136625 h 366315"/>
                  <a:gd name="connsiteX94" fmla="*/ 23791 w 295991"/>
                  <a:gd name="connsiteY94" fmla="*/ 158142 h 366315"/>
                  <a:gd name="connsiteX95" fmla="*/ 25744 w 295991"/>
                  <a:gd name="connsiteY95" fmla="*/ 158142 h 366315"/>
                  <a:gd name="connsiteX96" fmla="*/ 28465 w 295991"/>
                  <a:gd name="connsiteY96" fmla="*/ 158142 h 366315"/>
                  <a:gd name="connsiteX97" fmla="*/ 35162 w 295991"/>
                  <a:gd name="connsiteY97" fmla="*/ 164789 h 366315"/>
                  <a:gd name="connsiteX98" fmla="*/ 28465 w 295991"/>
                  <a:gd name="connsiteY98" fmla="*/ 171437 h 366315"/>
                  <a:gd name="connsiteX99" fmla="*/ 23791 w 295991"/>
                  <a:gd name="connsiteY99" fmla="*/ 171437 h 366315"/>
                  <a:gd name="connsiteX100" fmla="*/ 23791 w 295991"/>
                  <a:gd name="connsiteY100" fmla="*/ 193304 h 366315"/>
                  <a:gd name="connsiteX101" fmla="*/ 25744 w 295991"/>
                  <a:gd name="connsiteY101" fmla="*/ 193304 h 366315"/>
                  <a:gd name="connsiteX102" fmla="*/ 28465 w 295991"/>
                  <a:gd name="connsiteY102" fmla="*/ 193304 h 366315"/>
                  <a:gd name="connsiteX103" fmla="*/ 35162 w 295991"/>
                  <a:gd name="connsiteY103" fmla="*/ 199951 h 366315"/>
                  <a:gd name="connsiteX104" fmla="*/ 28465 w 295991"/>
                  <a:gd name="connsiteY104" fmla="*/ 206599 h 366315"/>
                  <a:gd name="connsiteX105" fmla="*/ 23791 w 295991"/>
                  <a:gd name="connsiteY105" fmla="*/ 206599 h 366315"/>
                  <a:gd name="connsiteX106" fmla="*/ 23791 w 295991"/>
                  <a:gd name="connsiteY106" fmla="*/ 228116 h 366315"/>
                  <a:gd name="connsiteX107" fmla="*/ 25744 w 295991"/>
                  <a:gd name="connsiteY107" fmla="*/ 228116 h 366315"/>
                  <a:gd name="connsiteX108" fmla="*/ 28465 w 295991"/>
                  <a:gd name="connsiteY108" fmla="*/ 228116 h 366315"/>
                  <a:gd name="connsiteX109" fmla="*/ 35162 w 295991"/>
                  <a:gd name="connsiteY109" fmla="*/ 234764 h 366315"/>
                  <a:gd name="connsiteX110" fmla="*/ 28465 w 295991"/>
                  <a:gd name="connsiteY110" fmla="*/ 241411 h 366315"/>
                  <a:gd name="connsiteX111" fmla="*/ 23791 w 295991"/>
                  <a:gd name="connsiteY111" fmla="*/ 241411 h 366315"/>
                  <a:gd name="connsiteX112" fmla="*/ 23791 w 295991"/>
                  <a:gd name="connsiteY112" fmla="*/ 263278 h 366315"/>
                  <a:gd name="connsiteX113" fmla="*/ 25744 w 295991"/>
                  <a:gd name="connsiteY113" fmla="*/ 263278 h 366315"/>
                  <a:gd name="connsiteX114" fmla="*/ 28465 w 295991"/>
                  <a:gd name="connsiteY114" fmla="*/ 263278 h 366315"/>
                  <a:gd name="connsiteX115" fmla="*/ 35162 w 295991"/>
                  <a:gd name="connsiteY115" fmla="*/ 269926 h 366315"/>
                  <a:gd name="connsiteX116" fmla="*/ 28465 w 295991"/>
                  <a:gd name="connsiteY116" fmla="*/ 276573 h 366315"/>
                  <a:gd name="connsiteX117" fmla="*/ 23791 w 295991"/>
                  <a:gd name="connsiteY117" fmla="*/ 276573 h 366315"/>
                  <a:gd name="connsiteX118" fmla="*/ 23791 w 295991"/>
                  <a:gd name="connsiteY118" fmla="*/ 298090 h 366315"/>
                  <a:gd name="connsiteX119" fmla="*/ 25744 w 295991"/>
                  <a:gd name="connsiteY119" fmla="*/ 298090 h 366315"/>
                  <a:gd name="connsiteX120" fmla="*/ 28465 w 295991"/>
                  <a:gd name="connsiteY120" fmla="*/ 298090 h 366315"/>
                  <a:gd name="connsiteX121" fmla="*/ 35162 w 295991"/>
                  <a:gd name="connsiteY121" fmla="*/ 304738 h 366315"/>
                  <a:gd name="connsiteX122" fmla="*/ 28465 w 295991"/>
                  <a:gd name="connsiteY122" fmla="*/ 311385 h 366315"/>
                  <a:gd name="connsiteX123" fmla="*/ 23791 w 295991"/>
                  <a:gd name="connsiteY123" fmla="*/ 311385 h 366315"/>
                  <a:gd name="connsiteX124" fmla="*/ 23791 w 295991"/>
                  <a:gd name="connsiteY124" fmla="*/ 352845 h 366315"/>
                  <a:gd name="connsiteX125" fmla="*/ 171599 w 295991"/>
                  <a:gd name="connsiteY125" fmla="*/ 352845 h 366315"/>
                  <a:gd name="connsiteX126" fmla="*/ 171599 w 295991"/>
                  <a:gd name="connsiteY126" fmla="*/ 366315 h 366315"/>
                  <a:gd name="connsiteX127" fmla="*/ 120890 w 295991"/>
                  <a:gd name="connsiteY127" fmla="*/ 366315 h 366315"/>
                  <a:gd name="connsiteX128" fmla="*/ 17030 w 295991"/>
                  <a:gd name="connsiteY128" fmla="*/ 366315 h 366315"/>
                  <a:gd name="connsiteX129" fmla="*/ 10321 w 295991"/>
                  <a:gd name="connsiteY129" fmla="*/ 359618 h 366315"/>
                  <a:gd name="connsiteX130" fmla="*/ 10321 w 295991"/>
                  <a:gd name="connsiteY130" fmla="*/ 327555 h 366315"/>
                  <a:gd name="connsiteX131" fmla="*/ 10321 w 295991"/>
                  <a:gd name="connsiteY131" fmla="*/ 311385 h 366315"/>
                  <a:gd name="connsiteX132" fmla="*/ 9419 w 295991"/>
                  <a:gd name="connsiteY132" fmla="*/ 311385 h 366315"/>
                  <a:gd name="connsiteX133" fmla="*/ 6698 w 295991"/>
                  <a:gd name="connsiteY133" fmla="*/ 311385 h 366315"/>
                  <a:gd name="connsiteX134" fmla="*/ 0 w 295991"/>
                  <a:gd name="connsiteY134" fmla="*/ 304738 h 366315"/>
                  <a:gd name="connsiteX135" fmla="*/ 6698 w 295991"/>
                  <a:gd name="connsiteY135" fmla="*/ 298090 h 366315"/>
                  <a:gd name="connsiteX136" fmla="*/ 10321 w 295991"/>
                  <a:gd name="connsiteY136" fmla="*/ 298090 h 366315"/>
                  <a:gd name="connsiteX137" fmla="*/ 10321 w 295991"/>
                  <a:gd name="connsiteY137" fmla="*/ 297495 h 366315"/>
                  <a:gd name="connsiteX138" fmla="*/ 10321 w 295991"/>
                  <a:gd name="connsiteY138" fmla="*/ 276573 h 366315"/>
                  <a:gd name="connsiteX139" fmla="*/ 9419 w 295991"/>
                  <a:gd name="connsiteY139" fmla="*/ 276573 h 366315"/>
                  <a:gd name="connsiteX140" fmla="*/ 6698 w 295991"/>
                  <a:gd name="connsiteY140" fmla="*/ 276573 h 366315"/>
                  <a:gd name="connsiteX141" fmla="*/ 0 w 295991"/>
                  <a:gd name="connsiteY141" fmla="*/ 269926 h 366315"/>
                  <a:gd name="connsiteX142" fmla="*/ 6698 w 295991"/>
                  <a:gd name="connsiteY142" fmla="*/ 263278 h 366315"/>
                  <a:gd name="connsiteX143" fmla="*/ 10321 w 295991"/>
                  <a:gd name="connsiteY143" fmla="*/ 263278 h 366315"/>
                  <a:gd name="connsiteX144" fmla="*/ 10321 w 295991"/>
                  <a:gd name="connsiteY144" fmla="*/ 243127 h 366315"/>
                  <a:gd name="connsiteX145" fmla="*/ 10321 w 295991"/>
                  <a:gd name="connsiteY145" fmla="*/ 241411 h 366315"/>
                  <a:gd name="connsiteX146" fmla="*/ 9419 w 295991"/>
                  <a:gd name="connsiteY146" fmla="*/ 241411 h 366315"/>
                  <a:gd name="connsiteX147" fmla="*/ 6698 w 295991"/>
                  <a:gd name="connsiteY147" fmla="*/ 241411 h 366315"/>
                  <a:gd name="connsiteX148" fmla="*/ 0 w 295991"/>
                  <a:gd name="connsiteY148" fmla="*/ 234764 h 366315"/>
                  <a:gd name="connsiteX149" fmla="*/ 6698 w 295991"/>
                  <a:gd name="connsiteY149" fmla="*/ 228116 h 366315"/>
                  <a:gd name="connsiteX150" fmla="*/ 10321 w 295991"/>
                  <a:gd name="connsiteY150" fmla="*/ 228116 h 366315"/>
                  <a:gd name="connsiteX151" fmla="*/ 10321 w 295991"/>
                  <a:gd name="connsiteY151" fmla="*/ 213306 h 366315"/>
                  <a:gd name="connsiteX152" fmla="*/ 10321 w 295991"/>
                  <a:gd name="connsiteY152" fmla="*/ 206599 h 366315"/>
                  <a:gd name="connsiteX153" fmla="*/ 9419 w 295991"/>
                  <a:gd name="connsiteY153" fmla="*/ 206599 h 366315"/>
                  <a:gd name="connsiteX154" fmla="*/ 6698 w 295991"/>
                  <a:gd name="connsiteY154" fmla="*/ 206599 h 366315"/>
                  <a:gd name="connsiteX155" fmla="*/ 0 w 295991"/>
                  <a:gd name="connsiteY155" fmla="*/ 199951 h 366315"/>
                  <a:gd name="connsiteX156" fmla="*/ 6698 w 295991"/>
                  <a:gd name="connsiteY156" fmla="*/ 193304 h 366315"/>
                  <a:gd name="connsiteX157" fmla="*/ 10321 w 295991"/>
                  <a:gd name="connsiteY157" fmla="*/ 193304 h 366315"/>
                  <a:gd name="connsiteX158" fmla="*/ 10321 w 295991"/>
                  <a:gd name="connsiteY158" fmla="*/ 186105 h 366315"/>
                  <a:gd name="connsiteX159" fmla="*/ 10321 w 295991"/>
                  <a:gd name="connsiteY159" fmla="*/ 171437 h 366315"/>
                  <a:gd name="connsiteX160" fmla="*/ 9419 w 295991"/>
                  <a:gd name="connsiteY160" fmla="*/ 171437 h 366315"/>
                  <a:gd name="connsiteX161" fmla="*/ 6698 w 295991"/>
                  <a:gd name="connsiteY161" fmla="*/ 171437 h 366315"/>
                  <a:gd name="connsiteX162" fmla="*/ 0 w 295991"/>
                  <a:gd name="connsiteY162" fmla="*/ 164789 h 366315"/>
                  <a:gd name="connsiteX163" fmla="*/ 6698 w 295991"/>
                  <a:gd name="connsiteY163" fmla="*/ 158142 h 366315"/>
                  <a:gd name="connsiteX164" fmla="*/ 10321 w 295991"/>
                  <a:gd name="connsiteY164" fmla="*/ 158142 h 366315"/>
                  <a:gd name="connsiteX165" fmla="*/ 10321 w 295991"/>
                  <a:gd name="connsiteY165" fmla="*/ 139079 h 366315"/>
                  <a:gd name="connsiteX166" fmla="*/ 10321 w 295991"/>
                  <a:gd name="connsiteY166" fmla="*/ 136625 h 366315"/>
                  <a:gd name="connsiteX167" fmla="*/ 9419 w 295991"/>
                  <a:gd name="connsiteY167" fmla="*/ 136625 h 366315"/>
                  <a:gd name="connsiteX168" fmla="*/ 6698 w 295991"/>
                  <a:gd name="connsiteY168" fmla="*/ 136625 h 366315"/>
                  <a:gd name="connsiteX169" fmla="*/ 0 w 295991"/>
                  <a:gd name="connsiteY169" fmla="*/ 129890 h 366315"/>
                  <a:gd name="connsiteX170" fmla="*/ 6698 w 295991"/>
                  <a:gd name="connsiteY170" fmla="*/ 123155 h 366315"/>
                  <a:gd name="connsiteX171" fmla="*/ 10321 w 295991"/>
                  <a:gd name="connsiteY171" fmla="*/ 123155 h 366315"/>
                  <a:gd name="connsiteX172" fmla="*/ 10321 w 295991"/>
                  <a:gd name="connsiteY172" fmla="*/ 112806 h 366315"/>
                  <a:gd name="connsiteX173" fmla="*/ 10321 w 295991"/>
                  <a:gd name="connsiteY173" fmla="*/ 101463 h 366315"/>
                  <a:gd name="connsiteX174" fmla="*/ 9419 w 295991"/>
                  <a:gd name="connsiteY174" fmla="*/ 101463 h 366315"/>
                  <a:gd name="connsiteX175" fmla="*/ 6698 w 295991"/>
                  <a:gd name="connsiteY175" fmla="*/ 101463 h 366315"/>
                  <a:gd name="connsiteX176" fmla="*/ 0 w 295991"/>
                  <a:gd name="connsiteY176" fmla="*/ 94815 h 366315"/>
                  <a:gd name="connsiteX177" fmla="*/ 6698 w 295991"/>
                  <a:gd name="connsiteY177" fmla="*/ 88168 h 366315"/>
                  <a:gd name="connsiteX178" fmla="*/ 10321 w 295991"/>
                  <a:gd name="connsiteY178" fmla="*/ 88168 h 366315"/>
                  <a:gd name="connsiteX179" fmla="*/ 10321 w 295991"/>
                  <a:gd name="connsiteY179" fmla="*/ 83525 h 366315"/>
                  <a:gd name="connsiteX180" fmla="*/ 10321 w 295991"/>
                  <a:gd name="connsiteY180" fmla="*/ 66301 h 366315"/>
                  <a:gd name="connsiteX181" fmla="*/ 9419 w 295991"/>
                  <a:gd name="connsiteY181" fmla="*/ 66301 h 366315"/>
                  <a:gd name="connsiteX182" fmla="*/ 6698 w 295991"/>
                  <a:gd name="connsiteY182" fmla="*/ 66301 h 366315"/>
                  <a:gd name="connsiteX183" fmla="*/ 0 w 295991"/>
                  <a:gd name="connsiteY183" fmla="*/ 59653 h 366315"/>
                  <a:gd name="connsiteX184" fmla="*/ 6698 w 295991"/>
                  <a:gd name="connsiteY184" fmla="*/ 53006 h 366315"/>
                  <a:gd name="connsiteX185" fmla="*/ 10321 w 295991"/>
                  <a:gd name="connsiteY185" fmla="*/ 53006 h 366315"/>
                  <a:gd name="connsiteX186" fmla="*/ 10321 w 295991"/>
                  <a:gd name="connsiteY186" fmla="*/ 48776 h 366315"/>
                  <a:gd name="connsiteX187" fmla="*/ 10321 w 295991"/>
                  <a:gd name="connsiteY187" fmla="*/ 6697 h 366315"/>
                  <a:gd name="connsiteX188" fmla="*/ 17030 w 295991"/>
                  <a:gd name="connsiteY188" fmla="*/ 0 h 36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Lst>
                <a:rect l="l" t="t" r="r" b="b"/>
                <a:pathLst>
                  <a:path w="295991" h="366315">
                    <a:moveTo>
                      <a:pt x="269926" y="150095"/>
                    </a:moveTo>
                    <a:lnTo>
                      <a:pt x="269926" y="159187"/>
                    </a:lnTo>
                    <a:lnTo>
                      <a:pt x="269926" y="176510"/>
                    </a:lnTo>
                    <a:lnTo>
                      <a:pt x="271783" y="176510"/>
                    </a:lnTo>
                    <a:cubicBezTo>
                      <a:pt x="274284" y="176510"/>
                      <a:pt x="276428" y="176510"/>
                      <a:pt x="278265" y="176510"/>
                    </a:cubicBezTo>
                    <a:lnTo>
                      <a:pt x="282589" y="176510"/>
                    </a:lnTo>
                    <a:lnTo>
                      <a:pt x="282589" y="165634"/>
                    </a:lnTo>
                    <a:lnTo>
                      <a:pt x="282589" y="150095"/>
                    </a:lnTo>
                    <a:lnTo>
                      <a:pt x="280664" y="150095"/>
                    </a:lnTo>
                    <a:cubicBezTo>
                      <a:pt x="278163" y="150095"/>
                      <a:pt x="276019" y="150095"/>
                      <a:pt x="274182" y="150095"/>
                    </a:cubicBezTo>
                    <a:close/>
                    <a:moveTo>
                      <a:pt x="269926" y="109860"/>
                    </a:moveTo>
                    <a:lnTo>
                      <a:pt x="269926" y="129465"/>
                    </a:lnTo>
                    <a:lnTo>
                      <a:pt x="269926" y="136625"/>
                    </a:lnTo>
                    <a:lnTo>
                      <a:pt x="271783" y="136625"/>
                    </a:lnTo>
                    <a:cubicBezTo>
                      <a:pt x="274284" y="136625"/>
                      <a:pt x="276428" y="136625"/>
                      <a:pt x="278265" y="136625"/>
                    </a:cubicBezTo>
                    <a:lnTo>
                      <a:pt x="282589" y="136625"/>
                    </a:lnTo>
                    <a:lnTo>
                      <a:pt x="282589" y="125371"/>
                    </a:lnTo>
                    <a:cubicBezTo>
                      <a:pt x="282589" y="121914"/>
                      <a:pt x="282589" y="118674"/>
                      <a:pt x="282589" y="115635"/>
                    </a:cubicBezTo>
                    <a:lnTo>
                      <a:pt x="282589" y="109860"/>
                    </a:lnTo>
                    <a:lnTo>
                      <a:pt x="280664" y="109860"/>
                    </a:lnTo>
                    <a:cubicBezTo>
                      <a:pt x="278163" y="109860"/>
                      <a:pt x="276019" y="109860"/>
                      <a:pt x="274182" y="109860"/>
                    </a:cubicBezTo>
                    <a:close/>
                    <a:moveTo>
                      <a:pt x="121755" y="91142"/>
                    </a:moveTo>
                    <a:lnTo>
                      <a:pt x="121755" y="108460"/>
                    </a:lnTo>
                    <a:lnTo>
                      <a:pt x="199427" y="108460"/>
                    </a:lnTo>
                    <a:lnTo>
                      <a:pt x="199427" y="91142"/>
                    </a:lnTo>
                    <a:close/>
                    <a:moveTo>
                      <a:pt x="114991" y="77672"/>
                    </a:moveTo>
                    <a:cubicBezTo>
                      <a:pt x="206191" y="77672"/>
                      <a:pt x="206191" y="77672"/>
                      <a:pt x="206191" y="77672"/>
                    </a:cubicBezTo>
                    <a:cubicBezTo>
                      <a:pt x="209879" y="77672"/>
                      <a:pt x="212897" y="80689"/>
                      <a:pt x="212897" y="84377"/>
                    </a:cubicBezTo>
                    <a:cubicBezTo>
                      <a:pt x="212897" y="115224"/>
                      <a:pt x="212897" y="115224"/>
                      <a:pt x="212897" y="115224"/>
                    </a:cubicBezTo>
                    <a:cubicBezTo>
                      <a:pt x="212897" y="118913"/>
                      <a:pt x="209879" y="121930"/>
                      <a:pt x="206191" y="121930"/>
                    </a:cubicBezTo>
                    <a:cubicBezTo>
                      <a:pt x="114991" y="121930"/>
                      <a:pt x="114991" y="121930"/>
                      <a:pt x="114991" y="121930"/>
                    </a:cubicBezTo>
                    <a:cubicBezTo>
                      <a:pt x="111303" y="121930"/>
                      <a:pt x="108285" y="118913"/>
                      <a:pt x="108285" y="115224"/>
                    </a:cubicBezTo>
                    <a:cubicBezTo>
                      <a:pt x="108285" y="84377"/>
                      <a:pt x="108285" y="84377"/>
                      <a:pt x="108285" y="84377"/>
                    </a:cubicBezTo>
                    <a:cubicBezTo>
                      <a:pt x="108285" y="80689"/>
                      <a:pt x="111303" y="77672"/>
                      <a:pt x="114991" y="77672"/>
                    </a:cubicBezTo>
                    <a:close/>
                    <a:moveTo>
                      <a:pt x="269926" y="70064"/>
                    </a:moveTo>
                    <a:lnTo>
                      <a:pt x="269926" y="96390"/>
                    </a:lnTo>
                    <a:lnTo>
                      <a:pt x="271783" y="96390"/>
                    </a:lnTo>
                    <a:cubicBezTo>
                      <a:pt x="274284" y="96390"/>
                      <a:pt x="276428" y="96390"/>
                      <a:pt x="278265" y="96390"/>
                    </a:cubicBezTo>
                    <a:lnTo>
                      <a:pt x="282589" y="96390"/>
                    </a:lnTo>
                    <a:lnTo>
                      <a:pt x="282589" y="93397"/>
                    </a:lnTo>
                    <a:cubicBezTo>
                      <a:pt x="282589" y="70064"/>
                      <a:pt x="282589" y="70064"/>
                      <a:pt x="282589" y="70064"/>
                    </a:cubicBezTo>
                    <a:cubicBezTo>
                      <a:pt x="277731" y="70064"/>
                      <a:pt x="274088" y="70064"/>
                      <a:pt x="271355" y="70064"/>
                    </a:cubicBezTo>
                    <a:close/>
                    <a:moveTo>
                      <a:pt x="17030" y="0"/>
                    </a:moveTo>
                    <a:cubicBezTo>
                      <a:pt x="263218" y="0"/>
                      <a:pt x="263218" y="0"/>
                      <a:pt x="263218" y="0"/>
                    </a:cubicBezTo>
                    <a:cubicBezTo>
                      <a:pt x="266907" y="0"/>
                      <a:pt x="269926" y="3014"/>
                      <a:pt x="269926" y="6697"/>
                    </a:cubicBezTo>
                    <a:cubicBezTo>
                      <a:pt x="269926" y="17726"/>
                      <a:pt x="269926" y="28410"/>
                      <a:pt x="269926" y="38760"/>
                    </a:cubicBezTo>
                    <a:lnTo>
                      <a:pt x="269926" y="56679"/>
                    </a:lnTo>
                    <a:lnTo>
                      <a:pt x="271783" y="56679"/>
                    </a:lnTo>
                    <a:cubicBezTo>
                      <a:pt x="289290" y="56679"/>
                      <a:pt x="289290" y="56679"/>
                      <a:pt x="289290" y="56679"/>
                    </a:cubicBezTo>
                    <a:cubicBezTo>
                      <a:pt x="292976" y="56679"/>
                      <a:pt x="295991" y="59691"/>
                      <a:pt x="295991" y="63372"/>
                    </a:cubicBezTo>
                    <a:cubicBezTo>
                      <a:pt x="295991" y="70869"/>
                      <a:pt x="295991" y="78132"/>
                      <a:pt x="295991" y="85169"/>
                    </a:cubicBezTo>
                    <a:lnTo>
                      <a:pt x="295991" y="103125"/>
                    </a:lnTo>
                    <a:lnTo>
                      <a:pt x="295991" y="105604"/>
                    </a:lnTo>
                    <a:cubicBezTo>
                      <a:pt x="295991" y="118783"/>
                      <a:pt x="295991" y="131084"/>
                      <a:pt x="295991" y="142565"/>
                    </a:cubicBezTo>
                    <a:lnTo>
                      <a:pt x="295991" y="143360"/>
                    </a:lnTo>
                    <a:lnTo>
                      <a:pt x="295991" y="159178"/>
                    </a:lnTo>
                    <a:lnTo>
                      <a:pt x="295991" y="183158"/>
                    </a:lnTo>
                    <a:lnTo>
                      <a:pt x="295991" y="184546"/>
                    </a:lnTo>
                    <a:cubicBezTo>
                      <a:pt x="295991" y="191968"/>
                      <a:pt x="295991" y="198925"/>
                      <a:pt x="295991" y="205448"/>
                    </a:cubicBezTo>
                    <a:lnTo>
                      <a:pt x="295991" y="216438"/>
                    </a:lnTo>
                    <a:lnTo>
                      <a:pt x="282589" y="216438"/>
                    </a:lnTo>
                    <a:lnTo>
                      <a:pt x="282589" y="213840"/>
                    </a:lnTo>
                    <a:cubicBezTo>
                      <a:pt x="282589" y="205998"/>
                      <a:pt x="282589" y="198583"/>
                      <a:pt x="282589" y="191573"/>
                    </a:cubicBezTo>
                    <a:lnTo>
                      <a:pt x="282589" y="189805"/>
                    </a:lnTo>
                    <a:lnTo>
                      <a:pt x="280664" y="189805"/>
                    </a:lnTo>
                    <a:cubicBezTo>
                      <a:pt x="278163" y="189805"/>
                      <a:pt x="276019" y="189805"/>
                      <a:pt x="274182" y="189805"/>
                    </a:cubicBezTo>
                    <a:lnTo>
                      <a:pt x="269926" y="189805"/>
                    </a:lnTo>
                    <a:lnTo>
                      <a:pt x="269926" y="198792"/>
                    </a:lnTo>
                    <a:lnTo>
                      <a:pt x="269926" y="216438"/>
                    </a:lnTo>
                    <a:lnTo>
                      <a:pt x="256456" y="216438"/>
                    </a:lnTo>
                    <a:lnTo>
                      <a:pt x="256456" y="183158"/>
                    </a:lnTo>
                    <a:lnTo>
                      <a:pt x="256456" y="143360"/>
                    </a:lnTo>
                    <a:lnTo>
                      <a:pt x="256456" y="103125"/>
                    </a:lnTo>
                    <a:lnTo>
                      <a:pt x="256456" y="63372"/>
                    </a:lnTo>
                    <a:lnTo>
                      <a:pt x="256456" y="13470"/>
                    </a:lnTo>
                    <a:lnTo>
                      <a:pt x="23791" y="13470"/>
                    </a:lnTo>
                    <a:lnTo>
                      <a:pt x="23791" y="53006"/>
                    </a:lnTo>
                    <a:lnTo>
                      <a:pt x="25744" y="53006"/>
                    </a:lnTo>
                    <a:cubicBezTo>
                      <a:pt x="28465" y="53006"/>
                      <a:pt x="28465" y="53006"/>
                      <a:pt x="28465" y="53006"/>
                    </a:cubicBezTo>
                    <a:cubicBezTo>
                      <a:pt x="32148" y="53006"/>
                      <a:pt x="35162" y="55997"/>
                      <a:pt x="35162" y="59653"/>
                    </a:cubicBezTo>
                    <a:cubicBezTo>
                      <a:pt x="35162" y="63309"/>
                      <a:pt x="32148" y="66301"/>
                      <a:pt x="28465" y="66301"/>
                    </a:cubicBezTo>
                    <a:lnTo>
                      <a:pt x="23791" y="66301"/>
                    </a:lnTo>
                    <a:lnTo>
                      <a:pt x="23791" y="88168"/>
                    </a:lnTo>
                    <a:lnTo>
                      <a:pt x="25744" y="88168"/>
                    </a:lnTo>
                    <a:cubicBezTo>
                      <a:pt x="28465" y="88168"/>
                      <a:pt x="28465" y="88168"/>
                      <a:pt x="28465" y="88168"/>
                    </a:cubicBezTo>
                    <a:cubicBezTo>
                      <a:pt x="32148" y="88168"/>
                      <a:pt x="35162" y="91159"/>
                      <a:pt x="35162" y="94815"/>
                    </a:cubicBezTo>
                    <a:cubicBezTo>
                      <a:pt x="35162" y="98471"/>
                      <a:pt x="32148" y="101463"/>
                      <a:pt x="28465" y="101463"/>
                    </a:cubicBezTo>
                    <a:lnTo>
                      <a:pt x="23791" y="101463"/>
                    </a:lnTo>
                    <a:lnTo>
                      <a:pt x="23791" y="123155"/>
                    </a:lnTo>
                    <a:lnTo>
                      <a:pt x="25744" y="123155"/>
                    </a:lnTo>
                    <a:cubicBezTo>
                      <a:pt x="28465" y="123155"/>
                      <a:pt x="28465" y="123155"/>
                      <a:pt x="28465" y="123155"/>
                    </a:cubicBezTo>
                    <a:cubicBezTo>
                      <a:pt x="32148" y="123155"/>
                      <a:pt x="35162" y="126185"/>
                      <a:pt x="35162" y="129890"/>
                    </a:cubicBezTo>
                    <a:cubicBezTo>
                      <a:pt x="35162" y="133594"/>
                      <a:pt x="32148" y="136625"/>
                      <a:pt x="28465" y="136625"/>
                    </a:cubicBezTo>
                    <a:lnTo>
                      <a:pt x="23791" y="136625"/>
                    </a:lnTo>
                    <a:lnTo>
                      <a:pt x="23791" y="158142"/>
                    </a:lnTo>
                    <a:lnTo>
                      <a:pt x="25744" y="158142"/>
                    </a:lnTo>
                    <a:cubicBezTo>
                      <a:pt x="28465" y="158142"/>
                      <a:pt x="28465" y="158142"/>
                      <a:pt x="28465" y="158142"/>
                    </a:cubicBezTo>
                    <a:cubicBezTo>
                      <a:pt x="32148" y="158142"/>
                      <a:pt x="35162" y="161133"/>
                      <a:pt x="35162" y="164789"/>
                    </a:cubicBezTo>
                    <a:cubicBezTo>
                      <a:pt x="35162" y="168446"/>
                      <a:pt x="32148" y="171437"/>
                      <a:pt x="28465" y="171437"/>
                    </a:cubicBezTo>
                    <a:lnTo>
                      <a:pt x="23791" y="171437"/>
                    </a:lnTo>
                    <a:lnTo>
                      <a:pt x="23791" y="193304"/>
                    </a:lnTo>
                    <a:lnTo>
                      <a:pt x="25744" y="193304"/>
                    </a:lnTo>
                    <a:cubicBezTo>
                      <a:pt x="28465" y="193304"/>
                      <a:pt x="28465" y="193304"/>
                      <a:pt x="28465" y="193304"/>
                    </a:cubicBezTo>
                    <a:cubicBezTo>
                      <a:pt x="32148" y="193304"/>
                      <a:pt x="35162" y="196295"/>
                      <a:pt x="35162" y="199951"/>
                    </a:cubicBezTo>
                    <a:cubicBezTo>
                      <a:pt x="35162" y="203608"/>
                      <a:pt x="32148" y="206599"/>
                      <a:pt x="28465" y="206599"/>
                    </a:cubicBezTo>
                    <a:lnTo>
                      <a:pt x="23791" y="206599"/>
                    </a:lnTo>
                    <a:lnTo>
                      <a:pt x="23791" y="228116"/>
                    </a:lnTo>
                    <a:lnTo>
                      <a:pt x="25744" y="228116"/>
                    </a:lnTo>
                    <a:cubicBezTo>
                      <a:pt x="28465" y="228116"/>
                      <a:pt x="28465" y="228116"/>
                      <a:pt x="28465" y="228116"/>
                    </a:cubicBezTo>
                    <a:cubicBezTo>
                      <a:pt x="32148" y="228116"/>
                      <a:pt x="35162" y="231107"/>
                      <a:pt x="35162" y="234764"/>
                    </a:cubicBezTo>
                    <a:cubicBezTo>
                      <a:pt x="35162" y="238420"/>
                      <a:pt x="32148" y="241411"/>
                      <a:pt x="28465" y="241411"/>
                    </a:cubicBezTo>
                    <a:lnTo>
                      <a:pt x="23791" y="241411"/>
                    </a:lnTo>
                    <a:lnTo>
                      <a:pt x="23791" y="263278"/>
                    </a:lnTo>
                    <a:lnTo>
                      <a:pt x="25744" y="263278"/>
                    </a:lnTo>
                    <a:cubicBezTo>
                      <a:pt x="28465" y="263278"/>
                      <a:pt x="28465" y="263278"/>
                      <a:pt x="28465" y="263278"/>
                    </a:cubicBezTo>
                    <a:cubicBezTo>
                      <a:pt x="32148" y="263278"/>
                      <a:pt x="35162" y="266270"/>
                      <a:pt x="35162" y="269926"/>
                    </a:cubicBezTo>
                    <a:cubicBezTo>
                      <a:pt x="35162" y="273582"/>
                      <a:pt x="32148" y="276573"/>
                      <a:pt x="28465" y="276573"/>
                    </a:cubicBezTo>
                    <a:lnTo>
                      <a:pt x="23791" y="276573"/>
                    </a:lnTo>
                    <a:lnTo>
                      <a:pt x="23791" y="298090"/>
                    </a:lnTo>
                    <a:lnTo>
                      <a:pt x="25744" y="298090"/>
                    </a:lnTo>
                    <a:cubicBezTo>
                      <a:pt x="28465" y="298090"/>
                      <a:pt x="28465" y="298090"/>
                      <a:pt x="28465" y="298090"/>
                    </a:cubicBezTo>
                    <a:cubicBezTo>
                      <a:pt x="32148" y="298090"/>
                      <a:pt x="35162" y="301082"/>
                      <a:pt x="35162" y="304738"/>
                    </a:cubicBezTo>
                    <a:cubicBezTo>
                      <a:pt x="35162" y="308394"/>
                      <a:pt x="32148" y="311385"/>
                      <a:pt x="28465" y="311385"/>
                    </a:cubicBezTo>
                    <a:lnTo>
                      <a:pt x="23791" y="311385"/>
                    </a:lnTo>
                    <a:lnTo>
                      <a:pt x="23791" y="352845"/>
                    </a:lnTo>
                    <a:lnTo>
                      <a:pt x="171599" y="352845"/>
                    </a:lnTo>
                    <a:lnTo>
                      <a:pt x="171599" y="366315"/>
                    </a:lnTo>
                    <a:lnTo>
                      <a:pt x="120890" y="366315"/>
                    </a:lnTo>
                    <a:cubicBezTo>
                      <a:pt x="17030" y="366315"/>
                      <a:pt x="17030" y="366315"/>
                      <a:pt x="17030" y="366315"/>
                    </a:cubicBezTo>
                    <a:cubicBezTo>
                      <a:pt x="13340" y="366315"/>
                      <a:pt x="10321" y="363302"/>
                      <a:pt x="10321" y="359618"/>
                    </a:cubicBezTo>
                    <a:cubicBezTo>
                      <a:pt x="10321" y="348590"/>
                      <a:pt x="10321" y="337905"/>
                      <a:pt x="10321" y="327555"/>
                    </a:cubicBezTo>
                    <a:lnTo>
                      <a:pt x="10321" y="311385"/>
                    </a:lnTo>
                    <a:lnTo>
                      <a:pt x="9419" y="311385"/>
                    </a:lnTo>
                    <a:cubicBezTo>
                      <a:pt x="6698" y="311385"/>
                      <a:pt x="6698" y="311385"/>
                      <a:pt x="6698" y="311385"/>
                    </a:cubicBezTo>
                    <a:cubicBezTo>
                      <a:pt x="3014" y="311385"/>
                      <a:pt x="0" y="308394"/>
                      <a:pt x="0" y="304738"/>
                    </a:cubicBezTo>
                    <a:cubicBezTo>
                      <a:pt x="0" y="301082"/>
                      <a:pt x="3014" y="298090"/>
                      <a:pt x="6698" y="298090"/>
                    </a:cubicBezTo>
                    <a:lnTo>
                      <a:pt x="10321" y="298090"/>
                    </a:lnTo>
                    <a:lnTo>
                      <a:pt x="10321" y="297495"/>
                    </a:lnTo>
                    <a:lnTo>
                      <a:pt x="10321" y="276573"/>
                    </a:lnTo>
                    <a:lnTo>
                      <a:pt x="9419" y="276573"/>
                    </a:lnTo>
                    <a:cubicBezTo>
                      <a:pt x="6698" y="276573"/>
                      <a:pt x="6698" y="276573"/>
                      <a:pt x="6698" y="276573"/>
                    </a:cubicBezTo>
                    <a:cubicBezTo>
                      <a:pt x="3014" y="276573"/>
                      <a:pt x="0" y="273582"/>
                      <a:pt x="0" y="269926"/>
                    </a:cubicBezTo>
                    <a:cubicBezTo>
                      <a:pt x="0" y="266270"/>
                      <a:pt x="3014" y="263278"/>
                      <a:pt x="6698" y="263278"/>
                    </a:cubicBezTo>
                    <a:lnTo>
                      <a:pt x="10321" y="263278"/>
                    </a:lnTo>
                    <a:lnTo>
                      <a:pt x="10321" y="243127"/>
                    </a:lnTo>
                    <a:lnTo>
                      <a:pt x="10321" y="241411"/>
                    </a:lnTo>
                    <a:lnTo>
                      <a:pt x="9419" y="241411"/>
                    </a:lnTo>
                    <a:cubicBezTo>
                      <a:pt x="6698" y="241411"/>
                      <a:pt x="6698" y="241411"/>
                      <a:pt x="6698" y="241411"/>
                    </a:cubicBezTo>
                    <a:cubicBezTo>
                      <a:pt x="3014" y="241411"/>
                      <a:pt x="0" y="238420"/>
                      <a:pt x="0" y="234764"/>
                    </a:cubicBezTo>
                    <a:cubicBezTo>
                      <a:pt x="0" y="231107"/>
                      <a:pt x="3014" y="228116"/>
                      <a:pt x="6698" y="228116"/>
                    </a:cubicBezTo>
                    <a:lnTo>
                      <a:pt x="10321" y="228116"/>
                    </a:lnTo>
                    <a:lnTo>
                      <a:pt x="10321" y="213306"/>
                    </a:lnTo>
                    <a:lnTo>
                      <a:pt x="10321" y="206599"/>
                    </a:lnTo>
                    <a:lnTo>
                      <a:pt x="9419" y="206599"/>
                    </a:lnTo>
                    <a:cubicBezTo>
                      <a:pt x="6698" y="206599"/>
                      <a:pt x="6698" y="206599"/>
                      <a:pt x="6698" y="206599"/>
                    </a:cubicBezTo>
                    <a:cubicBezTo>
                      <a:pt x="3014" y="206599"/>
                      <a:pt x="0" y="203608"/>
                      <a:pt x="0" y="199951"/>
                    </a:cubicBezTo>
                    <a:cubicBezTo>
                      <a:pt x="0" y="196295"/>
                      <a:pt x="3014" y="193304"/>
                      <a:pt x="6698" y="193304"/>
                    </a:cubicBezTo>
                    <a:lnTo>
                      <a:pt x="10321" y="193304"/>
                    </a:lnTo>
                    <a:lnTo>
                      <a:pt x="10321" y="186105"/>
                    </a:lnTo>
                    <a:lnTo>
                      <a:pt x="10321" y="171437"/>
                    </a:lnTo>
                    <a:lnTo>
                      <a:pt x="9419" y="171437"/>
                    </a:lnTo>
                    <a:cubicBezTo>
                      <a:pt x="6698" y="171437"/>
                      <a:pt x="6698" y="171437"/>
                      <a:pt x="6698" y="171437"/>
                    </a:cubicBezTo>
                    <a:cubicBezTo>
                      <a:pt x="3014" y="171437"/>
                      <a:pt x="0" y="168446"/>
                      <a:pt x="0" y="164789"/>
                    </a:cubicBezTo>
                    <a:cubicBezTo>
                      <a:pt x="0" y="161133"/>
                      <a:pt x="3014" y="158142"/>
                      <a:pt x="6698" y="158142"/>
                    </a:cubicBezTo>
                    <a:lnTo>
                      <a:pt x="10321" y="158142"/>
                    </a:lnTo>
                    <a:lnTo>
                      <a:pt x="10321" y="139079"/>
                    </a:lnTo>
                    <a:lnTo>
                      <a:pt x="10321" y="136625"/>
                    </a:lnTo>
                    <a:lnTo>
                      <a:pt x="9419" y="136625"/>
                    </a:lnTo>
                    <a:cubicBezTo>
                      <a:pt x="6698" y="136625"/>
                      <a:pt x="6698" y="136625"/>
                      <a:pt x="6698" y="136625"/>
                    </a:cubicBezTo>
                    <a:cubicBezTo>
                      <a:pt x="3014" y="136625"/>
                      <a:pt x="0" y="133594"/>
                      <a:pt x="0" y="129890"/>
                    </a:cubicBezTo>
                    <a:cubicBezTo>
                      <a:pt x="0" y="126185"/>
                      <a:pt x="3014" y="123155"/>
                      <a:pt x="6698" y="123155"/>
                    </a:cubicBezTo>
                    <a:lnTo>
                      <a:pt x="10321" y="123155"/>
                    </a:lnTo>
                    <a:lnTo>
                      <a:pt x="10321" y="112806"/>
                    </a:lnTo>
                    <a:lnTo>
                      <a:pt x="10321" y="101463"/>
                    </a:lnTo>
                    <a:lnTo>
                      <a:pt x="9419" y="101463"/>
                    </a:lnTo>
                    <a:cubicBezTo>
                      <a:pt x="6698" y="101463"/>
                      <a:pt x="6698" y="101463"/>
                      <a:pt x="6698" y="101463"/>
                    </a:cubicBezTo>
                    <a:cubicBezTo>
                      <a:pt x="3014" y="101463"/>
                      <a:pt x="0" y="98471"/>
                      <a:pt x="0" y="94815"/>
                    </a:cubicBezTo>
                    <a:cubicBezTo>
                      <a:pt x="0" y="91159"/>
                      <a:pt x="3014" y="88168"/>
                      <a:pt x="6698" y="88168"/>
                    </a:cubicBezTo>
                    <a:lnTo>
                      <a:pt x="10321" y="88168"/>
                    </a:lnTo>
                    <a:lnTo>
                      <a:pt x="10321" y="83525"/>
                    </a:lnTo>
                    <a:lnTo>
                      <a:pt x="10321" y="66301"/>
                    </a:lnTo>
                    <a:lnTo>
                      <a:pt x="9419" y="66301"/>
                    </a:lnTo>
                    <a:cubicBezTo>
                      <a:pt x="6698" y="66301"/>
                      <a:pt x="6698" y="66301"/>
                      <a:pt x="6698" y="66301"/>
                    </a:cubicBezTo>
                    <a:cubicBezTo>
                      <a:pt x="3014" y="66301"/>
                      <a:pt x="0" y="63309"/>
                      <a:pt x="0" y="59653"/>
                    </a:cubicBezTo>
                    <a:cubicBezTo>
                      <a:pt x="0" y="55997"/>
                      <a:pt x="3014" y="53006"/>
                      <a:pt x="6698" y="53006"/>
                    </a:cubicBezTo>
                    <a:lnTo>
                      <a:pt x="10321" y="53006"/>
                    </a:lnTo>
                    <a:lnTo>
                      <a:pt x="10321" y="48776"/>
                    </a:lnTo>
                    <a:cubicBezTo>
                      <a:pt x="10321" y="6697"/>
                      <a:pt x="10321" y="6697"/>
                      <a:pt x="10321" y="6697"/>
                    </a:cubicBezTo>
                    <a:cubicBezTo>
                      <a:pt x="10321" y="3014"/>
                      <a:pt x="13340" y="0"/>
                      <a:pt x="17030" y="0"/>
                    </a:cubicBezTo>
                    <a:close/>
                  </a:path>
                </a:pathLst>
              </a:custGeom>
              <a:grpFill/>
              <a:ln>
                <a:noFill/>
              </a:ln>
            </p:spPr>
            <p:txBody>
              <a:bodyPr vert="horz" wrap="square" lIns="89619" tIns="44810" rIns="89619" bIns="44810" numCol="1" anchor="t" anchorCtr="0" compatLnSpc="1">
                <a:prstTxWarp prst="textNoShape">
                  <a:avLst/>
                </a:prstTxWarp>
                <a:noAutofit/>
              </a:bodyPr>
              <a:lstStyle/>
              <a:p>
                <a:pPr defTabSz="896203">
                  <a:defRPr/>
                </a:pPr>
                <a:endParaRPr lang="en-US" sz="1764" kern="0">
                  <a:solidFill>
                    <a:schemeClr val="accent2">
                      <a:lumMod val="75000"/>
                    </a:schemeClr>
                  </a:solidFill>
                </a:endParaRPr>
              </a:p>
            </p:txBody>
          </p:sp>
          <p:grpSp>
            <p:nvGrpSpPr>
              <p:cNvPr id="664" name="Group 14"/>
              <p:cNvGrpSpPr>
                <a:grpSpLocks noChangeAspect="1"/>
              </p:cNvGrpSpPr>
              <p:nvPr/>
            </p:nvGrpSpPr>
            <p:grpSpPr bwMode="auto">
              <a:xfrm>
                <a:off x="2409106" y="3620181"/>
                <a:ext cx="188035" cy="233340"/>
                <a:chOff x="2986" y="1098"/>
                <a:chExt cx="1710" cy="2122"/>
              </a:xfrm>
              <a:grpFill/>
            </p:grpSpPr>
            <p:sp>
              <p:nvSpPr>
                <p:cNvPr id="665" name="Freeform 664"/>
                <p:cNvSpPr>
                  <a:spLocks/>
                </p:cNvSpPr>
                <p:nvPr/>
              </p:nvSpPr>
              <p:spPr bwMode="auto">
                <a:xfrm>
                  <a:off x="2986" y="1454"/>
                  <a:ext cx="1710" cy="380"/>
                </a:xfrm>
                <a:custGeom>
                  <a:avLst/>
                  <a:gdLst>
                    <a:gd name="T0" fmla="*/ 442 w 885"/>
                    <a:gd name="T1" fmla="*/ 198 h 198"/>
                    <a:gd name="T2" fmla="*/ 0 w 885"/>
                    <a:gd name="T3" fmla="*/ 24 h 198"/>
                    <a:gd name="T4" fmla="*/ 24 w 885"/>
                    <a:gd name="T5" fmla="*/ 0 h 198"/>
                    <a:gd name="T6" fmla="*/ 48 w 885"/>
                    <a:gd name="T7" fmla="*/ 24 h 198"/>
                    <a:gd name="T8" fmla="*/ 442 w 885"/>
                    <a:gd name="T9" fmla="*/ 150 h 198"/>
                    <a:gd name="T10" fmla="*/ 837 w 885"/>
                    <a:gd name="T11" fmla="*/ 24 h 198"/>
                    <a:gd name="T12" fmla="*/ 861 w 885"/>
                    <a:gd name="T13" fmla="*/ 0 h 198"/>
                    <a:gd name="T14" fmla="*/ 885 w 885"/>
                    <a:gd name="T15" fmla="*/ 24 h 198"/>
                    <a:gd name="T16" fmla="*/ 442 w 885"/>
                    <a:gd name="T17" fmla="*/ 19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5" h="198">
                      <a:moveTo>
                        <a:pt x="442" y="198"/>
                      </a:moveTo>
                      <a:cubicBezTo>
                        <a:pt x="228" y="198"/>
                        <a:pt x="0" y="137"/>
                        <a:pt x="0" y="24"/>
                      </a:cubicBezTo>
                      <a:cubicBezTo>
                        <a:pt x="0" y="11"/>
                        <a:pt x="11" y="0"/>
                        <a:pt x="24" y="0"/>
                      </a:cubicBezTo>
                      <a:cubicBezTo>
                        <a:pt x="37" y="0"/>
                        <a:pt x="48" y="11"/>
                        <a:pt x="48" y="24"/>
                      </a:cubicBezTo>
                      <a:cubicBezTo>
                        <a:pt x="48" y="84"/>
                        <a:pt x="217" y="150"/>
                        <a:pt x="442" y="150"/>
                      </a:cubicBezTo>
                      <a:cubicBezTo>
                        <a:pt x="668" y="150"/>
                        <a:pt x="837" y="84"/>
                        <a:pt x="837" y="24"/>
                      </a:cubicBezTo>
                      <a:cubicBezTo>
                        <a:pt x="837" y="11"/>
                        <a:pt x="847" y="0"/>
                        <a:pt x="861" y="0"/>
                      </a:cubicBezTo>
                      <a:cubicBezTo>
                        <a:pt x="874" y="0"/>
                        <a:pt x="885" y="11"/>
                        <a:pt x="885" y="24"/>
                      </a:cubicBezTo>
                      <a:cubicBezTo>
                        <a:pt x="885" y="137"/>
                        <a:pt x="657" y="198"/>
                        <a:pt x="442" y="1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dirty="0">
                    <a:solidFill>
                      <a:schemeClr val="accent2">
                        <a:lumMod val="75000"/>
                      </a:schemeClr>
                    </a:solidFill>
                  </a:endParaRPr>
                </a:p>
              </p:txBody>
            </p:sp>
            <p:sp>
              <p:nvSpPr>
                <p:cNvPr id="666" name="Freeform 665"/>
                <p:cNvSpPr>
                  <a:spLocks noEditPoints="1"/>
                </p:cNvSpPr>
                <p:nvPr/>
              </p:nvSpPr>
              <p:spPr bwMode="auto">
                <a:xfrm>
                  <a:off x="2986" y="1098"/>
                  <a:ext cx="1710" cy="2122"/>
                </a:xfrm>
                <a:custGeom>
                  <a:avLst/>
                  <a:gdLst>
                    <a:gd name="T0" fmla="*/ 895 w 895"/>
                    <a:gd name="T1" fmla="*/ 216 h 1108"/>
                    <a:gd name="T2" fmla="*/ 895 w 895"/>
                    <a:gd name="T3" fmla="*/ 213 h 1108"/>
                    <a:gd name="T4" fmla="*/ 750 w 895"/>
                    <a:gd name="T5" fmla="*/ 53 h 1108"/>
                    <a:gd name="T6" fmla="*/ 447 w 895"/>
                    <a:gd name="T7" fmla="*/ 0 h 1108"/>
                    <a:gd name="T8" fmla="*/ 145 w 895"/>
                    <a:gd name="T9" fmla="*/ 53 h 1108"/>
                    <a:gd name="T10" fmla="*/ 0 w 895"/>
                    <a:gd name="T11" fmla="*/ 213 h 1108"/>
                    <a:gd name="T12" fmla="*/ 0 w 895"/>
                    <a:gd name="T13" fmla="*/ 216 h 1108"/>
                    <a:gd name="T14" fmla="*/ 0 w 895"/>
                    <a:gd name="T15" fmla="*/ 219 h 1108"/>
                    <a:gd name="T16" fmla="*/ 0 w 895"/>
                    <a:gd name="T17" fmla="*/ 225 h 1108"/>
                    <a:gd name="T18" fmla="*/ 0 w 895"/>
                    <a:gd name="T19" fmla="*/ 895 h 1108"/>
                    <a:gd name="T20" fmla="*/ 145 w 895"/>
                    <a:gd name="T21" fmla="*/ 1055 h 1108"/>
                    <a:gd name="T22" fmla="*/ 447 w 895"/>
                    <a:gd name="T23" fmla="*/ 1108 h 1108"/>
                    <a:gd name="T24" fmla="*/ 750 w 895"/>
                    <a:gd name="T25" fmla="*/ 1055 h 1108"/>
                    <a:gd name="T26" fmla="*/ 895 w 895"/>
                    <a:gd name="T27" fmla="*/ 895 h 1108"/>
                    <a:gd name="T28" fmla="*/ 895 w 895"/>
                    <a:gd name="T29" fmla="*/ 225 h 1108"/>
                    <a:gd name="T30" fmla="*/ 894 w 895"/>
                    <a:gd name="T31" fmla="*/ 220 h 1108"/>
                    <a:gd name="T32" fmla="*/ 895 w 895"/>
                    <a:gd name="T33" fmla="*/ 216 h 1108"/>
                    <a:gd name="T34" fmla="*/ 847 w 895"/>
                    <a:gd name="T35" fmla="*/ 895 h 1108"/>
                    <a:gd name="T36" fmla="*/ 731 w 895"/>
                    <a:gd name="T37" fmla="*/ 1011 h 1108"/>
                    <a:gd name="T38" fmla="*/ 447 w 895"/>
                    <a:gd name="T39" fmla="*/ 1060 h 1108"/>
                    <a:gd name="T40" fmla="*/ 163 w 895"/>
                    <a:gd name="T41" fmla="*/ 1011 h 1108"/>
                    <a:gd name="T42" fmla="*/ 48 w 895"/>
                    <a:gd name="T43" fmla="*/ 895 h 1108"/>
                    <a:gd name="T44" fmla="*/ 48 w 895"/>
                    <a:gd name="T45" fmla="*/ 232 h 1108"/>
                    <a:gd name="T46" fmla="*/ 49 w 895"/>
                    <a:gd name="T47" fmla="*/ 222 h 1108"/>
                    <a:gd name="T48" fmla="*/ 48 w 895"/>
                    <a:gd name="T49" fmla="*/ 212 h 1108"/>
                    <a:gd name="T50" fmla="*/ 163 w 895"/>
                    <a:gd name="T51" fmla="*/ 98 h 1108"/>
                    <a:gd name="T52" fmla="*/ 447 w 895"/>
                    <a:gd name="T53" fmla="*/ 48 h 1108"/>
                    <a:gd name="T54" fmla="*/ 731 w 895"/>
                    <a:gd name="T55" fmla="*/ 98 h 1108"/>
                    <a:gd name="T56" fmla="*/ 847 w 895"/>
                    <a:gd name="T57" fmla="*/ 212 h 1108"/>
                    <a:gd name="T58" fmla="*/ 846 w 895"/>
                    <a:gd name="T59" fmla="*/ 222 h 1108"/>
                    <a:gd name="T60" fmla="*/ 847 w 895"/>
                    <a:gd name="T61" fmla="*/ 232 h 1108"/>
                    <a:gd name="T62" fmla="*/ 847 w 895"/>
                    <a:gd name="T63" fmla="*/ 895 h 1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95" h="1108">
                      <a:moveTo>
                        <a:pt x="895" y="216"/>
                      </a:moveTo>
                      <a:cubicBezTo>
                        <a:pt x="895" y="215"/>
                        <a:pt x="895" y="214"/>
                        <a:pt x="895" y="213"/>
                      </a:cubicBezTo>
                      <a:cubicBezTo>
                        <a:pt x="895" y="149"/>
                        <a:pt x="843" y="92"/>
                        <a:pt x="750" y="53"/>
                      </a:cubicBezTo>
                      <a:cubicBezTo>
                        <a:pt x="668" y="19"/>
                        <a:pt x="561" y="0"/>
                        <a:pt x="447" y="0"/>
                      </a:cubicBezTo>
                      <a:cubicBezTo>
                        <a:pt x="334" y="0"/>
                        <a:pt x="227" y="19"/>
                        <a:pt x="145" y="53"/>
                      </a:cubicBezTo>
                      <a:cubicBezTo>
                        <a:pt x="51" y="92"/>
                        <a:pt x="0" y="149"/>
                        <a:pt x="0" y="213"/>
                      </a:cubicBezTo>
                      <a:cubicBezTo>
                        <a:pt x="0" y="214"/>
                        <a:pt x="0" y="215"/>
                        <a:pt x="0" y="216"/>
                      </a:cubicBezTo>
                      <a:cubicBezTo>
                        <a:pt x="0" y="219"/>
                        <a:pt x="0" y="219"/>
                        <a:pt x="0" y="219"/>
                      </a:cubicBezTo>
                      <a:cubicBezTo>
                        <a:pt x="0" y="221"/>
                        <a:pt x="0" y="223"/>
                        <a:pt x="0" y="225"/>
                      </a:cubicBezTo>
                      <a:cubicBezTo>
                        <a:pt x="0" y="895"/>
                        <a:pt x="0" y="895"/>
                        <a:pt x="0" y="895"/>
                      </a:cubicBezTo>
                      <a:cubicBezTo>
                        <a:pt x="0" y="960"/>
                        <a:pt x="51" y="1016"/>
                        <a:pt x="145" y="1055"/>
                      </a:cubicBezTo>
                      <a:cubicBezTo>
                        <a:pt x="227" y="1089"/>
                        <a:pt x="334" y="1108"/>
                        <a:pt x="447" y="1108"/>
                      </a:cubicBezTo>
                      <a:cubicBezTo>
                        <a:pt x="561" y="1108"/>
                        <a:pt x="668" y="1089"/>
                        <a:pt x="750" y="1055"/>
                      </a:cubicBezTo>
                      <a:cubicBezTo>
                        <a:pt x="843" y="1016"/>
                        <a:pt x="895" y="960"/>
                        <a:pt x="895" y="895"/>
                      </a:cubicBezTo>
                      <a:cubicBezTo>
                        <a:pt x="895" y="225"/>
                        <a:pt x="895" y="225"/>
                        <a:pt x="895" y="225"/>
                      </a:cubicBezTo>
                      <a:cubicBezTo>
                        <a:pt x="895" y="223"/>
                        <a:pt x="895" y="221"/>
                        <a:pt x="894" y="220"/>
                      </a:cubicBezTo>
                      <a:lnTo>
                        <a:pt x="895" y="216"/>
                      </a:lnTo>
                      <a:close/>
                      <a:moveTo>
                        <a:pt x="847" y="895"/>
                      </a:moveTo>
                      <a:cubicBezTo>
                        <a:pt x="847" y="939"/>
                        <a:pt x="806" y="980"/>
                        <a:pt x="731" y="1011"/>
                      </a:cubicBezTo>
                      <a:cubicBezTo>
                        <a:pt x="655" y="1042"/>
                        <a:pt x="554" y="1060"/>
                        <a:pt x="447" y="1060"/>
                      </a:cubicBezTo>
                      <a:cubicBezTo>
                        <a:pt x="340" y="1060"/>
                        <a:pt x="239" y="1042"/>
                        <a:pt x="163" y="1011"/>
                      </a:cubicBezTo>
                      <a:cubicBezTo>
                        <a:pt x="89" y="980"/>
                        <a:pt x="48" y="939"/>
                        <a:pt x="48" y="895"/>
                      </a:cubicBezTo>
                      <a:cubicBezTo>
                        <a:pt x="48" y="232"/>
                        <a:pt x="48" y="232"/>
                        <a:pt x="48" y="232"/>
                      </a:cubicBezTo>
                      <a:cubicBezTo>
                        <a:pt x="49" y="229"/>
                        <a:pt x="49" y="226"/>
                        <a:pt x="49" y="222"/>
                      </a:cubicBezTo>
                      <a:cubicBezTo>
                        <a:pt x="48" y="212"/>
                        <a:pt x="48" y="212"/>
                        <a:pt x="48" y="212"/>
                      </a:cubicBezTo>
                      <a:cubicBezTo>
                        <a:pt x="48" y="169"/>
                        <a:pt x="89" y="128"/>
                        <a:pt x="163" y="98"/>
                      </a:cubicBezTo>
                      <a:cubicBezTo>
                        <a:pt x="239" y="66"/>
                        <a:pt x="340" y="48"/>
                        <a:pt x="447" y="48"/>
                      </a:cubicBezTo>
                      <a:cubicBezTo>
                        <a:pt x="554" y="48"/>
                        <a:pt x="655" y="66"/>
                        <a:pt x="731" y="98"/>
                      </a:cubicBezTo>
                      <a:cubicBezTo>
                        <a:pt x="805" y="128"/>
                        <a:pt x="846" y="169"/>
                        <a:pt x="847" y="212"/>
                      </a:cubicBezTo>
                      <a:cubicBezTo>
                        <a:pt x="846" y="222"/>
                        <a:pt x="846" y="222"/>
                        <a:pt x="846" y="222"/>
                      </a:cubicBezTo>
                      <a:cubicBezTo>
                        <a:pt x="846" y="226"/>
                        <a:pt x="846" y="229"/>
                        <a:pt x="847" y="232"/>
                      </a:cubicBezTo>
                      <a:lnTo>
                        <a:pt x="847" y="8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chemeClr val="accent2">
                        <a:lumMod val="75000"/>
                      </a:schemeClr>
                    </a:solidFill>
                  </a:endParaRPr>
                </a:p>
              </p:txBody>
            </p:sp>
          </p:grpSp>
        </p:grpSp>
        <p:sp>
          <p:nvSpPr>
            <p:cNvPr id="667" name="TextBox 666"/>
            <p:cNvSpPr txBox="1"/>
            <p:nvPr/>
          </p:nvSpPr>
          <p:spPr>
            <a:xfrm>
              <a:off x="14557223" y="3100719"/>
              <a:ext cx="1149449" cy="642942"/>
            </a:xfrm>
            <a:prstGeom prst="rect">
              <a:avLst/>
            </a:prstGeom>
            <a:noFill/>
            <a:ln w="19050">
              <a:solidFill>
                <a:srgbClr val="0078D7"/>
              </a:solidFill>
            </a:ln>
          </p:spPr>
          <p:txBody>
            <a:bodyPr wrap="none" lIns="0" tIns="0" rIns="0" bIns="0" rtlCol="0" anchor="ctr">
              <a:noAutofit/>
            </a:bodyPr>
            <a:lstStyle/>
            <a:p>
              <a:pPr algn="ctr" defTabSz="896203">
                <a:spcAft>
                  <a:spcPts val="588"/>
                </a:spcAft>
                <a:defRPr/>
              </a:pPr>
              <a:r>
                <a:rPr lang="en-US" sz="1176" kern="0" dirty="0">
                  <a:solidFill>
                    <a:schemeClr val="accent2">
                      <a:lumMod val="75000"/>
                    </a:schemeClr>
                  </a:solidFill>
                </a:rPr>
                <a:t>DATA</a:t>
              </a:r>
              <a:br>
                <a:rPr lang="en-US" sz="1176" kern="0" dirty="0">
                  <a:solidFill>
                    <a:schemeClr val="accent2">
                      <a:lumMod val="75000"/>
                    </a:schemeClr>
                  </a:solidFill>
                </a:rPr>
              </a:br>
              <a:r>
                <a:rPr lang="en-US" sz="1176" kern="0" dirty="0">
                  <a:solidFill>
                    <a:schemeClr val="accent2">
                      <a:lumMod val="75000"/>
                    </a:schemeClr>
                  </a:solidFill>
                </a:rPr>
                <a:t>CONSUMPTION</a:t>
              </a:r>
            </a:p>
          </p:txBody>
        </p:sp>
        <p:cxnSp>
          <p:nvCxnSpPr>
            <p:cNvPr id="668" name="Straight Connector 667"/>
            <p:cNvCxnSpPr>
              <a:stCxn id="574" idx="6"/>
              <a:endCxn id="588" idx="2"/>
            </p:cNvCxnSpPr>
            <p:nvPr/>
          </p:nvCxnSpPr>
          <p:spPr>
            <a:xfrm>
              <a:off x="11160249" y="3393670"/>
              <a:ext cx="168632" cy="0"/>
            </a:xfrm>
            <a:prstGeom prst="line">
              <a:avLst/>
            </a:prstGeom>
            <a:grpFill/>
            <a:ln>
              <a:solidFill>
                <a:srgbClr val="0078D7"/>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669" name="Group 668"/>
            <p:cNvGrpSpPr/>
            <p:nvPr/>
          </p:nvGrpSpPr>
          <p:grpSpPr>
            <a:xfrm rot="10800000">
              <a:off x="14222242" y="3274811"/>
              <a:ext cx="314332" cy="234950"/>
              <a:chOff x="4329106" y="3274811"/>
              <a:chExt cx="414344" cy="234950"/>
            </a:xfrm>
            <a:grpFill/>
          </p:grpSpPr>
          <p:cxnSp>
            <p:nvCxnSpPr>
              <p:cNvPr id="670" name="Straight Connector 669"/>
              <p:cNvCxnSpPr/>
              <p:nvPr/>
            </p:nvCxnSpPr>
            <p:spPr>
              <a:xfrm>
                <a:off x="4329107" y="3382761"/>
                <a:ext cx="414343" cy="0"/>
              </a:xfrm>
              <a:prstGeom prst="line">
                <a:avLst/>
              </a:prstGeom>
              <a:grpFill/>
              <a:ln>
                <a:solidFill>
                  <a:srgbClr val="0078D7"/>
                </a:solidFill>
                <a:prstDash val="dash"/>
                <a:headEnd type="none"/>
                <a:tailEnd type="oval"/>
              </a:ln>
            </p:spPr>
            <p:style>
              <a:lnRef idx="1">
                <a:schemeClr val="accent1"/>
              </a:lnRef>
              <a:fillRef idx="0">
                <a:schemeClr val="accent1"/>
              </a:fillRef>
              <a:effectRef idx="0">
                <a:schemeClr val="accent1"/>
              </a:effectRef>
              <a:fontRef idx="minor">
                <a:schemeClr val="tx1"/>
              </a:fontRef>
            </p:style>
          </p:cxnSp>
          <p:cxnSp>
            <p:nvCxnSpPr>
              <p:cNvPr id="671" name="Straight Connector 670"/>
              <p:cNvCxnSpPr/>
              <p:nvPr/>
            </p:nvCxnSpPr>
            <p:spPr>
              <a:xfrm rot="10800000" flipH="1">
                <a:off x="4329106" y="3274811"/>
                <a:ext cx="152745" cy="0"/>
              </a:xfrm>
              <a:prstGeom prst="line">
                <a:avLst/>
              </a:prstGeom>
              <a:grpFill/>
              <a:ln>
                <a:solidFill>
                  <a:srgbClr val="0078D7"/>
                </a:solidFill>
                <a:prstDash val="dash"/>
                <a:headEnd type="none"/>
                <a:tailEnd type="oval"/>
              </a:ln>
            </p:spPr>
            <p:style>
              <a:lnRef idx="1">
                <a:schemeClr val="accent1"/>
              </a:lnRef>
              <a:fillRef idx="0">
                <a:schemeClr val="accent1"/>
              </a:fillRef>
              <a:effectRef idx="0">
                <a:schemeClr val="accent1"/>
              </a:effectRef>
              <a:fontRef idx="minor">
                <a:schemeClr val="tx1"/>
              </a:fontRef>
            </p:style>
          </p:cxnSp>
          <p:cxnSp>
            <p:nvCxnSpPr>
              <p:cNvPr id="672" name="Straight Connector 671"/>
              <p:cNvCxnSpPr/>
              <p:nvPr/>
            </p:nvCxnSpPr>
            <p:spPr>
              <a:xfrm rot="10800000" flipH="1">
                <a:off x="4329106" y="3509761"/>
                <a:ext cx="286675" cy="0"/>
              </a:xfrm>
              <a:prstGeom prst="line">
                <a:avLst/>
              </a:prstGeom>
              <a:grpFill/>
              <a:ln>
                <a:solidFill>
                  <a:srgbClr val="0078D7"/>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pSp>
        <p:sp>
          <p:nvSpPr>
            <p:cNvPr id="673" name="Freeform 672"/>
            <p:cNvSpPr/>
            <p:nvPr/>
          </p:nvSpPr>
          <p:spPr bwMode="auto">
            <a:xfrm>
              <a:off x="14770907" y="4121149"/>
              <a:ext cx="767389" cy="523875"/>
            </a:xfrm>
            <a:custGeom>
              <a:avLst/>
              <a:gdLst>
                <a:gd name="connsiteX0" fmla="*/ 2437823 w 6083300"/>
                <a:gd name="connsiteY0" fmla="*/ 3786803 h 4152900"/>
                <a:gd name="connsiteX1" fmla="*/ 2307294 w 6083300"/>
                <a:gd name="connsiteY1" fmla="*/ 3873324 h 4152900"/>
                <a:gd name="connsiteX2" fmla="*/ 2296161 w 6083300"/>
                <a:gd name="connsiteY2" fmla="*/ 3928465 h 4152900"/>
                <a:gd name="connsiteX3" fmla="*/ 2307294 w 6083300"/>
                <a:gd name="connsiteY3" fmla="*/ 3983606 h 4152900"/>
                <a:gd name="connsiteX4" fmla="*/ 2437823 w 6083300"/>
                <a:gd name="connsiteY4" fmla="*/ 4070126 h 4152900"/>
                <a:gd name="connsiteX5" fmla="*/ 3688509 w 6083300"/>
                <a:gd name="connsiteY5" fmla="*/ 4070127 h 4152900"/>
                <a:gd name="connsiteX6" fmla="*/ 3830171 w 6083300"/>
                <a:gd name="connsiteY6" fmla="*/ 3928465 h 4152900"/>
                <a:gd name="connsiteX7" fmla="*/ 3830172 w 6083300"/>
                <a:gd name="connsiteY7" fmla="*/ 3928465 h 4152900"/>
                <a:gd name="connsiteX8" fmla="*/ 3688510 w 6083300"/>
                <a:gd name="connsiteY8" fmla="*/ 3786803 h 4152900"/>
                <a:gd name="connsiteX9" fmla="*/ 332080 w 6083300"/>
                <a:gd name="connsiteY9" fmla="*/ 165100 h 4152900"/>
                <a:gd name="connsiteX10" fmla="*/ 198419 w 6083300"/>
                <a:gd name="connsiteY10" fmla="*/ 298761 h 4152900"/>
                <a:gd name="connsiteX11" fmla="*/ 198419 w 6083300"/>
                <a:gd name="connsiteY11" fmla="*/ 3527675 h 4152900"/>
                <a:gd name="connsiteX12" fmla="*/ 332080 w 6083300"/>
                <a:gd name="connsiteY12" fmla="*/ 3661336 h 4152900"/>
                <a:gd name="connsiteX13" fmla="*/ 5751220 w 6083300"/>
                <a:gd name="connsiteY13" fmla="*/ 3661336 h 4152900"/>
                <a:gd name="connsiteX14" fmla="*/ 5884881 w 6083300"/>
                <a:gd name="connsiteY14" fmla="*/ 3527675 h 4152900"/>
                <a:gd name="connsiteX15" fmla="*/ 5884881 w 6083300"/>
                <a:gd name="connsiteY15" fmla="*/ 298761 h 4152900"/>
                <a:gd name="connsiteX16" fmla="*/ 5751220 w 6083300"/>
                <a:gd name="connsiteY16" fmla="*/ 165100 h 4152900"/>
                <a:gd name="connsiteX17" fmla="*/ 158765 w 6083300"/>
                <a:gd name="connsiteY17" fmla="*/ 0 h 4152900"/>
                <a:gd name="connsiteX18" fmla="*/ 5924535 w 6083300"/>
                <a:gd name="connsiteY18" fmla="*/ 0 h 4152900"/>
                <a:gd name="connsiteX19" fmla="*/ 6083300 w 6083300"/>
                <a:gd name="connsiteY19" fmla="*/ 158765 h 4152900"/>
                <a:gd name="connsiteX20" fmla="*/ 6083300 w 6083300"/>
                <a:gd name="connsiteY20" fmla="*/ 3994135 h 4152900"/>
                <a:gd name="connsiteX21" fmla="*/ 5924535 w 6083300"/>
                <a:gd name="connsiteY21" fmla="*/ 4152900 h 4152900"/>
                <a:gd name="connsiteX22" fmla="*/ 158765 w 6083300"/>
                <a:gd name="connsiteY22" fmla="*/ 4152900 h 4152900"/>
                <a:gd name="connsiteX23" fmla="*/ 0 w 6083300"/>
                <a:gd name="connsiteY23" fmla="*/ 3994135 h 4152900"/>
                <a:gd name="connsiteX24" fmla="*/ 0 w 6083300"/>
                <a:gd name="connsiteY24" fmla="*/ 158765 h 4152900"/>
                <a:gd name="connsiteX25" fmla="*/ 158765 w 6083300"/>
                <a:gd name="connsiteY25" fmla="*/ 0 h 415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083300" h="4152900">
                  <a:moveTo>
                    <a:pt x="2437823" y="3786803"/>
                  </a:moveTo>
                  <a:cubicBezTo>
                    <a:pt x="2379145" y="3786803"/>
                    <a:pt x="2328799" y="3822479"/>
                    <a:pt x="2307294" y="3873324"/>
                  </a:cubicBezTo>
                  <a:lnTo>
                    <a:pt x="2296161" y="3928465"/>
                  </a:lnTo>
                  <a:lnTo>
                    <a:pt x="2307294" y="3983606"/>
                  </a:lnTo>
                  <a:cubicBezTo>
                    <a:pt x="2328799" y="4034450"/>
                    <a:pt x="2379145" y="4070126"/>
                    <a:pt x="2437823" y="4070126"/>
                  </a:cubicBezTo>
                  <a:lnTo>
                    <a:pt x="3688509" y="4070127"/>
                  </a:lnTo>
                  <a:cubicBezTo>
                    <a:pt x="3766747" y="4070127"/>
                    <a:pt x="3830171" y="4006703"/>
                    <a:pt x="3830171" y="3928465"/>
                  </a:cubicBezTo>
                  <a:lnTo>
                    <a:pt x="3830172" y="3928465"/>
                  </a:lnTo>
                  <a:cubicBezTo>
                    <a:pt x="3830172" y="3850227"/>
                    <a:pt x="3766748" y="3786803"/>
                    <a:pt x="3688510" y="3786803"/>
                  </a:cubicBezTo>
                  <a:close/>
                  <a:moveTo>
                    <a:pt x="332080" y="165100"/>
                  </a:moveTo>
                  <a:cubicBezTo>
                    <a:pt x="258261" y="165100"/>
                    <a:pt x="198419" y="224942"/>
                    <a:pt x="198419" y="298761"/>
                  </a:cubicBezTo>
                  <a:lnTo>
                    <a:pt x="198419" y="3527675"/>
                  </a:lnTo>
                  <a:cubicBezTo>
                    <a:pt x="198419" y="3601494"/>
                    <a:pt x="258261" y="3661336"/>
                    <a:pt x="332080" y="3661336"/>
                  </a:cubicBezTo>
                  <a:lnTo>
                    <a:pt x="5751220" y="3661336"/>
                  </a:lnTo>
                  <a:cubicBezTo>
                    <a:pt x="5825039" y="3661336"/>
                    <a:pt x="5884881" y="3601494"/>
                    <a:pt x="5884881" y="3527675"/>
                  </a:cubicBezTo>
                  <a:lnTo>
                    <a:pt x="5884881" y="298761"/>
                  </a:lnTo>
                  <a:cubicBezTo>
                    <a:pt x="5884881" y="224942"/>
                    <a:pt x="5825039" y="165100"/>
                    <a:pt x="5751220" y="165100"/>
                  </a:cubicBezTo>
                  <a:close/>
                  <a:moveTo>
                    <a:pt x="158765" y="0"/>
                  </a:moveTo>
                  <a:lnTo>
                    <a:pt x="5924535" y="0"/>
                  </a:lnTo>
                  <a:cubicBezTo>
                    <a:pt x="6012218" y="0"/>
                    <a:pt x="6083300" y="71082"/>
                    <a:pt x="6083300" y="158765"/>
                  </a:cubicBezTo>
                  <a:lnTo>
                    <a:pt x="6083300" y="3994135"/>
                  </a:lnTo>
                  <a:cubicBezTo>
                    <a:pt x="6083300" y="4081818"/>
                    <a:pt x="6012218" y="4152900"/>
                    <a:pt x="5924535" y="4152900"/>
                  </a:cubicBezTo>
                  <a:lnTo>
                    <a:pt x="158765" y="4152900"/>
                  </a:lnTo>
                  <a:cubicBezTo>
                    <a:pt x="71082" y="4152900"/>
                    <a:pt x="0" y="4081818"/>
                    <a:pt x="0" y="3994135"/>
                  </a:cubicBezTo>
                  <a:lnTo>
                    <a:pt x="0" y="158765"/>
                  </a:lnTo>
                  <a:cubicBezTo>
                    <a:pt x="0" y="71082"/>
                    <a:pt x="71082" y="0"/>
                    <a:pt x="158765" y="0"/>
                  </a:cubicBez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674" name="Rectangle 673"/>
            <p:cNvSpPr/>
            <p:nvPr/>
          </p:nvSpPr>
          <p:spPr bwMode="auto">
            <a:xfrm>
              <a:off x="14848315" y="4553160"/>
              <a:ext cx="626954" cy="8142"/>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675" name="Rectangle 674"/>
            <p:cNvSpPr/>
            <p:nvPr/>
          </p:nvSpPr>
          <p:spPr bwMode="auto">
            <a:xfrm>
              <a:off x="14908025" y="4428312"/>
              <a:ext cx="42068" cy="124848"/>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676" name="Rectangle 675"/>
            <p:cNvSpPr/>
            <p:nvPr/>
          </p:nvSpPr>
          <p:spPr bwMode="auto">
            <a:xfrm>
              <a:off x="14985376" y="4428312"/>
              <a:ext cx="42068" cy="124848"/>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677" name="Rectangle 676"/>
            <p:cNvSpPr/>
            <p:nvPr/>
          </p:nvSpPr>
          <p:spPr bwMode="auto">
            <a:xfrm>
              <a:off x="15062728" y="4450533"/>
              <a:ext cx="42068" cy="102626"/>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678" name="Rectangle 677"/>
            <p:cNvSpPr/>
            <p:nvPr/>
          </p:nvSpPr>
          <p:spPr bwMode="auto">
            <a:xfrm>
              <a:off x="15140079" y="4480332"/>
              <a:ext cx="42068" cy="72828"/>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679" name="Rectangle 678"/>
            <p:cNvSpPr/>
            <p:nvPr/>
          </p:nvSpPr>
          <p:spPr bwMode="auto">
            <a:xfrm>
              <a:off x="15214717" y="4502440"/>
              <a:ext cx="42068" cy="50719"/>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680" name="Rectangle 679"/>
            <p:cNvSpPr/>
            <p:nvPr/>
          </p:nvSpPr>
          <p:spPr bwMode="auto">
            <a:xfrm>
              <a:off x="15296139" y="4514936"/>
              <a:ext cx="42068" cy="38223"/>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681" name="Rectangle 680"/>
            <p:cNvSpPr/>
            <p:nvPr/>
          </p:nvSpPr>
          <p:spPr bwMode="auto">
            <a:xfrm>
              <a:off x="15370777" y="4509734"/>
              <a:ext cx="42068" cy="43425"/>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682" name="Rectangle 681"/>
            <p:cNvSpPr/>
            <p:nvPr/>
          </p:nvSpPr>
          <p:spPr bwMode="auto">
            <a:xfrm>
              <a:off x="15370777" y="4391672"/>
              <a:ext cx="42068" cy="120777"/>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683" name="Rectangle 682"/>
            <p:cNvSpPr/>
            <p:nvPr/>
          </p:nvSpPr>
          <p:spPr bwMode="auto">
            <a:xfrm>
              <a:off x="15296139" y="4391672"/>
              <a:ext cx="42068" cy="123265"/>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684" name="Rectangle 683"/>
            <p:cNvSpPr/>
            <p:nvPr/>
          </p:nvSpPr>
          <p:spPr bwMode="auto">
            <a:xfrm>
              <a:off x="15214717" y="4391672"/>
              <a:ext cx="42068" cy="110769"/>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685" name="Rectangle 684"/>
            <p:cNvSpPr/>
            <p:nvPr/>
          </p:nvSpPr>
          <p:spPr bwMode="auto">
            <a:xfrm>
              <a:off x="15140079" y="4391672"/>
              <a:ext cx="42068" cy="88660"/>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686" name="Rectangle 685"/>
            <p:cNvSpPr/>
            <p:nvPr/>
          </p:nvSpPr>
          <p:spPr bwMode="auto">
            <a:xfrm>
              <a:off x="15062728" y="4391672"/>
              <a:ext cx="42068" cy="58862"/>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687" name="Rectangle 686"/>
            <p:cNvSpPr/>
            <p:nvPr/>
          </p:nvSpPr>
          <p:spPr bwMode="auto">
            <a:xfrm>
              <a:off x="14985376" y="4391672"/>
              <a:ext cx="42068" cy="36640"/>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688" name="Rectangle 687"/>
            <p:cNvSpPr/>
            <p:nvPr/>
          </p:nvSpPr>
          <p:spPr bwMode="auto">
            <a:xfrm>
              <a:off x="14908025" y="4391672"/>
              <a:ext cx="42068" cy="36640"/>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689" name="Oval 688"/>
            <p:cNvSpPr/>
            <p:nvPr/>
          </p:nvSpPr>
          <p:spPr bwMode="auto">
            <a:xfrm>
              <a:off x="14843961" y="4277510"/>
              <a:ext cx="38450" cy="38450"/>
            </a:xfrm>
            <a:prstGeom prst="ellips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690" name="Oval 689"/>
            <p:cNvSpPr/>
            <p:nvPr/>
          </p:nvSpPr>
          <p:spPr bwMode="auto">
            <a:xfrm>
              <a:off x="14894907" y="4208301"/>
              <a:ext cx="38450" cy="38450"/>
            </a:xfrm>
            <a:prstGeom prst="ellips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691" name="Oval 690"/>
            <p:cNvSpPr/>
            <p:nvPr/>
          </p:nvSpPr>
          <p:spPr bwMode="auto">
            <a:xfrm>
              <a:off x="14950093" y="4247599"/>
              <a:ext cx="38450" cy="38450"/>
            </a:xfrm>
            <a:prstGeom prst="ellips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692" name="Oval 691"/>
            <p:cNvSpPr/>
            <p:nvPr/>
          </p:nvSpPr>
          <p:spPr bwMode="auto">
            <a:xfrm>
              <a:off x="14996233" y="4166902"/>
              <a:ext cx="38450" cy="38450"/>
            </a:xfrm>
            <a:prstGeom prst="ellips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693" name="Oval 692"/>
            <p:cNvSpPr/>
            <p:nvPr/>
          </p:nvSpPr>
          <p:spPr bwMode="auto">
            <a:xfrm>
              <a:off x="15073207" y="4278528"/>
              <a:ext cx="38450" cy="38450"/>
            </a:xfrm>
            <a:prstGeom prst="ellips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cxnSp>
          <p:nvCxnSpPr>
            <p:cNvPr id="694" name="Straight Connector 693"/>
            <p:cNvCxnSpPr/>
            <p:nvPr/>
          </p:nvCxnSpPr>
          <p:spPr>
            <a:xfrm flipV="1">
              <a:off x="14874541" y="4244107"/>
              <a:ext cx="28837" cy="37849"/>
            </a:xfrm>
            <a:prstGeom prst="line">
              <a:avLst/>
            </a:prstGeom>
            <a:grpFill/>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5" name="Straight Connector 694"/>
            <p:cNvCxnSpPr>
              <a:endCxn id="691" idx="1"/>
            </p:cNvCxnSpPr>
            <p:nvPr/>
          </p:nvCxnSpPr>
          <p:spPr>
            <a:xfrm>
              <a:off x="14929511" y="4239301"/>
              <a:ext cx="24632" cy="19225"/>
            </a:xfrm>
            <a:prstGeom prst="line">
              <a:avLst/>
            </a:prstGeom>
            <a:grpFill/>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6" name="Straight Connector 695"/>
            <p:cNvCxnSpPr/>
            <p:nvPr/>
          </p:nvCxnSpPr>
          <p:spPr>
            <a:xfrm flipV="1">
              <a:off x="14978475" y="4203856"/>
              <a:ext cx="28236" cy="46560"/>
            </a:xfrm>
            <a:prstGeom prst="line">
              <a:avLst/>
            </a:prstGeom>
            <a:grpFill/>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7" name="Straight Connector 696"/>
            <p:cNvCxnSpPr>
              <a:endCxn id="693" idx="1"/>
            </p:cNvCxnSpPr>
            <p:nvPr/>
          </p:nvCxnSpPr>
          <p:spPr>
            <a:xfrm>
              <a:off x="15030742" y="4198749"/>
              <a:ext cx="51967" cy="83808"/>
            </a:xfrm>
            <a:prstGeom prst="line">
              <a:avLst/>
            </a:prstGeom>
            <a:grpFill/>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98" name="Freeform 697"/>
            <p:cNvSpPr/>
            <p:nvPr/>
          </p:nvSpPr>
          <p:spPr bwMode="auto">
            <a:xfrm>
              <a:off x="15155403" y="4142777"/>
              <a:ext cx="359664" cy="205865"/>
            </a:xfrm>
            <a:custGeom>
              <a:avLst/>
              <a:gdLst>
                <a:gd name="connsiteX0" fmla="*/ 0 w 2851150"/>
                <a:gd name="connsiteY0" fmla="*/ 0 h 1631950"/>
                <a:gd name="connsiteX1" fmla="*/ 0 w 2851150"/>
                <a:gd name="connsiteY1" fmla="*/ 1631950 h 1631950"/>
                <a:gd name="connsiteX2" fmla="*/ 2851150 w 2851150"/>
                <a:gd name="connsiteY2" fmla="*/ 1631950 h 1631950"/>
              </a:gdLst>
              <a:ahLst/>
              <a:cxnLst>
                <a:cxn ang="0">
                  <a:pos x="connsiteX0" y="connsiteY0"/>
                </a:cxn>
                <a:cxn ang="0">
                  <a:pos x="connsiteX1" y="connsiteY1"/>
                </a:cxn>
                <a:cxn ang="0">
                  <a:pos x="connsiteX2" y="connsiteY2"/>
                </a:cxn>
              </a:cxnLst>
              <a:rect l="l" t="t" r="r" b="b"/>
              <a:pathLst>
                <a:path w="2851150" h="1631950">
                  <a:moveTo>
                    <a:pt x="0" y="0"/>
                  </a:moveTo>
                  <a:lnTo>
                    <a:pt x="0" y="1631950"/>
                  </a:lnTo>
                  <a:lnTo>
                    <a:pt x="2851150" y="1631950"/>
                  </a:lnTo>
                </a:path>
              </a:pathLst>
            </a:custGeom>
            <a:noFill/>
            <a:ln w="3175">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03">
                <a:defRPr/>
              </a:pPr>
              <a:endParaRPr lang="en-US" sz="1764" kern="0">
                <a:solidFill>
                  <a:schemeClr val="accent2">
                    <a:lumMod val="75000"/>
                  </a:schemeClr>
                </a:solidFill>
              </a:endParaRPr>
            </a:p>
          </p:txBody>
        </p:sp>
        <p:sp>
          <p:nvSpPr>
            <p:cNvPr id="699" name="Rectangle 698"/>
            <p:cNvSpPr/>
            <p:nvPr/>
          </p:nvSpPr>
          <p:spPr bwMode="auto">
            <a:xfrm>
              <a:off x="15207037" y="4185938"/>
              <a:ext cx="5767" cy="12185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700" name="Rectangle 699"/>
            <p:cNvSpPr/>
            <p:nvPr/>
          </p:nvSpPr>
          <p:spPr bwMode="auto">
            <a:xfrm>
              <a:off x="15253329" y="4194243"/>
              <a:ext cx="16521" cy="3124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701" name="Rectangle 700"/>
            <p:cNvSpPr/>
            <p:nvPr/>
          </p:nvSpPr>
          <p:spPr bwMode="auto">
            <a:xfrm>
              <a:off x="15354255" y="4228487"/>
              <a:ext cx="16521" cy="3124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702" name="Rectangle 701"/>
            <p:cNvSpPr/>
            <p:nvPr/>
          </p:nvSpPr>
          <p:spPr bwMode="auto">
            <a:xfrm>
              <a:off x="15314847" y="4260629"/>
              <a:ext cx="16521" cy="3124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703" name="Rectangle 702"/>
            <p:cNvSpPr/>
            <p:nvPr/>
          </p:nvSpPr>
          <p:spPr bwMode="auto">
            <a:xfrm>
              <a:off x="15211994" y="4206980"/>
              <a:ext cx="46139" cy="5767"/>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704" name="Rectangle 703"/>
            <p:cNvSpPr/>
            <p:nvPr/>
          </p:nvSpPr>
          <p:spPr bwMode="auto">
            <a:xfrm>
              <a:off x="15211994" y="4241224"/>
              <a:ext cx="149953" cy="5767"/>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705" name="Rectangle 704"/>
            <p:cNvSpPr/>
            <p:nvPr/>
          </p:nvSpPr>
          <p:spPr bwMode="auto">
            <a:xfrm>
              <a:off x="15211994" y="4273265"/>
              <a:ext cx="103814" cy="5767"/>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cxnSp>
          <p:nvCxnSpPr>
            <p:cNvPr id="706" name="Straight Connector 705"/>
            <p:cNvCxnSpPr>
              <a:stCxn id="702" idx="3"/>
            </p:cNvCxnSpPr>
            <p:nvPr/>
          </p:nvCxnSpPr>
          <p:spPr>
            <a:xfrm flipV="1">
              <a:off x="15331368" y="4275468"/>
              <a:ext cx="120720" cy="781"/>
            </a:xfrm>
            <a:prstGeom prst="line">
              <a:avLst/>
            </a:prstGeom>
            <a:grpFill/>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7" name="Straight Connector 706"/>
            <p:cNvCxnSpPr/>
            <p:nvPr/>
          </p:nvCxnSpPr>
          <p:spPr>
            <a:xfrm>
              <a:off x="15370777" y="4244107"/>
              <a:ext cx="81312" cy="0"/>
            </a:xfrm>
            <a:prstGeom prst="line">
              <a:avLst/>
            </a:prstGeom>
            <a:grpFill/>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8" name="Straight Connector 707"/>
            <p:cNvCxnSpPr/>
            <p:nvPr/>
          </p:nvCxnSpPr>
          <p:spPr>
            <a:xfrm>
              <a:off x="15269850" y="4208301"/>
              <a:ext cx="182238" cy="0"/>
            </a:xfrm>
            <a:prstGeom prst="line">
              <a:avLst/>
            </a:prstGeom>
            <a:grpFill/>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9" name="Straight Connector 708"/>
            <p:cNvCxnSpPr/>
            <p:nvPr/>
          </p:nvCxnSpPr>
          <p:spPr>
            <a:xfrm flipV="1">
              <a:off x="15288900" y="2413000"/>
              <a:ext cx="0" cy="656820"/>
            </a:xfrm>
            <a:prstGeom prst="line">
              <a:avLst/>
            </a:prstGeom>
            <a:grpFill/>
            <a:ln>
              <a:solidFill>
                <a:srgbClr val="0078D7"/>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10" name="Straight Connector 709"/>
            <p:cNvCxnSpPr/>
            <p:nvPr/>
          </p:nvCxnSpPr>
          <p:spPr>
            <a:xfrm flipV="1">
              <a:off x="15288900" y="3767813"/>
              <a:ext cx="0" cy="329184"/>
            </a:xfrm>
            <a:prstGeom prst="line">
              <a:avLst/>
            </a:prstGeom>
            <a:grpFill/>
            <a:ln>
              <a:solidFill>
                <a:srgbClr val="0078D7"/>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11" name="Straight Connector 710"/>
            <p:cNvCxnSpPr/>
            <p:nvPr/>
          </p:nvCxnSpPr>
          <p:spPr>
            <a:xfrm flipV="1">
              <a:off x="14692000" y="2203450"/>
              <a:ext cx="0" cy="866370"/>
            </a:xfrm>
            <a:prstGeom prst="line">
              <a:avLst/>
            </a:prstGeom>
            <a:grpFill/>
            <a:ln>
              <a:solidFill>
                <a:srgbClr val="0078D7"/>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712" name="Group 711"/>
            <p:cNvGrpSpPr/>
            <p:nvPr/>
          </p:nvGrpSpPr>
          <p:grpSpPr>
            <a:xfrm>
              <a:off x="8333265" y="2729082"/>
              <a:ext cx="1329176" cy="1329176"/>
              <a:chOff x="4605967" y="2729082"/>
              <a:chExt cx="1329176" cy="1329176"/>
            </a:xfrm>
            <a:grpFill/>
          </p:grpSpPr>
          <p:grpSp>
            <p:nvGrpSpPr>
              <p:cNvPr id="713" name="Group 712"/>
              <p:cNvGrpSpPr/>
              <p:nvPr/>
            </p:nvGrpSpPr>
            <p:grpSpPr>
              <a:xfrm>
                <a:off x="4605967" y="2729082"/>
                <a:ext cx="1329176" cy="1329176"/>
                <a:chOff x="4807673" y="2729082"/>
                <a:chExt cx="1329176" cy="1329176"/>
              </a:xfrm>
              <a:grpFill/>
            </p:grpSpPr>
            <p:sp>
              <p:nvSpPr>
                <p:cNvPr id="715" name="Oval 714"/>
                <p:cNvSpPr/>
                <p:nvPr/>
              </p:nvSpPr>
              <p:spPr bwMode="auto">
                <a:xfrm>
                  <a:off x="4807673" y="2729082"/>
                  <a:ext cx="1329176" cy="1329176"/>
                </a:xfrm>
                <a:prstGeom prst="ellipse">
                  <a:avLst/>
                </a:prstGeom>
                <a:noFill/>
                <a:ln w="190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985811" numCol="1" rtlCol="0" anchor="t" anchorCtr="0" compatLnSpc="1">
                  <a:prstTxWarp prst="textNoShape">
                    <a:avLst/>
                  </a:prstTxWarp>
                </a:bodyPr>
                <a:lstStyle/>
                <a:p>
                  <a:pPr algn="ctr" defTabSz="913916" fontAlgn="base">
                    <a:spcBef>
                      <a:spcPct val="0"/>
                    </a:spcBef>
                    <a:spcAft>
                      <a:spcPct val="0"/>
                    </a:spcAft>
                    <a:defRPr/>
                  </a:pPr>
                  <a:r>
                    <a:rPr lang="en-US" sz="1176" kern="0" dirty="0">
                      <a:solidFill>
                        <a:schemeClr val="accent2">
                          <a:lumMod val="75000"/>
                        </a:schemeClr>
                      </a:solidFill>
                    </a:rPr>
                    <a:t>INGEST</a:t>
                  </a:r>
                </a:p>
              </p:txBody>
            </p:sp>
            <p:sp>
              <p:nvSpPr>
                <p:cNvPr id="716" name="Freeform 715"/>
                <p:cNvSpPr>
                  <a:spLocks/>
                </p:cNvSpPr>
                <p:nvPr/>
              </p:nvSpPr>
              <p:spPr bwMode="auto">
                <a:xfrm>
                  <a:off x="5335033" y="3158167"/>
                  <a:ext cx="335186" cy="190824"/>
                </a:xfrm>
                <a:custGeom>
                  <a:avLst/>
                  <a:gdLst>
                    <a:gd name="connsiteX0" fmla="*/ 1624088 w 3848100"/>
                    <a:gd name="connsiteY0" fmla="*/ 122238 h 2190750"/>
                    <a:gd name="connsiteX1" fmla="*/ 861739 w 3848100"/>
                    <a:gd name="connsiteY1" fmla="*/ 624012 h 2190750"/>
                    <a:gd name="connsiteX2" fmla="*/ 816180 w 3848100"/>
                    <a:gd name="connsiteY2" fmla="*/ 769983 h 2190750"/>
                    <a:gd name="connsiteX3" fmla="*/ 755435 w 3848100"/>
                    <a:gd name="connsiteY3" fmla="*/ 812558 h 2190750"/>
                    <a:gd name="connsiteX4" fmla="*/ 749360 w 3848100"/>
                    <a:gd name="connsiteY4" fmla="*/ 812558 h 2190750"/>
                    <a:gd name="connsiteX5" fmla="*/ 120650 w 3848100"/>
                    <a:gd name="connsiteY5" fmla="*/ 1442056 h 2190750"/>
                    <a:gd name="connsiteX6" fmla="*/ 685578 w 3848100"/>
                    <a:gd name="connsiteY6" fmla="*/ 2065472 h 2190750"/>
                    <a:gd name="connsiteX7" fmla="*/ 740249 w 3848100"/>
                    <a:gd name="connsiteY7" fmla="*/ 2068513 h 2190750"/>
                    <a:gd name="connsiteX8" fmla="*/ 746323 w 3848100"/>
                    <a:gd name="connsiteY8" fmla="*/ 2068513 h 2190750"/>
                    <a:gd name="connsiteX9" fmla="*/ 3343170 w 3848100"/>
                    <a:gd name="connsiteY9" fmla="*/ 2068513 h 2190750"/>
                    <a:gd name="connsiteX10" fmla="*/ 3349244 w 3848100"/>
                    <a:gd name="connsiteY10" fmla="*/ 2068513 h 2190750"/>
                    <a:gd name="connsiteX11" fmla="*/ 3422138 w 3848100"/>
                    <a:gd name="connsiteY11" fmla="*/ 2062431 h 2190750"/>
                    <a:gd name="connsiteX12" fmla="*/ 3725863 w 3848100"/>
                    <a:gd name="connsiteY12" fmla="*/ 1685340 h 2190750"/>
                    <a:gd name="connsiteX13" fmla="*/ 3422138 w 3848100"/>
                    <a:gd name="connsiteY13" fmla="*/ 1311291 h 2190750"/>
                    <a:gd name="connsiteX14" fmla="*/ 3382654 w 3848100"/>
                    <a:gd name="connsiteY14" fmla="*/ 1308250 h 2190750"/>
                    <a:gd name="connsiteX15" fmla="*/ 3327984 w 3848100"/>
                    <a:gd name="connsiteY15" fmla="*/ 1253511 h 2190750"/>
                    <a:gd name="connsiteX16" fmla="*/ 3324946 w 3848100"/>
                    <a:gd name="connsiteY16" fmla="*/ 1207895 h 2190750"/>
                    <a:gd name="connsiteX17" fmla="*/ 2720534 w 3848100"/>
                    <a:gd name="connsiteY17" fmla="*/ 718285 h 2190750"/>
                    <a:gd name="connsiteX18" fmla="*/ 2538299 w 3848100"/>
                    <a:gd name="connsiteY18" fmla="*/ 745654 h 2190750"/>
                    <a:gd name="connsiteX19" fmla="*/ 2495778 w 3848100"/>
                    <a:gd name="connsiteY19" fmla="*/ 760860 h 2190750"/>
                    <a:gd name="connsiteX20" fmla="*/ 2447182 w 3848100"/>
                    <a:gd name="connsiteY20" fmla="*/ 760860 h 2190750"/>
                    <a:gd name="connsiteX21" fmla="*/ 2416809 w 3848100"/>
                    <a:gd name="connsiteY21" fmla="*/ 724367 h 2190750"/>
                    <a:gd name="connsiteX22" fmla="*/ 2386437 w 3848100"/>
                    <a:gd name="connsiteY22" fmla="*/ 624012 h 2190750"/>
                    <a:gd name="connsiteX23" fmla="*/ 1624088 w 3848100"/>
                    <a:gd name="connsiteY23" fmla="*/ 122238 h 2190750"/>
                    <a:gd name="connsiteX24" fmla="*/ 1624889 w 3848100"/>
                    <a:gd name="connsiteY24" fmla="*/ 0 h 2190750"/>
                    <a:gd name="connsiteX25" fmla="*/ 2499595 w 3848100"/>
                    <a:gd name="connsiteY25" fmla="*/ 581157 h 2190750"/>
                    <a:gd name="connsiteX26" fmla="*/ 2499595 w 3848100"/>
                    <a:gd name="connsiteY26" fmla="*/ 587243 h 2190750"/>
                    <a:gd name="connsiteX27" fmla="*/ 2514781 w 3848100"/>
                    <a:gd name="connsiteY27" fmla="*/ 626798 h 2190750"/>
                    <a:gd name="connsiteX28" fmla="*/ 2721308 w 3848100"/>
                    <a:gd name="connsiteY28" fmla="*/ 596371 h 2190750"/>
                    <a:gd name="connsiteX29" fmla="*/ 3444156 w 3848100"/>
                    <a:gd name="connsiteY29" fmla="*/ 1186656 h 2190750"/>
                    <a:gd name="connsiteX30" fmla="*/ 3447193 w 3848100"/>
                    <a:gd name="connsiteY30" fmla="*/ 1192742 h 2190750"/>
                    <a:gd name="connsiteX31" fmla="*/ 3848100 w 3848100"/>
                    <a:gd name="connsiteY31" fmla="*/ 1685661 h 2190750"/>
                    <a:gd name="connsiteX32" fmla="*/ 3444156 w 3848100"/>
                    <a:gd name="connsiteY32" fmla="*/ 2181622 h 2190750"/>
                    <a:gd name="connsiteX33" fmla="*/ 3438082 w 3848100"/>
                    <a:gd name="connsiteY33" fmla="*/ 2181622 h 2190750"/>
                    <a:gd name="connsiteX34" fmla="*/ 3374301 w 3848100"/>
                    <a:gd name="connsiteY34" fmla="*/ 2187707 h 2190750"/>
                    <a:gd name="connsiteX35" fmla="*/ 3356078 w 3848100"/>
                    <a:gd name="connsiteY35" fmla="*/ 2190750 h 2190750"/>
                    <a:gd name="connsiteX36" fmla="*/ 738034 w 3848100"/>
                    <a:gd name="connsiteY36" fmla="*/ 2190750 h 2190750"/>
                    <a:gd name="connsiteX37" fmla="*/ 722848 w 3848100"/>
                    <a:gd name="connsiteY37" fmla="*/ 2190750 h 2190750"/>
                    <a:gd name="connsiteX38" fmla="*/ 677290 w 3848100"/>
                    <a:gd name="connsiteY38" fmla="*/ 2187707 h 2190750"/>
                    <a:gd name="connsiteX39" fmla="*/ 674253 w 3848100"/>
                    <a:gd name="connsiteY39" fmla="*/ 2187707 h 2190750"/>
                    <a:gd name="connsiteX40" fmla="*/ 0 w 3848100"/>
                    <a:gd name="connsiteY40" fmla="*/ 1442244 h 2190750"/>
                    <a:gd name="connsiteX41" fmla="*/ 716773 w 3848100"/>
                    <a:gd name="connsiteY41" fmla="*/ 690695 h 2190750"/>
                    <a:gd name="connsiteX42" fmla="*/ 747145 w 3848100"/>
                    <a:gd name="connsiteY42" fmla="*/ 587243 h 2190750"/>
                    <a:gd name="connsiteX43" fmla="*/ 750182 w 3848100"/>
                    <a:gd name="connsiteY43" fmla="*/ 581157 h 2190750"/>
                    <a:gd name="connsiteX44" fmla="*/ 1624889 w 3848100"/>
                    <a:gd name="connsiteY44" fmla="*/ 0 h 2190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848100" h="2190750">
                      <a:moveTo>
                        <a:pt x="1624088" y="122238"/>
                      </a:moveTo>
                      <a:cubicBezTo>
                        <a:pt x="1293028" y="122238"/>
                        <a:pt x="992340" y="319907"/>
                        <a:pt x="861739" y="624012"/>
                      </a:cubicBezTo>
                      <a:cubicBezTo>
                        <a:pt x="816180" y="769983"/>
                        <a:pt x="816180" y="769983"/>
                        <a:pt x="816180" y="769983"/>
                      </a:cubicBezTo>
                      <a:cubicBezTo>
                        <a:pt x="810105" y="797352"/>
                        <a:pt x="782770" y="815599"/>
                        <a:pt x="755435" y="812558"/>
                      </a:cubicBezTo>
                      <a:cubicBezTo>
                        <a:pt x="749360" y="812558"/>
                        <a:pt x="749360" y="812558"/>
                        <a:pt x="749360" y="812558"/>
                      </a:cubicBezTo>
                      <a:cubicBezTo>
                        <a:pt x="403114" y="812558"/>
                        <a:pt x="120650" y="1095376"/>
                        <a:pt x="120650" y="1442056"/>
                      </a:cubicBezTo>
                      <a:cubicBezTo>
                        <a:pt x="120650" y="1764408"/>
                        <a:pt x="363630" y="2032021"/>
                        <a:pt x="685578" y="2065472"/>
                      </a:cubicBezTo>
                      <a:cubicBezTo>
                        <a:pt x="740249" y="2068513"/>
                        <a:pt x="740249" y="2068513"/>
                        <a:pt x="740249" y="2068513"/>
                      </a:cubicBezTo>
                      <a:cubicBezTo>
                        <a:pt x="740249" y="2068513"/>
                        <a:pt x="743286" y="2068513"/>
                        <a:pt x="746323" y="2068513"/>
                      </a:cubicBezTo>
                      <a:cubicBezTo>
                        <a:pt x="3343170" y="2068513"/>
                        <a:pt x="3343170" y="2068513"/>
                        <a:pt x="3343170" y="2068513"/>
                      </a:cubicBezTo>
                      <a:cubicBezTo>
                        <a:pt x="3346207" y="2068513"/>
                        <a:pt x="3346207" y="2068513"/>
                        <a:pt x="3349244" y="2068513"/>
                      </a:cubicBezTo>
                      <a:cubicBezTo>
                        <a:pt x="3422138" y="2062431"/>
                        <a:pt x="3422138" y="2062431"/>
                        <a:pt x="3422138" y="2062431"/>
                      </a:cubicBezTo>
                      <a:cubicBezTo>
                        <a:pt x="3598299" y="2022897"/>
                        <a:pt x="3725863" y="1867804"/>
                        <a:pt x="3725863" y="1685340"/>
                      </a:cubicBezTo>
                      <a:cubicBezTo>
                        <a:pt x="3725863" y="1505918"/>
                        <a:pt x="3598299" y="1350824"/>
                        <a:pt x="3422138" y="1311291"/>
                      </a:cubicBezTo>
                      <a:cubicBezTo>
                        <a:pt x="3382654" y="1308250"/>
                        <a:pt x="3382654" y="1308250"/>
                        <a:pt x="3382654" y="1308250"/>
                      </a:cubicBezTo>
                      <a:cubicBezTo>
                        <a:pt x="3355319" y="1305208"/>
                        <a:pt x="3331021" y="1283921"/>
                        <a:pt x="3327984" y="1253511"/>
                      </a:cubicBezTo>
                      <a:cubicBezTo>
                        <a:pt x="3324946" y="1207895"/>
                        <a:pt x="3324946" y="1207895"/>
                        <a:pt x="3324946" y="1207895"/>
                      </a:cubicBezTo>
                      <a:cubicBezTo>
                        <a:pt x="3264201" y="925077"/>
                        <a:pt x="3012110" y="718285"/>
                        <a:pt x="2720534" y="718285"/>
                      </a:cubicBezTo>
                      <a:cubicBezTo>
                        <a:pt x="2659789" y="718285"/>
                        <a:pt x="2596007" y="727408"/>
                        <a:pt x="2538299" y="745654"/>
                      </a:cubicBezTo>
                      <a:cubicBezTo>
                        <a:pt x="2495778" y="760860"/>
                        <a:pt x="2495778" y="760860"/>
                        <a:pt x="2495778" y="760860"/>
                      </a:cubicBezTo>
                      <a:cubicBezTo>
                        <a:pt x="2477554" y="766942"/>
                        <a:pt x="2462368" y="766942"/>
                        <a:pt x="2447182" y="760860"/>
                      </a:cubicBezTo>
                      <a:cubicBezTo>
                        <a:pt x="2431996" y="751736"/>
                        <a:pt x="2419847" y="739572"/>
                        <a:pt x="2416809" y="724367"/>
                      </a:cubicBezTo>
                      <a:cubicBezTo>
                        <a:pt x="2386437" y="624012"/>
                        <a:pt x="2386437" y="624012"/>
                        <a:pt x="2386437" y="624012"/>
                      </a:cubicBezTo>
                      <a:cubicBezTo>
                        <a:pt x="2255835" y="319907"/>
                        <a:pt x="1955148" y="122238"/>
                        <a:pt x="1624088" y="122238"/>
                      </a:cubicBezTo>
                      <a:close/>
                      <a:moveTo>
                        <a:pt x="1624889" y="0"/>
                      </a:moveTo>
                      <a:cubicBezTo>
                        <a:pt x="2007572" y="0"/>
                        <a:pt x="2350773" y="228203"/>
                        <a:pt x="2499595" y="581157"/>
                      </a:cubicBezTo>
                      <a:cubicBezTo>
                        <a:pt x="2499595" y="581157"/>
                        <a:pt x="2499595" y="584200"/>
                        <a:pt x="2499595" y="587243"/>
                      </a:cubicBezTo>
                      <a:cubicBezTo>
                        <a:pt x="2514781" y="626798"/>
                        <a:pt x="2514781" y="626798"/>
                        <a:pt x="2514781" y="626798"/>
                      </a:cubicBezTo>
                      <a:cubicBezTo>
                        <a:pt x="2581598" y="605499"/>
                        <a:pt x="2651453" y="596371"/>
                        <a:pt x="2721308" y="596371"/>
                      </a:cubicBezTo>
                      <a:cubicBezTo>
                        <a:pt x="3070583" y="596371"/>
                        <a:pt x="3374301" y="845873"/>
                        <a:pt x="3444156" y="1186656"/>
                      </a:cubicBezTo>
                      <a:cubicBezTo>
                        <a:pt x="3444156" y="1186656"/>
                        <a:pt x="3447193" y="1189699"/>
                        <a:pt x="3447193" y="1192742"/>
                      </a:cubicBezTo>
                      <a:cubicBezTo>
                        <a:pt x="3678018" y="1241425"/>
                        <a:pt x="3848100" y="1448329"/>
                        <a:pt x="3848100" y="1685661"/>
                      </a:cubicBezTo>
                      <a:cubicBezTo>
                        <a:pt x="3848100" y="1926035"/>
                        <a:pt x="3678018" y="2132939"/>
                        <a:pt x="3444156" y="2181622"/>
                      </a:cubicBezTo>
                      <a:cubicBezTo>
                        <a:pt x="3444156" y="2181622"/>
                        <a:pt x="3441119" y="2181622"/>
                        <a:pt x="3438082" y="2181622"/>
                      </a:cubicBezTo>
                      <a:cubicBezTo>
                        <a:pt x="3374301" y="2187707"/>
                        <a:pt x="3374301" y="2187707"/>
                        <a:pt x="3374301" y="2187707"/>
                      </a:cubicBezTo>
                      <a:cubicBezTo>
                        <a:pt x="3368227" y="2190750"/>
                        <a:pt x="3362152" y="2190750"/>
                        <a:pt x="3356078" y="2190750"/>
                      </a:cubicBezTo>
                      <a:cubicBezTo>
                        <a:pt x="738034" y="2190750"/>
                        <a:pt x="738034" y="2190750"/>
                        <a:pt x="738034" y="2190750"/>
                      </a:cubicBezTo>
                      <a:cubicBezTo>
                        <a:pt x="731959" y="2190750"/>
                        <a:pt x="728922" y="2190750"/>
                        <a:pt x="722848" y="2190750"/>
                      </a:cubicBezTo>
                      <a:cubicBezTo>
                        <a:pt x="677290" y="2187707"/>
                        <a:pt x="677290" y="2187707"/>
                        <a:pt x="677290" y="2187707"/>
                      </a:cubicBezTo>
                      <a:cubicBezTo>
                        <a:pt x="677290" y="2187707"/>
                        <a:pt x="677290" y="2187707"/>
                        <a:pt x="674253" y="2187707"/>
                      </a:cubicBezTo>
                      <a:cubicBezTo>
                        <a:pt x="291569" y="2148152"/>
                        <a:pt x="0" y="1828668"/>
                        <a:pt x="0" y="1442244"/>
                      </a:cubicBezTo>
                      <a:cubicBezTo>
                        <a:pt x="0" y="1040606"/>
                        <a:pt x="318904" y="711994"/>
                        <a:pt x="716773" y="690695"/>
                      </a:cubicBezTo>
                      <a:cubicBezTo>
                        <a:pt x="747145" y="587243"/>
                        <a:pt x="747145" y="587243"/>
                        <a:pt x="747145" y="587243"/>
                      </a:cubicBezTo>
                      <a:cubicBezTo>
                        <a:pt x="750182" y="584200"/>
                        <a:pt x="750182" y="581157"/>
                        <a:pt x="750182" y="581157"/>
                      </a:cubicBezTo>
                      <a:cubicBezTo>
                        <a:pt x="899004" y="228203"/>
                        <a:pt x="1242205" y="0"/>
                        <a:pt x="1624889" y="0"/>
                      </a:cubicBezTo>
                      <a:close/>
                    </a:path>
                  </a:pathLst>
                </a:custGeom>
                <a:grpFill/>
                <a:ln>
                  <a:noFill/>
                </a:ln>
              </p:spPr>
              <p:txBody>
                <a:bodyPr vert="horz" wrap="square" lIns="89619" tIns="44810" rIns="89619" bIns="44810" numCol="1" anchor="t" anchorCtr="0" compatLnSpc="1">
                  <a:prstTxWarp prst="textNoShape">
                    <a:avLst/>
                  </a:prstTxWarp>
                  <a:noAutofit/>
                </a:bodyPr>
                <a:lstStyle/>
                <a:p>
                  <a:pPr defTabSz="896203">
                    <a:defRPr/>
                  </a:pPr>
                  <a:endParaRPr lang="en-US" sz="1764" kern="0" dirty="0">
                    <a:solidFill>
                      <a:schemeClr val="accent2">
                        <a:lumMod val="75000"/>
                      </a:schemeClr>
                    </a:solidFill>
                  </a:endParaRPr>
                </a:p>
              </p:txBody>
            </p:sp>
            <p:sp>
              <p:nvSpPr>
                <p:cNvPr id="717" name="Freeform 716"/>
                <p:cNvSpPr>
                  <a:spLocks/>
                </p:cNvSpPr>
                <p:nvPr/>
              </p:nvSpPr>
              <p:spPr bwMode="auto">
                <a:xfrm>
                  <a:off x="5793620" y="3133724"/>
                  <a:ext cx="212800" cy="274637"/>
                </a:xfrm>
                <a:custGeom>
                  <a:avLst/>
                  <a:gdLst>
                    <a:gd name="connsiteX0" fmla="*/ 1616331 w 1684452"/>
                    <a:gd name="connsiteY0" fmla="*/ 466888 h 1863160"/>
                    <a:gd name="connsiteX1" fmla="*/ 1580938 w 1684452"/>
                    <a:gd name="connsiteY1" fmla="*/ 495908 h 1863160"/>
                    <a:gd name="connsiteX2" fmla="*/ 1425175 w 1684452"/>
                    <a:gd name="connsiteY2" fmla="*/ 575567 h 1863160"/>
                    <a:gd name="connsiteX3" fmla="*/ 842226 w 1684452"/>
                    <a:gd name="connsiteY3" fmla="*/ 665288 h 1863160"/>
                    <a:gd name="connsiteX4" fmla="*/ 259277 w 1684452"/>
                    <a:gd name="connsiteY4" fmla="*/ 575567 h 1863160"/>
                    <a:gd name="connsiteX5" fmla="*/ 103515 w 1684452"/>
                    <a:gd name="connsiteY5" fmla="*/ 495908 h 1863160"/>
                    <a:gd name="connsiteX6" fmla="*/ 68122 w 1684452"/>
                    <a:gd name="connsiteY6" fmla="*/ 466889 h 1863160"/>
                    <a:gd name="connsiteX7" fmla="*/ 68122 w 1684452"/>
                    <a:gd name="connsiteY7" fmla="*/ 698353 h 1863160"/>
                    <a:gd name="connsiteX8" fmla="*/ 66676 w 1684452"/>
                    <a:gd name="connsiteY8" fmla="*/ 698353 h 1863160"/>
                    <a:gd name="connsiteX9" fmla="*/ 66676 w 1684452"/>
                    <a:gd name="connsiteY9" fmla="*/ 1507978 h 1863160"/>
                    <a:gd name="connsiteX10" fmla="*/ 68122 w 1684452"/>
                    <a:gd name="connsiteY10" fmla="*/ 1507978 h 1863160"/>
                    <a:gd name="connsiteX11" fmla="*/ 68122 w 1684452"/>
                    <a:gd name="connsiteY11" fmla="*/ 1531401 h 1863160"/>
                    <a:gd name="connsiteX12" fmla="*/ 67785 w 1684452"/>
                    <a:gd name="connsiteY12" fmla="*/ 1531401 h 1863160"/>
                    <a:gd name="connsiteX13" fmla="*/ 842226 w 1684452"/>
                    <a:gd name="connsiteY13" fmla="*/ 1795454 h 1863160"/>
                    <a:gd name="connsiteX14" fmla="*/ 1616667 w 1684452"/>
                    <a:gd name="connsiteY14" fmla="*/ 1531401 h 1863160"/>
                    <a:gd name="connsiteX15" fmla="*/ 1616331 w 1684452"/>
                    <a:gd name="connsiteY15" fmla="*/ 1531401 h 1863160"/>
                    <a:gd name="connsiteX16" fmla="*/ 1616331 w 1684452"/>
                    <a:gd name="connsiteY16" fmla="*/ 1507978 h 1863160"/>
                    <a:gd name="connsiteX17" fmla="*/ 1619250 w 1684452"/>
                    <a:gd name="connsiteY17" fmla="*/ 1507978 h 1863160"/>
                    <a:gd name="connsiteX18" fmla="*/ 1619250 w 1684452"/>
                    <a:gd name="connsiteY18" fmla="*/ 698353 h 1863160"/>
                    <a:gd name="connsiteX19" fmla="*/ 1616331 w 1684452"/>
                    <a:gd name="connsiteY19" fmla="*/ 698353 h 1863160"/>
                    <a:gd name="connsiteX20" fmla="*/ 842226 w 1684452"/>
                    <a:gd name="connsiteY20" fmla="*/ 68122 h 1863160"/>
                    <a:gd name="connsiteX21" fmla="*/ 68122 w 1684452"/>
                    <a:gd name="connsiteY21" fmla="*/ 333087 h 1863160"/>
                    <a:gd name="connsiteX22" fmla="*/ 842226 w 1684452"/>
                    <a:gd name="connsiteY22" fmla="*/ 598052 h 1863160"/>
                    <a:gd name="connsiteX23" fmla="*/ 1616331 w 1684452"/>
                    <a:gd name="connsiteY23" fmla="*/ 333087 h 1863160"/>
                    <a:gd name="connsiteX24" fmla="*/ 842226 w 1684452"/>
                    <a:gd name="connsiteY24" fmla="*/ 68122 h 1863160"/>
                    <a:gd name="connsiteX25" fmla="*/ 842226 w 1684452"/>
                    <a:gd name="connsiteY25" fmla="*/ 0 h 1863160"/>
                    <a:gd name="connsiteX26" fmla="*/ 1425175 w 1684452"/>
                    <a:gd name="connsiteY26" fmla="*/ 89721 h 1863160"/>
                    <a:gd name="connsiteX27" fmla="*/ 1684452 w 1684452"/>
                    <a:gd name="connsiteY27" fmla="*/ 331797 h 1863160"/>
                    <a:gd name="connsiteX28" fmla="*/ 1681988 w 1684452"/>
                    <a:gd name="connsiteY28" fmla="*/ 352107 h 1863160"/>
                    <a:gd name="connsiteX29" fmla="*/ 1684452 w 1684452"/>
                    <a:gd name="connsiteY29" fmla="*/ 352107 h 1863160"/>
                    <a:gd name="connsiteX30" fmla="*/ 1684452 w 1684452"/>
                    <a:gd name="connsiteY30" fmla="*/ 1531401 h 1863160"/>
                    <a:gd name="connsiteX31" fmla="*/ 1684452 w 1684452"/>
                    <a:gd name="connsiteY31" fmla="*/ 1531401 h 1863160"/>
                    <a:gd name="connsiteX32" fmla="*/ 1425175 w 1684452"/>
                    <a:gd name="connsiteY32" fmla="*/ 1773450 h 1863160"/>
                    <a:gd name="connsiteX33" fmla="*/ 842226 w 1684452"/>
                    <a:gd name="connsiteY33" fmla="*/ 1863160 h 1863160"/>
                    <a:gd name="connsiteX34" fmla="*/ 259277 w 1684452"/>
                    <a:gd name="connsiteY34" fmla="*/ 1773450 h 1863160"/>
                    <a:gd name="connsiteX35" fmla="*/ 0 w 1684452"/>
                    <a:gd name="connsiteY35" fmla="*/ 1531401 h 1863160"/>
                    <a:gd name="connsiteX36" fmla="*/ 0 w 1684452"/>
                    <a:gd name="connsiteY36" fmla="*/ 1140367 h 1863160"/>
                    <a:gd name="connsiteX37" fmla="*/ 0 w 1684452"/>
                    <a:gd name="connsiteY37" fmla="*/ 714831 h 1863160"/>
                    <a:gd name="connsiteX38" fmla="*/ 0 w 1684452"/>
                    <a:gd name="connsiteY38" fmla="*/ 352107 h 1863160"/>
                    <a:gd name="connsiteX39" fmla="*/ 2463 w 1684452"/>
                    <a:gd name="connsiteY39" fmla="*/ 352107 h 1863160"/>
                    <a:gd name="connsiteX40" fmla="*/ 0 w 1684452"/>
                    <a:gd name="connsiteY40" fmla="*/ 331797 h 1863160"/>
                    <a:gd name="connsiteX41" fmla="*/ 259277 w 1684452"/>
                    <a:gd name="connsiteY41" fmla="*/ 89721 h 1863160"/>
                    <a:gd name="connsiteX42" fmla="*/ 842226 w 1684452"/>
                    <a:gd name="connsiteY42" fmla="*/ 0 h 1863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684452" h="1863160">
                      <a:moveTo>
                        <a:pt x="1616331" y="466888"/>
                      </a:moveTo>
                      <a:lnTo>
                        <a:pt x="1580938" y="495908"/>
                      </a:lnTo>
                      <a:cubicBezTo>
                        <a:pt x="1540277" y="525258"/>
                        <a:pt x="1488088" y="552079"/>
                        <a:pt x="1425175" y="575567"/>
                      </a:cubicBezTo>
                      <a:cubicBezTo>
                        <a:pt x="1269270" y="633124"/>
                        <a:pt x="1062526" y="665288"/>
                        <a:pt x="842226" y="665288"/>
                      </a:cubicBezTo>
                      <a:cubicBezTo>
                        <a:pt x="621925" y="665288"/>
                        <a:pt x="415182" y="633124"/>
                        <a:pt x="259277" y="575567"/>
                      </a:cubicBezTo>
                      <a:cubicBezTo>
                        <a:pt x="196365" y="552079"/>
                        <a:pt x="144176" y="525258"/>
                        <a:pt x="103515" y="495908"/>
                      </a:cubicBezTo>
                      <a:lnTo>
                        <a:pt x="68122" y="466889"/>
                      </a:lnTo>
                      <a:lnTo>
                        <a:pt x="68122" y="698353"/>
                      </a:lnTo>
                      <a:lnTo>
                        <a:pt x="66676" y="698353"/>
                      </a:lnTo>
                      <a:lnTo>
                        <a:pt x="66676" y="1507978"/>
                      </a:lnTo>
                      <a:lnTo>
                        <a:pt x="68122" y="1507978"/>
                      </a:lnTo>
                      <a:lnTo>
                        <a:pt x="68122" y="1531401"/>
                      </a:lnTo>
                      <a:lnTo>
                        <a:pt x="67785" y="1531401"/>
                      </a:lnTo>
                      <a:cubicBezTo>
                        <a:pt x="67785" y="1656657"/>
                        <a:pt x="386374" y="1795454"/>
                        <a:pt x="842226" y="1795454"/>
                      </a:cubicBezTo>
                      <a:cubicBezTo>
                        <a:pt x="1298078" y="1795454"/>
                        <a:pt x="1616667" y="1656657"/>
                        <a:pt x="1616667" y="1531401"/>
                      </a:cubicBezTo>
                      <a:lnTo>
                        <a:pt x="1616331" y="1531401"/>
                      </a:lnTo>
                      <a:lnTo>
                        <a:pt x="1616331" y="1507978"/>
                      </a:lnTo>
                      <a:lnTo>
                        <a:pt x="1619250" y="1507978"/>
                      </a:lnTo>
                      <a:lnTo>
                        <a:pt x="1619250" y="698353"/>
                      </a:lnTo>
                      <a:lnTo>
                        <a:pt x="1616331" y="698353"/>
                      </a:lnTo>
                      <a:close/>
                      <a:moveTo>
                        <a:pt x="842226" y="68122"/>
                      </a:moveTo>
                      <a:cubicBezTo>
                        <a:pt x="414700" y="68122"/>
                        <a:pt x="68122" y="186750"/>
                        <a:pt x="68122" y="333087"/>
                      </a:cubicBezTo>
                      <a:cubicBezTo>
                        <a:pt x="68122" y="479424"/>
                        <a:pt x="414700" y="598052"/>
                        <a:pt x="842226" y="598052"/>
                      </a:cubicBezTo>
                      <a:cubicBezTo>
                        <a:pt x="1269753" y="598052"/>
                        <a:pt x="1616331" y="479424"/>
                        <a:pt x="1616331" y="333087"/>
                      </a:cubicBezTo>
                      <a:cubicBezTo>
                        <a:pt x="1616331" y="186750"/>
                        <a:pt x="1269753" y="68122"/>
                        <a:pt x="842226" y="68122"/>
                      </a:cubicBezTo>
                      <a:close/>
                      <a:moveTo>
                        <a:pt x="842226" y="0"/>
                      </a:moveTo>
                      <a:cubicBezTo>
                        <a:pt x="1062526" y="0"/>
                        <a:pt x="1269270" y="32164"/>
                        <a:pt x="1425175" y="89721"/>
                      </a:cubicBezTo>
                      <a:cubicBezTo>
                        <a:pt x="1592942" y="150663"/>
                        <a:pt x="1684452" y="236998"/>
                        <a:pt x="1684452" y="331797"/>
                      </a:cubicBezTo>
                      <a:lnTo>
                        <a:pt x="1681988" y="352107"/>
                      </a:lnTo>
                      <a:lnTo>
                        <a:pt x="1684452" y="352107"/>
                      </a:lnTo>
                      <a:lnTo>
                        <a:pt x="1684452" y="1531401"/>
                      </a:lnTo>
                      <a:lnTo>
                        <a:pt x="1684452" y="1531401"/>
                      </a:lnTo>
                      <a:cubicBezTo>
                        <a:pt x="1684452" y="1626189"/>
                        <a:pt x="1592942" y="1712515"/>
                        <a:pt x="1425175" y="1773450"/>
                      </a:cubicBezTo>
                      <a:cubicBezTo>
                        <a:pt x="1269270" y="1831000"/>
                        <a:pt x="1062526" y="1863160"/>
                        <a:pt x="842226" y="1863160"/>
                      </a:cubicBezTo>
                      <a:cubicBezTo>
                        <a:pt x="621925" y="1863160"/>
                        <a:pt x="415182" y="1831000"/>
                        <a:pt x="259277" y="1773450"/>
                      </a:cubicBezTo>
                      <a:cubicBezTo>
                        <a:pt x="91510" y="1712515"/>
                        <a:pt x="0" y="1626189"/>
                        <a:pt x="0" y="1531401"/>
                      </a:cubicBezTo>
                      <a:lnTo>
                        <a:pt x="0" y="1140367"/>
                      </a:lnTo>
                      <a:lnTo>
                        <a:pt x="0" y="714831"/>
                      </a:lnTo>
                      <a:lnTo>
                        <a:pt x="0" y="352107"/>
                      </a:lnTo>
                      <a:lnTo>
                        <a:pt x="2463" y="352107"/>
                      </a:lnTo>
                      <a:lnTo>
                        <a:pt x="0" y="331797"/>
                      </a:lnTo>
                      <a:cubicBezTo>
                        <a:pt x="0" y="236998"/>
                        <a:pt x="91510" y="150663"/>
                        <a:pt x="259277" y="89721"/>
                      </a:cubicBezTo>
                      <a:cubicBezTo>
                        <a:pt x="415182" y="32164"/>
                        <a:pt x="621925" y="0"/>
                        <a:pt x="842226" y="0"/>
                      </a:cubicBezTo>
                      <a:close/>
                    </a:path>
                  </a:pathLst>
                </a:custGeom>
                <a:grpFill/>
                <a:ln>
                  <a:noFill/>
                </a:ln>
              </p:spPr>
              <p:txBody>
                <a:bodyPr vert="horz" wrap="square" lIns="0" tIns="134429" rIns="0" bIns="0" numCol="1" anchor="t" anchorCtr="0" compatLnSpc="1">
                  <a:prstTxWarp prst="textNoShape">
                    <a:avLst/>
                  </a:prstTxWarp>
                  <a:noAutofit/>
                </a:bodyPr>
                <a:lstStyle/>
                <a:p>
                  <a:pPr algn="ctr" defTabSz="896203">
                    <a:defRPr/>
                  </a:pPr>
                  <a:r>
                    <a:rPr lang="en-US" sz="686" kern="0" dirty="0">
                      <a:solidFill>
                        <a:schemeClr val="accent2">
                          <a:lumMod val="75000"/>
                        </a:schemeClr>
                      </a:solidFill>
                    </a:rPr>
                    <a:t>SQL</a:t>
                  </a:r>
                </a:p>
              </p:txBody>
            </p:sp>
            <p:sp>
              <p:nvSpPr>
                <p:cNvPr id="718" name="Freeform 717"/>
                <p:cNvSpPr>
                  <a:spLocks/>
                </p:cNvSpPr>
                <p:nvPr/>
              </p:nvSpPr>
              <p:spPr bwMode="auto">
                <a:xfrm>
                  <a:off x="5021986" y="3425258"/>
                  <a:ext cx="189254" cy="244249"/>
                </a:xfrm>
                <a:custGeom>
                  <a:avLst/>
                  <a:gdLst>
                    <a:gd name="connsiteX0" fmla="*/ 1616331 w 1684452"/>
                    <a:gd name="connsiteY0" fmla="*/ 466888 h 1863160"/>
                    <a:gd name="connsiteX1" fmla="*/ 1580938 w 1684452"/>
                    <a:gd name="connsiteY1" fmla="*/ 495908 h 1863160"/>
                    <a:gd name="connsiteX2" fmla="*/ 1425175 w 1684452"/>
                    <a:gd name="connsiteY2" fmla="*/ 575567 h 1863160"/>
                    <a:gd name="connsiteX3" fmla="*/ 842226 w 1684452"/>
                    <a:gd name="connsiteY3" fmla="*/ 665288 h 1863160"/>
                    <a:gd name="connsiteX4" fmla="*/ 259277 w 1684452"/>
                    <a:gd name="connsiteY4" fmla="*/ 575567 h 1863160"/>
                    <a:gd name="connsiteX5" fmla="*/ 103515 w 1684452"/>
                    <a:gd name="connsiteY5" fmla="*/ 495908 h 1863160"/>
                    <a:gd name="connsiteX6" fmla="*/ 68122 w 1684452"/>
                    <a:gd name="connsiteY6" fmla="*/ 466889 h 1863160"/>
                    <a:gd name="connsiteX7" fmla="*/ 68122 w 1684452"/>
                    <a:gd name="connsiteY7" fmla="*/ 698353 h 1863160"/>
                    <a:gd name="connsiteX8" fmla="*/ 66676 w 1684452"/>
                    <a:gd name="connsiteY8" fmla="*/ 698353 h 1863160"/>
                    <a:gd name="connsiteX9" fmla="*/ 66676 w 1684452"/>
                    <a:gd name="connsiteY9" fmla="*/ 1507978 h 1863160"/>
                    <a:gd name="connsiteX10" fmla="*/ 68122 w 1684452"/>
                    <a:gd name="connsiteY10" fmla="*/ 1507978 h 1863160"/>
                    <a:gd name="connsiteX11" fmla="*/ 68122 w 1684452"/>
                    <a:gd name="connsiteY11" fmla="*/ 1531401 h 1863160"/>
                    <a:gd name="connsiteX12" fmla="*/ 67785 w 1684452"/>
                    <a:gd name="connsiteY12" fmla="*/ 1531401 h 1863160"/>
                    <a:gd name="connsiteX13" fmla="*/ 842226 w 1684452"/>
                    <a:gd name="connsiteY13" fmla="*/ 1795454 h 1863160"/>
                    <a:gd name="connsiteX14" fmla="*/ 1616667 w 1684452"/>
                    <a:gd name="connsiteY14" fmla="*/ 1531401 h 1863160"/>
                    <a:gd name="connsiteX15" fmla="*/ 1616331 w 1684452"/>
                    <a:gd name="connsiteY15" fmla="*/ 1531401 h 1863160"/>
                    <a:gd name="connsiteX16" fmla="*/ 1616331 w 1684452"/>
                    <a:gd name="connsiteY16" fmla="*/ 1507978 h 1863160"/>
                    <a:gd name="connsiteX17" fmla="*/ 1619250 w 1684452"/>
                    <a:gd name="connsiteY17" fmla="*/ 1507978 h 1863160"/>
                    <a:gd name="connsiteX18" fmla="*/ 1619250 w 1684452"/>
                    <a:gd name="connsiteY18" fmla="*/ 698353 h 1863160"/>
                    <a:gd name="connsiteX19" fmla="*/ 1616331 w 1684452"/>
                    <a:gd name="connsiteY19" fmla="*/ 698353 h 1863160"/>
                    <a:gd name="connsiteX20" fmla="*/ 842226 w 1684452"/>
                    <a:gd name="connsiteY20" fmla="*/ 68122 h 1863160"/>
                    <a:gd name="connsiteX21" fmla="*/ 68122 w 1684452"/>
                    <a:gd name="connsiteY21" fmla="*/ 333087 h 1863160"/>
                    <a:gd name="connsiteX22" fmla="*/ 842226 w 1684452"/>
                    <a:gd name="connsiteY22" fmla="*/ 598052 h 1863160"/>
                    <a:gd name="connsiteX23" fmla="*/ 1616331 w 1684452"/>
                    <a:gd name="connsiteY23" fmla="*/ 333087 h 1863160"/>
                    <a:gd name="connsiteX24" fmla="*/ 842226 w 1684452"/>
                    <a:gd name="connsiteY24" fmla="*/ 68122 h 1863160"/>
                    <a:gd name="connsiteX25" fmla="*/ 842226 w 1684452"/>
                    <a:gd name="connsiteY25" fmla="*/ 0 h 1863160"/>
                    <a:gd name="connsiteX26" fmla="*/ 1425175 w 1684452"/>
                    <a:gd name="connsiteY26" fmla="*/ 89721 h 1863160"/>
                    <a:gd name="connsiteX27" fmla="*/ 1684452 w 1684452"/>
                    <a:gd name="connsiteY27" fmla="*/ 331797 h 1863160"/>
                    <a:gd name="connsiteX28" fmla="*/ 1681988 w 1684452"/>
                    <a:gd name="connsiteY28" fmla="*/ 352107 h 1863160"/>
                    <a:gd name="connsiteX29" fmla="*/ 1684452 w 1684452"/>
                    <a:gd name="connsiteY29" fmla="*/ 352107 h 1863160"/>
                    <a:gd name="connsiteX30" fmla="*/ 1684452 w 1684452"/>
                    <a:gd name="connsiteY30" fmla="*/ 1531401 h 1863160"/>
                    <a:gd name="connsiteX31" fmla="*/ 1684452 w 1684452"/>
                    <a:gd name="connsiteY31" fmla="*/ 1531401 h 1863160"/>
                    <a:gd name="connsiteX32" fmla="*/ 1425175 w 1684452"/>
                    <a:gd name="connsiteY32" fmla="*/ 1773450 h 1863160"/>
                    <a:gd name="connsiteX33" fmla="*/ 842226 w 1684452"/>
                    <a:gd name="connsiteY33" fmla="*/ 1863160 h 1863160"/>
                    <a:gd name="connsiteX34" fmla="*/ 259277 w 1684452"/>
                    <a:gd name="connsiteY34" fmla="*/ 1773450 h 1863160"/>
                    <a:gd name="connsiteX35" fmla="*/ 0 w 1684452"/>
                    <a:gd name="connsiteY35" fmla="*/ 1531401 h 1863160"/>
                    <a:gd name="connsiteX36" fmla="*/ 0 w 1684452"/>
                    <a:gd name="connsiteY36" fmla="*/ 1140367 h 1863160"/>
                    <a:gd name="connsiteX37" fmla="*/ 0 w 1684452"/>
                    <a:gd name="connsiteY37" fmla="*/ 714831 h 1863160"/>
                    <a:gd name="connsiteX38" fmla="*/ 0 w 1684452"/>
                    <a:gd name="connsiteY38" fmla="*/ 352107 h 1863160"/>
                    <a:gd name="connsiteX39" fmla="*/ 2463 w 1684452"/>
                    <a:gd name="connsiteY39" fmla="*/ 352107 h 1863160"/>
                    <a:gd name="connsiteX40" fmla="*/ 0 w 1684452"/>
                    <a:gd name="connsiteY40" fmla="*/ 331797 h 1863160"/>
                    <a:gd name="connsiteX41" fmla="*/ 259277 w 1684452"/>
                    <a:gd name="connsiteY41" fmla="*/ 89721 h 1863160"/>
                    <a:gd name="connsiteX42" fmla="*/ 842226 w 1684452"/>
                    <a:gd name="connsiteY42" fmla="*/ 0 h 1863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684452" h="1863160">
                      <a:moveTo>
                        <a:pt x="1616331" y="466888"/>
                      </a:moveTo>
                      <a:lnTo>
                        <a:pt x="1580938" y="495908"/>
                      </a:lnTo>
                      <a:cubicBezTo>
                        <a:pt x="1540277" y="525258"/>
                        <a:pt x="1488088" y="552079"/>
                        <a:pt x="1425175" y="575567"/>
                      </a:cubicBezTo>
                      <a:cubicBezTo>
                        <a:pt x="1269270" y="633124"/>
                        <a:pt x="1062526" y="665288"/>
                        <a:pt x="842226" y="665288"/>
                      </a:cubicBezTo>
                      <a:cubicBezTo>
                        <a:pt x="621925" y="665288"/>
                        <a:pt x="415182" y="633124"/>
                        <a:pt x="259277" y="575567"/>
                      </a:cubicBezTo>
                      <a:cubicBezTo>
                        <a:pt x="196365" y="552079"/>
                        <a:pt x="144176" y="525258"/>
                        <a:pt x="103515" y="495908"/>
                      </a:cubicBezTo>
                      <a:lnTo>
                        <a:pt x="68122" y="466889"/>
                      </a:lnTo>
                      <a:lnTo>
                        <a:pt x="68122" y="698353"/>
                      </a:lnTo>
                      <a:lnTo>
                        <a:pt x="66676" y="698353"/>
                      </a:lnTo>
                      <a:lnTo>
                        <a:pt x="66676" y="1507978"/>
                      </a:lnTo>
                      <a:lnTo>
                        <a:pt x="68122" y="1507978"/>
                      </a:lnTo>
                      <a:lnTo>
                        <a:pt x="68122" y="1531401"/>
                      </a:lnTo>
                      <a:lnTo>
                        <a:pt x="67785" y="1531401"/>
                      </a:lnTo>
                      <a:cubicBezTo>
                        <a:pt x="67785" y="1656657"/>
                        <a:pt x="386374" y="1795454"/>
                        <a:pt x="842226" y="1795454"/>
                      </a:cubicBezTo>
                      <a:cubicBezTo>
                        <a:pt x="1298078" y="1795454"/>
                        <a:pt x="1616667" y="1656657"/>
                        <a:pt x="1616667" y="1531401"/>
                      </a:cubicBezTo>
                      <a:lnTo>
                        <a:pt x="1616331" y="1531401"/>
                      </a:lnTo>
                      <a:lnTo>
                        <a:pt x="1616331" y="1507978"/>
                      </a:lnTo>
                      <a:lnTo>
                        <a:pt x="1619250" y="1507978"/>
                      </a:lnTo>
                      <a:lnTo>
                        <a:pt x="1619250" y="698353"/>
                      </a:lnTo>
                      <a:lnTo>
                        <a:pt x="1616331" y="698353"/>
                      </a:lnTo>
                      <a:close/>
                      <a:moveTo>
                        <a:pt x="842226" y="68122"/>
                      </a:moveTo>
                      <a:cubicBezTo>
                        <a:pt x="414700" y="68122"/>
                        <a:pt x="68122" y="186750"/>
                        <a:pt x="68122" y="333087"/>
                      </a:cubicBezTo>
                      <a:cubicBezTo>
                        <a:pt x="68122" y="479424"/>
                        <a:pt x="414700" y="598052"/>
                        <a:pt x="842226" y="598052"/>
                      </a:cubicBezTo>
                      <a:cubicBezTo>
                        <a:pt x="1269753" y="598052"/>
                        <a:pt x="1616331" y="479424"/>
                        <a:pt x="1616331" y="333087"/>
                      </a:cubicBezTo>
                      <a:cubicBezTo>
                        <a:pt x="1616331" y="186750"/>
                        <a:pt x="1269753" y="68122"/>
                        <a:pt x="842226" y="68122"/>
                      </a:cubicBezTo>
                      <a:close/>
                      <a:moveTo>
                        <a:pt x="842226" y="0"/>
                      </a:moveTo>
                      <a:cubicBezTo>
                        <a:pt x="1062526" y="0"/>
                        <a:pt x="1269270" y="32164"/>
                        <a:pt x="1425175" y="89721"/>
                      </a:cubicBezTo>
                      <a:cubicBezTo>
                        <a:pt x="1592942" y="150663"/>
                        <a:pt x="1684452" y="236998"/>
                        <a:pt x="1684452" y="331797"/>
                      </a:cubicBezTo>
                      <a:lnTo>
                        <a:pt x="1681988" y="352107"/>
                      </a:lnTo>
                      <a:lnTo>
                        <a:pt x="1684452" y="352107"/>
                      </a:lnTo>
                      <a:lnTo>
                        <a:pt x="1684452" y="1531401"/>
                      </a:lnTo>
                      <a:lnTo>
                        <a:pt x="1684452" y="1531401"/>
                      </a:lnTo>
                      <a:cubicBezTo>
                        <a:pt x="1684452" y="1626189"/>
                        <a:pt x="1592942" y="1712515"/>
                        <a:pt x="1425175" y="1773450"/>
                      </a:cubicBezTo>
                      <a:cubicBezTo>
                        <a:pt x="1269270" y="1831000"/>
                        <a:pt x="1062526" y="1863160"/>
                        <a:pt x="842226" y="1863160"/>
                      </a:cubicBezTo>
                      <a:cubicBezTo>
                        <a:pt x="621925" y="1863160"/>
                        <a:pt x="415182" y="1831000"/>
                        <a:pt x="259277" y="1773450"/>
                      </a:cubicBezTo>
                      <a:cubicBezTo>
                        <a:pt x="91510" y="1712515"/>
                        <a:pt x="0" y="1626189"/>
                        <a:pt x="0" y="1531401"/>
                      </a:cubicBezTo>
                      <a:lnTo>
                        <a:pt x="0" y="1140367"/>
                      </a:lnTo>
                      <a:lnTo>
                        <a:pt x="0" y="714831"/>
                      </a:lnTo>
                      <a:lnTo>
                        <a:pt x="0" y="352107"/>
                      </a:lnTo>
                      <a:lnTo>
                        <a:pt x="2463" y="352107"/>
                      </a:lnTo>
                      <a:lnTo>
                        <a:pt x="0" y="331797"/>
                      </a:lnTo>
                      <a:cubicBezTo>
                        <a:pt x="0" y="236998"/>
                        <a:pt x="91510" y="150663"/>
                        <a:pt x="259277" y="89721"/>
                      </a:cubicBezTo>
                      <a:cubicBezTo>
                        <a:pt x="415182" y="32164"/>
                        <a:pt x="621925" y="0"/>
                        <a:pt x="842226" y="0"/>
                      </a:cubicBezTo>
                      <a:close/>
                    </a:path>
                  </a:pathLst>
                </a:custGeom>
                <a:grpFill/>
                <a:ln>
                  <a:noFill/>
                </a:ln>
              </p:spPr>
              <p:txBody>
                <a:bodyPr vert="horz" wrap="square" lIns="0" tIns="134429" rIns="0" bIns="0" numCol="1" anchor="t" anchorCtr="0" compatLnSpc="1">
                  <a:prstTxWarp prst="textNoShape">
                    <a:avLst/>
                  </a:prstTxWarp>
                  <a:noAutofit/>
                </a:bodyPr>
                <a:lstStyle/>
                <a:p>
                  <a:pPr algn="ctr" defTabSz="896203">
                    <a:defRPr/>
                  </a:pPr>
                  <a:endParaRPr lang="en-US" sz="686" kern="0" dirty="0">
                    <a:solidFill>
                      <a:schemeClr val="accent2">
                        <a:lumMod val="75000"/>
                      </a:schemeClr>
                    </a:solidFill>
                  </a:endParaRPr>
                </a:p>
              </p:txBody>
            </p:sp>
            <p:sp>
              <p:nvSpPr>
                <p:cNvPr id="719" name="Freeform 718"/>
                <p:cNvSpPr>
                  <a:spLocks/>
                </p:cNvSpPr>
                <p:nvPr/>
              </p:nvSpPr>
              <p:spPr bwMode="auto">
                <a:xfrm>
                  <a:off x="5364264" y="3421858"/>
                  <a:ext cx="201512" cy="260718"/>
                </a:xfrm>
                <a:custGeom>
                  <a:avLst/>
                  <a:gdLst>
                    <a:gd name="connsiteX0" fmla="*/ 194437 w 2257425"/>
                    <a:gd name="connsiteY0" fmla="*/ 122771 h 2920668"/>
                    <a:gd name="connsiteX1" fmla="*/ 121523 w 2257425"/>
                    <a:gd name="connsiteY1" fmla="*/ 195680 h 2920668"/>
                    <a:gd name="connsiteX2" fmla="*/ 121523 w 2257425"/>
                    <a:gd name="connsiteY2" fmla="*/ 2726243 h 2920668"/>
                    <a:gd name="connsiteX3" fmla="*/ 194437 w 2257425"/>
                    <a:gd name="connsiteY3" fmla="*/ 2799152 h 2920668"/>
                    <a:gd name="connsiteX4" fmla="*/ 2059814 w 2257425"/>
                    <a:gd name="connsiteY4" fmla="*/ 2799152 h 2920668"/>
                    <a:gd name="connsiteX5" fmla="*/ 2132727 w 2257425"/>
                    <a:gd name="connsiteY5" fmla="*/ 2726243 h 2920668"/>
                    <a:gd name="connsiteX6" fmla="*/ 2132727 w 2257425"/>
                    <a:gd name="connsiteY6" fmla="*/ 1078413 h 2920668"/>
                    <a:gd name="connsiteX7" fmla="*/ 2132727 w 2257425"/>
                    <a:gd name="connsiteY7" fmla="*/ 1054761 h 2920668"/>
                    <a:gd name="connsiteX8" fmla="*/ 2129823 w 2257425"/>
                    <a:gd name="connsiteY8" fmla="*/ 1055355 h 2920668"/>
                    <a:gd name="connsiteX9" fmla="*/ 2126785 w 2257425"/>
                    <a:gd name="connsiteY9" fmla="*/ 1055355 h 2920668"/>
                    <a:gd name="connsiteX10" fmla="*/ 2123747 w 2257425"/>
                    <a:gd name="connsiteY10" fmla="*/ 1055355 h 2920668"/>
                    <a:gd name="connsiteX11" fmla="*/ 1327752 w 2257425"/>
                    <a:gd name="connsiteY11" fmla="*/ 1055355 h 2920668"/>
                    <a:gd name="connsiteX12" fmla="*/ 1200150 w 2257425"/>
                    <a:gd name="connsiteY12" fmla="*/ 927704 h 2920668"/>
                    <a:gd name="connsiteX13" fmla="*/ 1200150 w 2257425"/>
                    <a:gd name="connsiteY13" fmla="*/ 128364 h 2920668"/>
                    <a:gd name="connsiteX14" fmla="*/ 1200966 w 2257425"/>
                    <a:gd name="connsiteY14" fmla="*/ 122771 h 2920668"/>
                    <a:gd name="connsiteX15" fmla="*/ 1128166 w 2257425"/>
                    <a:gd name="connsiteY15" fmla="*/ 122771 h 2920668"/>
                    <a:gd name="connsiteX16" fmla="*/ 194437 w 2257425"/>
                    <a:gd name="connsiteY16" fmla="*/ 122771 h 2920668"/>
                    <a:gd name="connsiteX17" fmla="*/ 1331572 w 2257425"/>
                    <a:gd name="connsiteY17" fmla="*/ 121972 h 2920668"/>
                    <a:gd name="connsiteX18" fmla="*/ 1327638 w 2257425"/>
                    <a:gd name="connsiteY18" fmla="*/ 122771 h 2920668"/>
                    <a:gd name="connsiteX19" fmla="*/ 1324994 w 2257425"/>
                    <a:gd name="connsiteY19" fmla="*/ 122771 h 2920668"/>
                    <a:gd name="connsiteX20" fmla="*/ 1322388 w 2257425"/>
                    <a:gd name="connsiteY20" fmla="*/ 127982 h 2920668"/>
                    <a:gd name="connsiteX21" fmla="*/ 1322388 w 2257425"/>
                    <a:gd name="connsiteY21" fmla="*/ 927042 h 2920668"/>
                    <a:gd name="connsiteX22" fmla="*/ 1328466 w 2257425"/>
                    <a:gd name="connsiteY22" fmla="*/ 933118 h 2920668"/>
                    <a:gd name="connsiteX23" fmla="*/ 2130699 w 2257425"/>
                    <a:gd name="connsiteY23" fmla="*/ 933118 h 2920668"/>
                    <a:gd name="connsiteX24" fmla="*/ 2132727 w 2257425"/>
                    <a:gd name="connsiteY24" fmla="*/ 931091 h 2920668"/>
                    <a:gd name="connsiteX25" fmla="*/ 2132727 w 2257425"/>
                    <a:gd name="connsiteY25" fmla="*/ 927812 h 2920668"/>
                    <a:gd name="connsiteX26" fmla="*/ 2134009 w 2257425"/>
                    <a:gd name="connsiteY26" fmla="*/ 921508 h 2920668"/>
                    <a:gd name="connsiteX27" fmla="*/ 2133737 w 2257425"/>
                    <a:gd name="connsiteY27" fmla="*/ 920965 h 2920668"/>
                    <a:gd name="connsiteX28" fmla="*/ 2127660 w 2257425"/>
                    <a:gd name="connsiteY28" fmla="*/ 917927 h 2920668"/>
                    <a:gd name="connsiteX29" fmla="*/ 1333060 w 2257425"/>
                    <a:gd name="connsiteY29" fmla="*/ 123460 h 2920668"/>
                    <a:gd name="connsiteX30" fmla="*/ 1315932 w 2257425"/>
                    <a:gd name="connsiteY30" fmla="*/ 0 h 2920668"/>
                    <a:gd name="connsiteX31" fmla="*/ 1325803 w 2257425"/>
                    <a:gd name="connsiteY31" fmla="*/ 1255 h 2920668"/>
                    <a:gd name="connsiteX32" fmla="*/ 1327638 w 2257425"/>
                    <a:gd name="connsiteY32" fmla="*/ 1255 h 2920668"/>
                    <a:gd name="connsiteX33" fmla="*/ 1330705 w 2257425"/>
                    <a:gd name="connsiteY33" fmla="*/ 1878 h 2920668"/>
                    <a:gd name="connsiteX34" fmla="*/ 1370138 w 2257425"/>
                    <a:gd name="connsiteY34" fmla="*/ 6892 h 2920668"/>
                    <a:gd name="connsiteX35" fmla="*/ 1418897 w 2257425"/>
                    <a:gd name="connsiteY35" fmla="*/ 37184 h 2920668"/>
                    <a:gd name="connsiteX36" fmla="*/ 2205777 w 2257425"/>
                    <a:gd name="connsiteY36" fmla="*/ 827406 h 2920668"/>
                    <a:gd name="connsiteX37" fmla="*/ 2257425 w 2257425"/>
                    <a:gd name="connsiteY37" fmla="*/ 927704 h 2920668"/>
                    <a:gd name="connsiteX38" fmla="*/ 2254250 w 2257425"/>
                    <a:gd name="connsiteY38" fmla="*/ 943227 h 2920668"/>
                    <a:gd name="connsiteX39" fmla="*/ 2254250 w 2257425"/>
                    <a:gd name="connsiteY39" fmla="*/ 1091201 h 2920668"/>
                    <a:gd name="connsiteX40" fmla="*/ 2254250 w 2257425"/>
                    <a:gd name="connsiteY40" fmla="*/ 2726243 h 2920668"/>
                    <a:gd name="connsiteX41" fmla="*/ 2059814 w 2257425"/>
                    <a:gd name="connsiteY41" fmla="*/ 2920668 h 2920668"/>
                    <a:gd name="connsiteX42" fmla="*/ 194437 w 2257425"/>
                    <a:gd name="connsiteY42" fmla="*/ 2920668 h 2920668"/>
                    <a:gd name="connsiteX43" fmla="*/ 0 w 2257425"/>
                    <a:gd name="connsiteY43" fmla="*/ 2726243 h 2920668"/>
                    <a:gd name="connsiteX44" fmla="*/ 0 w 2257425"/>
                    <a:gd name="connsiteY44" fmla="*/ 195680 h 2920668"/>
                    <a:gd name="connsiteX45" fmla="*/ 194437 w 2257425"/>
                    <a:gd name="connsiteY45" fmla="*/ 1255 h 2920668"/>
                    <a:gd name="connsiteX46" fmla="*/ 1309932 w 2257425"/>
                    <a:gd name="connsiteY46" fmla="*/ 1255 h 2920668"/>
                    <a:gd name="connsiteX47" fmla="*/ 1311235 w 2257425"/>
                    <a:gd name="connsiteY47" fmla="*/ 1255 h 2920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257425" h="2920668">
                      <a:moveTo>
                        <a:pt x="194437" y="122771"/>
                      </a:moveTo>
                      <a:cubicBezTo>
                        <a:pt x="154942" y="122771"/>
                        <a:pt x="121523" y="153150"/>
                        <a:pt x="121523" y="195680"/>
                      </a:cubicBezTo>
                      <a:cubicBezTo>
                        <a:pt x="121523" y="2726243"/>
                        <a:pt x="121523" y="2726243"/>
                        <a:pt x="121523" y="2726243"/>
                      </a:cubicBezTo>
                      <a:cubicBezTo>
                        <a:pt x="121523" y="2768774"/>
                        <a:pt x="154942" y="2799152"/>
                        <a:pt x="194437" y="2799152"/>
                      </a:cubicBezTo>
                      <a:cubicBezTo>
                        <a:pt x="2059814" y="2799152"/>
                        <a:pt x="2059814" y="2799152"/>
                        <a:pt x="2059814" y="2799152"/>
                      </a:cubicBezTo>
                      <a:cubicBezTo>
                        <a:pt x="2099308" y="2799152"/>
                        <a:pt x="2132727" y="2768774"/>
                        <a:pt x="2132727" y="2726243"/>
                      </a:cubicBezTo>
                      <a:cubicBezTo>
                        <a:pt x="2132727" y="1714626"/>
                        <a:pt x="2132727" y="1272043"/>
                        <a:pt x="2132727" y="1078413"/>
                      </a:cubicBezTo>
                      <a:lnTo>
                        <a:pt x="2132727" y="1054761"/>
                      </a:lnTo>
                      <a:lnTo>
                        <a:pt x="2129823" y="1055355"/>
                      </a:lnTo>
                      <a:lnTo>
                        <a:pt x="2126785" y="1055355"/>
                      </a:lnTo>
                      <a:cubicBezTo>
                        <a:pt x="2123747" y="1055355"/>
                        <a:pt x="2123747" y="1055355"/>
                        <a:pt x="2123747" y="1055355"/>
                      </a:cubicBezTo>
                      <a:cubicBezTo>
                        <a:pt x="1327752" y="1055355"/>
                        <a:pt x="1327752" y="1055355"/>
                        <a:pt x="1327752" y="1055355"/>
                      </a:cubicBezTo>
                      <a:cubicBezTo>
                        <a:pt x="1257875" y="1055355"/>
                        <a:pt x="1200150" y="997608"/>
                        <a:pt x="1200150" y="927704"/>
                      </a:cubicBezTo>
                      <a:cubicBezTo>
                        <a:pt x="1200150" y="128364"/>
                        <a:pt x="1200150" y="128364"/>
                        <a:pt x="1200150" y="128364"/>
                      </a:cubicBezTo>
                      <a:lnTo>
                        <a:pt x="1200966" y="122771"/>
                      </a:lnTo>
                      <a:lnTo>
                        <a:pt x="1128166" y="122771"/>
                      </a:lnTo>
                      <a:cubicBezTo>
                        <a:pt x="194437" y="122771"/>
                        <a:pt x="194437" y="122771"/>
                        <a:pt x="194437" y="122771"/>
                      </a:cubicBezTo>
                      <a:close/>
                      <a:moveTo>
                        <a:pt x="1331572" y="121972"/>
                      </a:moveTo>
                      <a:lnTo>
                        <a:pt x="1327638" y="122771"/>
                      </a:lnTo>
                      <a:lnTo>
                        <a:pt x="1324994" y="122771"/>
                      </a:lnTo>
                      <a:lnTo>
                        <a:pt x="1322388" y="127982"/>
                      </a:lnTo>
                      <a:cubicBezTo>
                        <a:pt x="1322388" y="927042"/>
                        <a:pt x="1322388" y="927042"/>
                        <a:pt x="1322388" y="927042"/>
                      </a:cubicBezTo>
                      <a:cubicBezTo>
                        <a:pt x="1322388" y="930080"/>
                        <a:pt x="1325427" y="933118"/>
                        <a:pt x="1328466" y="933118"/>
                      </a:cubicBezTo>
                      <a:cubicBezTo>
                        <a:pt x="2130699" y="933118"/>
                        <a:pt x="2130699" y="933118"/>
                        <a:pt x="2130699" y="933118"/>
                      </a:cubicBezTo>
                      <a:lnTo>
                        <a:pt x="2132727" y="931091"/>
                      </a:lnTo>
                      <a:lnTo>
                        <a:pt x="2132727" y="927812"/>
                      </a:lnTo>
                      <a:lnTo>
                        <a:pt x="2134009" y="921508"/>
                      </a:lnTo>
                      <a:lnTo>
                        <a:pt x="2133737" y="920965"/>
                      </a:lnTo>
                      <a:cubicBezTo>
                        <a:pt x="2127660" y="917927"/>
                        <a:pt x="2127660" y="917927"/>
                        <a:pt x="2127660" y="917927"/>
                      </a:cubicBezTo>
                      <a:cubicBezTo>
                        <a:pt x="1431025" y="221408"/>
                        <a:pt x="1343945" y="134343"/>
                        <a:pt x="1333060" y="123460"/>
                      </a:cubicBezTo>
                      <a:close/>
                      <a:moveTo>
                        <a:pt x="1315932" y="0"/>
                      </a:moveTo>
                      <a:lnTo>
                        <a:pt x="1325803" y="1255"/>
                      </a:lnTo>
                      <a:lnTo>
                        <a:pt x="1327638" y="1255"/>
                      </a:lnTo>
                      <a:lnTo>
                        <a:pt x="1330705" y="1878"/>
                      </a:lnTo>
                      <a:lnTo>
                        <a:pt x="1370138" y="6892"/>
                      </a:lnTo>
                      <a:cubicBezTo>
                        <a:pt x="1387566" y="13249"/>
                        <a:pt x="1404086" y="23507"/>
                        <a:pt x="1418897" y="37184"/>
                      </a:cubicBezTo>
                      <a:cubicBezTo>
                        <a:pt x="2205777" y="827406"/>
                        <a:pt x="2205777" y="827406"/>
                        <a:pt x="2205777" y="827406"/>
                      </a:cubicBezTo>
                      <a:cubicBezTo>
                        <a:pt x="2239196" y="851721"/>
                        <a:pt x="2257425" y="888193"/>
                        <a:pt x="2257425" y="927704"/>
                      </a:cubicBezTo>
                      <a:lnTo>
                        <a:pt x="2254250" y="943227"/>
                      </a:lnTo>
                      <a:lnTo>
                        <a:pt x="2254250" y="1091201"/>
                      </a:lnTo>
                      <a:cubicBezTo>
                        <a:pt x="2254250" y="2726243"/>
                        <a:pt x="2254250" y="2726243"/>
                        <a:pt x="2254250" y="2726243"/>
                      </a:cubicBezTo>
                      <a:cubicBezTo>
                        <a:pt x="2254250" y="2835607"/>
                        <a:pt x="2166146" y="2920668"/>
                        <a:pt x="2059814" y="2920668"/>
                      </a:cubicBezTo>
                      <a:cubicBezTo>
                        <a:pt x="194437" y="2920668"/>
                        <a:pt x="194437" y="2920668"/>
                        <a:pt x="194437" y="2920668"/>
                      </a:cubicBezTo>
                      <a:cubicBezTo>
                        <a:pt x="88104" y="2920668"/>
                        <a:pt x="0" y="2835607"/>
                        <a:pt x="0" y="2726243"/>
                      </a:cubicBezTo>
                      <a:cubicBezTo>
                        <a:pt x="0" y="195680"/>
                        <a:pt x="0" y="195680"/>
                        <a:pt x="0" y="195680"/>
                      </a:cubicBezTo>
                      <a:cubicBezTo>
                        <a:pt x="0" y="86316"/>
                        <a:pt x="88104" y="1255"/>
                        <a:pt x="194437" y="1255"/>
                      </a:cubicBezTo>
                      <a:cubicBezTo>
                        <a:pt x="1044338" y="1255"/>
                        <a:pt x="1256813" y="1255"/>
                        <a:pt x="1309932" y="1255"/>
                      </a:cubicBezTo>
                      <a:lnTo>
                        <a:pt x="1311235" y="12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89619" rIns="0" bIns="44810" numCol="1" anchor="t" anchorCtr="0" compatLnSpc="1">
                  <a:prstTxWarp prst="textNoShape">
                    <a:avLst/>
                  </a:prstTxWarp>
                  <a:noAutofit/>
                </a:bodyPr>
                <a:lstStyle/>
                <a:p>
                  <a:pPr algn="ctr" defTabSz="896203">
                    <a:defRPr/>
                  </a:pPr>
                  <a:r>
                    <a:rPr lang="en-US" sz="882" kern="0" dirty="0">
                      <a:solidFill>
                        <a:schemeClr val="accent2">
                          <a:lumMod val="75000"/>
                        </a:schemeClr>
                      </a:solidFill>
                    </a:rPr>
                    <a:t>&lt;&gt;</a:t>
                  </a:r>
                </a:p>
              </p:txBody>
            </p:sp>
            <p:grpSp>
              <p:nvGrpSpPr>
                <p:cNvPr id="720" name="Group 719"/>
                <p:cNvGrpSpPr/>
                <p:nvPr/>
              </p:nvGrpSpPr>
              <p:grpSpPr>
                <a:xfrm>
                  <a:off x="5710236" y="3453323"/>
                  <a:ext cx="260177" cy="181932"/>
                  <a:chOff x="1182255" y="2216727"/>
                  <a:chExt cx="5006109" cy="3500582"/>
                </a:xfrm>
                <a:grpFill/>
              </p:grpSpPr>
              <p:sp>
                <p:nvSpPr>
                  <p:cNvPr id="728" name="Freeform 727"/>
                  <p:cNvSpPr/>
                  <p:nvPr/>
                </p:nvSpPr>
                <p:spPr bwMode="auto">
                  <a:xfrm>
                    <a:off x="1182255" y="2216727"/>
                    <a:ext cx="5006109" cy="3500582"/>
                  </a:xfrm>
                  <a:custGeom>
                    <a:avLst/>
                    <a:gdLst>
                      <a:gd name="connsiteX0" fmla="*/ 115224 w 5006109"/>
                      <a:gd name="connsiteY0" fmla="*/ 113026 h 3500582"/>
                      <a:gd name="connsiteX1" fmla="*/ 115224 w 5006109"/>
                      <a:gd name="connsiteY1" fmla="*/ 3387556 h 3500582"/>
                      <a:gd name="connsiteX2" fmla="*/ 4890886 w 5006109"/>
                      <a:gd name="connsiteY2" fmla="*/ 3387556 h 3500582"/>
                      <a:gd name="connsiteX3" fmla="*/ 4890886 w 5006109"/>
                      <a:gd name="connsiteY3" fmla="*/ 113026 h 3500582"/>
                      <a:gd name="connsiteX4" fmla="*/ 0 w 5006109"/>
                      <a:gd name="connsiteY4" fmla="*/ 0 h 3500582"/>
                      <a:gd name="connsiteX5" fmla="*/ 5006109 w 5006109"/>
                      <a:gd name="connsiteY5" fmla="*/ 0 h 3500582"/>
                      <a:gd name="connsiteX6" fmla="*/ 5006109 w 5006109"/>
                      <a:gd name="connsiteY6" fmla="*/ 3500582 h 3500582"/>
                      <a:gd name="connsiteX7" fmla="*/ 0 w 5006109"/>
                      <a:gd name="connsiteY7" fmla="*/ 3500582 h 3500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06109" h="3500582">
                        <a:moveTo>
                          <a:pt x="115224" y="113026"/>
                        </a:moveTo>
                        <a:lnTo>
                          <a:pt x="115224" y="3387556"/>
                        </a:lnTo>
                        <a:lnTo>
                          <a:pt x="4890886" y="3387556"/>
                        </a:lnTo>
                        <a:lnTo>
                          <a:pt x="4890886" y="113026"/>
                        </a:lnTo>
                        <a:close/>
                        <a:moveTo>
                          <a:pt x="0" y="0"/>
                        </a:moveTo>
                        <a:lnTo>
                          <a:pt x="5006109" y="0"/>
                        </a:lnTo>
                        <a:lnTo>
                          <a:pt x="5006109" y="3500582"/>
                        </a:lnTo>
                        <a:lnTo>
                          <a:pt x="0" y="3500582"/>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grpSp>
                <p:nvGrpSpPr>
                  <p:cNvPr id="729" name="Group 728"/>
                  <p:cNvGrpSpPr/>
                  <p:nvPr/>
                </p:nvGrpSpPr>
                <p:grpSpPr>
                  <a:xfrm>
                    <a:off x="1371600" y="2904099"/>
                    <a:ext cx="4622800" cy="2628550"/>
                    <a:chOff x="1371600" y="3272399"/>
                    <a:chExt cx="4622800" cy="2628550"/>
                  </a:xfrm>
                  <a:grpFill/>
                </p:grpSpPr>
                <p:grpSp>
                  <p:nvGrpSpPr>
                    <p:cNvPr id="730" name="Group 729"/>
                    <p:cNvGrpSpPr/>
                    <p:nvPr/>
                  </p:nvGrpSpPr>
                  <p:grpSpPr>
                    <a:xfrm>
                      <a:off x="1371600" y="3272399"/>
                      <a:ext cx="4622800" cy="609250"/>
                      <a:chOff x="1403350" y="3272399"/>
                      <a:chExt cx="4216400" cy="609250"/>
                    </a:xfrm>
                    <a:grpFill/>
                  </p:grpSpPr>
                  <p:sp>
                    <p:nvSpPr>
                      <p:cNvPr id="746" name="Freeform 745"/>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747" name="Freeform 746"/>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748" name="Freeform 747"/>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749" name="Freeform 748"/>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grpSp>
                <p:grpSp>
                  <p:nvGrpSpPr>
                    <p:cNvPr id="731" name="Group 730"/>
                    <p:cNvGrpSpPr/>
                    <p:nvPr/>
                  </p:nvGrpSpPr>
                  <p:grpSpPr>
                    <a:xfrm>
                      <a:off x="1371600" y="3945499"/>
                      <a:ext cx="4622800" cy="609250"/>
                      <a:chOff x="1403350" y="3272399"/>
                      <a:chExt cx="4216400" cy="609250"/>
                    </a:xfrm>
                    <a:grpFill/>
                  </p:grpSpPr>
                  <p:sp>
                    <p:nvSpPr>
                      <p:cNvPr id="742" name="Freeform 741"/>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743" name="Freeform 742"/>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744" name="Freeform 743"/>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745" name="Freeform 744"/>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grpSp>
                <p:grpSp>
                  <p:nvGrpSpPr>
                    <p:cNvPr id="732" name="Group 731"/>
                    <p:cNvGrpSpPr/>
                    <p:nvPr/>
                  </p:nvGrpSpPr>
                  <p:grpSpPr>
                    <a:xfrm>
                      <a:off x="1371600" y="4618599"/>
                      <a:ext cx="4622800" cy="609250"/>
                      <a:chOff x="1403350" y="3272399"/>
                      <a:chExt cx="4216400" cy="609250"/>
                    </a:xfrm>
                    <a:grpFill/>
                  </p:grpSpPr>
                  <p:sp>
                    <p:nvSpPr>
                      <p:cNvPr id="738" name="Freeform 737"/>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739" name="Freeform 738"/>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740" name="Freeform 739"/>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741" name="Freeform 740"/>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grpSp>
                <p:grpSp>
                  <p:nvGrpSpPr>
                    <p:cNvPr id="733" name="Group 732"/>
                    <p:cNvGrpSpPr/>
                    <p:nvPr/>
                  </p:nvGrpSpPr>
                  <p:grpSpPr>
                    <a:xfrm>
                      <a:off x="1371600" y="5291699"/>
                      <a:ext cx="4622800" cy="609250"/>
                      <a:chOff x="1403350" y="3272399"/>
                      <a:chExt cx="4216400" cy="609250"/>
                    </a:xfrm>
                    <a:grpFill/>
                  </p:grpSpPr>
                  <p:sp>
                    <p:nvSpPr>
                      <p:cNvPr id="734" name="Freeform 733"/>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735" name="Freeform 734"/>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736" name="Freeform 735"/>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737" name="Freeform 736"/>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grpSp>
              </p:grpSp>
            </p:grpSp>
            <p:sp>
              <p:nvSpPr>
                <p:cNvPr id="721" name="Freeform 720"/>
                <p:cNvSpPr>
                  <a:spLocks noChangeArrowheads="1"/>
                </p:cNvSpPr>
                <p:nvPr/>
              </p:nvSpPr>
              <p:spPr bwMode="auto">
                <a:xfrm flipH="1">
                  <a:off x="5586423" y="3735905"/>
                  <a:ext cx="230969" cy="194321"/>
                </a:xfrm>
                <a:custGeom>
                  <a:avLst/>
                  <a:gdLst>
                    <a:gd name="connsiteX0" fmla="*/ 1925912 w 3848648"/>
                    <a:gd name="connsiteY0" fmla="*/ 2280727 h 3237989"/>
                    <a:gd name="connsiteX1" fmla="*/ 1506812 w 3848648"/>
                    <a:gd name="connsiteY1" fmla="*/ 2698240 h 3237989"/>
                    <a:gd name="connsiteX2" fmla="*/ 1925912 w 3848648"/>
                    <a:gd name="connsiteY2" fmla="*/ 3115753 h 3237989"/>
                    <a:gd name="connsiteX3" fmla="*/ 2345012 w 3848648"/>
                    <a:gd name="connsiteY3" fmla="*/ 2698240 h 3237989"/>
                    <a:gd name="connsiteX4" fmla="*/ 1925912 w 3848648"/>
                    <a:gd name="connsiteY4" fmla="*/ 2280727 h 3237989"/>
                    <a:gd name="connsiteX5" fmla="*/ 1925118 w 3848648"/>
                    <a:gd name="connsiteY5" fmla="*/ 2158489 h 3237989"/>
                    <a:gd name="connsiteX6" fmla="*/ 2465662 w 3848648"/>
                    <a:gd name="connsiteY6" fmla="*/ 2698239 h 3237989"/>
                    <a:gd name="connsiteX7" fmla="*/ 1925118 w 3848648"/>
                    <a:gd name="connsiteY7" fmla="*/ 3237989 h 3237989"/>
                    <a:gd name="connsiteX8" fmla="*/ 1384574 w 3848648"/>
                    <a:gd name="connsiteY8" fmla="*/ 2698239 h 3237989"/>
                    <a:gd name="connsiteX9" fmla="*/ 1925118 w 3848648"/>
                    <a:gd name="connsiteY9" fmla="*/ 2158489 h 3237989"/>
                    <a:gd name="connsiteX10" fmla="*/ 1924773 w 3848648"/>
                    <a:gd name="connsiteY10" fmla="*/ 1438131 h 3237989"/>
                    <a:gd name="connsiteX11" fmla="*/ 2816009 w 3848648"/>
                    <a:gd name="connsiteY11" fmla="*/ 1805943 h 3237989"/>
                    <a:gd name="connsiteX12" fmla="*/ 2816009 w 3848648"/>
                    <a:gd name="connsiteY12" fmla="*/ 1894279 h 3237989"/>
                    <a:gd name="connsiteX13" fmla="*/ 2727911 w 3848648"/>
                    <a:gd name="connsiteY13" fmla="*/ 1894279 h 3237989"/>
                    <a:gd name="connsiteX14" fmla="*/ 1120875 w 3848648"/>
                    <a:gd name="connsiteY14" fmla="*/ 1894279 h 3237989"/>
                    <a:gd name="connsiteX15" fmla="*/ 1078345 w 3848648"/>
                    <a:gd name="connsiteY15" fmla="*/ 1909510 h 3237989"/>
                    <a:gd name="connsiteX16" fmla="*/ 1035815 w 3848648"/>
                    <a:gd name="connsiteY16" fmla="*/ 1894279 h 3237989"/>
                    <a:gd name="connsiteX17" fmla="*/ 1035815 w 3848648"/>
                    <a:gd name="connsiteY17" fmla="*/ 1805943 h 3237989"/>
                    <a:gd name="connsiteX18" fmla="*/ 1924773 w 3848648"/>
                    <a:gd name="connsiteY18" fmla="*/ 1438131 h 3237989"/>
                    <a:gd name="connsiteX19" fmla="*/ 1925119 w 3848648"/>
                    <a:gd name="connsiteY19" fmla="*/ 717039 h 3237989"/>
                    <a:gd name="connsiteX20" fmla="*/ 3322424 w 3848648"/>
                    <a:gd name="connsiteY20" fmla="*/ 1298085 h 3237989"/>
                    <a:gd name="connsiteX21" fmla="*/ 3322424 w 3848648"/>
                    <a:gd name="connsiteY21" fmla="*/ 1383265 h 3237989"/>
                    <a:gd name="connsiteX22" fmla="*/ 3237371 w 3848648"/>
                    <a:gd name="connsiteY22" fmla="*/ 1383265 h 3237989"/>
                    <a:gd name="connsiteX23" fmla="*/ 1925119 w 3848648"/>
                    <a:gd name="connsiteY23" fmla="*/ 838724 h 3237989"/>
                    <a:gd name="connsiteX24" fmla="*/ 612866 w 3848648"/>
                    <a:gd name="connsiteY24" fmla="*/ 1383265 h 3237989"/>
                    <a:gd name="connsiteX25" fmla="*/ 570339 w 3848648"/>
                    <a:gd name="connsiteY25" fmla="*/ 1401518 h 3237989"/>
                    <a:gd name="connsiteX26" fmla="*/ 527813 w 3848648"/>
                    <a:gd name="connsiteY26" fmla="*/ 1383265 h 3237989"/>
                    <a:gd name="connsiteX27" fmla="*/ 527813 w 3848648"/>
                    <a:gd name="connsiteY27" fmla="*/ 1298085 h 3237989"/>
                    <a:gd name="connsiteX28" fmla="*/ 1925119 w 3848648"/>
                    <a:gd name="connsiteY28" fmla="*/ 717039 h 3237989"/>
                    <a:gd name="connsiteX29" fmla="*/ 1925843 w 3848648"/>
                    <a:gd name="connsiteY29" fmla="*/ 0 h 3237989"/>
                    <a:gd name="connsiteX30" fmla="*/ 3830423 w 3848648"/>
                    <a:gd name="connsiteY30" fmla="*/ 790191 h 3237989"/>
                    <a:gd name="connsiteX31" fmla="*/ 3830423 w 3848648"/>
                    <a:gd name="connsiteY31" fmla="*/ 875288 h 3237989"/>
                    <a:gd name="connsiteX32" fmla="*/ 3787897 w 3848648"/>
                    <a:gd name="connsiteY32" fmla="*/ 893523 h 3237989"/>
                    <a:gd name="connsiteX33" fmla="*/ 3745370 w 3848648"/>
                    <a:gd name="connsiteY33" fmla="*/ 875288 h 3237989"/>
                    <a:gd name="connsiteX34" fmla="*/ 103278 w 3848648"/>
                    <a:gd name="connsiteY34" fmla="*/ 875288 h 3237989"/>
                    <a:gd name="connsiteX35" fmla="*/ 18225 w 3848648"/>
                    <a:gd name="connsiteY35" fmla="*/ 875288 h 3237989"/>
                    <a:gd name="connsiteX36" fmla="*/ 18225 w 3848648"/>
                    <a:gd name="connsiteY36" fmla="*/ 790191 h 3237989"/>
                    <a:gd name="connsiteX37" fmla="*/ 1925843 w 3848648"/>
                    <a:gd name="connsiteY37" fmla="*/ 0 h 3237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848648" h="3237989">
                      <a:moveTo>
                        <a:pt x="1925912" y="2280727"/>
                      </a:moveTo>
                      <a:cubicBezTo>
                        <a:pt x="1694449" y="2280727"/>
                        <a:pt x="1506812" y="2467654"/>
                        <a:pt x="1506812" y="2698240"/>
                      </a:cubicBezTo>
                      <a:cubicBezTo>
                        <a:pt x="1506812" y="2928826"/>
                        <a:pt x="1694449" y="3115753"/>
                        <a:pt x="1925912" y="3115753"/>
                      </a:cubicBezTo>
                      <a:cubicBezTo>
                        <a:pt x="2157375" y="3115753"/>
                        <a:pt x="2345012" y="2928826"/>
                        <a:pt x="2345012" y="2698240"/>
                      </a:cubicBezTo>
                      <a:cubicBezTo>
                        <a:pt x="2345012" y="2467654"/>
                        <a:pt x="2157375" y="2280727"/>
                        <a:pt x="1925912" y="2280727"/>
                      </a:cubicBezTo>
                      <a:close/>
                      <a:moveTo>
                        <a:pt x="1925118" y="2158489"/>
                      </a:moveTo>
                      <a:cubicBezTo>
                        <a:pt x="2223652" y="2158489"/>
                        <a:pt x="2465662" y="2400143"/>
                        <a:pt x="2465662" y="2698239"/>
                      </a:cubicBezTo>
                      <a:cubicBezTo>
                        <a:pt x="2465662" y="2996335"/>
                        <a:pt x="2223652" y="3237989"/>
                        <a:pt x="1925118" y="3237989"/>
                      </a:cubicBezTo>
                      <a:cubicBezTo>
                        <a:pt x="1626584" y="3237989"/>
                        <a:pt x="1384574" y="2996335"/>
                        <a:pt x="1384574" y="2698239"/>
                      </a:cubicBezTo>
                      <a:cubicBezTo>
                        <a:pt x="1384574" y="2400143"/>
                        <a:pt x="1626584" y="2158489"/>
                        <a:pt x="1925118" y="2158489"/>
                      </a:cubicBezTo>
                      <a:close/>
                      <a:moveTo>
                        <a:pt x="1924773" y="1438131"/>
                      </a:moveTo>
                      <a:cubicBezTo>
                        <a:pt x="2247167" y="1438131"/>
                        <a:pt x="2569942" y="1560735"/>
                        <a:pt x="2816009" y="1805943"/>
                      </a:cubicBezTo>
                      <a:cubicBezTo>
                        <a:pt x="2840312" y="1830312"/>
                        <a:pt x="2840312" y="1869911"/>
                        <a:pt x="2816009" y="1894279"/>
                      </a:cubicBezTo>
                      <a:cubicBezTo>
                        <a:pt x="2791706" y="1915602"/>
                        <a:pt x="2752214" y="1915602"/>
                        <a:pt x="2727911" y="1894279"/>
                      </a:cubicBezTo>
                      <a:cubicBezTo>
                        <a:pt x="2287419" y="1449554"/>
                        <a:pt x="1564405" y="1449554"/>
                        <a:pt x="1120875" y="1894279"/>
                      </a:cubicBezTo>
                      <a:cubicBezTo>
                        <a:pt x="1108724" y="1903418"/>
                        <a:pt x="1093534" y="1909510"/>
                        <a:pt x="1078345" y="1909510"/>
                      </a:cubicBezTo>
                      <a:cubicBezTo>
                        <a:pt x="1063156" y="1909510"/>
                        <a:pt x="1047966" y="1903418"/>
                        <a:pt x="1035815" y="1894279"/>
                      </a:cubicBezTo>
                      <a:cubicBezTo>
                        <a:pt x="1011512" y="1869911"/>
                        <a:pt x="1011512" y="1830312"/>
                        <a:pt x="1035815" y="1805943"/>
                      </a:cubicBezTo>
                      <a:cubicBezTo>
                        <a:pt x="1280364" y="1560735"/>
                        <a:pt x="1602379" y="1438131"/>
                        <a:pt x="1924773" y="1438131"/>
                      </a:cubicBezTo>
                      <a:close/>
                      <a:moveTo>
                        <a:pt x="1925119" y="717039"/>
                      </a:moveTo>
                      <a:cubicBezTo>
                        <a:pt x="2453665" y="717039"/>
                        <a:pt x="2948797" y="923904"/>
                        <a:pt x="3322424" y="1298085"/>
                      </a:cubicBezTo>
                      <a:cubicBezTo>
                        <a:pt x="3346725" y="1322422"/>
                        <a:pt x="3346725" y="1358928"/>
                        <a:pt x="3322424" y="1383265"/>
                      </a:cubicBezTo>
                      <a:cubicBezTo>
                        <a:pt x="3298123" y="1407602"/>
                        <a:pt x="3261672" y="1407602"/>
                        <a:pt x="3237371" y="1383265"/>
                      </a:cubicBezTo>
                      <a:cubicBezTo>
                        <a:pt x="2885007" y="1033420"/>
                        <a:pt x="2420251" y="838724"/>
                        <a:pt x="1925119" y="838724"/>
                      </a:cubicBezTo>
                      <a:cubicBezTo>
                        <a:pt x="1429987" y="838724"/>
                        <a:pt x="962192" y="1033420"/>
                        <a:pt x="612866" y="1383265"/>
                      </a:cubicBezTo>
                      <a:cubicBezTo>
                        <a:pt x="600716" y="1395433"/>
                        <a:pt x="585528" y="1401518"/>
                        <a:pt x="570339" y="1401518"/>
                      </a:cubicBezTo>
                      <a:cubicBezTo>
                        <a:pt x="555151" y="1401518"/>
                        <a:pt x="536926" y="1395433"/>
                        <a:pt x="527813" y="1383265"/>
                      </a:cubicBezTo>
                      <a:cubicBezTo>
                        <a:pt x="503512" y="1358928"/>
                        <a:pt x="503512" y="1322422"/>
                        <a:pt x="527813" y="1298085"/>
                      </a:cubicBezTo>
                      <a:cubicBezTo>
                        <a:pt x="898402" y="923904"/>
                        <a:pt x="1396573" y="717039"/>
                        <a:pt x="1925119" y="717039"/>
                      </a:cubicBezTo>
                      <a:close/>
                      <a:moveTo>
                        <a:pt x="1925843" y="0"/>
                      </a:moveTo>
                      <a:cubicBezTo>
                        <a:pt x="2645756" y="0"/>
                        <a:pt x="3323143" y="279606"/>
                        <a:pt x="3830423" y="790191"/>
                      </a:cubicBezTo>
                      <a:cubicBezTo>
                        <a:pt x="3854724" y="814504"/>
                        <a:pt x="3854724" y="850975"/>
                        <a:pt x="3830423" y="875288"/>
                      </a:cubicBezTo>
                      <a:cubicBezTo>
                        <a:pt x="3818273" y="887445"/>
                        <a:pt x="3803085" y="893523"/>
                        <a:pt x="3787897" y="893523"/>
                      </a:cubicBezTo>
                      <a:cubicBezTo>
                        <a:pt x="3772709" y="893523"/>
                        <a:pt x="3757521" y="887445"/>
                        <a:pt x="3745370" y="875288"/>
                      </a:cubicBezTo>
                      <a:cubicBezTo>
                        <a:pt x="2742960" y="-127647"/>
                        <a:pt x="1108726" y="-130686"/>
                        <a:pt x="103278" y="875288"/>
                      </a:cubicBezTo>
                      <a:cubicBezTo>
                        <a:pt x="82014" y="899602"/>
                        <a:pt x="42525" y="899602"/>
                        <a:pt x="18225" y="875288"/>
                      </a:cubicBezTo>
                      <a:cubicBezTo>
                        <a:pt x="-6076" y="850975"/>
                        <a:pt x="-6076" y="811465"/>
                        <a:pt x="18225" y="790191"/>
                      </a:cubicBezTo>
                      <a:cubicBezTo>
                        <a:pt x="528543" y="279606"/>
                        <a:pt x="1205929" y="0"/>
                        <a:pt x="1925843" y="0"/>
                      </a:cubicBezTo>
                      <a:close/>
                    </a:path>
                  </a:pathLst>
                </a:custGeom>
                <a:grpFill/>
                <a:ln>
                  <a:noFill/>
                </a:ln>
              </p:spPr>
              <p:txBody>
                <a:bodyPr vert="horz" wrap="square" lIns="89619" tIns="44810" rIns="89619" bIns="44810" numCol="1" anchor="t" anchorCtr="0" compatLnSpc="1">
                  <a:prstTxWarp prst="textNoShape">
                    <a:avLst/>
                  </a:prstTxWarp>
                  <a:noAutofit/>
                </a:bodyPr>
                <a:lstStyle/>
                <a:p>
                  <a:pPr defTabSz="896203">
                    <a:defRPr/>
                  </a:pPr>
                  <a:endParaRPr lang="en-US" sz="1764" kern="0" dirty="0">
                    <a:solidFill>
                      <a:schemeClr val="accent2">
                        <a:lumMod val="75000"/>
                      </a:schemeClr>
                    </a:solidFill>
                  </a:endParaRPr>
                </a:p>
              </p:txBody>
            </p:sp>
            <p:grpSp>
              <p:nvGrpSpPr>
                <p:cNvPr id="722" name="Group 721"/>
                <p:cNvGrpSpPr/>
                <p:nvPr/>
              </p:nvGrpSpPr>
              <p:grpSpPr>
                <a:xfrm>
                  <a:off x="5238058" y="3729040"/>
                  <a:ext cx="195955" cy="253528"/>
                  <a:chOff x="5364264" y="3609977"/>
                  <a:chExt cx="201512" cy="260718"/>
                </a:xfrm>
                <a:grpFill/>
              </p:grpSpPr>
              <p:sp>
                <p:nvSpPr>
                  <p:cNvPr id="723" name="Freeform 722"/>
                  <p:cNvSpPr>
                    <a:spLocks/>
                  </p:cNvSpPr>
                  <p:nvPr/>
                </p:nvSpPr>
                <p:spPr bwMode="auto">
                  <a:xfrm>
                    <a:off x="5364264" y="3609977"/>
                    <a:ext cx="201512" cy="260718"/>
                  </a:xfrm>
                  <a:custGeom>
                    <a:avLst/>
                    <a:gdLst>
                      <a:gd name="connsiteX0" fmla="*/ 194437 w 2257425"/>
                      <a:gd name="connsiteY0" fmla="*/ 122771 h 2920668"/>
                      <a:gd name="connsiteX1" fmla="*/ 121523 w 2257425"/>
                      <a:gd name="connsiteY1" fmla="*/ 195680 h 2920668"/>
                      <a:gd name="connsiteX2" fmla="*/ 121523 w 2257425"/>
                      <a:gd name="connsiteY2" fmla="*/ 2726243 h 2920668"/>
                      <a:gd name="connsiteX3" fmla="*/ 194437 w 2257425"/>
                      <a:gd name="connsiteY3" fmla="*/ 2799152 h 2920668"/>
                      <a:gd name="connsiteX4" fmla="*/ 2059814 w 2257425"/>
                      <a:gd name="connsiteY4" fmla="*/ 2799152 h 2920668"/>
                      <a:gd name="connsiteX5" fmla="*/ 2132727 w 2257425"/>
                      <a:gd name="connsiteY5" fmla="*/ 2726243 h 2920668"/>
                      <a:gd name="connsiteX6" fmla="*/ 2132727 w 2257425"/>
                      <a:gd name="connsiteY6" fmla="*/ 1078413 h 2920668"/>
                      <a:gd name="connsiteX7" fmla="*/ 2132727 w 2257425"/>
                      <a:gd name="connsiteY7" fmla="*/ 1054761 h 2920668"/>
                      <a:gd name="connsiteX8" fmla="*/ 2129823 w 2257425"/>
                      <a:gd name="connsiteY8" fmla="*/ 1055355 h 2920668"/>
                      <a:gd name="connsiteX9" fmla="*/ 2126785 w 2257425"/>
                      <a:gd name="connsiteY9" fmla="*/ 1055355 h 2920668"/>
                      <a:gd name="connsiteX10" fmla="*/ 2123747 w 2257425"/>
                      <a:gd name="connsiteY10" fmla="*/ 1055355 h 2920668"/>
                      <a:gd name="connsiteX11" fmla="*/ 1327752 w 2257425"/>
                      <a:gd name="connsiteY11" fmla="*/ 1055355 h 2920668"/>
                      <a:gd name="connsiteX12" fmla="*/ 1200150 w 2257425"/>
                      <a:gd name="connsiteY12" fmla="*/ 927704 h 2920668"/>
                      <a:gd name="connsiteX13" fmla="*/ 1200150 w 2257425"/>
                      <a:gd name="connsiteY13" fmla="*/ 128364 h 2920668"/>
                      <a:gd name="connsiteX14" fmla="*/ 1200966 w 2257425"/>
                      <a:gd name="connsiteY14" fmla="*/ 122771 h 2920668"/>
                      <a:gd name="connsiteX15" fmla="*/ 1128166 w 2257425"/>
                      <a:gd name="connsiteY15" fmla="*/ 122771 h 2920668"/>
                      <a:gd name="connsiteX16" fmla="*/ 194437 w 2257425"/>
                      <a:gd name="connsiteY16" fmla="*/ 122771 h 2920668"/>
                      <a:gd name="connsiteX17" fmla="*/ 1331572 w 2257425"/>
                      <a:gd name="connsiteY17" fmla="*/ 121972 h 2920668"/>
                      <a:gd name="connsiteX18" fmla="*/ 1327638 w 2257425"/>
                      <a:gd name="connsiteY18" fmla="*/ 122771 h 2920668"/>
                      <a:gd name="connsiteX19" fmla="*/ 1324994 w 2257425"/>
                      <a:gd name="connsiteY19" fmla="*/ 122771 h 2920668"/>
                      <a:gd name="connsiteX20" fmla="*/ 1322388 w 2257425"/>
                      <a:gd name="connsiteY20" fmla="*/ 127982 h 2920668"/>
                      <a:gd name="connsiteX21" fmla="*/ 1322388 w 2257425"/>
                      <a:gd name="connsiteY21" fmla="*/ 927042 h 2920668"/>
                      <a:gd name="connsiteX22" fmla="*/ 1328466 w 2257425"/>
                      <a:gd name="connsiteY22" fmla="*/ 933118 h 2920668"/>
                      <a:gd name="connsiteX23" fmla="*/ 2130699 w 2257425"/>
                      <a:gd name="connsiteY23" fmla="*/ 933118 h 2920668"/>
                      <a:gd name="connsiteX24" fmla="*/ 2132727 w 2257425"/>
                      <a:gd name="connsiteY24" fmla="*/ 931091 h 2920668"/>
                      <a:gd name="connsiteX25" fmla="*/ 2132727 w 2257425"/>
                      <a:gd name="connsiteY25" fmla="*/ 927812 h 2920668"/>
                      <a:gd name="connsiteX26" fmla="*/ 2134009 w 2257425"/>
                      <a:gd name="connsiteY26" fmla="*/ 921508 h 2920668"/>
                      <a:gd name="connsiteX27" fmla="*/ 2133737 w 2257425"/>
                      <a:gd name="connsiteY27" fmla="*/ 920965 h 2920668"/>
                      <a:gd name="connsiteX28" fmla="*/ 2127660 w 2257425"/>
                      <a:gd name="connsiteY28" fmla="*/ 917927 h 2920668"/>
                      <a:gd name="connsiteX29" fmla="*/ 1333060 w 2257425"/>
                      <a:gd name="connsiteY29" fmla="*/ 123460 h 2920668"/>
                      <a:gd name="connsiteX30" fmla="*/ 1315932 w 2257425"/>
                      <a:gd name="connsiteY30" fmla="*/ 0 h 2920668"/>
                      <a:gd name="connsiteX31" fmla="*/ 1325803 w 2257425"/>
                      <a:gd name="connsiteY31" fmla="*/ 1255 h 2920668"/>
                      <a:gd name="connsiteX32" fmla="*/ 1327638 w 2257425"/>
                      <a:gd name="connsiteY32" fmla="*/ 1255 h 2920668"/>
                      <a:gd name="connsiteX33" fmla="*/ 1330705 w 2257425"/>
                      <a:gd name="connsiteY33" fmla="*/ 1878 h 2920668"/>
                      <a:gd name="connsiteX34" fmla="*/ 1370138 w 2257425"/>
                      <a:gd name="connsiteY34" fmla="*/ 6892 h 2920668"/>
                      <a:gd name="connsiteX35" fmla="*/ 1418897 w 2257425"/>
                      <a:gd name="connsiteY35" fmla="*/ 37184 h 2920668"/>
                      <a:gd name="connsiteX36" fmla="*/ 2205777 w 2257425"/>
                      <a:gd name="connsiteY36" fmla="*/ 827406 h 2920668"/>
                      <a:gd name="connsiteX37" fmla="*/ 2257425 w 2257425"/>
                      <a:gd name="connsiteY37" fmla="*/ 927704 h 2920668"/>
                      <a:gd name="connsiteX38" fmla="*/ 2254250 w 2257425"/>
                      <a:gd name="connsiteY38" fmla="*/ 943227 h 2920668"/>
                      <a:gd name="connsiteX39" fmla="*/ 2254250 w 2257425"/>
                      <a:gd name="connsiteY39" fmla="*/ 1091201 h 2920668"/>
                      <a:gd name="connsiteX40" fmla="*/ 2254250 w 2257425"/>
                      <a:gd name="connsiteY40" fmla="*/ 2726243 h 2920668"/>
                      <a:gd name="connsiteX41" fmla="*/ 2059814 w 2257425"/>
                      <a:gd name="connsiteY41" fmla="*/ 2920668 h 2920668"/>
                      <a:gd name="connsiteX42" fmla="*/ 194437 w 2257425"/>
                      <a:gd name="connsiteY42" fmla="*/ 2920668 h 2920668"/>
                      <a:gd name="connsiteX43" fmla="*/ 0 w 2257425"/>
                      <a:gd name="connsiteY43" fmla="*/ 2726243 h 2920668"/>
                      <a:gd name="connsiteX44" fmla="*/ 0 w 2257425"/>
                      <a:gd name="connsiteY44" fmla="*/ 195680 h 2920668"/>
                      <a:gd name="connsiteX45" fmla="*/ 194437 w 2257425"/>
                      <a:gd name="connsiteY45" fmla="*/ 1255 h 2920668"/>
                      <a:gd name="connsiteX46" fmla="*/ 1309932 w 2257425"/>
                      <a:gd name="connsiteY46" fmla="*/ 1255 h 2920668"/>
                      <a:gd name="connsiteX47" fmla="*/ 1311235 w 2257425"/>
                      <a:gd name="connsiteY47" fmla="*/ 1255 h 2920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257425" h="2920668">
                        <a:moveTo>
                          <a:pt x="194437" y="122771"/>
                        </a:moveTo>
                        <a:cubicBezTo>
                          <a:pt x="154942" y="122771"/>
                          <a:pt x="121523" y="153150"/>
                          <a:pt x="121523" y="195680"/>
                        </a:cubicBezTo>
                        <a:cubicBezTo>
                          <a:pt x="121523" y="2726243"/>
                          <a:pt x="121523" y="2726243"/>
                          <a:pt x="121523" y="2726243"/>
                        </a:cubicBezTo>
                        <a:cubicBezTo>
                          <a:pt x="121523" y="2768774"/>
                          <a:pt x="154942" y="2799152"/>
                          <a:pt x="194437" y="2799152"/>
                        </a:cubicBezTo>
                        <a:cubicBezTo>
                          <a:pt x="2059814" y="2799152"/>
                          <a:pt x="2059814" y="2799152"/>
                          <a:pt x="2059814" y="2799152"/>
                        </a:cubicBezTo>
                        <a:cubicBezTo>
                          <a:pt x="2099308" y="2799152"/>
                          <a:pt x="2132727" y="2768774"/>
                          <a:pt x="2132727" y="2726243"/>
                        </a:cubicBezTo>
                        <a:cubicBezTo>
                          <a:pt x="2132727" y="1714626"/>
                          <a:pt x="2132727" y="1272043"/>
                          <a:pt x="2132727" y="1078413"/>
                        </a:cubicBezTo>
                        <a:lnTo>
                          <a:pt x="2132727" y="1054761"/>
                        </a:lnTo>
                        <a:lnTo>
                          <a:pt x="2129823" y="1055355"/>
                        </a:lnTo>
                        <a:lnTo>
                          <a:pt x="2126785" y="1055355"/>
                        </a:lnTo>
                        <a:cubicBezTo>
                          <a:pt x="2123747" y="1055355"/>
                          <a:pt x="2123747" y="1055355"/>
                          <a:pt x="2123747" y="1055355"/>
                        </a:cubicBezTo>
                        <a:cubicBezTo>
                          <a:pt x="1327752" y="1055355"/>
                          <a:pt x="1327752" y="1055355"/>
                          <a:pt x="1327752" y="1055355"/>
                        </a:cubicBezTo>
                        <a:cubicBezTo>
                          <a:pt x="1257875" y="1055355"/>
                          <a:pt x="1200150" y="997608"/>
                          <a:pt x="1200150" y="927704"/>
                        </a:cubicBezTo>
                        <a:cubicBezTo>
                          <a:pt x="1200150" y="128364"/>
                          <a:pt x="1200150" y="128364"/>
                          <a:pt x="1200150" y="128364"/>
                        </a:cubicBezTo>
                        <a:lnTo>
                          <a:pt x="1200966" y="122771"/>
                        </a:lnTo>
                        <a:lnTo>
                          <a:pt x="1128166" y="122771"/>
                        </a:lnTo>
                        <a:cubicBezTo>
                          <a:pt x="194437" y="122771"/>
                          <a:pt x="194437" y="122771"/>
                          <a:pt x="194437" y="122771"/>
                        </a:cubicBezTo>
                        <a:close/>
                        <a:moveTo>
                          <a:pt x="1331572" y="121972"/>
                        </a:moveTo>
                        <a:lnTo>
                          <a:pt x="1327638" y="122771"/>
                        </a:lnTo>
                        <a:lnTo>
                          <a:pt x="1324994" y="122771"/>
                        </a:lnTo>
                        <a:lnTo>
                          <a:pt x="1322388" y="127982"/>
                        </a:lnTo>
                        <a:cubicBezTo>
                          <a:pt x="1322388" y="927042"/>
                          <a:pt x="1322388" y="927042"/>
                          <a:pt x="1322388" y="927042"/>
                        </a:cubicBezTo>
                        <a:cubicBezTo>
                          <a:pt x="1322388" y="930080"/>
                          <a:pt x="1325427" y="933118"/>
                          <a:pt x="1328466" y="933118"/>
                        </a:cubicBezTo>
                        <a:cubicBezTo>
                          <a:pt x="2130699" y="933118"/>
                          <a:pt x="2130699" y="933118"/>
                          <a:pt x="2130699" y="933118"/>
                        </a:cubicBezTo>
                        <a:lnTo>
                          <a:pt x="2132727" y="931091"/>
                        </a:lnTo>
                        <a:lnTo>
                          <a:pt x="2132727" y="927812"/>
                        </a:lnTo>
                        <a:lnTo>
                          <a:pt x="2134009" y="921508"/>
                        </a:lnTo>
                        <a:lnTo>
                          <a:pt x="2133737" y="920965"/>
                        </a:lnTo>
                        <a:cubicBezTo>
                          <a:pt x="2127660" y="917927"/>
                          <a:pt x="2127660" y="917927"/>
                          <a:pt x="2127660" y="917927"/>
                        </a:cubicBezTo>
                        <a:cubicBezTo>
                          <a:pt x="1431025" y="221408"/>
                          <a:pt x="1343945" y="134343"/>
                          <a:pt x="1333060" y="123460"/>
                        </a:cubicBezTo>
                        <a:close/>
                        <a:moveTo>
                          <a:pt x="1315932" y="0"/>
                        </a:moveTo>
                        <a:lnTo>
                          <a:pt x="1325803" y="1255"/>
                        </a:lnTo>
                        <a:lnTo>
                          <a:pt x="1327638" y="1255"/>
                        </a:lnTo>
                        <a:lnTo>
                          <a:pt x="1330705" y="1878"/>
                        </a:lnTo>
                        <a:lnTo>
                          <a:pt x="1370138" y="6892"/>
                        </a:lnTo>
                        <a:cubicBezTo>
                          <a:pt x="1387566" y="13249"/>
                          <a:pt x="1404086" y="23507"/>
                          <a:pt x="1418897" y="37184"/>
                        </a:cubicBezTo>
                        <a:cubicBezTo>
                          <a:pt x="2205777" y="827406"/>
                          <a:pt x="2205777" y="827406"/>
                          <a:pt x="2205777" y="827406"/>
                        </a:cubicBezTo>
                        <a:cubicBezTo>
                          <a:pt x="2239196" y="851721"/>
                          <a:pt x="2257425" y="888193"/>
                          <a:pt x="2257425" y="927704"/>
                        </a:cubicBezTo>
                        <a:lnTo>
                          <a:pt x="2254250" y="943227"/>
                        </a:lnTo>
                        <a:lnTo>
                          <a:pt x="2254250" y="1091201"/>
                        </a:lnTo>
                        <a:cubicBezTo>
                          <a:pt x="2254250" y="2726243"/>
                          <a:pt x="2254250" y="2726243"/>
                          <a:pt x="2254250" y="2726243"/>
                        </a:cubicBezTo>
                        <a:cubicBezTo>
                          <a:pt x="2254250" y="2835607"/>
                          <a:pt x="2166146" y="2920668"/>
                          <a:pt x="2059814" y="2920668"/>
                        </a:cubicBezTo>
                        <a:cubicBezTo>
                          <a:pt x="194437" y="2920668"/>
                          <a:pt x="194437" y="2920668"/>
                          <a:pt x="194437" y="2920668"/>
                        </a:cubicBezTo>
                        <a:cubicBezTo>
                          <a:pt x="88104" y="2920668"/>
                          <a:pt x="0" y="2835607"/>
                          <a:pt x="0" y="2726243"/>
                        </a:cubicBezTo>
                        <a:cubicBezTo>
                          <a:pt x="0" y="195680"/>
                          <a:pt x="0" y="195680"/>
                          <a:pt x="0" y="195680"/>
                        </a:cubicBezTo>
                        <a:cubicBezTo>
                          <a:pt x="0" y="86316"/>
                          <a:pt x="88104" y="1255"/>
                          <a:pt x="194437" y="1255"/>
                        </a:cubicBezTo>
                        <a:cubicBezTo>
                          <a:pt x="1044338" y="1255"/>
                          <a:pt x="1256813" y="1255"/>
                          <a:pt x="1309932" y="1255"/>
                        </a:cubicBezTo>
                        <a:lnTo>
                          <a:pt x="1311235" y="1255"/>
                        </a:lnTo>
                        <a:close/>
                      </a:path>
                    </a:pathLst>
                  </a:custGeom>
                  <a:grpFill/>
                  <a:ln w="9525">
                    <a:solidFill>
                      <a:schemeClr val="accent2"/>
                    </a:solidFill>
                    <a:round/>
                    <a:headEnd/>
                    <a:tailEnd/>
                  </a:ln>
                  <a:extLst/>
                </p:spPr>
                <p:txBody>
                  <a:bodyPr vert="horz" wrap="square" lIns="0" tIns="89619" rIns="0" bIns="44810" numCol="1" anchor="t" anchorCtr="0" compatLnSpc="1">
                    <a:prstTxWarp prst="textNoShape">
                      <a:avLst/>
                    </a:prstTxWarp>
                    <a:noAutofit/>
                  </a:bodyPr>
                  <a:lstStyle/>
                  <a:p>
                    <a:pPr algn="ctr" defTabSz="896203">
                      <a:defRPr/>
                    </a:pPr>
                    <a:endParaRPr lang="en-US" sz="882" kern="0" dirty="0">
                      <a:solidFill>
                        <a:schemeClr val="accent2">
                          <a:lumMod val="75000"/>
                        </a:schemeClr>
                      </a:solidFill>
                    </a:endParaRPr>
                  </a:p>
                </p:txBody>
              </p:sp>
              <p:grpSp>
                <p:nvGrpSpPr>
                  <p:cNvPr id="724" name="Group 723"/>
                  <p:cNvGrpSpPr/>
                  <p:nvPr/>
                </p:nvGrpSpPr>
                <p:grpSpPr>
                  <a:xfrm>
                    <a:off x="5394597" y="3756883"/>
                    <a:ext cx="141809" cy="63290"/>
                    <a:chOff x="5211240" y="5761895"/>
                    <a:chExt cx="1356217" cy="393636"/>
                  </a:xfrm>
                  <a:grpFill/>
                </p:grpSpPr>
                <p:sp>
                  <p:nvSpPr>
                    <p:cNvPr id="725" name="Rectangle 724"/>
                    <p:cNvSpPr/>
                    <p:nvPr/>
                  </p:nvSpPr>
                  <p:spPr bwMode="auto">
                    <a:xfrm>
                      <a:off x="5211240" y="5761895"/>
                      <a:ext cx="1356217" cy="6409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726" name="Rectangle 725"/>
                    <p:cNvSpPr/>
                    <p:nvPr/>
                  </p:nvSpPr>
                  <p:spPr bwMode="auto">
                    <a:xfrm>
                      <a:off x="5211240" y="5926667"/>
                      <a:ext cx="1356217" cy="6409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sp>
                  <p:nvSpPr>
                    <p:cNvPr id="727" name="Rectangle 726"/>
                    <p:cNvSpPr/>
                    <p:nvPr/>
                  </p:nvSpPr>
                  <p:spPr bwMode="auto">
                    <a:xfrm>
                      <a:off x="5211240" y="6091440"/>
                      <a:ext cx="1356217" cy="6409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accent2">
                            <a:lumMod val="75000"/>
                          </a:schemeClr>
                        </a:solidFill>
                      </a:endParaRPr>
                    </a:p>
                  </p:txBody>
                </p:sp>
              </p:grpSp>
            </p:grpSp>
          </p:grpSp>
          <p:sp>
            <p:nvSpPr>
              <p:cNvPr id="714" name="Freeform 713"/>
              <p:cNvSpPr>
                <a:spLocks/>
              </p:cNvSpPr>
              <p:nvPr/>
            </p:nvSpPr>
            <p:spPr bwMode="auto">
              <a:xfrm>
                <a:off x="4751749" y="3112038"/>
                <a:ext cx="302851" cy="2291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noFill/>
              <a:ln w="6350">
                <a:solidFill>
                  <a:schemeClr val="accent2"/>
                </a:solidFill>
              </a:ln>
            </p:spPr>
            <p:txBody>
              <a:bodyPr vert="horz" wrap="square" lIns="89619" tIns="44810" rIns="89619" bIns="44810" numCol="1" anchor="t" anchorCtr="0" compatLnSpc="1">
                <a:prstTxWarp prst="textNoShape">
                  <a:avLst/>
                </a:prstTxWarp>
              </a:bodyPr>
              <a:lstStyle/>
              <a:p>
                <a:pPr defTabSz="896203">
                  <a:defRPr/>
                </a:pPr>
                <a:endParaRPr lang="en-US" sz="1568" kern="0" dirty="0">
                  <a:solidFill>
                    <a:schemeClr val="accent2">
                      <a:lumMod val="75000"/>
                    </a:schemeClr>
                  </a:solidFill>
                </a:endParaRPr>
              </a:p>
            </p:txBody>
          </p:sp>
        </p:grpSp>
        <p:grpSp>
          <p:nvGrpSpPr>
            <p:cNvPr id="750" name="Group 749"/>
            <p:cNvGrpSpPr/>
            <p:nvPr/>
          </p:nvGrpSpPr>
          <p:grpSpPr>
            <a:xfrm>
              <a:off x="14395822" y="1782586"/>
              <a:ext cx="592356" cy="401381"/>
              <a:chOff x="9169540" y="1961150"/>
              <a:chExt cx="592356" cy="401381"/>
            </a:xfrm>
            <a:grpFill/>
          </p:grpSpPr>
          <p:sp>
            <p:nvSpPr>
              <p:cNvPr id="751" name="Freeform 55"/>
              <p:cNvSpPr>
                <a:spLocks noEditPoints="1"/>
              </p:cNvSpPr>
              <p:nvPr/>
            </p:nvSpPr>
            <p:spPr bwMode="auto">
              <a:xfrm>
                <a:off x="9215618" y="1961150"/>
                <a:ext cx="500199" cy="353915"/>
              </a:xfrm>
              <a:custGeom>
                <a:avLst/>
                <a:gdLst>
                  <a:gd name="T0" fmla="*/ 860 w 944"/>
                  <a:gd name="T1" fmla="*/ 0 h 665"/>
                  <a:gd name="T2" fmla="*/ 83 w 944"/>
                  <a:gd name="T3" fmla="*/ 0 h 665"/>
                  <a:gd name="T4" fmla="*/ 0 w 944"/>
                  <a:gd name="T5" fmla="*/ 77 h 665"/>
                  <a:gd name="T6" fmla="*/ 0 w 944"/>
                  <a:gd name="T7" fmla="*/ 624 h 665"/>
                  <a:gd name="T8" fmla="*/ 44 w 944"/>
                  <a:gd name="T9" fmla="*/ 665 h 665"/>
                  <a:gd name="T10" fmla="*/ 900 w 944"/>
                  <a:gd name="T11" fmla="*/ 665 h 665"/>
                  <a:gd name="T12" fmla="*/ 944 w 944"/>
                  <a:gd name="T13" fmla="*/ 624 h 665"/>
                  <a:gd name="T14" fmla="*/ 944 w 944"/>
                  <a:gd name="T15" fmla="*/ 77 h 665"/>
                  <a:gd name="T16" fmla="*/ 860 w 944"/>
                  <a:gd name="T17" fmla="*/ 0 h 665"/>
                  <a:gd name="T18" fmla="*/ 896 w 944"/>
                  <a:gd name="T19" fmla="*/ 617 h 665"/>
                  <a:gd name="T20" fmla="*/ 48 w 944"/>
                  <a:gd name="T21" fmla="*/ 617 h 665"/>
                  <a:gd name="T22" fmla="*/ 48 w 944"/>
                  <a:gd name="T23" fmla="*/ 77 h 665"/>
                  <a:gd name="T24" fmla="*/ 83 w 944"/>
                  <a:gd name="T25" fmla="*/ 48 h 665"/>
                  <a:gd name="T26" fmla="*/ 860 w 944"/>
                  <a:gd name="T27" fmla="*/ 48 h 665"/>
                  <a:gd name="T28" fmla="*/ 896 w 944"/>
                  <a:gd name="T29" fmla="*/ 77 h 665"/>
                  <a:gd name="T30" fmla="*/ 896 w 944"/>
                  <a:gd name="T31" fmla="*/ 617 h 6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44" h="665">
                    <a:moveTo>
                      <a:pt x="860" y="0"/>
                    </a:moveTo>
                    <a:cubicBezTo>
                      <a:pt x="83" y="0"/>
                      <a:pt x="83" y="0"/>
                      <a:pt x="83" y="0"/>
                    </a:cubicBezTo>
                    <a:cubicBezTo>
                      <a:pt x="38" y="0"/>
                      <a:pt x="0" y="34"/>
                      <a:pt x="0" y="77"/>
                    </a:cubicBezTo>
                    <a:cubicBezTo>
                      <a:pt x="0" y="624"/>
                      <a:pt x="0" y="624"/>
                      <a:pt x="0" y="624"/>
                    </a:cubicBezTo>
                    <a:cubicBezTo>
                      <a:pt x="0" y="647"/>
                      <a:pt x="20" y="665"/>
                      <a:pt x="44" y="665"/>
                    </a:cubicBezTo>
                    <a:cubicBezTo>
                      <a:pt x="900" y="665"/>
                      <a:pt x="900" y="665"/>
                      <a:pt x="900" y="665"/>
                    </a:cubicBezTo>
                    <a:cubicBezTo>
                      <a:pt x="924" y="665"/>
                      <a:pt x="944" y="647"/>
                      <a:pt x="944" y="624"/>
                    </a:cubicBezTo>
                    <a:cubicBezTo>
                      <a:pt x="944" y="77"/>
                      <a:pt x="944" y="77"/>
                      <a:pt x="944" y="77"/>
                    </a:cubicBezTo>
                    <a:cubicBezTo>
                      <a:pt x="944" y="34"/>
                      <a:pt x="906" y="0"/>
                      <a:pt x="860" y="0"/>
                    </a:cubicBezTo>
                    <a:close/>
                    <a:moveTo>
                      <a:pt x="896" y="617"/>
                    </a:moveTo>
                    <a:cubicBezTo>
                      <a:pt x="48" y="617"/>
                      <a:pt x="48" y="617"/>
                      <a:pt x="48" y="617"/>
                    </a:cubicBezTo>
                    <a:cubicBezTo>
                      <a:pt x="48" y="77"/>
                      <a:pt x="48" y="77"/>
                      <a:pt x="48" y="77"/>
                    </a:cubicBezTo>
                    <a:cubicBezTo>
                      <a:pt x="48" y="61"/>
                      <a:pt x="64" y="48"/>
                      <a:pt x="83" y="48"/>
                    </a:cubicBezTo>
                    <a:cubicBezTo>
                      <a:pt x="860" y="48"/>
                      <a:pt x="860" y="48"/>
                      <a:pt x="860" y="48"/>
                    </a:cubicBezTo>
                    <a:cubicBezTo>
                      <a:pt x="880" y="48"/>
                      <a:pt x="896" y="61"/>
                      <a:pt x="896" y="77"/>
                    </a:cubicBezTo>
                    <a:lnTo>
                      <a:pt x="896" y="6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chemeClr val="accent2">
                      <a:lumMod val="75000"/>
                    </a:schemeClr>
                  </a:solidFill>
                </a:endParaRPr>
              </a:p>
            </p:txBody>
          </p:sp>
          <p:sp>
            <p:nvSpPr>
              <p:cNvPr id="752" name="Freeform 56"/>
              <p:cNvSpPr>
                <a:spLocks/>
              </p:cNvSpPr>
              <p:nvPr/>
            </p:nvSpPr>
            <p:spPr bwMode="auto">
              <a:xfrm>
                <a:off x="9308330" y="2144908"/>
                <a:ext cx="25537" cy="124356"/>
              </a:xfrm>
              <a:custGeom>
                <a:avLst/>
                <a:gdLst>
                  <a:gd name="T0" fmla="*/ 24 w 48"/>
                  <a:gd name="T1" fmla="*/ 234 h 234"/>
                  <a:gd name="T2" fmla="*/ 0 w 48"/>
                  <a:gd name="T3" fmla="*/ 210 h 234"/>
                  <a:gd name="T4" fmla="*/ 0 w 48"/>
                  <a:gd name="T5" fmla="*/ 24 h 234"/>
                  <a:gd name="T6" fmla="*/ 24 w 48"/>
                  <a:gd name="T7" fmla="*/ 0 h 234"/>
                  <a:gd name="T8" fmla="*/ 48 w 48"/>
                  <a:gd name="T9" fmla="*/ 24 h 234"/>
                  <a:gd name="T10" fmla="*/ 48 w 48"/>
                  <a:gd name="T11" fmla="*/ 210 h 234"/>
                  <a:gd name="T12" fmla="*/ 24 w 48"/>
                  <a:gd name="T13" fmla="*/ 234 h 234"/>
                </a:gdLst>
                <a:ahLst/>
                <a:cxnLst>
                  <a:cxn ang="0">
                    <a:pos x="T0" y="T1"/>
                  </a:cxn>
                  <a:cxn ang="0">
                    <a:pos x="T2" y="T3"/>
                  </a:cxn>
                  <a:cxn ang="0">
                    <a:pos x="T4" y="T5"/>
                  </a:cxn>
                  <a:cxn ang="0">
                    <a:pos x="T6" y="T7"/>
                  </a:cxn>
                  <a:cxn ang="0">
                    <a:pos x="T8" y="T9"/>
                  </a:cxn>
                  <a:cxn ang="0">
                    <a:pos x="T10" y="T11"/>
                  </a:cxn>
                  <a:cxn ang="0">
                    <a:pos x="T12" y="T13"/>
                  </a:cxn>
                </a:cxnLst>
                <a:rect l="0" t="0" r="r" b="b"/>
                <a:pathLst>
                  <a:path w="48" h="234">
                    <a:moveTo>
                      <a:pt x="24" y="234"/>
                    </a:moveTo>
                    <a:cubicBezTo>
                      <a:pt x="10" y="234"/>
                      <a:pt x="0" y="224"/>
                      <a:pt x="0" y="210"/>
                    </a:cubicBezTo>
                    <a:cubicBezTo>
                      <a:pt x="0" y="24"/>
                      <a:pt x="0" y="24"/>
                      <a:pt x="0" y="24"/>
                    </a:cubicBezTo>
                    <a:cubicBezTo>
                      <a:pt x="0" y="10"/>
                      <a:pt x="10" y="0"/>
                      <a:pt x="24" y="0"/>
                    </a:cubicBezTo>
                    <a:cubicBezTo>
                      <a:pt x="37" y="0"/>
                      <a:pt x="48" y="10"/>
                      <a:pt x="48" y="24"/>
                    </a:cubicBezTo>
                    <a:cubicBezTo>
                      <a:pt x="48" y="210"/>
                      <a:pt x="48" y="210"/>
                      <a:pt x="48" y="210"/>
                    </a:cubicBezTo>
                    <a:cubicBezTo>
                      <a:pt x="48" y="224"/>
                      <a:pt x="37" y="234"/>
                      <a:pt x="24" y="2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chemeClr val="accent2">
                      <a:lumMod val="75000"/>
                    </a:schemeClr>
                  </a:solidFill>
                </a:endParaRPr>
              </a:p>
            </p:txBody>
          </p:sp>
          <p:sp>
            <p:nvSpPr>
              <p:cNvPr id="753" name="Freeform 57"/>
              <p:cNvSpPr>
                <a:spLocks/>
              </p:cNvSpPr>
              <p:nvPr/>
            </p:nvSpPr>
            <p:spPr bwMode="auto">
              <a:xfrm>
                <a:off x="9395768" y="2013890"/>
                <a:ext cx="25537" cy="255374"/>
              </a:xfrm>
              <a:custGeom>
                <a:avLst/>
                <a:gdLst>
                  <a:gd name="T0" fmla="*/ 24 w 48"/>
                  <a:gd name="T1" fmla="*/ 480 h 480"/>
                  <a:gd name="T2" fmla="*/ 0 w 48"/>
                  <a:gd name="T3" fmla="*/ 456 h 480"/>
                  <a:gd name="T4" fmla="*/ 0 w 48"/>
                  <a:gd name="T5" fmla="*/ 24 h 480"/>
                  <a:gd name="T6" fmla="*/ 24 w 48"/>
                  <a:gd name="T7" fmla="*/ 0 h 480"/>
                  <a:gd name="T8" fmla="*/ 48 w 48"/>
                  <a:gd name="T9" fmla="*/ 24 h 480"/>
                  <a:gd name="T10" fmla="*/ 48 w 48"/>
                  <a:gd name="T11" fmla="*/ 456 h 480"/>
                  <a:gd name="T12" fmla="*/ 24 w 48"/>
                  <a:gd name="T13" fmla="*/ 480 h 480"/>
                </a:gdLst>
                <a:ahLst/>
                <a:cxnLst>
                  <a:cxn ang="0">
                    <a:pos x="T0" y="T1"/>
                  </a:cxn>
                  <a:cxn ang="0">
                    <a:pos x="T2" y="T3"/>
                  </a:cxn>
                  <a:cxn ang="0">
                    <a:pos x="T4" y="T5"/>
                  </a:cxn>
                  <a:cxn ang="0">
                    <a:pos x="T6" y="T7"/>
                  </a:cxn>
                  <a:cxn ang="0">
                    <a:pos x="T8" y="T9"/>
                  </a:cxn>
                  <a:cxn ang="0">
                    <a:pos x="T10" y="T11"/>
                  </a:cxn>
                  <a:cxn ang="0">
                    <a:pos x="T12" y="T13"/>
                  </a:cxn>
                </a:cxnLst>
                <a:rect l="0" t="0" r="r" b="b"/>
                <a:pathLst>
                  <a:path w="48" h="480">
                    <a:moveTo>
                      <a:pt x="24" y="480"/>
                    </a:moveTo>
                    <a:cubicBezTo>
                      <a:pt x="11" y="480"/>
                      <a:pt x="0" y="470"/>
                      <a:pt x="0" y="456"/>
                    </a:cubicBezTo>
                    <a:cubicBezTo>
                      <a:pt x="0" y="24"/>
                      <a:pt x="0" y="24"/>
                      <a:pt x="0" y="24"/>
                    </a:cubicBezTo>
                    <a:cubicBezTo>
                      <a:pt x="0" y="11"/>
                      <a:pt x="11" y="0"/>
                      <a:pt x="24" y="0"/>
                    </a:cubicBezTo>
                    <a:cubicBezTo>
                      <a:pt x="37" y="0"/>
                      <a:pt x="48" y="11"/>
                      <a:pt x="48" y="24"/>
                    </a:cubicBezTo>
                    <a:cubicBezTo>
                      <a:pt x="48" y="456"/>
                      <a:pt x="48" y="456"/>
                      <a:pt x="48" y="456"/>
                    </a:cubicBezTo>
                    <a:cubicBezTo>
                      <a:pt x="48" y="470"/>
                      <a:pt x="37" y="480"/>
                      <a:pt x="24" y="4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chemeClr val="accent2">
                      <a:lumMod val="75000"/>
                    </a:schemeClr>
                  </a:solidFill>
                </a:endParaRPr>
              </a:p>
            </p:txBody>
          </p:sp>
          <p:sp>
            <p:nvSpPr>
              <p:cNvPr id="754" name="Freeform 58"/>
              <p:cNvSpPr>
                <a:spLocks/>
              </p:cNvSpPr>
              <p:nvPr/>
            </p:nvSpPr>
            <p:spPr bwMode="auto">
              <a:xfrm>
                <a:off x="9494864" y="2058026"/>
                <a:ext cx="25537" cy="211239"/>
              </a:xfrm>
              <a:custGeom>
                <a:avLst/>
                <a:gdLst>
                  <a:gd name="T0" fmla="*/ 24 w 48"/>
                  <a:gd name="T1" fmla="*/ 397 h 397"/>
                  <a:gd name="T2" fmla="*/ 0 w 48"/>
                  <a:gd name="T3" fmla="*/ 373 h 397"/>
                  <a:gd name="T4" fmla="*/ 0 w 48"/>
                  <a:gd name="T5" fmla="*/ 24 h 397"/>
                  <a:gd name="T6" fmla="*/ 24 w 48"/>
                  <a:gd name="T7" fmla="*/ 0 h 397"/>
                  <a:gd name="T8" fmla="*/ 48 w 48"/>
                  <a:gd name="T9" fmla="*/ 24 h 397"/>
                  <a:gd name="T10" fmla="*/ 48 w 48"/>
                  <a:gd name="T11" fmla="*/ 373 h 397"/>
                  <a:gd name="T12" fmla="*/ 24 w 48"/>
                  <a:gd name="T13" fmla="*/ 397 h 397"/>
                </a:gdLst>
                <a:ahLst/>
                <a:cxnLst>
                  <a:cxn ang="0">
                    <a:pos x="T0" y="T1"/>
                  </a:cxn>
                  <a:cxn ang="0">
                    <a:pos x="T2" y="T3"/>
                  </a:cxn>
                  <a:cxn ang="0">
                    <a:pos x="T4" y="T5"/>
                  </a:cxn>
                  <a:cxn ang="0">
                    <a:pos x="T6" y="T7"/>
                  </a:cxn>
                  <a:cxn ang="0">
                    <a:pos x="T8" y="T9"/>
                  </a:cxn>
                  <a:cxn ang="0">
                    <a:pos x="T10" y="T11"/>
                  </a:cxn>
                  <a:cxn ang="0">
                    <a:pos x="T12" y="T13"/>
                  </a:cxn>
                </a:cxnLst>
                <a:rect l="0" t="0" r="r" b="b"/>
                <a:pathLst>
                  <a:path w="48" h="397">
                    <a:moveTo>
                      <a:pt x="24" y="397"/>
                    </a:moveTo>
                    <a:cubicBezTo>
                      <a:pt x="10" y="397"/>
                      <a:pt x="0" y="387"/>
                      <a:pt x="0" y="373"/>
                    </a:cubicBezTo>
                    <a:cubicBezTo>
                      <a:pt x="0" y="24"/>
                      <a:pt x="0" y="24"/>
                      <a:pt x="0" y="24"/>
                    </a:cubicBezTo>
                    <a:cubicBezTo>
                      <a:pt x="0" y="11"/>
                      <a:pt x="10" y="0"/>
                      <a:pt x="24" y="0"/>
                    </a:cubicBezTo>
                    <a:cubicBezTo>
                      <a:pt x="37" y="0"/>
                      <a:pt x="48" y="11"/>
                      <a:pt x="48" y="24"/>
                    </a:cubicBezTo>
                    <a:cubicBezTo>
                      <a:pt x="48" y="373"/>
                      <a:pt x="48" y="373"/>
                      <a:pt x="48" y="373"/>
                    </a:cubicBezTo>
                    <a:cubicBezTo>
                      <a:pt x="48" y="387"/>
                      <a:pt x="37" y="397"/>
                      <a:pt x="24" y="3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chemeClr val="accent2">
                      <a:lumMod val="75000"/>
                    </a:schemeClr>
                  </a:solidFill>
                </a:endParaRPr>
              </a:p>
            </p:txBody>
          </p:sp>
          <p:sp>
            <p:nvSpPr>
              <p:cNvPr id="755" name="Freeform 59"/>
              <p:cNvSpPr>
                <a:spLocks/>
              </p:cNvSpPr>
              <p:nvPr/>
            </p:nvSpPr>
            <p:spPr bwMode="auto">
              <a:xfrm>
                <a:off x="9597569" y="2164616"/>
                <a:ext cx="25537" cy="104648"/>
              </a:xfrm>
              <a:custGeom>
                <a:avLst/>
                <a:gdLst>
                  <a:gd name="T0" fmla="*/ 24 w 48"/>
                  <a:gd name="T1" fmla="*/ 197 h 197"/>
                  <a:gd name="T2" fmla="*/ 0 w 48"/>
                  <a:gd name="T3" fmla="*/ 173 h 197"/>
                  <a:gd name="T4" fmla="*/ 0 w 48"/>
                  <a:gd name="T5" fmla="*/ 24 h 197"/>
                  <a:gd name="T6" fmla="*/ 24 w 48"/>
                  <a:gd name="T7" fmla="*/ 0 h 197"/>
                  <a:gd name="T8" fmla="*/ 48 w 48"/>
                  <a:gd name="T9" fmla="*/ 24 h 197"/>
                  <a:gd name="T10" fmla="*/ 48 w 48"/>
                  <a:gd name="T11" fmla="*/ 173 h 197"/>
                  <a:gd name="T12" fmla="*/ 24 w 48"/>
                  <a:gd name="T13" fmla="*/ 197 h 197"/>
                </a:gdLst>
                <a:ahLst/>
                <a:cxnLst>
                  <a:cxn ang="0">
                    <a:pos x="T0" y="T1"/>
                  </a:cxn>
                  <a:cxn ang="0">
                    <a:pos x="T2" y="T3"/>
                  </a:cxn>
                  <a:cxn ang="0">
                    <a:pos x="T4" y="T5"/>
                  </a:cxn>
                  <a:cxn ang="0">
                    <a:pos x="T6" y="T7"/>
                  </a:cxn>
                  <a:cxn ang="0">
                    <a:pos x="T8" y="T9"/>
                  </a:cxn>
                  <a:cxn ang="0">
                    <a:pos x="T10" y="T11"/>
                  </a:cxn>
                  <a:cxn ang="0">
                    <a:pos x="T12" y="T13"/>
                  </a:cxn>
                </a:cxnLst>
                <a:rect l="0" t="0" r="r" b="b"/>
                <a:pathLst>
                  <a:path w="48" h="197">
                    <a:moveTo>
                      <a:pt x="24" y="197"/>
                    </a:moveTo>
                    <a:cubicBezTo>
                      <a:pt x="11" y="197"/>
                      <a:pt x="0" y="187"/>
                      <a:pt x="0" y="173"/>
                    </a:cubicBezTo>
                    <a:cubicBezTo>
                      <a:pt x="0" y="24"/>
                      <a:pt x="0" y="24"/>
                      <a:pt x="0" y="24"/>
                    </a:cubicBezTo>
                    <a:cubicBezTo>
                      <a:pt x="0" y="11"/>
                      <a:pt x="11" y="0"/>
                      <a:pt x="24" y="0"/>
                    </a:cubicBezTo>
                    <a:cubicBezTo>
                      <a:pt x="38" y="0"/>
                      <a:pt x="48" y="11"/>
                      <a:pt x="48" y="24"/>
                    </a:cubicBezTo>
                    <a:cubicBezTo>
                      <a:pt x="48" y="173"/>
                      <a:pt x="48" y="173"/>
                      <a:pt x="48" y="173"/>
                    </a:cubicBezTo>
                    <a:cubicBezTo>
                      <a:pt x="48" y="187"/>
                      <a:pt x="38" y="197"/>
                      <a:pt x="24" y="1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chemeClr val="accent2">
                      <a:lumMod val="75000"/>
                    </a:schemeClr>
                  </a:solidFill>
                </a:endParaRPr>
              </a:p>
            </p:txBody>
          </p:sp>
          <p:sp>
            <p:nvSpPr>
              <p:cNvPr id="756" name="Freeform 60"/>
              <p:cNvSpPr>
                <a:spLocks/>
              </p:cNvSpPr>
              <p:nvPr/>
            </p:nvSpPr>
            <p:spPr bwMode="auto">
              <a:xfrm>
                <a:off x="9169540" y="2336994"/>
                <a:ext cx="592356" cy="25537"/>
              </a:xfrm>
              <a:custGeom>
                <a:avLst/>
                <a:gdLst>
                  <a:gd name="T0" fmla="*/ 1099 w 1118"/>
                  <a:gd name="T1" fmla="*/ 48 h 48"/>
                  <a:gd name="T2" fmla="*/ 18 w 1118"/>
                  <a:gd name="T3" fmla="*/ 48 h 48"/>
                  <a:gd name="T4" fmla="*/ 0 w 1118"/>
                  <a:gd name="T5" fmla="*/ 24 h 48"/>
                  <a:gd name="T6" fmla="*/ 18 w 1118"/>
                  <a:gd name="T7" fmla="*/ 0 h 48"/>
                  <a:gd name="T8" fmla="*/ 1099 w 1118"/>
                  <a:gd name="T9" fmla="*/ 0 h 48"/>
                  <a:gd name="T10" fmla="*/ 1118 w 1118"/>
                  <a:gd name="T11" fmla="*/ 24 h 48"/>
                  <a:gd name="T12" fmla="*/ 1099 w 1118"/>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118" h="48">
                    <a:moveTo>
                      <a:pt x="1099" y="48"/>
                    </a:moveTo>
                    <a:cubicBezTo>
                      <a:pt x="18" y="48"/>
                      <a:pt x="18" y="48"/>
                      <a:pt x="18" y="48"/>
                    </a:cubicBezTo>
                    <a:cubicBezTo>
                      <a:pt x="8" y="48"/>
                      <a:pt x="0" y="38"/>
                      <a:pt x="0" y="24"/>
                    </a:cubicBezTo>
                    <a:cubicBezTo>
                      <a:pt x="0" y="11"/>
                      <a:pt x="8" y="0"/>
                      <a:pt x="18" y="0"/>
                    </a:cubicBezTo>
                    <a:cubicBezTo>
                      <a:pt x="1099" y="0"/>
                      <a:pt x="1099" y="0"/>
                      <a:pt x="1099" y="0"/>
                    </a:cubicBezTo>
                    <a:cubicBezTo>
                      <a:pt x="1110" y="0"/>
                      <a:pt x="1118" y="11"/>
                      <a:pt x="1118" y="24"/>
                    </a:cubicBezTo>
                    <a:cubicBezTo>
                      <a:pt x="1118" y="38"/>
                      <a:pt x="1110" y="48"/>
                      <a:pt x="1099"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chemeClr val="accent2">
                      <a:lumMod val="75000"/>
                    </a:schemeClr>
                  </a:solidFill>
                </a:endParaRPr>
              </a:p>
            </p:txBody>
          </p:sp>
        </p:grpSp>
      </p:grpSp>
      <p:grpSp>
        <p:nvGrpSpPr>
          <p:cNvPr id="5" name="Group 4"/>
          <p:cNvGrpSpPr/>
          <p:nvPr/>
        </p:nvGrpSpPr>
        <p:grpSpPr>
          <a:xfrm>
            <a:off x="2290097" y="1410544"/>
            <a:ext cx="8223563" cy="3371278"/>
            <a:chOff x="2402371" y="1664005"/>
            <a:chExt cx="8390648" cy="3439775"/>
          </a:xfrm>
          <a:solidFill>
            <a:schemeClr val="bg2"/>
          </a:solidFill>
        </p:grpSpPr>
        <p:sp>
          <p:nvSpPr>
            <p:cNvPr id="387" name="Freeform 386"/>
            <p:cNvSpPr>
              <a:spLocks/>
            </p:cNvSpPr>
            <p:nvPr/>
          </p:nvSpPr>
          <p:spPr bwMode="auto">
            <a:xfrm>
              <a:off x="2880352" y="2153035"/>
              <a:ext cx="382073" cy="342630"/>
            </a:xfrm>
            <a:custGeom>
              <a:avLst/>
              <a:gdLst>
                <a:gd name="connsiteX0" fmla="*/ 3516568 w 3629025"/>
                <a:gd name="connsiteY0" fmla="*/ 3138886 h 3254390"/>
                <a:gd name="connsiteX1" fmla="*/ 3513902 w 3629025"/>
                <a:gd name="connsiteY1" fmla="*/ 3141552 h 3254390"/>
                <a:gd name="connsiteX2" fmla="*/ 3516568 w 3629025"/>
                <a:gd name="connsiteY2" fmla="*/ 3141552 h 3254390"/>
                <a:gd name="connsiteX3" fmla="*/ 3516568 w 3629025"/>
                <a:gd name="connsiteY3" fmla="*/ 3140691 h 3254390"/>
                <a:gd name="connsiteX4" fmla="*/ 3516568 w 3629025"/>
                <a:gd name="connsiteY4" fmla="*/ 3138886 h 3254390"/>
                <a:gd name="connsiteX5" fmla="*/ 1814513 w 3629025"/>
                <a:gd name="connsiteY5" fmla="*/ 2087188 h 3254390"/>
                <a:gd name="connsiteX6" fmla="*/ 610916 w 3629025"/>
                <a:gd name="connsiteY6" fmla="*/ 2397227 h 3254390"/>
                <a:gd name="connsiteX7" fmla="*/ 145036 w 3629025"/>
                <a:gd name="connsiteY7" fmla="*/ 2934094 h 3254390"/>
                <a:gd name="connsiteX8" fmla="*/ 112994 w 3629025"/>
                <a:gd name="connsiteY8" fmla="*/ 3138502 h 3254390"/>
                <a:gd name="connsiteX9" fmla="*/ 711667 w 3629025"/>
                <a:gd name="connsiteY9" fmla="*/ 3138502 h 3254390"/>
                <a:gd name="connsiteX10" fmla="*/ 3509920 w 3629025"/>
                <a:gd name="connsiteY10" fmla="*/ 3138502 h 3254390"/>
                <a:gd name="connsiteX11" fmla="*/ 3512992 w 3629025"/>
                <a:gd name="connsiteY11" fmla="*/ 3138502 h 3254390"/>
                <a:gd name="connsiteX12" fmla="*/ 3480950 w 3629025"/>
                <a:gd name="connsiteY12" fmla="*/ 2934094 h 3254390"/>
                <a:gd name="connsiteX13" fmla="*/ 3015069 w 3629025"/>
                <a:gd name="connsiteY13" fmla="*/ 2397227 h 3254390"/>
                <a:gd name="connsiteX14" fmla="*/ 1814513 w 3629025"/>
                <a:gd name="connsiteY14" fmla="*/ 2087188 h 3254390"/>
                <a:gd name="connsiteX15" fmla="*/ 1814513 w 3629025"/>
                <a:gd name="connsiteY15" fmla="*/ 1971684 h 3254390"/>
                <a:gd name="connsiteX16" fmla="*/ 3075857 w 3629025"/>
                <a:gd name="connsiteY16" fmla="*/ 2296920 h 3254390"/>
                <a:gd name="connsiteX17" fmla="*/ 3592600 w 3629025"/>
                <a:gd name="connsiteY17" fmla="*/ 2905170 h 3254390"/>
                <a:gd name="connsiteX18" fmla="*/ 3628968 w 3629025"/>
                <a:gd name="connsiteY18" fmla="*/ 3141552 h 3254390"/>
                <a:gd name="connsiteX19" fmla="*/ 3629025 w 3629025"/>
                <a:gd name="connsiteY19" fmla="*/ 3141552 h 3254390"/>
                <a:gd name="connsiteX20" fmla="*/ 3628992 w 3629025"/>
                <a:gd name="connsiteY20" fmla="*/ 3141711 h 3254390"/>
                <a:gd name="connsiteX21" fmla="*/ 3629025 w 3629025"/>
                <a:gd name="connsiteY21" fmla="*/ 3141925 h 3254390"/>
                <a:gd name="connsiteX22" fmla="*/ 3516568 w 3629025"/>
                <a:gd name="connsiteY22" fmla="*/ 3254390 h 3254390"/>
                <a:gd name="connsiteX23" fmla="*/ 112457 w 3629025"/>
                <a:gd name="connsiteY23" fmla="*/ 3254390 h 3254390"/>
                <a:gd name="connsiteX24" fmla="*/ 8596 w 3629025"/>
                <a:gd name="connsiteY24" fmla="*/ 3184915 h 3254390"/>
                <a:gd name="connsiteX25" fmla="*/ 74 w 3629025"/>
                <a:gd name="connsiteY25" fmla="*/ 3141925 h 3254390"/>
                <a:gd name="connsiteX26" fmla="*/ 0 w 3629025"/>
                <a:gd name="connsiteY26" fmla="*/ 3141925 h 3254390"/>
                <a:gd name="connsiteX27" fmla="*/ 32 w 3629025"/>
                <a:gd name="connsiteY27" fmla="*/ 3141714 h 3254390"/>
                <a:gd name="connsiteX28" fmla="*/ 0 w 3629025"/>
                <a:gd name="connsiteY28" fmla="*/ 3141552 h 3254390"/>
                <a:gd name="connsiteX29" fmla="*/ 57 w 3629025"/>
                <a:gd name="connsiteY29" fmla="*/ 3141552 h 3254390"/>
                <a:gd name="connsiteX30" fmla="*/ 35950 w 3629025"/>
                <a:gd name="connsiteY30" fmla="*/ 2905170 h 3254390"/>
                <a:gd name="connsiteX31" fmla="*/ 550129 w 3629025"/>
                <a:gd name="connsiteY31" fmla="*/ 2296920 h 3254390"/>
                <a:gd name="connsiteX32" fmla="*/ 1814513 w 3629025"/>
                <a:gd name="connsiteY32" fmla="*/ 1971684 h 3254390"/>
                <a:gd name="connsiteX33" fmla="*/ 1746250 w 3629025"/>
                <a:gd name="connsiteY33" fmla="*/ 115888 h 3254390"/>
                <a:gd name="connsiteX34" fmla="*/ 973137 w 3629025"/>
                <a:gd name="connsiteY34" fmla="*/ 887417 h 3254390"/>
                <a:gd name="connsiteX35" fmla="*/ 1746250 w 3629025"/>
                <a:gd name="connsiteY35" fmla="*/ 1658946 h 3254390"/>
                <a:gd name="connsiteX36" fmla="*/ 2519363 w 3629025"/>
                <a:gd name="connsiteY36" fmla="*/ 887417 h 3254390"/>
                <a:gd name="connsiteX37" fmla="*/ 1746250 w 3629025"/>
                <a:gd name="connsiteY37" fmla="*/ 115888 h 3254390"/>
                <a:gd name="connsiteX38" fmla="*/ 1747837 w 3629025"/>
                <a:gd name="connsiteY38" fmla="*/ 0 h 3254390"/>
                <a:gd name="connsiteX39" fmla="*/ 2635250 w 3629025"/>
                <a:gd name="connsiteY39" fmla="*/ 887417 h 3254390"/>
                <a:gd name="connsiteX40" fmla="*/ 1747837 w 3629025"/>
                <a:gd name="connsiteY40" fmla="*/ 1774834 h 3254390"/>
                <a:gd name="connsiteX41" fmla="*/ 860424 w 3629025"/>
                <a:gd name="connsiteY41" fmla="*/ 887417 h 3254390"/>
                <a:gd name="connsiteX42" fmla="*/ 1747837 w 3629025"/>
                <a:gd name="connsiteY42" fmla="*/ 0 h 3254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3629025" h="3254390">
                  <a:moveTo>
                    <a:pt x="3516568" y="3138886"/>
                  </a:moveTo>
                  <a:lnTo>
                    <a:pt x="3513902" y="3141552"/>
                  </a:lnTo>
                  <a:lnTo>
                    <a:pt x="3516568" y="3141552"/>
                  </a:lnTo>
                  <a:lnTo>
                    <a:pt x="3516568" y="3140691"/>
                  </a:lnTo>
                  <a:cubicBezTo>
                    <a:pt x="3516568" y="3138886"/>
                    <a:pt x="3516568" y="3138886"/>
                    <a:pt x="3516568" y="3138886"/>
                  </a:cubicBezTo>
                  <a:close/>
                  <a:moveTo>
                    <a:pt x="1814513" y="2087188"/>
                  </a:moveTo>
                  <a:cubicBezTo>
                    <a:pt x="1358605" y="2087188"/>
                    <a:pt x="933091" y="2196614"/>
                    <a:pt x="610916" y="2397227"/>
                  </a:cubicBezTo>
                  <a:cubicBezTo>
                    <a:pt x="369285" y="2545407"/>
                    <a:pt x="209718" y="2731201"/>
                    <a:pt x="145036" y="2934094"/>
                  </a:cubicBezTo>
                  <a:lnTo>
                    <a:pt x="112994" y="3138502"/>
                  </a:lnTo>
                  <a:lnTo>
                    <a:pt x="711667" y="3138502"/>
                  </a:lnTo>
                  <a:cubicBezTo>
                    <a:pt x="3142581" y="3138502"/>
                    <a:pt x="3466703" y="3138502"/>
                    <a:pt x="3509920" y="3138502"/>
                  </a:cubicBezTo>
                  <a:lnTo>
                    <a:pt x="3512992" y="3138502"/>
                  </a:lnTo>
                  <a:lnTo>
                    <a:pt x="3480950" y="2934094"/>
                  </a:lnTo>
                  <a:cubicBezTo>
                    <a:pt x="3416268" y="2731201"/>
                    <a:pt x="3256701" y="2545407"/>
                    <a:pt x="3015069" y="2397227"/>
                  </a:cubicBezTo>
                  <a:cubicBezTo>
                    <a:pt x="2695934" y="2196614"/>
                    <a:pt x="2267381" y="2087188"/>
                    <a:pt x="1814513" y="2087188"/>
                  </a:cubicBezTo>
                  <a:close/>
                  <a:moveTo>
                    <a:pt x="1814513" y="1971684"/>
                  </a:moveTo>
                  <a:cubicBezTo>
                    <a:pt x="2288657" y="1971684"/>
                    <a:pt x="2738485" y="2087188"/>
                    <a:pt x="3075857" y="2296920"/>
                  </a:cubicBezTo>
                  <a:cubicBezTo>
                    <a:pt x="3342563" y="2463338"/>
                    <a:pt x="3520367" y="2674209"/>
                    <a:pt x="3592600" y="2905170"/>
                  </a:cubicBezTo>
                  <a:lnTo>
                    <a:pt x="3628968" y="3141552"/>
                  </a:lnTo>
                  <a:lnTo>
                    <a:pt x="3629025" y="3141552"/>
                  </a:lnTo>
                  <a:lnTo>
                    <a:pt x="3628992" y="3141711"/>
                  </a:lnTo>
                  <a:lnTo>
                    <a:pt x="3629025" y="3141925"/>
                  </a:lnTo>
                  <a:cubicBezTo>
                    <a:pt x="3629025" y="3202717"/>
                    <a:pt x="3577356" y="3254390"/>
                    <a:pt x="3516568" y="3254390"/>
                  </a:cubicBezTo>
                  <a:cubicBezTo>
                    <a:pt x="112457" y="3254390"/>
                    <a:pt x="112457" y="3254390"/>
                    <a:pt x="112457" y="3254390"/>
                  </a:cubicBezTo>
                  <a:cubicBezTo>
                    <a:pt x="64587" y="3254390"/>
                    <a:pt x="25265" y="3225228"/>
                    <a:pt x="8596" y="3184915"/>
                  </a:cubicBezTo>
                  <a:lnTo>
                    <a:pt x="74" y="3141925"/>
                  </a:lnTo>
                  <a:lnTo>
                    <a:pt x="0" y="3141925"/>
                  </a:lnTo>
                  <a:lnTo>
                    <a:pt x="32" y="3141714"/>
                  </a:lnTo>
                  <a:lnTo>
                    <a:pt x="0" y="3141552"/>
                  </a:lnTo>
                  <a:lnTo>
                    <a:pt x="57" y="3141552"/>
                  </a:lnTo>
                  <a:lnTo>
                    <a:pt x="35950" y="2905170"/>
                  </a:lnTo>
                  <a:cubicBezTo>
                    <a:pt x="107329" y="2674209"/>
                    <a:pt x="283423" y="2463338"/>
                    <a:pt x="550129" y="2296920"/>
                  </a:cubicBezTo>
                  <a:cubicBezTo>
                    <a:pt x="890540" y="2087188"/>
                    <a:pt x="1337329" y="1971684"/>
                    <a:pt x="1814513" y="1971684"/>
                  </a:cubicBezTo>
                  <a:close/>
                  <a:moveTo>
                    <a:pt x="1746250" y="115888"/>
                  </a:moveTo>
                  <a:cubicBezTo>
                    <a:pt x="1319271" y="115888"/>
                    <a:pt x="973137" y="461313"/>
                    <a:pt x="973137" y="887417"/>
                  </a:cubicBezTo>
                  <a:cubicBezTo>
                    <a:pt x="973137" y="1313521"/>
                    <a:pt x="1319271" y="1658946"/>
                    <a:pt x="1746250" y="1658946"/>
                  </a:cubicBezTo>
                  <a:cubicBezTo>
                    <a:pt x="2173229" y="1658946"/>
                    <a:pt x="2519363" y="1313521"/>
                    <a:pt x="2519363" y="887417"/>
                  </a:cubicBezTo>
                  <a:cubicBezTo>
                    <a:pt x="2519363" y="461313"/>
                    <a:pt x="2173229" y="115888"/>
                    <a:pt x="1746250" y="115888"/>
                  </a:cubicBezTo>
                  <a:close/>
                  <a:moveTo>
                    <a:pt x="1747837" y="0"/>
                  </a:moveTo>
                  <a:cubicBezTo>
                    <a:pt x="2237942" y="0"/>
                    <a:pt x="2635250" y="397310"/>
                    <a:pt x="2635250" y="887417"/>
                  </a:cubicBezTo>
                  <a:cubicBezTo>
                    <a:pt x="2635250" y="1377524"/>
                    <a:pt x="2237942" y="1774834"/>
                    <a:pt x="1747837" y="1774834"/>
                  </a:cubicBezTo>
                  <a:cubicBezTo>
                    <a:pt x="1257732" y="1774834"/>
                    <a:pt x="860424" y="1377524"/>
                    <a:pt x="860424" y="887417"/>
                  </a:cubicBezTo>
                  <a:cubicBezTo>
                    <a:pt x="860424" y="397310"/>
                    <a:pt x="1257732" y="0"/>
                    <a:pt x="1747837" y="0"/>
                  </a:cubicBezTo>
                  <a:close/>
                </a:path>
              </a:pathLst>
            </a:custGeom>
            <a:solidFill>
              <a:schemeClr val="accent1"/>
            </a:solidFill>
            <a:ln>
              <a:noFill/>
            </a:ln>
          </p:spPr>
          <p:txBody>
            <a:bodyPr vert="horz" wrap="square" lIns="89619" tIns="44810" rIns="89619" bIns="44810" numCol="1" anchor="t" anchorCtr="0" compatLnSpc="1">
              <a:prstTxWarp prst="textNoShape">
                <a:avLst/>
              </a:prstTxWarp>
              <a:noAutofit/>
            </a:bodyPr>
            <a:lstStyle/>
            <a:p>
              <a:pPr defTabSz="896203">
                <a:defRPr/>
              </a:pPr>
              <a:endParaRPr lang="en-US" sz="1764" kern="0">
                <a:solidFill>
                  <a:sysClr val="windowText" lastClr="000000"/>
                </a:solidFill>
              </a:endParaRPr>
            </a:p>
          </p:txBody>
        </p:sp>
        <p:sp>
          <p:nvSpPr>
            <p:cNvPr id="388" name="Freeform 387"/>
            <p:cNvSpPr>
              <a:spLocks/>
            </p:cNvSpPr>
            <p:nvPr/>
          </p:nvSpPr>
          <p:spPr bwMode="auto">
            <a:xfrm>
              <a:off x="2924385" y="3942332"/>
              <a:ext cx="508114" cy="706631"/>
            </a:xfrm>
            <a:custGeom>
              <a:avLst/>
              <a:gdLst>
                <a:gd name="connsiteX0" fmla="*/ 838496 w 1114676"/>
                <a:gd name="connsiteY0" fmla="*/ 1272420 h 1550172"/>
                <a:gd name="connsiteX1" fmla="*/ 838496 w 1114676"/>
                <a:gd name="connsiteY1" fmla="*/ 1317489 h 1550172"/>
                <a:gd name="connsiteX2" fmla="*/ 957458 w 1114676"/>
                <a:gd name="connsiteY2" fmla="*/ 1317489 h 1550172"/>
                <a:gd name="connsiteX3" fmla="*/ 957458 w 1114676"/>
                <a:gd name="connsiteY3" fmla="*/ 1272420 h 1550172"/>
                <a:gd name="connsiteX4" fmla="*/ 823473 w 1114676"/>
                <a:gd name="connsiteY4" fmla="*/ 1216345 h 1550172"/>
                <a:gd name="connsiteX5" fmla="*/ 974403 w 1114676"/>
                <a:gd name="connsiteY5" fmla="*/ 1216345 h 1550172"/>
                <a:gd name="connsiteX6" fmla="*/ 1013532 w 1114676"/>
                <a:gd name="connsiteY6" fmla="*/ 1257054 h 1550172"/>
                <a:gd name="connsiteX7" fmla="*/ 1013532 w 1114676"/>
                <a:gd name="connsiteY7" fmla="*/ 1332856 h 1550172"/>
                <a:gd name="connsiteX8" fmla="*/ 974403 w 1114676"/>
                <a:gd name="connsiteY8" fmla="*/ 1373564 h 1550172"/>
                <a:gd name="connsiteX9" fmla="*/ 823473 w 1114676"/>
                <a:gd name="connsiteY9" fmla="*/ 1373564 h 1550172"/>
                <a:gd name="connsiteX10" fmla="*/ 782946 w 1114676"/>
                <a:gd name="connsiteY10" fmla="*/ 1332856 h 1550172"/>
                <a:gd name="connsiteX11" fmla="*/ 782946 w 1114676"/>
                <a:gd name="connsiteY11" fmla="*/ 1257054 h 1550172"/>
                <a:gd name="connsiteX12" fmla="*/ 823473 w 1114676"/>
                <a:gd name="connsiteY12" fmla="*/ 1216345 h 1550172"/>
                <a:gd name="connsiteX13" fmla="*/ 410339 w 1114676"/>
                <a:gd name="connsiteY13" fmla="*/ 1051266 h 1550172"/>
                <a:gd name="connsiteX14" fmla="*/ 410339 w 1114676"/>
                <a:gd name="connsiteY14" fmla="*/ 1220538 h 1550172"/>
                <a:gd name="connsiteX15" fmla="*/ 480039 w 1114676"/>
                <a:gd name="connsiteY15" fmla="*/ 1220538 h 1550172"/>
                <a:gd name="connsiteX16" fmla="*/ 480039 w 1114676"/>
                <a:gd name="connsiteY16" fmla="*/ 1051266 h 1550172"/>
                <a:gd name="connsiteX17" fmla="*/ 177656 w 1114676"/>
                <a:gd name="connsiteY17" fmla="*/ 1051266 h 1550172"/>
                <a:gd name="connsiteX18" fmla="*/ 177656 w 1114676"/>
                <a:gd name="connsiteY18" fmla="*/ 1220538 h 1550172"/>
                <a:gd name="connsiteX19" fmla="*/ 247881 w 1114676"/>
                <a:gd name="connsiteY19" fmla="*/ 1220538 h 1550172"/>
                <a:gd name="connsiteX20" fmla="*/ 247881 w 1114676"/>
                <a:gd name="connsiteY20" fmla="*/ 1051266 h 1550172"/>
                <a:gd name="connsiteX21" fmla="*/ 838496 w 1114676"/>
                <a:gd name="connsiteY21" fmla="*/ 1047074 h 1550172"/>
                <a:gd name="connsiteX22" fmla="*/ 838496 w 1114676"/>
                <a:gd name="connsiteY22" fmla="*/ 1091619 h 1550172"/>
                <a:gd name="connsiteX23" fmla="*/ 957458 w 1114676"/>
                <a:gd name="connsiteY23" fmla="*/ 1091619 h 1550172"/>
                <a:gd name="connsiteX24" fmla="*/ 957458 w 1114676"/>
                <a:gd name="connsiteY24" fmla="*/ 1047074 h 1550172"/>
                <a:gd name="connsiteX25" fmla="*/ 394831 w 1114676"/>
                <a:gd name="connsiteY25" fmla="*/ 995192 h 1550172"/>
                <a:gd name="connsiteX26" fmla="*/ 495547 w 1114676"/>
                <a:gd name="connsiteY26" fmla="*/ 995192 h 1550172"/>
                <a:gd name="connsiteX27" fmla="*/ 536114 w 1114676"/>
                <a:gd name="connsiteY27" fmla="*/ 1035795 h 1550172"/>
                <a:gd name="connsiteX28" fmla="*/ 536114 w 1114676"/>
                <a:gd name="connsiteY28" fmla="*/ 1236009 h 1550172"/>
                <a:gd name="connsiteX29" fmla="*/ 495547 w 1114676"/>
                <a:gd name="connsiteY29" fmla="*/ 1276612 h 1550172"/>
                <a:gd name="connsiteX30" fmla="*/ 394831 w 1114676"/>
                <a:gd name="connsiteY30" fmla="*/ 1276612 h 1550172"/>
                <a:gd name="connsiteX31" fmla="*/ 354265 w 1114676"/>
                <a:gd name="connsiteY31" fmla="*/ 1236009 h 1550172"/>
                <a:gd name="connsiteX32" fmla="*/ 354265 w 1114676"/>
                <a:gd name="connsiteY32" fmla="*/ 1035795 h 1550172"/>
                <a:gd name="connsiteX33" fmla="*/ 394831 w 1114676"/>
                <a:gd name="connsiteY33" fmla="*/ 995192 h 1550172"/>
                <a:gd name="connsiteX34" fmla="*/ 162672 w 1114676"/>
                <a:gd name="connsiteY34" fmla="*/ 995192 h 1550172"/>
                <a:gd name="connsiteX35" fmla="*/ 263389 w 1114676"/>
                <a:gd name="connsiteY35" fmla="*/ 995192 h 1550172"/>
                <a:gd name="connsiteX36" fmla="*/ 303955 w 1114676"/>
                <a:gd name="connsiteY36" fmla="*/ 1035795 h 1550172"/>
                <a:gd name="connsiteX37" fmla="*/ 303955 w 1114676"/>
                <a:gd name="connsiteY37" fmla="*/ 1236009 h 1550172"/>
                <a:gd name="connsiteX38" fmla="*/ 263389 w 1114676"/>
                <a:gd name="connsiteY38" fmla="*/ 1276612 h 1550172"/>
                <a:gd name="connsiteX39" fmla="*/ 162672 w 1114676"/>
                <a:gd name="connsiteY39" fmla="*/ 1276612 h 1550172"/>
                <a:gd name="connsiteX40" fmla="*/ 122106 w 1114676"/>
                <a:gd name="connsiteY40" fmla="*/ 1236009 h 1550172"/>
                <a:gd name="connsiteX41" fmla="*/ 122106 w 1114676"/>
                <a:gd name="connsiteY41" fmla="*/ 1035795 h 1550172"/>
                <a:gd name="connsiteX42" fmla="*/ 162672 w 1114676"/>
                <a:gd name="connsiteY42" fmla="*/ 995192 h 1550172"/>
                <a:gd name="connsiteX43" fmla="*/ 823473 w 1114676"/>
                <a:gd name="connsiteY43" fmla="*/ 990999 h 1550172"/>
                <a:gd name="connsiteX44" fmla="*/ 974403 w 1114676"/>
                <a:gd name="connsiteY44" fmla="*/ 990999 h 1550172"/>
                <a:gd name="connsiteX45" fmla="*/ 1013532 w 1114676"/>
                <a:gd name="connsiteY45" fmla="*/ 1031572 h 1550172"/>
                <a:gd name="connsiteX46" fmla="*/ 1013532 w 1114676"/>
                <a:gd name="connsiteY46" fmla="*/ 1107121 h 1550172"/>
                <a:gd name="connsiteX47" fmla="*/ 974403 w 1114676"/>
                <a:gd name="connsiteY47" fmla="*/ 1147694 h 1550172"/>
                <a:gd name="connsiteX48" fmla="*/ 823473 w 1114676"/>
                <a:gd name="connsiteY48" fmla="*/ 1147694 h 1550172"/>
                <a:gd name="connsiteX49" fmla="*/ 782946 w 1114676"/>
                <a:gd name="connsiteY49" fmla="*/ 1107121 h 1550172"/>
                <a:gd name="connsiteX50" fmla="*/ 782946 w 1114676"/>
                <a:gd name="connsiteY50" fmla="*/ 1031572 h 1550172"/>
                <a:gd name="connsiteX51" fmla="*/ 823473 w 1114676"/>
                <a:gd name="connsiteY51" fmla="*/ 990999 h 1550172"/>
                <a:gd name="connsiteX52" fmla="*/ 838496 w 1114676"/>
                <a:gd name="connsiteY52" fmla="*/ 820155 h 1550172"/>
                <a:gd name="connsiteX53" fmla="*/ 838496 w 1114676"/>
                <a:gd name="connsiteY53" fmla="*/ 864701 h 1550172"/>
                <a:gd name="connsiteX54" fmla="*/ 957458 w 1114676"/>
                <a:gd name="connsiteY54" fmla="*/ 864701 h 1550172"/>
                <a:gd name="connsiteX55" fmla="*/ 957458 w 1114676"/>
                <a:gd name="connsiteY55" fmla="*/ 820155 h 1550172"/>
                <a:gd name="connsiteX56" fmla="*/ 823473 w 1114676"/>
                <a:gd name="connsiteY56" fmla="*/ 764081 h 1550172"/>
                <a:gd name="connsiteX57" fmla="*/ 974403 w 1114676"/>
                <a:gd name="connsiteY57" fmla="*/ 764081 h 1550172"/>
                <a:gd name="connsiteX58" fmla="*/ 1013532 w 1114676"/>
                <a:gd name="connsiteY58" fmla="*/ 804653 h 1550172"/>
                <a:gd name="connsiteX59" fmla="*/ 1013532 w 1114676"/>
                <a:gd name="connsiteY59" fmla="*/ 880202 h 1550172"/>
                <a:gd name="connsiteX60" fmla="*/ 974403 w 1114676"/>
                <a:gd name="connsiteY60" fmla="*/ 920775 h 1550172"/>
                <a:gd name="connsiteX61" fmla="*/ 823473 w 1114676"/>
                <a:gd name="connsiteY61" fmla="*/ 920775 h 1550172"/>
                <a:gd name="connsiteX62" fmla="*/ 782946 w 1114676"/>
                <a:gd name="connsiteY62" fmla="*/ 880202 h 1550172"/>
                <a:gd name="connsiteX63" fmla="*/ 782946 w 1114676"/>
                <a:gd name="connsiteY63" fmla="*/ 804653 h 1550172"/>
                <a:gd name="connsiteX64" fmla="*/ 823473 w 1114676"/>
                <a:gd name="connsiteY64" fmla="*/ 764081 h 1550172"/>
                <a:gd name="connsiteX65" fmla="*/ 737877 w 1114676"/>
                <a:gd name="connsiteY65" fmla="*/ 670274 h 1550172"/>
                <a:gd name="connsiteX66" fmla="*/ 737877 w 1114676"/>
                <a:gd name="connsiteY66" fmla="*/ 1494098 h 1550172"/>
                <a:gd name="connsiteX67" fmla="*/ 1058602 w 1114676"/>
                <a:gd name="connsiteY67" fmla="*/ 1494098 h 1550172"/>
                <a:gd name="connsiteX68" fmla="*/ 1058602 w 1114676"/>
                <a:gd name="connsiteY68" fmla="*/ 670274 h 1550172"/>
                <a:gd name="connsiteX69" fmla="*/ 410339 w 1114676"/>
                <a:gd name="connsiteY69" fmla="*/ 619440 h 1550172"/>
                <a:gd name="connsiteX70" fmla="*/ 410339 w 1114676"/>
                <a:gd name="connsiteY70" fmla="*/ 789236 h 1550172"/>
                <a:gd name="connsiteX71" fmla="*/ 480039 w 1114676"/>
                <a:gd name="connsiteY71" fmla="*/ 789236 h 1550172"/>
                <a:gd name="connsiteX72" fmla="*/ 480039 w 1114676"/>
                <a:gd name="connsiteY72" fmla="*/ 619440 h 1550172"/>
                <a:gd name="connsiteX73" fmla="*/ 177656 w 1114676"/>
                <a:gd name="connsiteY73" fmla="*/ 619440 h 1550172"/>
                <a:gd name="connsiteX74" fmla="*/ 177656 w 1114676"/>
                <a:gd name="connsiteY74" fmla="*/ 789236 h 1550172"/>
                <a:gd name="connsiteX75" fmla="*/ 247881 w 1114676"/>
                <a:gd name="connsiteY75" fmla="*/ 789236 h 1550172"/>
                <a:gd name="connsiteX76" fmla="*/ 247881 w 1114676"/>
                <a:gd name="connsiteY76" fmla="*/ 619440 h 1550172"/>
                <a:gd name="connsiteX77" fmla="*/ 735036 w 1114676"/>
                <a:gd name="connsiteY77" fmla="*/ 614199 h 1550172"/>
                <a:gd name="connsiteX78" fmla="*/ 1061443 w 1114676"/>
                <a:gd name="connsiteY78" fmla="*/ 614199 h 1550172"/>
                <a:gd name="connsiteX79" fmla="*/ 1114676 w 1114676"/>
                <a:gd name="connsiteY79" fmla="*/ 667443 h 1550172"/>
                <a:gd name="connsiteX80" fmla="*/ 1114676 w 1114676"/>
                <a:gd name="connsiteY80" fmla="*/ 1496928 h 1550172"/>
                <a:gd name="connsiteX81" fmla="*/ 1061443 w 1114676"/>
                <a:gd name="connsiteY81" fmla="*/ 1550172 h 1550172"/>
                <a:gd name="connsiteX82" fmla="*/ 735036 w 1114676"/>
                <a:gd name="connsiteY82" fmla="*/ 1550172 h 1550172"/>
                <a:gd name="connsiteX83" fmla="*/ 681802 w 1114676"/>
                <a:gd name="connsiteY83" fmla="*/ 1496928 h 1550172"/>
                <a:gd name="connsiteX84" fmla="*/ 681802 w 1114676"/>
                <a:gd name="connsiteY84" fmla="*/ 667443 h 1550172"/>
                <a:gd name="connsiteX85" fmla="*/ 735036 w 1114676"/>
                <a:gd name="connsiteY85" fmla="*/ 614199 h 1550172"/>
                <a:gd name="connsiteX86" fmla="*/ 394831 w 1114676"/>
                <a:gd name="connsiteY86" fmla="*/ 563366 h 1550172"/>
                <a:gd name="connsiteX87" fmla="*/ 495547 w 1114676"/>
                <a:gd name="connsiteY87" fmla="*/ 563366 h 1550172"/>
                <a:gd name="connsiteX88" fmla="*/ 536114 w 1114676"/>
                <a:gd name="connsiteY88" fmla="*/ 604044 h 1550172"/>
                <a:gd name="connsiteX89" fmla="*/ 536114 w 1114676"/>
                <a:gd name="connsiteY89" fmla="*/ 804632 h 1550172"/>
                <a:gd name="connsiteX90" fmla="*/ 495547 w 1114676"/>
                <a:gd name="connsiteY90" fmla="*/ 845310 h 1550172"/>
                <a:gd name="connsiteX91" fmla="*/ 394831 w 1114676"/>
                <a:gd name="connsiteY91" fmla="*/ 845310 h 1550172"/>
                <a:gd name="connsiteX92" fmla="*/ 354265 w 1114676"/>
                <a:gd name="connsiteY92" fmla="*/ 804632 h 1550172"/>
                <a:gd name="connsiteX93" fmla="*/ 354265 w 1114676"/>
                <a:gd name="connsiteY93" fmla="*/ 604044 h 1550172"/>
                <a:gd name="connsiteX94" fmla="*/ 394831 w 1114676"/>
                <a:gd name="connsiteY94" fmla="*/ 563366 h 1550172"/>
                <a:gd name="connsiteX95" fmla="*/ 162672 w 1114676"/>
                <a:gd name="connsiteY95" fmla="*/ 563366 h 1550172"/>
                <a:gd name="connsiteX96" fmla="*/ 263389 w 1114676"/>
                <a:gd name="connsiteY96" fmla="*/ 563366 h 1550172"/>
                <a:gd name="connsiteX97" fmla="*/ 303955 w 1114676"/>
                <a:gd name="connsiteY97" fmla="*/ 604044 h 1550172"/>
                <a:gd name="connsiteX98" fmla="*/ 303955 w 1114676"/>
                <a:gd name="connsiteY98" fmla="*/ 804632 h 1550172"/>
                <a:gd name="connsiteX99" fmla="*/ 263389 w 1114676"/>
                <a:gd name="connsiteY99" fmla="*/ 845310 h 1550172"/>
                <a:gd name="connsiteX100" fmla="*/ 162672 w 1114676"/>
                <a:gd name="connsiteY100" fmla="*/ 845310 h 1550172"/>
                <a:gd name="connsiteX101" fmla="*/ 122106 w 1114676"/>
                <a:gd name="connsiteY101" fmla="*/ 804632 h 1550172"/>
                <a:gd name="connsiteX102" fmla="*/ 122106 w 1114676"/>
                <a:gd name="connsiteY102" fmla="*/ 604044 h 1550172"/>
                <a:gd name="connsiteX103" fmla="*/ 162672 w 1114676"/>
                <a:gd name="connsiteY103" fmla="*/ 563366 h 1550172"/>
                <a:gd name="connsiteX104" fmla="*/ 56074 w 1114676"/>
                <a:gd name="connsiteY104" fmla="*/ 468510 h 1550172"/>
                <a:gd name="connsiteX105" fmla="*/ 56074 w 1114676"/>
                <a:gd name="connsiteY105" fmla="*/ 1494098 h 1550172"/>
                <a:gd name="connsiteX106" fmla="*/ 602145 w 1114676"/>
                <a:gd name="connsiteY106" fmla="*/ 1494098 h 1550172"/>
                <a:gd name="connsiteX107" fmla="*/ 602145 w 1114676"/>
                <a:gd name="connsiteY107" fmla="*/ 468510 h 1550172"/>
                <a:gd name="connsiteX108" fmla="*/ 155556 w 1114676"/>
                <a:gd name="connsiteY108" fmla="*/ 316994 h 1550172"/>
                <a:gd name="connsiteX109" fmla="*/ 155556 w 1114676"/>
                <a:gd name="connsiteY109" fmla="*/ 406960 h 1550172"/>
                <a:gd name="connsiteX110" fmla="*/ 155556 w 1114676"/>
                <a:gd name="connsiteY110" fmla="*/ 412436 h 1550172"/>
                <a:gd name="connsiteX111" fmla="*/ 194671 w 1114676"/>
                <a:gd name="connsiteY111" fmla="*/ 412436 h 1550172"/>
                <a:gd name="connsiteX112" fmla="*/ 471348 w 1114676"/>
                <a:gd name="connsiteY112" fmla="*/ 412436 h 1550172"/>
                <a:gd name="connsiteX113" fmla="*/ 502663 w 1114676"/>
                <a:gd name="connsiteY113" fmla="*/ 412436 h 1550172"/>
                <a:gd name="connsiteX114" fmla="*/ 502663 w 1114676"/>
                <a:gd name="connsiteY114" fmla="*/ 396731 h 1550172"/>
                <a:gd name="connsiteX115" fmla="*/ 502663 w 1114676"/>
                <a:gd name="connsiteY115" fmla="*/ 316994 h 1550172"/>
                <a:gd name="connsiteX116" fmla="*/ 155556 w 1114676"/>
                <a:gd name="connsiteY116" fmla="*/ 316994 h 1550172"/>
                <a:gd name="connsiteX117" fmla="*/ 205890 w 1114676"/>
                <a:gd name="connsiteY117" fmla="*/ 167163 h 1550172"/>
                <a:gd name="connsiteX118" fmla="*/ 205890 w 1114676"/>
                <a:gd name="connsiteY118" fmla="*/ 239278 h 1550172"/>
                <a:gd name="connsiteX119" fmla="*/ 205890 w 1114676"/>
                <a:gd name="connsiteY119" fmla="*/ 260982 h 1550172"/>
                <a:gd name="connsiteX120" fmla="*/ 214842 w 1114676"/>
                <a:gd name="connsiteY120" fmla="*/ 260982 h 1550172"/>
                <a:gd name="connsiteX121" fmla="*/ 442688 w 1114676"/>
                <a:gd name="connsiteY121" fmla="*/ 260982 h 1550172"/>
                <a:gd name="connsiteX122" fmla="*/ 452329 w 1114676"/>
                <a:gd name="connsiteY122" fmla="*/ 260982 h 1550172"/>
                <a:gd name="connsiteX123" fmla="*/ 452329 w 1114676"/>
                <a:gd name="connsiteY123" fmla="*/ 250729 h 1550172"/>
                <a:gd name="connsiteX124" fmla="*/ 452329 w 1114676"/>
                <a:gd name="connsiteY124" fmla="*/ 167163 h 1550172"/>
                <a:gd name="connsiteX125" fmla="*/ 338074 w 1114676"/>
                <a:gd name="connsiteY125" fmla="*/ 167163 h 1550172"/>
                <a:gd name="connsiteX126" fmla="*/ 328909 w 1114676"/>
                <a:gd name="connsiteY126" fmla="*/ 167163 h 1550172"/>
                <a:gd name="connsiteX127" fmla="*/ 328848 w 1114676"/>
                <a:gd name="connsiteY127" fmla="*/ 167176 h 1550172"/>
                <a:gd name="connsiteX128" fmla="*/ 328787 w 1114676"/>
                <a:gd name="connsiteY128" fmla="*/ 167163 h 1550172"/>
                <a:gd name="connsiteX129" fmla="*/ 309857 w 1114676"/>
                <a:gd name="connsiteY129" fmla="*/ 167163 h 1550172"/>
                <a:gd name="connsiteX130" fmla="*/ 205890 w 1114676"/>
                <a:gd name="connsiteY130" fmla="*/ 167163 h 1550172"/>
                <a:gd name="connsiteX131" fmla="*/ 328848 w 1114676"/>
                <a:gd name="connsiteY131" fmla="*/ 0 h 1550172"/>
                <a:gd name="connsiteX132" fmla="*/ 356885 w 1114676"/>
                <a:gd name="connsiteY132" fmla="*/ 28097 h 1550172"/>
                <a:gd name="connsiteX133" fmla="*/ 356885 w 1114676"/>
                <a:gd name="connsiteY133" fmla="*/ 92259 h 1550172"/>
                <a:gd name="connsiteX134" fmla="*/ 356885 w 1114676"/>
                <a:gd name="connsiteY134" fmla="*/ 111101 h 1550172"/>
                <a:gd name="connsiteX135" fmla="*/ 373229 w 1114676"/>
                <a:gd name="connsiteY135" fmla="*/ 111101 h 1550172"/>
                <a:gd name="connsiteX136" fmla="*/ 455130 w 1114676"/>
                <a:gd name="connsiteY136" fmla="*/ 111101 h 1550172"/>
                <a:gd name="connsiteX137" fmla="*/ 508338 w 1114676"/>
                <a:gd name="connsiteY137" fmla="*/ 164360 h 1550172"/>
                <a:gd name="connsiteX138" fmla="*/ 508338 w 1114676"/>
                <a:gd name="connsiteY138" fmla="*/ 261563 h 1550172"/>
                <a:gd name="connsiteX139" fmla="*/ 526173 w 1114676"/>
                <a:gd name="connsiteY139" fmla="*/ 265161 h 1550172"/>
                <a:gd name="connsiteX140" fmla="*/ 558648 w 1114676"/>
                <a:gd name="connsiteY140" fmla="*/ 314194 h 1550172"/>
                <a:gd name="connsiteX141" fmla="*/ 558648 w 1114676"/>
                <a:gd name="connsiteY141" fmla="*/ 412436 h 1550172"/>
                <a:gd name="connsiteX142" fmla="*/ 560079 w 1114676"/>
                <a:gd name="connsiteY142" fmla="*/ 412436 h 1550172"/>
                <a:gd name="connsiteX143" fmla="*/ 606402 w 1114676"/>
                <a:gd name="connsiteY143" fmla="*/ 412436 h 1550172"/>
                <a:gd name="connsiteX144" fmla="*/ 658220 w 1114676"/>
                <a:gd name="connsiteY144" fmla="*/ 465680 h 1550172"/>
                <a:gd name="connsiteX145" fmla="*/ 658220 w 1114676"/>
                <a:gd name="connsiteY145" fmla="*/ 1496928 h 1550172"/>
                <a:gd name="connsiteX146" fmla="*/ 606402 w 1114676"/>
                <a:gd name="connsiteY146" fmla="*/ 1550172 h 1550172"/>
                <a:gd name="connsiteX147" fmla="*/ 53218 w 1114676"/>
                <a:gd name="connsiteY147" fmla="*/ 1550172 h 1550172"/>
                <a:gd name="connsiteX148" fmla="*/ 0 w 1114676"/>
                <a:gd name="connsiteY148" fmla="*/ 1496928 h 1550172"/>
                <a:gd name="connsiteX149" fmla="*/ 0 w 1114676"/>
                <a:gd name="connsiteY149" fmla="*/ 465680 h 1550172"/>
                <a:gd name="connsiteX150" fmla="*/ 53218 w 1114676"/>
                <a:gd name="connsiteY150" fmla="*/ 412436 h 1550172"/>
                <a:gd name="connsiteX151" fmla="*/ 99571 w 1114676"/>
                <a:gd name="connsiteY151" fmla="*/ 412436 h 1550172"/>
                <a:gd name="connsiteX152" fmla="*/ 99571 w 1114676"/>
                <a:gd name="connsiteY152" fmla="*/ 395807 h 1550172"/>
                <a:gd name="connsiteX153" fmla="*/ 99571 w 1114676"/>
                <a:gd name="connsiteY153" fmla="*/ 314194 h 1550172"/>
                <a:gd name="connsiteX154" fmla="*/ 132047 w 1114676"/>
                <a:gd name="connsiteY154" fmla="*/ 265161 h 1550172"/>
                <a:gd name="connsiteX155" fmla="*/ 149881 w 1114676"/>
                <a:gd name="connsiteY155" fmla="*/ 261563 h 1550172"/>
                <a:gd name="connsiteX156" fmla="*/ 149881 w 1114676"/>
                <a:gd name="connsiteY156" fmla="*/ 249804 h 1550172"/>
                <a:gd name="connsiteX157" fmla="*/ 149881 w 1114676"/>
                <a:gd name="connsiteY157" fmla="*/ 164360 h 1550172"/>
                <a:gd name="connsiteX158" fmla="*/ 203090 w 1114676"/>
                <a:gd name="connsiteY158" fmla="*/ 111101 h 1550172"/>
                <a:gd name="connsiteX159" fmla="*/ 286282 w 1114676"/>
                <a:gd name="connsiteY159" fmla="*/ 111101 h 1550172"/>
                <a:gd name="connsiteX160" fmla="*/ 300810 w 1114676"/>
                <a:gd name="connsiteY160" fmla="*/ 111101 h 1550172"/>
                <a:gd name="connsiteX161" fmla="*/ 300810 w 1114676"/>
                <a:gd name="connsiteY161" fmla="*/ 102446 h 1550172"/>
                <a:gd name="connsiteX162" fmla="*/ 300810 w 1114676"/>
                <a:gd name="connsiteY162" fmla="*/ 28097 h 1550172"/>
                <a:gd name="connsiteX163" fmla="*/ 328848 w 1114676"/>
                <a:gd name="connsiteY163" fmla="*/ 0 h 1550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Lst>
              <a:rect l="l" t="t" r="r" b="b"/>
              <a:pathLst>
                <a:path w="1114676" h="1550172">
                  <a:moveTo>
                    <a:pt x="838496" y="1272420"/>
                  </a:moveTo>
                  <a:lnTo>
                    <a:pt x="838496" y="1317489"/>
                  </a:lnTo>
                  <a:lnTo>
                    <a:pt x="957458" y="1317489"/>
                  </a:lnTo>
                  <a:lnTo>
                    <a:pt x="957458" y="1272420"/>
                  </a:lnTo>
                  <a:close/>
                  <a:moveTo>
                    <a:pt x="823473" y="1216345"/>
                  </a:moveTo>
                  <a:cubicBezTo>
                    <a:pt x="974403" y="1216345"/>
                    <a:pt x="974403" y="1216345"/>
                    <a:pt x="974403" y="1216345"/>
                  </a:cubicBezTo>
                  <a:cubicBezTo>
                    <a:pt x="995365" y="1216345"/>
                    <a:pt x="1013532" y="1234594"/>
                    <a:pt x="1013532" y="1257054"/>
                  </a:cubicBezTo>
                  <a:cubicBezTo>
                    <a:pt x="1013532" y="1332856"/>
                    <a:pt x="1013532" y="1332856"/>
                    <a:pt x="1013532" y="1332856"/>
                  </a:cubicBezTo>
                  <a:cubicBezTo>
                    <a:pt x="1013532" y="1355315"/>
                    <a:pt x="995365" y="1373564"/>
                    <a:pt x="974403" y="1373564"/>
                  </a:cubicBezTo>
                  <a:cubicBezTo>
                    <a:pt x="823473" y="1373564"/>
                    <a:pt x="823473" y="1373564"/>
                    <a:pt x="823473" y="1373564"/>
                  </a:cubicBezTo>
                  <a:cubicBezTo>
                    <a:pt x="801114" y="1373564"/>
                    <a:pt x="782946" y="1355315"/>
                    <a:pt x="782946" y="1332856"/>
                  </a:cubicBezTo>
                  <a:cubicBezTo>
                    <a:pt x="782946" y="1257054"/>
                    <a:pt x="782946" y="1257054"/>
                    <a:pt x="782946" y="1257054"/>
                  </a:cubicBezTo>
                  <a:cubicBezTo>
                    <a:pt x="782946" y="1234594"/>
                    <a:pt x="801114" y="1216345"/>
                    <a:pt x="823473" y="1216345"/>
                  </a:cubicBezTo>
                  <a:close/>
                  <a:moveTo>
                    <a:pt x="410339" y="1051266"/>
                  </a:moveTo>
                  <a:lnTo>
                    <a:pt x="410339" y="1220538"/>
                  </a:lnTo>
                  <a:lnTo>
                    <a:pt x="480039" y="1220538"/>
                  </a:lnTo>
                  <a:lnTo>
                    <a:pt x="480039" y="1051266"/>
                  </a:lnTo>
                  <a:close/>
                  <a:moveTo>
                    <a:pt x="177656" y="1051266"/>
                  </a:moveTo>
                  <a:lnTo>
                    <a:pt x="177656" y="1220538"/>
                  </a:lnTo>
                  <a:lnTo>
                    <a:pt x="247881" y="1220538"/>
                  </a:lnTo>
                  <a:lnTo>
                    <a:pt x="247881" y="1051266"/>
                  </a:lnTo>
                  <a:close/>
                  <a:moveTo>
                    <a:pt x="838496" y="1047074"/>
                  </a:moveTo>
                  <a:lnTo>
                    <a:pt x="838496" y="1091619"/>
                  </a:lnTo>
                  <a:lnTo>
                    <a:pt x="957458" y="1091619"/>
                  </a:lnTo>
                  <a:lnTo>
                    <a:pt x="957458" y="1047074"/>
                  </a:lnTo>
                  <a:close/>
                  <a:moveTo>
                    <a:pt x="394831" y="995192"/>
                  </a:moveTo>
                  <a:cubicBezTo>
                    <a:pt x="495547" y="995192"/>
                    <a:pt x="495547" y="995192"/>
                    <a:pt x="495547" y="995192"/>
                  </a:cubicBezTo>
                  <a:cubicBezTo>
                    <a:pt x="517929" y="995192"/>
                    <a:pt x="536114" y="1013393"/>
                    <a:pt x="536114" y="1035795"/>
                  </a:cubicBezTo>
                  <a:cubicBezTo>
                    <a:pt x="536114" y="1236009"/>
                    <a:pt x="536114" y="1236009"/>
                    <a:pt x="536114" y="1236009"/>
                  </a:cubicBezTo>
                  <a:cubicBezTo>
                    <a:pt x="536114" y="1258411"/>
                    <a:pt x="517929" y="1276612"/>
                    <a:pt x="495547" y="1276612"/>
                  </a:cubicBezTo>
                  <a:cubicBezTo>
                    <a:pt x="394831" y="1276612"/>
                    <a:pt x="394831" y="1276612"/>
                    <a:pt x="394831" y="1276612"/>
                  </a:cubicBezTo>
                  <a:cubicBezTo>
                    <a:pt x="372450" y="1276612"/>
                    <a:pt x="354265" y="1258411"/>
                    <a:pt x="354265" y="1236009"/>
                  </a:cubicBezTo>
                  <a:cubicBezTo>
                    <a:pt x="354265" y="1035795"/>
                    <a:pt x="354265" y="1035795"/>
                    <a:pt x="354265" y="1035795"/>
                  </a:cubicBezTo>
                  <a:cubicBezTo>
                    <a:pt x="354265" y="1013393"/>
                    <a:pt x="372450" y="995192"/>
                    <a:pt x="394831" y="995192"/>
                  </a:cubicBezTo>
                  <a:close/>
                  <a:moveTo>
                    <a:pt x="162672" y="995192"/>
                  </a:moveTo>
                  <a:cubicBezTo>
                    <a:pt x="263389" y="995192"/>
                    <a:pt x="263389" y="995192"/>
                    <a:pt x="263389" y="995192"/>
                  </a:cubicBezTo>
                  <a:cubicBezTo>
                    <a:pt x="285770" y="995192"/>
                    <a:pt x="303955" y="1013393"/>
                    <a:pt x="303955" y="1035795"/>
                  </a:cubicBezTo>
                  <a:cubicBezTo>
                    <a:pt x="303955" y="1236009"/>
                    <a:pt x="303955" y="1236009"/>
                    <a:pt x="303955" y="1236009"/>
                  </a:cubicBezTo>
                  <a:cubicBezTo>
                    <a:pt x="303955" y="1258411"/>
                    <a:pt x="285770" y="1276612"/>
                    <a:pt x="263389" y="1276612"/>
                  </a:cubicBezTo>
                  <a:cubicBezTo>
                    <a:pt x="162672" y="1276612"/>
                    <a:pt x="162672" y="1276612"/>
                    <a:pt x="162672" y="1276612"/>
                  </a:cubicBezTo>
                  <a:cubicBezTo>
                    <a:pt x="140291" y="1276612"/>
                    <a:pt x="122106" y="1258411"/>
                    <a:pt x="122106" y="1236009"/>
                  </a:cubicBezTo>
                  <a:cubicBezTo>
                    <a:pt x="122106" y="1035795"/>
                    <a:pt x="122106" y="1035795"/>
                    <a:pt x="122106" y="1035795"/>
                  </a:cubicBezTo>
                  <a:cubicBezTo>
                    <a:pt x="122106" y="1013393"/>
                    <a:pt x="140291" y="995192"/>
                    <a:pt x="162672" y="995192"/>
                  </a:cubicBezTo>
                  <a:close/>
                  <a:moveTo>
                    <a:pt x="823473" y="990999"/>
                  </a:moveTo>
                  <a:cubicBezTo>
                    <a:pt x="974403" y="990999"/>
                    <a:pt x="974403" y="990999"/>
                    <a:pt x="974403" y="990999"/>
                  </a:cubicBezTo>
                  <a:cubicBezTo>
                    <a:pt x="995365" y="990999"/>
                    <a:pt x="1013532" y="1009187"/>
                    <a:pt x="1013532" y="1031572"/>
                  </a:cubicBezTo>
                  <a:cubicBezTo>
                    <a:pt x="1013532" y="1107121"/>
                    <a:pt x="1013532" y="1107121"/>
                    <a:pt x="1013532" y="1107121"/>
                  </a:cubicBezTo>
                  <a:cubicBezTo>
                    <a:pt x="1013532" y="1129506"/>
                    <a:pt x="995365" y="1147694"/>
                    <a:pt x="974403" y="1147694"/>
                  </a:cubicBezTo>
                  <a:cubicBezTo>
                    <a:pt x="823473" y="1147694"/>
                    <a:pt x="823473" y="1147694"/>
                    <a:pt x="823473" y="1147694"/>
                  </a:cubicBezTo>
                  <a:cubicBezTo>
                    <a:pt x="801114" y="1147694"/>
                    <a:pt x="782946" y="1129506"/>
                    <a:pt x="782946" y="1107121"/>
                  </a:cubicBezTo>
                  <a:cubicBezTo>
                    <a:pt x="782946" y="1031572"/>
                    <a:pt x="782946" y="1031572"/>
                    <a:pt x="782946" y="1031572"/>
                  </a:cubicBezTo>
                  <a:cubicBezTo>
                    <a:pt x="782946" y="1009187"/>
                    <a:pt x="801114" y="990999"/>
                    <a:pt x="823473" y="990999"/>
                  </a:cubicBezTo>
                  <a:close/>
                  <a:moveTo>
                    <a:pt x="838496" y="820155"/>
                  </a:moveTo>
                  <a:lnTo>
                    <a:pt x="838496" y="864701"/>
                  </a:lnTo>
                  <a:lnTo>
                    <a:pt x="957458" y="864701"/>
                  </a:lnTo>
                  <a:lnTo>
                    <a:pt x="957458" y="820155"/>
                  </a:lnTo>
                  <a:close/>
                  <a:moveTo>
                    <a:pt x="823473" y="764081"/>
                  </a:moveTo>
                  <a:cubicBezTo>
                    <a:pt x="974403" y="764081"/>
                    <a:pt x="974403" y="764081"/>
                    <a:pt x="974403" y="764081"/>
                  </a:cubicBezTo>
                  <a:cubicBezTo>
                    <a:pt x="995365" y="764081"/>
                    <a:pt x="1013532" y="782269"/>
                    <a:pt x="1013532" y="804653"/>
                  </a:cubicBezTo>
                  <a:cubicBezTo>
                    <a:pt x="1013532" y="880202"/>
                    <a:pt x="1013532" y="880202"/>
                    <a:pt x="1013532" y="880202"/>
                  </a:cubicBezTo>
                  <a:cubicBezTo>
                    <a:pt x="1013532" y="902587"/>
                    <a:pt x="995365" y="920775"/>
                    <a:pt x="974403" y="920775"/>
                  </a:cubicBezTo>
                  <a:cubicBezTo>
                    <a:pt x="823473" y="920775"/>
                    <a:pt x="823473" y="920775"/>
                    <a:pt x="823473" y="920775"/>
                  </a:cubicBezTo>
                  <a:cubicBezTo>
                    <a:pt x="801114" y="920775"/>
                    <a:pt x="782946" y="902587"/>
                    <a:pt x="782946" y="880202"/>
                  </a:cubicBezTo>
                  <a:cubicBezTo>
                    <a:pt x="782946" y="804653"/>
                    <a:pt x="782946" y="804653"/>
                    <a:pt x="782946" y="804653"/>
                  </a:cubicBezTo>
                  <a:cubicBezTo>
                    <a:pt x="782946" y="782269"/>
                    <a:pt x="801114" y="764081"/>
                    <a:pt x="823473" y="764081"/>
                  </a:cubicBezTo>
                  <a:close/>
                  <a:moveTo>
                    <a:pt x="737877" y="670274"/>
                  </a:moveTo>
                  <a:lnTo>
                    <a:pt x="737877" y="1494098"/>
                  </a:lnTo>
                  <a:lnTo>
                    <a:pt x="1058602" y="1494098"/>
                  </a:lnTo>
                  <a:lnTo>
                    <a:pt x="1058602" y="670274"/>
                  </a:lnTo>
                  <a:close/>
                  <a:moveTo>
                    <a:pt x="410339" y="619440"/>
                  </a:moveTo>
                  <a:lnTo>
                    <a:pt x="410339" y="789236"/>
                  </a:lnTo>
                  <a:lnTo>
                    <a:pt x="480039" y="789236"/>
                  </a:lnTo>
                  <a:lnTo>
                    <a:pt x="480039" y="619440"/>
                  </a:lnTo>
                  <a:close/>
                  <a:moveTo>
                    <a:pt x="177656" y="619440"/>
                  </a:moveTo>
                  <a:lnTo>
                    <a:pt x="177656" y="789236"/>
                  </a:lnTo>
                  <a:lnTo>
                    <a:pt x="247881" y="789236"/>
                  </a:lnTo>
                  <a:lnTo>
                    <a:pt x="247881" y="619440"/>
                  </a:lnTo>
                  <a:close/>
                  <a:moveTo>
                    <a:pt x="735036" y="614199"/>
                  </a:moveTo>
                  <a:cubicBezTo>
                    <a:pt x="1061443" y="614199"/>
                    <a:pt x="1061443" y="614199"/>
                    <a:pt x="1061443" y="614199"/>
                  </a:cubicBezTo>
                  <a:cubicBezTo>
                    <a:pt x="1090861" y="614199"/>
                    <a:pt x="1114676" y="638019"/>
                    <a:pt x="1114676" y="667443"/>
                  </a:cubicBezTo>
                  <a:cubicBezTo>
                    <a:pt x="1114676" y="1496928"/>
                    <a:pt x="1114676" y="1496928"/>
                    <a:pt x="1114676" y="1496928"/>
                  </a:cubicBezTo>
                  <a:cubicBezTo>
                    <a:pt x="1114676" y="1526352"/>
                    <a:pt x="1090861" y="1550172"/>
                    <a:pt x="1061443" y="1550172"/>
                  </a:cubicBezTo>
                  <a:cubicBezTo>
                    <a:pt x="735036" y="1550172"/>
                    <a:pt x="735036" y="1550172"/>
                    <a:pt x="735036" y="1550172"/>
                  </a:cubicBezTo>
                  <a:cubicBezTo>
                    <a:pt x="705618" y="1550172"/>
                    <a:pt x="681802" y="1526352"/>
                    <a:pt x="681802" y="1496928"/>
                  </a:cubicBezTo>
                  <a:cubicBezTo>
                    <a:pt x="681802" y="667443"/>
                    <a:pt x="681802" y="667443"/>
                    <a:pt x="681802" y="667443"/>
                  </a:cubicBezTo>
                  <a:cubicBezTo>
                    <a:pt x="681802" y="638019"/>
                    <a:pt x="705618" y="614199"/>
                    <a:pt x="735036" y="614199"/>
                  </a:cubicBezTo>
                  <a:close/>
                  <a:moveTo>
                    <a:pt x="394831" y="563366"/>
                  </a:moveTo>
                  <a:cubicBezTo>
                    <a:pt x="495547" y="563366"/>
                    <a:pt x="495547" y="563366"/>
                    <a:pt x="495547" y="563366"/>
                  </a:cubicBezTo>
                  <a:cubicBezTo>
                    <a:pt x="517929" y="563366"/>
                    <a:pt x="536114" y="581601"/>
                    <a:pt x="536114" y="604044"/>
                  </a:cubicBezTo>
                  <a:cubicBezTo>
                    <a:pt x="536114" y="804632"/>
                    <a:pt x="536114" y="804632"/>
                    <a:pt x="536114" y="804632"/>
                  </a:cubicBezTo>
                  <a:cubicBezTo>
                    <a:pt x="536114" y="827075"/>
                    <a:pt x="517929" y="845310"/>
                    <a:pt x="495547" y="845310"/>
                  </a:cubicBezTo>
                  <a:cubicBezTo>
                    <a:pt x="394831" y="845310"/>
                    <a:pt x="394831" y="845310"/>
                    <a:pt x="394831" y="845310"/>
                  </a:cubicBezTo>
                  <a:cubicBezTo>
                    <a:pt x="372450" y="845310"/>
                    <a:pt x="354265" y="827075"/>
                    <a:pt x="354265" y="804632"/>
                  </a:cubicBezTo>
                  <a:cubicBezTo>
                    <a:pt x="354265" y="604044"/>
                    <a:pt x="354265" y="604044"/>
                    <a:pt x="354265" y="604044"/>
                  </a:cubicBezTo>
                  <a:cubicBezTo>
                    <a:pt x="354265" y="581601"/>
                    <a:pt x="372450" y="563366"/>
                    <a:pt x="394831" y="563366"/>
                  </a:cubicBezTo>
                  <a:close/>
                  <a:moveTo>
                    <a:pt x="162672" y="563366"/>
                  </a:moveTo>
                  <a:cubicBezTo>
                    <a:pt x="263389" y="563366"/>
                    <a:pt x="263389" y="563366"/>
                    <a:pt x="263389" y="563366"/>
                  </a:cubicBezTo>
                  <a:cubicBezTo>
                    <a:pt x="285770" y="563366"/>
                    <a:pt x="303955" y="581601"/>
                    <a:pt x="303955" y="604044"/>
                  </a:cubicBezTo>
                  <a:cubicBezTo>
                    <a:pt x="303955" y="804632"/>
                    <a:pt x="303955" y="804632"/>
                    <a:pt x="303955" y="804632"/>
                  </a:cubicBezTo>
                  <a:cubicBezTo>
                    <a:pt x="303955" y="827075"/>
                    <a:pt x="285770" y="845310"/>
                    <a:pt x="263389" y="845310"/>
                  </a:cubicBezTo>
                  <a:cubicBezTo>
                    <a:pt x="162672" y="845310"/>
                    <a:pt x="162672" y="845310"/>
                    <a:pt x="162672" y="845310"/>
                  </a:cubicBezTo>
                  <a:cubicBezTo>
                    <a:pt x="140291" y="845310"/>
                    <a:pt x="122106" y="827075"/>
                    <a:pt x="122106" y="804632"/>
                  </a:cubicBezTo>
                  <a:cubicBezTo>
                    <a:pt x="122106" y="604044"/>
                    <a:pt x="122106" y="604044"/>
                    <a:pt x="122106" y="604044"/>
                  </a:cubicBezTo>
                  <a:cubicBezTo>
                    <a:pt x="122106" y="581601"/>
                    <a:pt x="140291" y="563366"/>
                    <a:pt x="162672" y="563366"/>
                  </a:cubicBezTo>
                  <a:close/>
                  <a:moveTo>
                    <a:pt x="56074" y="468510"/>
                  </a:moveTo>
                  <a:lnTo>
                    <a:pt x="56074" y="1494098"/>
                  </a:lnTo>
                  <a:lnTo>
                    <a:pt x="602145" y="1494098"/>
                  </a:lnTo>
                  <a:lnTo>
                    <a:pt x="602145" y="468510"/>
                  </a:lnTo>
                  <a:close/>
                  <a:moveTo>
                    <a:pt x="155556" y="316994"/>
                  </a:moveTo>
                  <a:cubicBezTo>
                    <a:pt x="155556" y="361628"/>
                    <a:pt x="155556" y="389525"/>
                    <a:pt x="155556" y="406960"/>
                  </a:cubicBezTo>
                  <a:lnTo>
                    <a:pt x="155556" y="412436"/>
                  </a:lnTo>
                  <a:lnTo>
                    <a:pt x="194671" y="412436"/>
                  </a:lnTo>
                  <a:cubicBezTo>
                    <a:pt x="322450" y="412436"/>
                    <a:pt x="410573" y="412436"/>
                    <a:pt x="471348" y="412436"/>
                  </a:cubicBezTo>
                  <a:lnTo>
                    <a:pt x="502663" y="412436"/>
                  </a:lnTo>
                  <a:lnTo>
                    <a:pt x="502663" y="396731"/>
                  </a:lnTo>
                  <a:cubicBezTo>
                    <a:pt x="502663" y="316994"/>
                    <a:pt x="502663" y="316994"/>
                    <a:pt x="502663" y="316994"/>
                  </a:cubicBezTo>
                  <a:cubicBezTo>
                    <a:pt x="155556" y="316994"/>
                    <a:pt x="155556" y="316994"/>
                    <a:pt x="155556" y="316994"/>
                  </a:cubicBezTo>
                  <a:close/>
                  <a:moveTo>
                    <a:pt x="205890" y="167163"/>
                  </a:moveTo>
                  <a:cubicBezTo>
                    <a:pt x="205890" y="198348"/>
                    <a:pt x="205890" y="221737"/>
                    <a:pt x="205890" y="239278"/>
                  </a:cubicBezTo>
                  <a:lnTo>
                    <a:pt x="205890" y="260982"/>
                  </a:lnTo>
                  <a:lnTo>
                    <a:pt x="214842" y="260982"/>
                  </a:lnTo>
                  <a:cubicBezTo>
                    <a:pt x="331090" y="260982"/>
                    <a:pt x="400839" y="260982"/>
                    <a:pt x="442688" y="260982"/>
                  </a:cubicBezTo>
                  <a:lnTo>
                    <a:pt x="452329" y="260982"/>
                  </a:lnTo>
                  <a:lnTo>
                    <a:pt x="452329" y="250729"/>
                  </a:lnTo>
                  <a:cubicBezTo>
                    <a:pt x="452329" y="167163"/>
                    <a:pt x="452329" y="167163"/>
                    <a:pt x="452329" y="167163"/>
                  </a:cubicBezTo>
                  <a:cubicBezTo>
                    <a:pt x="406122" y="167163"/>
                    <a:pt x="368578" y="167163"/>
                    <a:pt x="338074" y="167163"/>
                  </a:cubicBezTo>
                  <a:lnTo>
                    <a:pt x="328909" y="167163"/>
                  </a:lnTo>
                  <a:lnTo>
                    <a:pt x="328848" y="167176"/>
                  </a:lnTo>
                  <a:lnTo>
                    <a:pt x="328787" y="167163"/>
                  </a:lnTo>
                  <a:lnTo>
                    <a:pt x="309857" y="167163"/>
                  </a:lnTo>
                  <a:cubicBezTo>
                    <a:pt x="205890" y="167163"/>
                    <a:pt x="205890" y="167163"/>
                    <a:pt x="205890" y="167163"/>
                  </a:cubicBezTo>
                  <a:close/>
                  <a:moveTo>
                    <a:pt x="328848" y="0"/>
                  </a:moveTo>
                  <a:cubicBezTo>
                    <a:pt x="344268" y="0"/>
                    <a:pt x="356885" y="12644"/>
                    <a:pt x="356885" y="28097"/>
                  </a:cubicBezTo>
                  <a:cubicBezTo>
                    <a:pt x="356885" y="55842"/>
                    <a:pt x="356885" y="76652"/>
                    <a:pt x="356885" y="92259"/>
                  </a:cubicBezTo>
                  <a:lnTo>
                    <a:pt x="356885" y="111101"/>
                  </a:lnTo>
                  <a:lnTo>
                    <a:pt x="373229" y="111101"/>
                  </a:lnTo>
                  <a:cubicBezTo>
                    <a:pt x="455130" y="111101"/>
                    <a:pt x="455130" y="111101"/>
                    <a:pt x="455130" y="111101"/>
                  </a:cubicBezTo>
                  <a:cubicBezTo>
                    <a:pt x="484535" y="111101"/>
                    <a:pt x="508338" y="134927"/>
                    <a:pt x="508338" y="164360"/>
                  </a:cubicBezTo>
                  <a:lnTo>
                    <a:pt x="508338" y="261563"/>
                  </a:lnTo>
                  <a:lnTo>
                    <a:pt x="526173" y="265161"/>
                  </a:lnTo>
                  <a:cubicBezTo>
                    <a:pt x="545264" y="273235"/>
                    <a:pt x="558648" y="292139"/>
                    <a:pt x="558648" y="314194"/>
                  </a:cubicBezTo>
                  <a:lnTo>
                    <a:pt x="558648" y="412436"/>
                  </a:lnTo>
                  <a:lnTo>
                    <a:pt x="560079" y="412436"/>
                  </a:lnTo>
                  <a:cubicBezTo>
                    <a:pt x="606402" y="412436"/>
                    <a:pt x="606402" y="412436"/>
                    <a:pt x="606402" y="412436"/>
                  </a:cubicBezTo>
                  <a:cubicBezTo>
                    <a:pt x="634412" y="412436"/>
                    <a:pt x="658220" y="436256"/>
                    <a:pt x="658220" y="465680"/>
                  </a:cubicBezTo>
                  <a:cubicBezTo>
                    <a:pt x="658220" y="1496928"/>
                    <a:pt x="658220" y="1496928"/>
                    <a:pt x="658220" y="1496928"/>
                  </a:cubicBezTo>
                  <a:cubicBezTo>
                    <a:pt x="658220" y="1526353"/>
                    <a:pt x="634412" y="1550172"/>
                    <a:pt x="606402" y="1550172"/>
                  </a:cubicBezTo>
                  <a:cubicBezTo>
                    <a:pt x="53218" y="1550172"/>
                    <a:pt x="53218" y="1550172"/>
                    <a:pt x="53218" y="1550172"/>
                  </a:cubicBezTo>
                  <a:cubicBezTo>
                    <a:pt x="23808" y="1550172"/>
                    <a:pt x="0" y="1526353"/>
                    <a:pt x="0" y="1496928"/>
                  </a:cubicBezTo>
                  <a:cubicBezTo>
                    <a:pt x="0" y="465680"/>
                    <a:pt x="0" y="465680"/>
                    <a:pt x="0" y="465680"/>
                  </a:cubicBezTo>
                  <a:cubicBezTo>
                    <a:pt x="0" y="436256"/>
                    <a:pt x="23808" y="412436"/>
                    <a:pt x="53218" y="412436"/>
                  </a:cubicBezTo>
                  <a:lnTo>
                    <a:pt x="99571" y="412436"/>
                  </a:lnTo>
                  <a:lnTo>
                    <a:pt x="99571" y="395807"/>
                  </a:lnTo>
                  <a:cubicBezTo>
                    <a:pt x="99571" y="314194"/>
                    <a:pt x="99571" y="314194"/>
                    <a:pt x="99571" y="314194"/>
                  </a:cubicBezTo>
                  <a:cubicBezTo>
                    <a:pt x="99571" y="292139"/>
                    <a:pt x="112955" y="273235"/>
                    <a:pt x="132047" y="265161"/>
                  </a:cubicBezTo>
                  <a:lnTo>
                    <a:pt x="149881" y="261563"/>
                  </a:lnTo>
                  <a:lnTo>
                    <a:pt x="149881" y="249804"/>
                  </a:lnTo>
                  <a:cubicBezTo>
                    <a:pt x="149881" y="164360"/>
                    <a:pt x="149881" y="164360"/>
                    <a:pt x="149881" y="164360"/>
                  </a:cubicBezTo>
                  <a:cubicBezTo>
                    <a:pt x="149881" y="134927"/>
                    <a:pt x="173685" y="111101"/>
                    <a:pt x="203090" y="111101"/>
                  </a:cubicBezTo>
                  <a:cubicBezTo>
                    <a:pt x="234595" y="111101"/>
                    <a:pt x="262161" y="111101"/>
                    <a:pt x="286282" y="111101"/>
                  </a:cubicBezTo>
                  <a:lnTo>
                    <a:pt x="300810" y="111101"/>
                  </a:lnTo>
                  <a:lnTo>
                    <a:pt x="300810" y="102446"/>
                  </a:lnTo>
                  <a:cubicBezTo>
                    <a:pt x="300810" y="28097"/>
                    <a:pt x="300810" y="28097"/>
                    <a:pt x="300810" y="28097"/>
                  </a:cubicBezTo>
                  <a:cubicBezTo>
                    <a:pt x="300810" y="12644"/>
                    <a:pt x="313427" y="0"/>
                    <a:pt x="328848" y="0"/>
                  </a:cubicBezTo>
                  <a:close/>
                </a:path>
              </a:pathLst>
            </a:custGeom>
            <a:solidFill>
              <a:schemeClr val="accent1"/>
            </a:solidFill>
            <a:ln>
              <a:noFill/>
            </a:ln>
          </p:spPr>
          <p:txBody>
            <a:bodyPr vert="horz" wrap="square" lIns="89619" tIns="44810" rIns="89619" bIns="44810" numCol="1" anchor="t" anchorCtr="0" compatLnSpc="1">
              <a:prstTxWarp prst="textNoShape">
                <a:avLst/>
              </a:prstTxWarp>
              <a:noAutofit/>
            </a:bodyPr>
            <a:lstStyle/>
            <a:p>
              <a:pPr defTabSz="896203">
                <a:defRPr/>
              </a:pPr>
              <a:endParaRPr lang="en-US" sz="1764" kern="0">
                <a:solidFill>
                  <a:sysClr val="windowText" lastClr="000000"/>
                </a:solidFill>
              </a:endParaRPr>
            </a:p>
          </p:txBody>
        </p:sp>
        <p:sp>
          <p:nvSpPr>
            <p:cNvPr id="389" name="Freeform 388"/>
            <p:cNvSpPr>
              <a:spLocks/>
            </p:cNvSpPr>
            <p:nvPr/>
          </p:nvSpPr>
          <p:spPr bwMode="auto">
            <a:xfrm>
              <a:off x="4942943" y="4685823"/>
              <a:ext cx="323850" cy="417957"/>
            </a:xfrm>
            <a:custGeom>
              <a:avLst/>
              <a:gdLst>
                <a:gd name="connsiteX0" fmla="*/ 1616331 w 1684452"/>
                <a:gd name="connsiteY0" fmla="*/ 466888 h 1863160"/>
                <a:gd name="connsiteX1" fmla="*/ 1580938 w 1684452"/>
                <a:gd name="connsiteY1" fmla="*/ 495908 h 1863160"/>
                <a:gd name="connsiteX2" fmla="*/ 1425175 w 1684452"/>
                <a:gd name="connsiteY2" fmla="*/ 575567 h 1863160"/>
                <a:gd name="connsiteX3" fmla="*/ 842226 w 1684452"/>
                <a:gd name="connsiteY3" fmla="*/ 665288 h 1863160"/>
                <a:gd name="connsiteX4" fmla="*/ 259277 w 1684452"/>
                <a:gd name="connsiteY4" fmla="*/ 575567 h 1863160"/>
                <a:gd name="connsiteX5" fmla="*/ 103515 w 1684452"/>
                <a:gd name="connsiteY5" fmla="*/ 495908 h 1863160"/>
                <a:gd name="connsiteX6" fmla="*/ 68122 w 1684452"/>
                <a:gd name="connsiteY6" fmla="*/ 466889 h 1863160"/>
                <a:gd name="connsiteX7" fmla="*/ 68122 w 1684452"/>
                <a:gd name="connsiteY7" fmla="*/ 698353 h 1863160"/>
                <a:gd name="connsiteX8" fmla="*/ 66676 w 1684452"/>
                <a:gd name="connsiteY8" fmla="*/ 698353 h 1863160"/>
                <a:gd name="connsiteX9" fmla="*/ 66676 w 1684452"/>
                <a:gd name="connsiteY9" fmla="*/ 1507978 h 1863160"/>
                <a:gd name="connsiteX10" fmla="*/ 68122 w 1684452"/>
                <a:gd name="connsiteY10" fmla="*/ 1507978 h 1863160"/>
                <a:gd name="connsiteX11" fmla="*/ 68122 w 1684452"/>
                <a:gd name="connsiteY11" fmla="*/ 1531401 h 1863160"/>
                <a:gd name="connsiteX12" fmla="*/ 67785 w 1684452"/>
                <a:gd name="connsiteY12" fmla="*/ 1531401 h 1863160"/>
                <a:gd name="connsiteX13" fmla="*/ 842226 w 1684452"/>
                <a:gd name="connsiteY13" fmla="*/ 1795454 h 1863160"/>
                <a:gd name="connsiteX14" fmla="*/ 1616667 w 1684452"/>
                <a:gd name="connsiteY14" fmla="*/ 1531401 h 1863160"/>
                <a:gd name="connsiteX15" fmla="*/ 1616331 w 1684452"/>
                <a:gd name="connsiteY15" fmla="*/ 1531401 h 1863160"/>
                <a:gd name="connsiteX16" fmla="*/ 1616331 w 1684452"/>
                <a:gd name="connsiteY16" fmla="*/ 1507978 h 1863160"/>
                <a:gd name="connsiteX17" fmla="*/ 1619250 w 1684452"/>
                <a:gd name="connsiteY17" fmla="*/ 1507978 h 1863160"/>
                <a:gd name="connsiteX18" fmla="*/ 1619250 w 1684452"/>
                <a:gd name="connsiteY18" fmla="*/ 698353 h 1863160"/>
                <a:gd name="connsiteX19" fmla="*/ 1616331 w 1684452"/>
                <a:gd name="connsiteY19" fmla="*/ 698353 h 1863160"/>
                <a:gd name="connsiteX20" fmla="*/ 842226 w 1684452"/>
                <a:gd name="connsiteY20" fmla="*/ 68122 h 1863160"/>
                <a:gd name="connsiteX21" fmla="*/ 68122 w 1684452"/>
                <a:gd name="connsiteY21" fmla="*/ 333087 h 1863160"/>
                <a:gd name="connsiteX22" fmla="*/ 842226 w 1684452"/>
                <a:gd name="connsiteY22" fmla="*/ 598052 h 1863160"/>
                <a:gd name="connsiteX23" fmla="*/ 1616331 w 1684452"/>
                <a:gd name="connsiteY23" fmla="*/ 333087 h 1863160"/>
                <a:gd name="connsiteX24" fmla="*/ 842226 w 1684452"/>
                <a:gd name="connsiteY24" fmla="*/ 68122 h 1863160"/>
                <a:gd name="connsiteX25" fmla="*/ 842226 w 1684452"/>
                <a:gd name="connsiteY25" fmla="*/ 0 h 1863160"/>
                <a:gd name="connsiteX26" fmla="*/ 1425175 w 1684452"/>
                <a:gd name="connsiteY26" fmla="*/ 89721 h 1863160"/>
                <a:gd name="connsiteX27" fmla="*/ 1684452 w 1684452"/>
                <a:gd name="connsiteY27" fmla="*/ 331797 h 1863160"/>
                <a:gd name="connsiteX28" fmla="*/ 1681988 w 1684452"/>
                <a:gd name="connsiteY28" fmla="*/ 352107 h 1863160"/>
                <a:gd name="connsiteX29" fmla="*/ 1684452 w 1684452"/>
                <a:gd name="connsiteY29" fmla="*/ 352107 h 1863160"/>
                <a:gd name="connsiteX30" fmla="*/ 1684452 w 1684452"/>
                <a:gd name="connsiteY30" fmla="*/ 1531401 h 1863160"/>
                <a:gd name="connsiteX31" fmla="*/ 1684452 w 1684452"/>
                <a:gd name="connsiteY31" fmla="*/ 1531401 h 1863160"/>
                <a:gd name="connsiteX32" fmla="*/ 1425175 w 1684452"/>
                <a:gd name="connsiteY32" fmla="*/ 1773450 h 1863160"/>
                <a:gd name="connsiteX33" fmla="*/ 842226 w 1684452"/>
                <a:gd name="connsiteY33" fmla="*/ 1863160 h 1863160"/>
                <a:gd name="connsiteX34" fmla="*/ 259277 w 1684452"/>
                <a:gd name="connsiteY34" fmla="*/ 1773450 h 1863160"/>
                <a:gd name="connsiteX35" fmla="*/ 0 w 1684452"/>
                <a:gd name="connsiteY35" fmla="*/ 1531401 h 1863160"/>
                <a:gd name="connsiteX36" fmla="*/ 0 w 1684452"/>
                <a:gd name="connsiteY36" fmla="*/ 1140367 h 1863160"/>
                <a:gd name="connsiteX37" fmla="*/ 0 w 1684452"/>
                <a:gd name="connsiteY37" fmla="*/ 714831 h 1863160"/>
                <a:gd name="connsiteX38" fmla="*/ 0 w 1684452"/>
                <a:gd name="connsiteY38" fmla="*/ 352107 h 1863160"/>
                <a:gd name="connsiteX39" fmla="*/ 2463 w 1684452"/>
                <a:gd name="connsiteY39" fmla="*/ 352107 h 1863160"/>
                <a:gd name="connsiteX40" fmla="*/ 0 w 1684452"/>
                <a:gd name="connsiteY40" fmla="*/ 331797 h 1863160"/>
                <a:gd name="connsiteX41" fmla="*/ 259277 w 1684452"/>
                <a:gd name="connsiteY41" fmla="*/ 89721 h 1863160"/>
                <a:gd name="connsiteX42" fmla="*/ 842226 w 1684452"/>
                <a:gd name="connsiteY42" fmla="*/ 0 h 1863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684452" h="1863160">
                  <a:moveTo>
                    <a:pt x="1616331" y="466888"/>
                  </a:moveTo>
                  <a:lnTo>
                    <a:pt x="1580938" y="495908"/>
                  </a:lnTo>
                  <a:cubicBezTo>
                    <a:pt x="1540277" y="525258"/>
                    <a:pt x="1488088" y="552079"/>
                    <a:pt x="1425175" y="575567"/>
                  </a:cubicBezTo>
                  <a:cubicBezTo>
                    <a:pt x="1269270" y="633124"/>
                    <a:pt x="1062526" y="665288"/>
                    <a:pt x="842226" y="665288"/>
                  </a:cubicBezTo>
                  <a:cubicBezTo>
                    <a:pt x="621925" y="665288"/>
                    <a:pt x="415182" y="633124"/>
                    <a:pt x="259277" y="575567"/>
                  </a:cubicBezTo>
                  <a:cubicBezTo>
                    <a:pt x="196365" y="552079"/>
                    <a:pt x="144176" y="525258"/>
                    <a:pt x="103515" y="495908"/>
                  </a:cubicBezTo>
                  <a:lnTo>
                    <a:pt x="68122" y="466889"/>
                  </a:lnTo>
                  <a:lnTo>
                    <a:pt x="68122" y="698353"/>
                  </a:lnTo>
                  <a:lnTo>
                    <a:pt x="66676" y="698353"/>
                  </a:lnTo>
                  <a:lnTo>
                    <a:pt x="66676" y="1507978"/>
                  </a:lnTo>
                  <a:lnTo>
                    <a:pt x="68122" y="1507978"/>
                  </a:lnTo>
                  <a:lnTo>
                    <a:pt x="68122" y="1531401"/>
                  </a:lnTo>
                  <a:lnTo>
                    <a:pt x="67785" y="1531401"/>
                  </a:lnTo>
                  <a:cubicBezTo>
                    <a:pt x="67785" y="1656657"/>
                    <a:pt x="386374" y="1795454"/>
                    <a:pt x="842226" y="1795454"/>
                  </a:cubicBezTo>
                  <a:cubicBezTo>
                    <a:pt x="1298078" y="1795454"/>
                    <a:pt x="1616667" y="1656657"/>
                    <a:pt x="1616667" y="1531401"/>
                  </a:cubicBezTo>
                  <a:lnTo>
                    <a:pt x="1616331" y="1531401"/>
                  </a:lnTo>
                  <a:lnTo>
                    <a:pt x="1616331" y="1507978"/>
                  </a:lnTo>
                  <a:lnTo>
                    <a:pt x="1619250" y="1507978"/>
                  </a:lnTo>
                  <a:lnTo>
                    <a:pt x="1619250" y="698353"/>
                  </a:lnTo>
                  <a:lnTo>
                    <a:pt x="1616331" y="698353"/>
                  </a:lnTo>
                  <a:close/>
                  <a:moveTo>
                    <a:pt x="842226" y="68122"/>
                  </a:moveTo>
                  <a:cubicBezTo>
                    <a:pt x="414700" y="68122"/>
                    <a:pt x="68122" y="186750"/>
                    <a:pt x="68122" y="333087"/>
                  </a:cubicBezTo>
                  <a:cubicBezTo>
                    <a:pt x="68122" y="479424"/>
                    <a:pt x="414700" y="598052"/>
                    <a:pt x="842226" y="598052"/>
                  </a:cubicBezTo>
                  <a:cubicBezTo>
                    <a:pt x="1269753" y="598052"/>
                    <a:pt x="1616331" y="479424"/>
                    <a:pt x="1616331" y="333087"/>
                  </a:cubicBezTo>
                  <a:cubicBezTo>
                    <a:pt x="1616331" y="186750"/>
                    <a:pt x="1269753" y="68122"/>
                    <a:pt x="842226" y="68122"/>
                  </a:cubicBezTo>
                  <a:close/>
                  <a:moveTo>
                    <a:pt x="842226" y="0"/>
                  </a:moveTo>
                  <a:cubicBezTo>
                    <a:pt x="1062526" y="0"/>
                    <a:pt x="1269270" y="32164"/>
                    <a:pt x="1425175" y="89721"/>
                  </a:cubicBezTo>
                  <a:cubicBezTo>
                    <a:pt x="1592942" y="150663"/>
                    <a:pt x="1684452" y="236998"/>
                    <a:pt x="1684452" y="331797"/>
                  </a:cubicBezTo>
                  <a:lnTo>
                    <a:pt x="1681988" y="352107"/>
                  </a:lnTo>
                  <a:lnTo>
                    <a:pt x="1684452" y="352107"/>
                  </a:lnTo>
                  <a:lnTo>
                    <a:pt x="1684452" y="1531401"/>
                  </a:lnTo>
                  <a:lnTo>
                    <a:pt x="1684452" y="1531401"/>
                  </a:lnTo>
                  <a:cubicBezTo>
                    <a:pt x="1684452" y="1626189"/>
                    <a:pt x="1592942" y="1712515"/>
                    <a:pt x="1425175" y="1773450"/>
                  </a:cubicBezTo>
                  <a:cubicBezTo>
                    <a:pt x="1269270" y="1831000"/>
                    <a:pt x="1062526" y="1863160"/>
                    <a:pt x="842226" y="1863160"/>
                  </a:cubicBezTo>
                  <a:cubicBezTo>
                    <a:pt x="621925" y="1863160"/>
                    <a:pt x="415182" y="1831000"/>
                    <a:pt x="259277" y="1773450"/>
                  </a:cubicBezTo>
                  <a:cubicBezTo>
                    <a:pt x="91510" y="1712515"/>
                    <a:pt x="0" y="1626189"/>
                    <a:pt x="0" y="1531401"/>
                  </a:cubicBezTo>
                  <a:lnTo>
                    <a:pt x="0" y="1140367"/>
                  </a:lnTo>
                  <a:lnTo>
                    <a:pt x="0" y="714831"/>
                  </a:lnTo>
                  <a:lnTo>
                    <a:pt x="0" y="352107"/>
                  </a:lnTo>
                  <a:lnTo>
                    <a:pt x="2463" y="352107"/>
                  </a:lnTo>
                  <a:lnTo>
                    <a:pt x="0" y="331797"/>
                  </a:lnTo>
                  <a:cubicBezTo>
                    <a:pt x="0" y="236998"/>
                    <a:pt x="91510" y="150663"/>
                    <a:pt x="259277" y="89721"/>
                  </a:cubicBezTo>
                  <a:cubicBezTo>
                    <a:pt x="415182" y="32164"/>
                    <a:pt x="621925" y="0"/>
                    <a:pt x="842226" y="0"/>
                  </a:cubicBezTo>
                  <a:close/>
                </a:path>
              </a:pathLst>
            </a:custGeom>
            <a:solidFill>
              <a:schemeClr val="accent1"/>
            </a:solidFill>
            <a:ln>
              <a:noFill/>
            </a:ln>
          </p:spPr>
          <p:txBody>
            <a:bodyPr vert="horz" wrap="square" lIns="0" tIns="179238" rIns="0" bIns="0" numCol="1" anchor="t" anchorCtr="0" compatLnSpc="1">
              <a:prstTxWarp prst="textNoShape">
                <a:avLst/>
              </a:prstTxWarp>
              <a:noAutofit/>
            </a:bodyPr>
            <a:lstStyle/>
            <a:p>
              <a:pPr algn="ctr" defTabSz="896203">
                <a:defRPr/>
              </a:pPr>
              <a:r>
                <a:rPr lang="en-US" sz="686" kern="0" dirty="0">
                  <a:solidFill>
                    <a:srgbClr val="0078D7"/>
                  </a:solidFill>
                </a:rPr>
                <a:t>SQL</a:t>
              </a:r>
            </a:p>
          </p:txBody>
        </p:sp>
        <p:sp>
          <p:nvSpPr>
            <p:cNvPr id="390" name="Freeform 389"/>
            <p:cNvSpPr>
              <a:spLocks noChangeArrowheads="1"/>
            </p:cNvSpPr>
            <p:nvPr/>
          </p:nvSpPr>
          <p:spPr bwMode="auto">
            <a:xfrm flipH="1">
              <a:off x="3122248" y="1778034"/>
              <a:ext cx="318613" cy="268059"/>
            </a:xfrm>
            <a:custGeom>
              <a:avLst/>
              <a:gdLst>
                <a:gd name="connsiteX0" fmla="*/ 1925912 w 3848648"/>
                <a:gd name="connsiteY0" fmla="*/ 2280727 h 3237989"/>
                <a:gd name="connsiteX1" fmla="*/ 1506812 w 3848648"/>
                <a:gd name="connsiteY1" fmla="*/ 2698240 h 3237989"/>
                <a:gd name="connsiteX2" fmla="*/ 1925912 w 3848648"/>
                <a:gd name="connsiteY2" fmla="*/ 3115753 h 3237989"/>
                <a:gd name="connsiteX3" fmla="*/ 2345012 w 3848648"/>
                <a:gd name="connsiteY3" fmla="*/ 2698240 h 3237989"/>
                <a:gd name="connsiteX4" fmla="*/ 1925912 w 3848648"/>
                <a:gd name="connsiteY4" fmla="*/ 2280727 h 3237989"/>
                <a:gd name="connsiteX5" fmla="*/ 1925118 w 3848648"/>
                <a:gd name="connsiteY5" fmla="*/ 2158489 h 3237989"/>
                <a:gd name="connsiteX6" fmla="*/ 2465662 w 3848648"/>
                <a:gd name="connsiteY6" fmla="*/ 2698239 h 3237989"/>
                <a:gd name="connsiteX7" fmla="*/ 1925118 w 3848648"/>
                <a:gd name="connsiteY7" fmla="*/ 3237989 h 3237989"/>
                <a:gd name="connsiteX8" fmla="*/ 1384574 w 3848648"/>
                <a:gd name="connsiteY8" fmla="*/ 2698239 h 3237989"/>
                <a:gd name="connsiteX9" fmla="*/ 1925118 w 3848648"/>
                <a:gd name="connsiteY9" fmla="*/ 2158489 h 3237989"/>
                <a:gd name="connsiteX10" fmla="*/ 1924773 w 3848648"/>
                <a:gd name="connsiteY10" fmla="*/ 1438131 h 3237989"/>
                <a:gd name="connsiteX11" fmla="*/ 2816009 w 3848648"/>
                <a:gd name="connsiteY11" fmla="*/ 1805943 h 3237989"/>
                <a:gd name="connsiteX12" fmla="*/ 2816009 w 3848648"/>
                <a:gd name="connsiteY12" fmla="*/ 1894279 h 3237989"/>
                <a:gd name="connsiteX13" fmla="*/ 2727911 w 3848648"/>
                <a:gd name="connsiteY13" fmla="*/ 1894279 h 3237989"/>
                <a:gd name="connsiteX14" fmla="*/ 1120875 w 3848648"/>
                <a:gd name="connsiteY14" fmla="*/ 1894279 h 3237989"/>
                <a:gd name="connsiteX15" fmla="*/ 1078345 w 3848648"/>
                <a:gd name="connsiteY15" fmla="*/ 1909510 h 3237989"/>
                <a:gd name="connsiteX16" fmla="*/ 1035815 w 3848648"/>
                <a:gd name="connsiteY16" fmla="*/ 1894279 h 3237989"/>
                <a:gd name="connsiteX17" fmla="*/ 1035815 w 3848648"/>
                <a:gd name="connsiteY17" fmla="*/ 1805943 h 3237989"/>
                <a:gd name="connsiteX18" fmla="*/ 1924773 w 3848648"/>
                <a:gd name="connsiteY18" fmla="*/ 1438131 h 3237989"/>
                <a:gd name="connsiteX19" fmla="*/ 1925119 w 3848648"/>
                <a:gd name="connsiteY19" fmla="*/ 717039 h 3237989"/>
                <a:gd name="connsiteX20" fmla="*/ 3322424 w 3848648"/>
                <a:gd name="connsiteY20" fmla="*/ 1298085 h 3237989"/>
                <a:gd name="connsiteX21" fmla="*/ 3322424 w 3848648"/>
                <a:gd name="connsiteY21" fmla="*/ 1383265 h 3237989"/>
                <a:gd name="connsiteX22" fmla="*/ 3237371 w 3848648"/>
                <a:gd name="connsiteY22" fmla="*/ 1383265 h 3237989"/>
                <a:gd name="connsiteX23" fmla="*/ 1925119 w 3848648"/>
                <a:gd name="connsiteY23" fmla="*/ 838724 h 3237989"/>
                <a:gd name="connsiteX24" fmla="*/ 612866 w 3848648"/>
                <a:gd name="connsiteY24" fmla="*/ 1383265 h 3237989"/>
                <a:gd name="connsiteX25" fmla="*/ 570339 w 3848648"/>
                <a:gd name="connsiteY25" fmla="*/ 1401518 h 3237989"/>
                <a:gd name="connsiteX26" fmla="*/ 527813 w 3848648"/>
                <a:gd name="connsiteY26" fmla="*/ 1383265 h 3237989"/>
                <a:gd name="connsiteX27" fmla="*/ 527813 w 3848648"/>
                <a:gd name="connsiteY27" fmla="*/ 1298085 h 3237989"/>
                <a:gd name="connsiteX28" fmla="*/ 1925119 w 3848648"/>
                <a:gd name="connsiteY28" fmla="*/ 717039 h 3237989"/>
                <a:gd name="connsiteX29" fmla="*/ 1925843 w 3848648"/>
                <a:gd name="connsiteY29" fmla="*/ 0 h 3237989"/>
                <a:gd name="connsiteX30" fmla="*/ 3830423 w 3848648"/>
                <a:gd name="connsiteY30" fmla="*/ 790191 h 3237989"/>
                <a:gd name="connsiteX31" fmla="*/ 3830423 w 3848648"/>
                <a:gd name="connsiteY31" fmla="*/ 875288 h 3237989"/>
                <a:gd name="connsiteX32" fmla="*/ 3787897 w 3848648"/>
                <a:gd name="connsiteY32" fmla="*/ 893523 h 3237989"/>
                <a:gd name="connsiteX33" fmla="*/ 3745370 w 3848648"/>
                <a:gd name="connsiteY33" fmla="*/ 875288 h 3237989"/>
                <a:gd name="connsiteX34" fmla="*/ 103278 w 3848648"/>
                <a:gd name="connsiteY34" fmla="*/ 875288 h 3237989"/>
                <a:gd name="connsiteX35" fmla="*/ 18225 w 3848648"/>
                <a:gd name="connsiteY35" fmla="*/ 875288 h 3237989"/>
                <a:gd name="connsiteX36" fmla="*/ 18225 w 3848648"/>
                <a:gd name="connsiteY36" fmla="*/ 790191 h 3237989"/>
                <a:gd name="connsiteX37" fmla="*/ 1925843 w 3848648"/>
                <a:gd name="connsiteY37" fmla="*/ 0 h 3237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848648" h="3237989">
                  <a:moveTo>
                    <a:pt x="1925912" y="2280727"/>
                  </a:moveTo>
                  <a:cubicBezTo>
                    <a:pt x="1694449" y="2280727"/>
                    <a:pt x="1506812" y="2467654"/>
                    <a:pt x="1506812" y="2698240"/>
                  </a:cubicBezTo>
                  <a:cubicBezTo>
                    <a:pt x="1506812" y="2928826"/>
                    <a:pt x="1694449" y="3115753"/>
                    <a:pt x="1925912" y="3115753"/>
                  </a:cubicBezTo>
                  <a:cubicBezTo>
                    <a:pt x="2157375" y="3115753"/>
                    <a:pt x="2345012" y="2928826"/>
                    <a:pt x="2345012" y="2698240"/>
                  </a:cubicBezTo>
                  <a:cubicBezTo>
                    <a:pt x="2345012" y="2467654"/>
                    <a:pt x="2157375" y="2280727"/>
                    <a:pt x="1925912" y="2280727"/>
                  </a:cubicBezTo>
                  <a:close/>
                  <a:moveTo>
                    <a:pt x="1925118" y="2158489"/>
                  </a:moveTo>
                  <a:cubicBezTo>
                    <a:pt x="2223652" y="2158489"/>
                    <a:pt x="2465662" y="2400143"/>
                    <a:pt x="2465662" y="2698239"/>
                  </a:cubicBezTo>
                  <a:cubicBezTo>
                    <a:pt x="2465662" y="2996335"/>
                    <a:pt x="2223652" y="3237989"/>
                    <a:pt x="1925118" y="3237989"/>
                  </a:cubicBezTo>
                  <a:cubicBezTo>
                    <a:pt x="1626584" y="3237989"/>
                    <a:pt x="1384574" y="2996335"/>
                    <a:pt x="1384574" y="2698239"/>
                  </a:cubicBezTo>
                  <a:cubicBezTo>
                    <a:pt x="1384574" y="2400143"/>
                    <a:pt x="1626584" y="2158489"/>
                    <a:pt x="1925118" y="2158489"/>
                  </a:cubicBezTo>
                  <a:close/>
                  <a:moveTo>
                    <a:pt x="1924773" y="1438131"/>
                  </a:moveTo>
                  <a:cubicBezTo>
                    <a:pt x="2247167" y="1438131"/>
                    <a:pt x="2569942" y="1560735"/>
                    <a:pt x="2816009" y="1805943"/>
                  </a:cubicBezTo>
                  <a:cubicBezTo>
                    <a:pt x="2840312" y="1830312"/>
                    <a:pt x="2840312" y="1869911"/>
                    <a:pt x="2816009" y="1894279"/>
                  </a:cubicBezTo>
                  <a:cubicBezTo>
                    <a:pt x="2791706" y="1915602"/>
                    <a:pt x="2752214" y="1915602"/>
                    <a:pt x="2727911" y="1894279"/>
                  </a:cubicBezTo>
                  <a:cubicBezTo>
                    <a:pt x="2287419" y="1449554"/>
                    <a:pt x="1564405" y="1449554"/>
                    <a:pt x="1120875" y="1894279"/>
                  </a:cubicBezTo>
                  <a:cubicBezTo>
                    <a:pt x="1108724" y="1903418"/>
                    <a:pt x="1093534" y="1909510"/>
                    <a:pt x="1078345" y="1909510"/>
                  </a:cubicBezTo>
                  <a:cubicBezTo>
                    <a:pt x="1063156" y="1909510"/>
                    <a:pt x="1047966" y="1903418"/>
                    <a:pt x="1035815" y="1894279"/>
                  </a:cubicBezTo>
                  <a:cubicBezTo>
                    <a:pt x="1011512" y="1869911"/>
                    <a:pt x="1011512" y="1830312"/>
                    <a:pt x="1035815" y="1805943"/>
                  </a:cubicBezTo>
                  <a:cubicBezTo>
                    <a:pt x="1280364" y="1560735"/>
                    <a:pt x="1602379" y="1438131"/>
                    <a:pt x="1924773" y="1438131"/>
                  </a:cubicBezTo>
                  <a:close/>
                  <a:moveTo>
                    <a:pt x="1925119" y="717039"/>
                  </a:moveTo>
                  <a:cubicBezTo>
                    <a:pt x="2453665" y="717039"/>
                    <a:pt x="2948797" y="923904"/>
                    <a:pt x="3322424" y="1298085"/>
                  </a:cubicBezTo>
                  <a:cubicBezTo>
                    <a:pt x="3346725" y="1322422"/>
                    <a:pt x="3346725" y="1358928"/>
                    <a:pt x="3322424" y="1383265"/>
                  </a:cubicBezTo>
                  <a:cubicBezTo>
                    <a:pt x="3298123" y="1407602"/>
                    <a:pt x="3261672" y="1407602"/>
                    <a:pt x="3237371" y="1383265"/>
                  </a:cubicBezTo>
                  <a:cubicBezTo>
                    <a:pt x="2885007" y="1033420"/>
                    <a:pt x="2420251" y="838724"/>
                    <a:pt x="1925119" y="838724"/>
                  </a:cubicBezTo>
                  <a:cubicBezTo>
                    <a:pt x="1429987" y="838724"/>
                    <a:pt x="962192" y="1033420"/>
                    <a:pt x="612866" y="1383265"/>
                  </a:cubicBezTo>
                  <a:cubicBezTo>
                    <a:pt x="600716" y="1395433"/>
                    <a:pt x="585528" y="1401518"/>
                    <a:pt x="570339" y="1401518"/>
                  </a:cubicBezTo>
                  <a:cubicBezTo>
                    <a:pt x="555151" y="1401518"/>
                    <a:pt x="536926" y="1395433"/>
                    <a:pt x="527813" y="1383265"/>
                  </a:cubicBezTo>
                  <a:cubicBezTo>
                    <a:pt x="503512" y="1358928"/>
                    <a:pt x="503512" y="1322422"/>
                    <a:pt x="527813" y="1298085"/>
                  </a:cubicBezTo>
                  <a:cubicBezTo>
                    <a:pt x="898402" y="923904"/>
                    <a:pt x="1396573" y="717039"/>
                    <a:pt x="1925119" y="717039"/>
                  </a:cubicBezTo>
                  <a:close/>
                  <a:moveTo>
                    <a:pt x="1925843" y="0"/>
                  </a:moveTo>
                  <a:cubicBezTo>
                    <a:pt x="2645756" y="0"/>
                    <a:pt x="3323143" y="279606"/>
                    <a:pt x="3830423" y="790191"/>
                  </a:cubicBezTo>
                  <a:cubicBezTo>
                    <a:pt x="3854724" y="814504"/>
                    <a:pt x="3854724" y="850975"/>
                    <a:pt x="3830423" y="875288"/>
                  </a:cubicBezTo>
                  <a:cubicBezTo>
                    <a:pt x="3818273" y="887445"/>
                    <a:pt x="3803085" y="893523"/>
                    <a:pt x="3787897" y="893523"/>
                  </a:cubicBezTo>
                  <a:cubicBezTo>
                    <a:pt x="3772709" y="893523"/>
                    <a:pt x="3757521" y="887445"/>
                    <a:pt x="3745370" y="875288"/>
                  </a:cubicBezTo>
                  <a:cubicBezTo>
                    <a:pt x="2742960" y="-127647"/>
                    <a:pt x="1108726" y="-130686"/>
                    <a:pt x="103278" y="875288"/>
                  </a:cubicBezTo>
                  <a:cubicBezTo>
                    <a:pt x="82014" y="899602"/>
                    <a:pt x="42525" y="899602"/>
                    <a:pt x="18225" y="875288"/>
                  </a:cubicBezTo>
                  <a:cubicBezTo>
                    <a:pt x="-6076" y="850975"/>
                    <a:pt x="-6076" y="811465"/>
                    <a:pt x="18225" y="790191"/>
                  </a:cubicBezTo>
                  <a:cubicBezTo>
                    <a:pt x="528543" y="279606"/>
                    <a:pt x="1205929" y="0"/>
                    <a:pt x="1925843" y="0"/>
                  </a:cubicBezTo>
                  <a:close/>
                </a:path>
              </a:pathLst>
            </a:custGeom>
            <a:grpFill/>
            <a:ln>
              <a:solidFill>
                <a:schemeClr val="accent1"/>
              </a:solidFill>
            </a:ln>
          </p:spPr>
          <p:txBody>
            <a:bodyPr vert="horz" wrap="square" lIns="89619" tIns="44810" rIns="89619" bIns="44810" numCol="1" anchor="t" anchorCtr="0" compatLnSpc="1">
              <a:prstTxWarp prst="textNoShape">
                <a:avLst/>
              </a:prstTxWarp>
              <a:noAutofit/>
            </a:bodyPr>
            <a:lstStyle/>
            <a:p>
              <a:pPr defTabSz="896203">
                <a:defRPr/>
              </a:pPr>
              <a:endParaRPr lang="en-US" sz="1764" kern="0" dirty="0">
                <a:solidFill>
                  <a:sysClr val="windowText" lastClr="000000"/>
                </a:solidFill>
              </a:endParaRPr>
            </a:p>
          </p:txBody>
        </p:sp>
        <p:grpSp>
          <p:nvGrpSpPr>
            <p:cNvPr id="391" name="Group 390"/>
            <p:cNvGrpSpPr/>
            <p:nvPr/>
          </p:nvGrpSpPr>
          <p:grpSpPr>
            <a:xfrm>
              <a:off x="3043964" y="4724257"/>
              <a:ext cx="357685" cy="357344"/>
              <a:chOff x="4432300" y="1766888"/>
              <a:chExt cx="3324225" cy="3321050"/>
            </a:xfrm>
            <a:grpFill/>
          </p:grpSpPr>
          <p:sp>
            <p:nvSpPr>
              <p:cNvPr id="392" name="Freeform 391"/>
              <p:cNvSpPr>
                <a:spLocks/>
              </p:cNvSpPr>
              <p:nvPr/>
            </p:nvSpPr>
            <p:spPr bwMode="auto">
              <a:xfrm>
                <a:off x="4432300" y="2167270"/>
                <a:ext cx="2257425" cy="2920668"/>
              </a:xfrm>
              <a:custGeom>
                <a:avLst/>
                <a:gdLst>
                  <a:gd name="connsiteX0" fmla="*/ 194437 w 2257425"/>
                  <a:gd name="connsiteY0" fmla="*/ 122771 h 2920668"/>
                  <a:gd name="connsiteX1" fmla="*/ 121523 w 2257425"/>
                  <a:gd name="connsiteY1" fmla="*/ 195680 h 2920668"/>
                  <a:gd name="connsiteX2" fmla="*/ 121523 w 2257425"/>
                  <a:gd name="connsiteY2" fmla="*/ 2726243 h 2920668"/>
                  <a:gd name="connsiteX3" fmla="*/ 194437 w 2257425"/>
                  <a:gd name="connsiteY3" fmla="*/ 2799152 h 2920668"/>
                  <a:gd name="connsiteX4" fmla="*/ 2059814 w 2257425"/>
                  <a:gd name="connsiteY4" fmla="*/ 2799152 h 2920668"/>
                  <a:gd name="connsiteX5" fmla="*/ 2132727 w 2257425"/>
                  <a:gd name="connsiteY5" fmla="*/ 2726243 h 2920668"/>
                  <a:gd name="connsiteX6" fmla="*/ 2132727 w 2257425"/>
                  <a:gd name="connsiteY6" fmla="*/ 1078413 h 2920668"/>
                  <a:gd name="connsiteX7" fmla="*/ 2132727 w 2257425"/>
                  <a:gd name="connsiteY7" fmla="*/ 1054761 h 2920668"/>
                  <a:gd name="connsiteX8" fmla="*/ 2129823 w 2257425"/>
                  <a:gd name="connsiteY8" fmla="*/ 1055355 h 2920668"/>
                  <a:gd name="connsiteX9" fmla="*/ 2126785 w 2257425"/>
                  <a:gd name="connsiteY9" fmla="*/ 1055355 h 2920668"/>
                  <a:gd name="connsiteX10" fmla="*/ 2123747 w 2257425"/>
                  <a:gd name="connsiteY10" fmla="*/ 1055355 h 2920668"/>
                  <a:gd name="connsiteX11" fmla="*/ 1327752 w 2257425"/>
                  <a:gd name="connsiteY11" fmla="*/ 1055355 h 2920668"/>
                  <a:gd name="connsiteX12" fmla="*/ 1200150 w 2257425"/>
                  <a:gd name="connsiteY12" fmla="*/ 927704 h 2920668"/>
                  <a:gd name="connsiteX13" fmla="*/ 1200150 w 2257425"/>
                  <a:gd name="connsiteY13" fmla="*/ 128364 h 2920668"/>
                  <a:gd name="connsiteX14" fmla="*/ 1200966 w 2257425"/>
                  <a:gd name="connsiteY14" fmla="*/ 122771 h 2920668"/>
                  <a:gd name="connsiteX15" fmla="*/ 1128166 w 2257425"/>
                  <a:gd name="connsiteY15" fmla="*/ 122771 h 2920668"/>
                  <a:gd name="connsiteX16" fmla="*/ 194437 w 2257425"/>
                  <a:gd name="connsiteY16" fmla="*/ 122771 h 2920668"/>
                  <a:gd name="connsiteX17" fmla="*/ 1331572 w 2257425"/>
                  <a:gd name="connsiteY17" fmla="*/ 121972 h 2920668"/>
                  <a:gd name="connsiteX18" fmla="*/ 1327638 w 2257425"/>
                  <a:gd name="connsiteY18" fmla="*/ 122771 h 2920668"/>
                  <a:gd name="connsiteX19" fmla="*/ 1324994 w 2257425"/>
                  <a:gd name="connsiteY19" fmla="*/ 122771 h 2920668"/>
                  <a:gd name="connsiteX20" fmla="*/ 1322388 w 2257425"/>
                  <a:gd name="connsiteY20" fmla="*/ 127982 h 2920668"/>
                  <a:gd name="connsiteX21" fmla="*/ 1322388 w 2257425"/>
                  <a:gd name="connsiteY21" fmla="*/ 927042 h 2920668"/>
                  <a:gd name="connsiteX22" fmla="*/ 1328466 w 2257425"/>
                  <a:gd name="connsiteY22" fmla="*/ 933118 h 2920668"/>
                  <a:gd name="connsiteX23" fmla="*/ 2130699 w 2257425"/>
                  <a:gd name="connsiteY23" fmla="*/ 933118 h 2920668"/>
                  <a:gd name="connsiteX24" fmla="*/ 2132727 w 2257425"/>
                  <a:gd name="connsiteY24" fmla="*/ 931091 h 2920668"/>
                  <a:gd name="connsiteX25" fmla="*/ 2132727 w 2257425"/>
                  <a:gd name="connsiteY25" fmla="*/ 927812 h 2920668"/>
                  <a:gd name="connsiteX26" fmla="*/ 2134009 w 2257425"/>
                  <a:gd name="connsiteY26" fmla="*/ 921508 h 2920668"/>
                  <a:gd name="connsiteX27" fmla="*/ 2133737 w 2257425"/>
                  <a:gd name="connsiteY27" fmla="*/ 920965 h 2920668"/>
                  <a:gd name="connsiteX28" fmla="*/ 2127660 w 2257425"/>
                  <a:gd name="connsiteY28" fmla="*/ 917927 h 2920668"/>
                  <a:gd name="connsiteX29" fmla="*/ 1333060 w 2257425"/>
                  <a:gd name="connsiteY29" fmla="*/ 123460 h 2920668"/>
                  <a:gd name="connsiteX30" fmla="*/ 1315932 w 2257425"/>
                  <a:gd name="connsiteY30" fmla="*/ 0 h 2920668"/>
                  <a:gd name="connsiteX31" fmla="*/ 1325803 w 2257425"/>
                  <a:gd name="connsiteY31" fmla="*/ 1255 h 2920668"/>
                  <a:gd name="connsiteX32" fmla="*/ 1327638 w 2257425"/>
                  <a:gd name="connsiteY32" fmla="*/ 1255 h 2920668"/>
                  <a:gd name="connsiteX33" fmla="*/ 1330705 w 2257425"/>
                  <a:gd name="connsiteY33" fmla="*/ 1878 h 2920668"/>
                  <a:gd name="connsiteX34" fmla="*/ 1370138 w 2257425"/>
                  <a:gd name="connsiteY34" fmla="*/ 6892 h 2920668"/>
                  <a:gd name="connsiteX35" fmla="*/ 1418897 w 2257425"/>
                  <a:gd name="connsiteY35" fmla="*/ 37184 h 2920668"/>
                  <a:gd name="connsiteX36" fmla="*/ 2205777 w 2257425"/>
                  <a:gd name="connsiteY36" fmla="*/ 827406 h 2920668"/>
                  <a:gd name="connsiteX37" fmla="*/ 2257425 w 2257425"/>
                  <a:gd name="connsiteY37" fmla="*/ 927704 h 2920668"/>
                  <a:gd name="connsiteX38" fmla="*/ 2254250 w 2257425"/>
                  <a:gd name="connsiteY38" fmla="*/ 943227 h 2920668"/>
                  <a:gd name="connsiteX39" fmla="*/ 2254250 w 2257425"/>
                  <a:gd name="connsiteY39" fmla="*/ 1091201 h 2920668"/>
                  <a:gd name="connsiteX40" fmla="*/ 2254250 w 2257425"/>
                  <a:gd name="connsiteY40" fmla="*/ 2726243 h 2920668"/>
                  <a:gd name="connsiteX41" fmla="*/ 2059814 w 2257425"/>
                  <a:gd name="connsiteY41" fmla="*/ 2920668 h 2920668"/>
                  <a:gd name="connsiteX42" fmla="*/ 194437 w 2257425"/>
                  <a:gd name="connsiteY42" fmla="*/ 2920668 h 2920668"/>
                  <a:gd name="connsiteX43" fmla="*/ 0 w 2257425"/>
                  <a:gd name="connsiteY43" fmla="*/ 2726243 h 2920668"/>
                  <a:gd name="connsiteX44" fmla="*/ 0 w 2257425"/>
                  <a:gd name="connsiteY44" fmla="*/ 195680 h 2920668"/>
                  <a:gd name="connsiteX45" fmla="*/ 194437 w 2257425"/>
                  <a:gd name="connsiteY45" fmla="*/ 1255 h 2920668"/>
                  <a:gd name="connsiteX46" fmla="*/ 1309932 w 2257425"/>
                  <a:gd name="connsiteY46" fmla="*/ 1255 h 2920668"/>
                  <a:gd name="connsiteX47" fmla="*/ 1311235 w 2257425"/>
                  <a:gd name="connsiteY47" fmla="*/ 1255 h 2920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257425" h="2920668">
                    <a:moveTo>
                      <a:pt x="194437" y="122771"/>
                    </a:moveTo>
                    <a:cubicBezTo>
                      <a:pt x="154942" y="122771"/>
                      <a:pt x="121523" y="153150"/>
                      <a:pt x="121523" y="195680"/>
                    </a:cubicBezTo>
                    <a:cubicBezTo>
                      <a:pt x="121523" y="2726243"/>
                      <a:pt x="121523" y="2726243"/>
                      <a:pt x="121523" y="2726243"/>
                    </a:cubicBezTo>
                    <a:cubicBezTo>
                      <a:pt x="121523" y="2768774"/>
                      <a:pt x="154942" y="2799152"/>
                      <a:pt x="194437" y="2799152"/>
                    </a:cubicBezTo>
                    <a:cubicBezTo>
                      <a:pt x="2059814" y="2799152"/>
                      <a:pt x="2059814" y="2799152"/>
                      <a:pt x="2059814" y="2799152"/>
                    </a:cubicBezTo>
                    <a:cubicBezTo>
                      <a:pt x="2099308" y="2799152"/>
                      <a:pt x="2132727" y="2768774"/>
                      <a:pt x="2132727" y="2726243"/>
                    </a:cubicBezTo>
                    <a:cubicBezTo>
                      <a:pt x="2132727" y="1714626"/>
                      <a:pt x="2132727" y="1272043"/>
                      <a:pt x="2132727" y="1078413"/>
                    </a:cubicBezTo>
                    <a:lnTo>
                      <a:pt x="2132727" y="1054761"/>
                    </a:lnTo>
                    <a:lnTo>
                      <a:pt x="2129823" y="1055355"/>
                    </a:lnTo>
                    <a:lnTo>
                      <a:pt x="2126785" y="1055355"/>
                    </a:lnTo>
                    <a:cubicBezTo>
                      <a:pt x="2123747" y="1055355"/>
                      <a:pt x="2123747" y="1055355"/>
                      <a:pt x="2123747" y="1055355"/>
                    </a:cubicBezTo>
                    <a:cubicBezTo>
                      <a:pt x="1327752" y="1055355"/>
                      <a:pt x="1327752" y="1055355"/>
                      <a:pt x="1327752" y="1055355"/>
                    </a:cubicBezTo>
                    <a:cubicBezTo>
                      <a:pt x="1257875" y="1055355"/>
                      <a:pt x="1200150" y="997608"/>
                      <a:pt x="1200150" y="927704"/>
                    </a:cubicBezTo>
                    <a:cubicBezTo>
                      <a:pt x="1200150" y="128364"/>
                      <a:pt x="1200150" y="128364"/>
                      <a:pt x="1200150" y="128364"/>
                    </a:cubicBezTo>
                    <a:lnTo>
                      <a:pt x="1200966" y="122771"/>
                    </a:lnTo>
                    <a:lnTo>
                      <a:pt x="1128166" y="122771"/>
                    </a:lnTo>
                    <a:cubicBezTo>
                      <a:pt x="194437" y="122771"/>
                      <a:pt x="194437" y="122771"/>
                      <a:pt x="194437" y="122771"/>
                    </a:cubicBezTo>
                    <a:close/>
                    <a:moveTo>
                      <a:pt x="1331572" y="121972"/>
                    </a:moveTo>
                    <a:lnTo>
                      <a:pt x="1327638" y="122771"/>
                    </a:lnTo>
                    <a:lnTo>
                      <a:pt x="1324994" y="122771"/>
                    </a:lnTo>
                    <a:lnTo>
                      <a:pt x="1322388" y="127982"/>
                    </a:lnTo>
                    <a:cubicBezTo>
                      <a:pt x="1322388" y="927042"/>
                      <a:pt x="1322388" y="927042"/>
                      <a:pt x="1322388" y="927042"/>
                    </a:cubicBezTo>
                    <a:cubicBezTo>
                      <a:pt x="1322388" y="930080"/>
                      <a:pt x="1325427" y="933118"/>
                      <a:pt x="1328466" y="933118"/>
                    </a:cubicBezTo>
                    <a:cubicBezTo>
                      <a:pt x="2130699" y="933118"/>
                      <a:pt x="2130699" y="933118"/>
                      <a:pt x="2130699" y="933118"/>
                    </a:cubicBezTo>
                    <a:lnTo>
                      <a:pt x="2132727" y="931091"/>
                    </a:lnTo>
                    <a:lnTo>
                      <a:pt x="2132727" y="927812"/>
                    </a:lnTo>
                    <a:lnTo>
                      <a:pt x="2134009" y="921508"/>
                    </a:lnTo>
                    <a:lnTo>
                      <a:pt x="2133737" y="920965"/>
                    </a:lnTo>
                    <a:cubicBezTo>
                      <a:pt x="2127660" y="917927"/>
                      <a:pt x="2127660" y="917927"/>
                      <a:pt x="2127660" y="917927"/>
                    </a:cubicBezTo>
                    <a:cubicBezTo>
                      <a:pt x="1431025" y="221408"/>
                      <a:pt x="1343945" y="134343"/>
                      <a:pt x="1333060" y="123460"/>
                    </a:cubicBezTo>
                    <a:close/>
                    <a:moveTo>
                      <a:pt x="1315932" y="0"/>
                    </a:moveTo>
                    <a:lnTo>
                      <a:pt x="1325803" y="1255"/>
                    </a:lnTo>
                    <a:lnTo>
                      <a:pt x="1327638" y="1255"/>
                    </a:lnTo>
                    <a:lnTo>
                      <a:pt x="1330705" y="1878"/>
                    </a:lnTo>
                    <a:lnTo>
                      <a:pt x="1370138" y="6892"/>
                    </a:lnTo>
                    <a:cubicBezTo>
                      <a:pt x="1387566" y="13249"/>
                      <a:pt x="1404086" y="23507"/>
                      <a:pt x="1418897" y="37184"/>
                    </a:cubicBezTo>
                    <a:cubicBezTo>
                      <a:pt x="2205777" y="827406"/>
                      <a:pt x="2205777" y="827406"/>
                      <a:pt x="2205777" y="827406"/>
                    </a:cubicBezTo>
                    <a:cubicBezTo>
                      <a:pt x="2239196" y="851721"/>
                      <a:pt x="2257425" y="888193"/>
                      <a:pt x="2257425" y="927704"/>
                    </a:cubicBezTo>
                    <a:lnTo>
                      <a:pt x="2254250" y="943227"/>
                    </a:lnTo>
                    <a:lnTo>
                      <a:pt x="2254250" y="1091201"/>
                    </a:lnTo>
                    <a:cubicBezTo>
                      <a:pt x="2254250" y="2726243"/>
                      <a:pt x="2254250" y="2726243"/>
                      <a:pt x="2254250" y="2726243"/>
                    </a:cubicBezTo>
                    <a:cubicBezTo>
                      <a:pt x="2254250" y="2835607"/>
                      <a:pt x="2166146" y="2920668"/>
                      <a:pt x="2059814" y="2920668"/>
                    </a:cubicBezTo>
                    <a:cubicBezTo>
                      <a:pt x="194437" y="2920668"/>
                      <a:pt x="194437" y="2920668"/>
                      <a:pt x="194437" y="2920668"/>
                    </a:cubicBezTo>
                    <a:cubicBezTo>
                      <a:pt x="88104" y="2920668"/>
                      <a:pt x="0" y="2835607"/>
                      <a:pt x="0" y="2726243"/>
                    </a:cubicBezTo>
                    <a:cubicBezTo>
                      <a:pt x="0" y="195680"/>
                      <a:pt x="0" y="195680"/>
                      <a:pt x="0" y="195680"/>
                    </a:cubicBezTo>
                    <a:cubicBezTo>
                      <a:pt x="0" y="86316"/>
                      <a:pt x="88104" y="1255"/>
                      <a:pt x="194437" y="1255"/>
                    </a:cubicBezTo>
                    <a:cubicBezTo>
                      <a:pt x="1044338" y="1255"/>
                      <a:pt x="1256813" y="1255"/>
                      <a:pt x="1309932" y="1255"/>
                    </a:cubicBezTo>
                    <a:lnTo>
                      <a:pt x="1311235" y="1255"/>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noAutofit/>
              </a:bodyPr>
              <a:lstStyle/>
              <a:p>
                <a:pPr defTabSz="896203">
                  <a:defRPr/>
                </a:pPr>
                <a:endParaRPr lang="en-US" sz="1764" kern="0">
                  <a:solidFill>
                    <a:sysClr val="windowText" lastClr="000000"/>
                  </a:solidFill>
                </a:endParaRPr>
              </a:p>
            </p:txBody>
          </p:sp>
          <p:sp>
            <p:nvSpPr>
              <p:cNvPr id="393" name="Freeform 392"/>
              <p:cNvSpPr>
                <a:spLocks/>
              </p:cNvSpPr>
              <p:nvPr/>
            </p:nvSpPr>
            <p:spPr bwMode="auto">
              <a:xfrm>
                <a:off x="5499100" y="1766888"/>
                <a:ext cx="2257425" cy="2922588"/>
              </a:xfrm>
              <a:custGeom>
                <a:avLst/>
                <a:gdLst>
                  <a:gd name="connsiteX0" fmla="*/ 1323839 w 2257425"/>
                  <a:gd name="connsiteY0" fmla="*/ 122238 h 2922588"/>
                  <a:gd name="connsiteX1" fmla="*/ 1320800 w 2257425"/>
                  <a:gd name="connsiteY1" fmla="*/ 128315 h 2922588"/>
                  <a:gd name="connsiteX2" fmla="*/ 1320800 w 2257425"/>
                  <a:gd name="connsiteY2" fmla="*/ 927375 h 2922588"/>
                  <a:gd name="connsiteX3" fmla="*/ 1326878 w 2257425"/>
                  <a:gd name="connsiteY3" fmla="*/ 933451 h 2922588"/>
                  <a:gd name="connsiteX4" fmla="*/ 2129111 w 2257425"/>
                  <a:gd name="connsiteY4" fmla="*/ 933451 h 2922588"/>
                  <a:gd name="connsiteX5" fmla="*/ 2132699 w 2257425"/>
                  <a:gd name="connsiteY5" fmla="*/ 929864 h 2922588"/>
                  <a:gd name="connsiteX6" fmla="*/ 2132699 w 2257425"/>
                  <a:gd name="connsiteY6" fmla="*/ 927508 h 2922588"/>
                  <a:gd name="connsiteX7" fmla="*/ 2133142 w 2257425"/>
                  <a:gd name="connsiteY7" fmla="*/ 925329 h 2922588"/>
                  <a:gd name="connsiteX8" fmla="*/ 2132149 w 2257425"/>
                  <a:gd name="connsiteY8" fmla="*/ 924336 h 2922588"/>
                  <a:gd name="connsiteX9" fmla="*/ 2126072 w 2257425"/>
                  <a:gd name="connsiteY9" fmla="*/ 921298 h 2922588"/>
                  <a:gd name="connsiteX10" fmla="*/ 1329917 w 2257425"/>
                  <a:gd name="connsiteY10" fmla="*/ 125276 h 2922588"/>
                  <a:gd name="connsiteX11" fmla="*/ 1326878 w 2257425"/>
                  <a:gd name="connsiteY11" fmla="*/ 122238 h 2922588"/>
                  <a:gd name="connsiteX12" fmla="*/ 1323839 w 2257425"/>
                  <a:gd name="connsiteY12" fmla="*/ 122238 h 2922588"/>
                  <a:gd name="connsiteX13" fmla="*/ 194307 w 2257425"/>
                  <a:gd name="connsiteY13" fmla="*/ 0 h 2922588"/>
                  <a:gd name="connsiteX14" fmla="*/ 1326754 w 2257425"/>
                  <a:gd name="connsiteY14" fmla="*/ 0 h 2922588"/>
                  <a:gd name="connsiteX15" fmla="*/ 1342448 w 2257425"/>
                  <a:gd name="connsiteY15" fmla="*/ 3196 h 2922588"/>
                  <a:gd name="connsiteX16" fmla="*/ 1371473 w 2257425"/>
                  <a:gd name="connsiteY16" fmla="*/ 6572 h 2922588"/>
                  <a:gd name="connsiteX17" fmla="*/ 1418897 w 2257425"/>
                  <a:gd name="connsiteY17" fmla="*/ 36059 h 2922588"/>
                  <a:gd name="connsiteX18" fmla="*/ 2208815 w 2257425"/>
                  <a:gd name="connsiteY18" fmla="*/ 826181 h 2922588"/>
                  <a:gd name="connsiteX19" fmla="*/ 2257425 w 2257425"/>
                  <a:gd name="connsiteY19" fmla="*/ 926465 h 2922588"/>
                  <a:gd name="connsiteX20" fmla="*/ 2254250 w 2257425"/>
                  <a:gd name="connsiteY20" fmla="*/ 942060 h 2922588"/>
                  <a:gd name="connsiteX21" fmla="*/ 2254250 w 2257425"/>
                  <a:gd name="connsiteY21" fmla="*/ 1091106 h 2922588"/>
                  <a:gd name="connsiteX22" fmla="*/ 2254250 w 2257425"/>
                  <a:gd name="connsiteY22" fmla="*/ 2728242 h 2922588"/>
                  <a:gd name="connsiteX23" fmla="*/ 2059768 w 2257425"/>
                  <a:gd name="connsiteY23" fmla="*/ 2922588 h 2922588"/>
                  <a:gd name="connsiteX24" fmla="*/ 1394276 w 2257425"/>
                  <a:gd name="connsiteY24" fmla="*/ 2922588 h 2922588"/>
                  <a:gd name="connsiteX25" fmla="*/ 1333500 w 2257425"/>
                  <a:gd name="connsiteY25" fmla="*/ 2861855 h 2922588"/>
                  <a:gd name="connsiteX26" fmla="*/ 1394276 w 2257425"/>
                  <a:gd name="connsiteY26" fmla="*/ 2801122 h 2922588"/>
                  <a:gd name="connsiteX27" fmla="*/ 2059768 w 2257425"/>
                  <a:gd name="connsiteY27" fmla="*/ 2801122 h 2922588"/>
                  <a:gd name="connsiteX28" fmla="*/ 2132699 w 2257425"/>
                  <a:gd name="connsiteY28" fmla="*/ 2728242 h 2922588"/>
                  <a:gd name="connsiteX29" fmla="*/ 2132699 w 2257425"/>
                  <a:gd name="connsiteY29" fmla="*/ 1078302 h 2922588"/>
                  <a:gd name="connsiteX30" fmla="*/ 2132699 w 2257425"/>
                  <a:gd name="connsiteY30" fmla="*/ 1054100 h 2922588"/>
                  <a:gd name="connsiteX31" fmla="*/ 2129823 w 2257425"/>
                  <a:gd name="connsiteY31" fmla="*/ 1054100 h 2922588"/>
                  <a:gd name="connsiteX32" fmla="*/ 2126785 w 2257425"/>
                  <a:gd name="connsiteY32" fmla="*/ 1054100 h 2922588"/>
                  <a:gd name="connsiteX33" fmla="*/ 1327752 w 2257425"/>
                  <a:gd name="connsiteY33" fmla="*/ 1054100 h 2922588"/>
                  <a:gd name="connsiteX34" fmla="*/ 1200150 w 2257425"/>
                  <a:gd name="connsiteY34" fmla="*/ 926465 h 2922588"/>
                  <a:gd name="connsiteX35" fmla="*/ 1200150 w 2257425"/>
                  <a:gd name="connsiteY35" fmla="*/ 127227 h 2922588"/>
                  <a:gd name="connsiteX36" fmla="*/ 1201811 w 2257425"/>
                  <a:gd name="connsiteY36" fmla="*/ 121709 h 2922588"/>
                  <a:gd name="connsiteX37" fmla="*/ 1127415 w 2257425"/>
                  <a:gd name="connsiteY37" fmla="*/ 121709 h 2922588"/>
                  <a:gd name="connsiteX38" fmla="*/ 194307 w 2257425"/>
                  <a:gd name="connsiteY38" fmla="*/ 121709 h 2922588"/>
                  <a:gd name="connsiteX39" fmla="*/ 121442 w 2257425"/>
                  <a:gd name="connsiteY39" fmla="*/ 161264 h 2922588"/>
                  <a:gd name="connsiteX40" fmla="*/ 121442 w 2257425"/>
                  <a:gd name="connsiteY40" fmla="*/ 194734 h 2922588"/>
                  <a:gd name="connsiteX41" fmla="*/ 60721 w 2257425"/>
                  <a:gd name="connsiteY41" fmla="*/ 255588 h 2922588"/>
                  <a:gd name="connsiteX42" fmla="*/ 0 w 2257425"/>
                  <a:gd name="connsiteY42" fmla="*/ 194734 h 2922588"/>
                  <a:gd name="connsiteX43" fmla="*/ 0 w 2257425"/>
                  <a:gd name="connsiteY43" fmla="*/ 161264 h 2922588"/>
                  <a:gd name="connsiteX44" fmla="*/ 194307 w 2257425"/>
                  <a:gd name="connsiteY44" fmla="*/ 0 h 2922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2257425" h="2922588">
                    <a:moveTo>
                      <a:pt x="1323839" y="122238"/>
                    </a:moveTo>
                    <a:cubicBezTo>
                      <a:pt x="1320800" y="122238"/>
                      <a:pt x="1320800" y="125276"/>
                      <a:pt x="1320800" y="128315"/>
                    </a:cubicBezTo>
                    <a:cubicBezTo>
                      <a:pt x="1320800" y="927375"/>
                      <a:pt x="1320800" y="927375"/>
                      <a:pt x="1320800" y="927375"/>
                    </a:cubicBezTo>
                    <a:cubicBezTo>
                      <a:pt x="1320800" y="930413"/>
                      <a:pt x="1323839" y="933451"/>
                      <a:pt x="1326878" y="933451"/>
                    </a:cubicBezTo>
                    <a:cubicBezTo>
                      <a:pt x="2129111" y="933451"/>
                      <a:pt x="2129111" y="933451"/>
                      <a:pt x="2129111" y="933451"/>
                    </a:cubicBezTo>
                    <a:lnTo>
                      <a:pt x="2132699" y="929864"/>
                    </a:lnTo>
                    <a:lnTo>
                      <a:pt x="2132699" y="927508"/>
                    </a:lnTo>
                    <a:lnTo>
                      <a:pt x="2133142" y="925329"/>
                    </a:lnTo>
                    <a:lnTo>
                      <a:pt x="2132149" y="924336"/>
                    </a:lnTo>
                    <a:cubicBezTo>
                      <a:pt x="2126072" y="921298"/>
                      <a:pt x="2126072" y="921298"/>
                      <a:pt x="2126072" y="921298"/>
                    </a:cubicBezTo>
                    <a:cubicBezTo>
                      <a:pt x="1329917" y="125276"/>
                      <a:pt x="1329917" y="125276"/>
                      <a:pt x="1329917" y="125276"/>
                    </a:cubicBezTo>
                    <a:cubicBezTo>
                      <a:pt x="1329917" y="122238"/>
                      <a:pt x="1326878" y="122238"/>
                      <a:pt x="1326878" y="122238"/>
                    </a:cubicBezTo>
                    <a:cubicBezTo>
                      <a:pt x="1326878" y="122238"/>
                      <a:pt x="1323839" y="122238"/>
                      <a:pt x="1323839" y="122238"/>
                    </a:cubicBezTo>
                    <a:close/>
                    <a:moveTo>
                      <a:pt x="194307" y="0"/>
                    </a:moveTo>
                    <a:cubicBezTo>
                      <a:pt x="1326754" y="0"/>
                      <a:pt x="1326754" y="0"/>
                      <a:pt x="1326754" y="0"/>
                    </a:cubicBezTo>
                    <a:lnTo>
                      <a:pt x="1342448" y="3196"/>
                    </a:lnTo>
                    <a:lnTo>
                      <a:pt x="1371473" y="6572"/>
                    </a:lnTo>
                    <a:cubicBezTo>
                      <a:pt x="1388990" y="12555"/>
                      <a:pt x="1405226" y="22384"/>
                      <a:pt x="1418897" y="36059"/>
                    </a:cubicBezTo>
                    <a:cubicBezTo>
                      <a:pt x="2208815" y="826181"/>
                      <a:pt x="2208815" y="826181"/>
                      <a:pt x="2208815" y="826181"/>
                    </a:cubicBezTo>
                    <a:cubicBezTo>
                      <a:pt x="2239196" y="850492"/>
                      <a:pt x="2257425" y="886959"/>
                      <a:pt x="2257425" y="926465"/>
                    </a:cubicBezTo>
                    <a:lnTo>
                      <a:pt x="2254250" y="942060"/>
                    </a:lnTo>
                    <a:lnTo>
                      <a:pt x="2254250" y="1091106"/>
                    </a:lnTo>
                    <a:cubicBezTo>
                      <a:pt x="2254250" y="2728242"/>
                      <a:pt x="2254250" y="2728242"/>
                      <a:pt x="2254250" y="2728242"/>
                    </a:cubicBezTo>
                    <a:cubicBezTo>
                      <a:pt x="2254250" y="2834525"/>
                      <a:pt x="2169164" y="2922588"/>
                      <a:pt x="2059768" y="2922588"/>
                    </a:cubicBezTo>
                    <a:cubicBezTo>
                      <a:pt x="1394276" y="2922588"/>
                      <a:pt x="1394276" y="2922588"/>
                      <a:pt x="1394276" y="2922588"/>
                    </a:cubicBezTo>
                    <a:cubicBezTo>
                      <a:pt x="1360849" y="2922588"/>
                      <a:pt x="1333500" y="2895258"/>
                      <a:pt x="1333500" y="2861855"/>
                    </a:cubicBezTo>
                    <a:cubicBezTo>
                      <a:pt x="1333500" y="2828452"/>
                      <a:pt x="1360849" y="2801122"/>
                      <a:pt x="1394276" y="2801122"/>
                    </a:cubicBezTo>
                    <a:cubicBezTo>
                      <a:pt x="2059768" y="2801122"/>
                      <a:pt x="2059768" y="2801122"/>
                      <a:pt x="2059768" y="2801122"/>
                    </a:cubicBezTo>
                    <a:cubicBezTo>
                      <a:pt x="2102311" y="2801122"/>
                      <a:pt x="2132699" y="2767719"/>
                      <a:pt x="2132699" y="2728242"/>
                    </a:cubicBezTo>
                    <a:cubicBezTo>
                      <a:pt x="2132699" y="1715329"/>
                      <a:pt x="2132699" y="1272180"/>
                      <a:pt x="2132699" y="1078302"/>
                    </a:cubicBezTo>
                    <a:lnTo>
                      <a:pt x="2132699" y="1054100"/>
                    </a:lnTo>
                    <a:lnTo>
                      <a:pt x="2129823" y="1054100"/>
                    </a:lnTo>
                    <a:cubicBezTo>
                      <a:pt x="2126785" y="1054100"/>
                      <a:pt x="2126785" y="1054100"/>
                      <a:pt x="2126785" y="1054100"/>
                    </a:cubicBezTo>
                    <a:cubicBezTo>
                      <a:pt x="1327752" y="1054100"/>
                      <a:pt x="1327752" y="1054100"/>
                      <a:pt x="1327752" y="1054100"/>
                    </a:cubicBezTo>
                    <a:cubicBezTo>
                      <a:pt x="1257875" y="1054100"/>
                      <a:pt x="1200150" y="996361"/>
                      <a:pt x="1200150" y="926465"/>
                    </a:cubicBezTo>
                    <a:cubicBezTo>
                      <a:pt x="1200150" y="127227"/>
                      <a:pt x="1200150" y="127227"/>
                      <a:pt x="1200150" y="127227"/>
                    </a:cubicBezTo>
                    <a:lnTo>
                      <a:pt x="1201811" y="121709"/>
                    </a:lnTo>
                    <a:lnTo>
                      <a:pt x="1127415" y="121709"/>
                    </a:lnTo>
                    <a:cubicBezTo>
                      <a:pt x="194307" y="121709"/>
                      <a:pt x="194307" y="121709"/>
                      <a:pt x="194307" y="121709"/>
                    </a:cubicBezTo>
                    <a:cubicBezTo>
                      <a:pt x="154839" y="121709"/>
                      <a:pt x="121442" y="139965"/>
                      <a:pt x="121442" y="161264"/>
                    </a:cubicBezTo>
                    <a:cubicBezTo>
                      <a:pt x="121442" y="194734"/>
                      <a:pt x="121442" y="194734"/>
                      <a:pt x="121442" y="194734"/>
                    </a:cubicBezTo>
                    <a:cubicBezTo>
                      <a:pt x="121442" y="228204"/>
                      <a:pt x="94118" y="255588"/>
                      <a:pt x="60721" y="255588"/>
                    </a:cubicBezTo>
                    <a:cubicBezTo>
                      <a:pt x="27325" y="255588"/>
                      <a:pt x="0" y="228204"/>
                      <a:pt x="0" y="194734"/>
                    </a:cubicBezTo>
                    <a:cubicBezTo>
                      <a:pt x="0" y="161264"/>
                      <a:pt x="0" y="161264"/>
                      <a:pt x="0" y="161264"/>
                    </a:cubicBezTo>
                    <a:cubicBezTo>
                      <a:pt x="0" y="69982"/>
                      <a:pt x="81974" y="0"/>
                      <a:pt x="194307"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noAutofit/>
              </a:bodyPr>
              <a:lstStyle/>
              <a:p>
                <a:pPr defTabSz="896203">
                  <a:defRPr/>
                </a:pPr>
                <a:endParaRPr lang="en-US" sz="1764" kern="0">
                  <a:solidFill>
                    <a:sysClr val="windowText" lastClr="000000"/>
                  </a:solidFill>
                </a:endParaRPr>
              </a:p>
            </p:txBody>
          </p:sp>
        </p:grpSp>
        <p:grpSp>
          <p:nvGrpSpPr>
            <p:cNvPr id="394" name="Group 393"/>
            <p:cNvGrpSpPr/>
            <p:nvPr/>
          </p:nvGrpSpPr>
          <p:grpSpPr>
            <a:xfrm>
              <a:off x="7075105" y="4038206"/>
              <a:ext cx="606426" cy="569913"/>
              <a:chOff x="7116768" y="3441704"/>
              <a:chExt cx="606426" cy="569913"/>
            </a:xfrm>
            <a:grpFill/>
          </p:grpSpPr>
          <p:sp>
            <p:nvSpPr>
              <p:cNvPr id="395" name="Freeform 394"/>
              <p:cNvSpPr>
                <a:spLocks/>
              </p:cNvSpPr>
              <p:nvPr/>
            </p:nvSpPr>
            <p:spPr bwMode="auto">
              <a:xfrm>
                <a:off x="7335843" y="3906842"/>
                <a:ext cx="169863" cy="63500"/>
              </a:xfrm>
              <a:custGeom>
                <a:avLst/>
                <a:gdLst>
                  <a:gd name="connsiteX0" fmla="*/ 23813 w 169863"/>
                  <a:gd name="connsiteY0" fmla="*/ 25400 h 63500"/>
                  <a:gd name="connsiteX1" fmla="*/ 23813 w 169863"/>
                  <a:gd name="connsiteY1" fmla="*/ 27922 h 63500"/>
                  <a:gd name="connsiteX2" fmla="*/ 25535 w 169863"/>
                  <a:gd name="connsiteY2" fmla="*/ 39688 h 63500"/>
                  <a:gd name="connsiteX3" fmla="*/ 144330 w 169863"/>
                  <a:gd name="connsiteY3" fmla="*/ 39688 h 63500"/>
                  <a:gd name="connsiteX4" fmla="*/ 146051 w 169863"/>
                  <a:gd name="connsiteY4" fmla="*/ 27922 h 63500"/>
                  <a:gd name="connsiteX5" fmla="*/ 146051 w 169863"/>
                  <a:gd name="connsiteY5" fmla="*/ 25400 h 63500"/>
                  <a:gd name="connsiteX6" fmla="*/ 23813 w 169863"/>
                  <a:gd name="connsiteY6" fmla="*/ 25400 h 63500"/>
                  <a:gd name="connsiteX7" fmla="*/ 12011 w 169863"/>
                  <a:gd name="connsiteY7" fmla="*/ 0 h 63500"/>
                  <a:gd name="connsiteX8" fmla="*/ 157853 w 169863"/>
                  <a:gd name="connsiteY8" fmla="*/ 0 h 63500"/>
                  <a:gd name="connsiteX9" fmla="*/ 169863 w 169863"/>
                  <a:gd name="connsiteY9" fmla="*/ 12178 h 63500"/>
                  <a:gd name="connsiteX10" fmla="*/ 169863 w 169863"/>
                  <a:gd name="connsiteY10" fmla="*/ 26966 h 63500"/>
                  <a:gd name="connsiteX11" fmla="*/ 150990 w 169863"/>
                  <a:gd name="connsiteY11" fmla="*/ 63500 h 63500"/>
                  <a:gd name="connsiteX12" fmla="*/ 18874 w 169863"/>
                  <a:gd name="connsiteY12" fmla="*/ 63500 h 63500"/>
                  <a:gd name="connsiteX13" fmla="*/ 0 w 169863"/>
                  <a:gd name="connsiteY13" fmla="*/ 26966 h 63500"/>
                  <a:gd name="connsiteX14" fmla="*/ 0 w 169863"/>
                  <a:gd name="connsiteY14" fmla="*/ 12178 h 63500"/>
                  <a:gd name="connsiteX15" fmla="*/ 12011 w 169863"/>
                  <a:gd name="connsiteY15" fmla="*/ 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69863" h="63500">
                    <a:moveTo>
                      <a:pt x="23813" y="25400"/>
                    </a:moveTo>
                    <a:cubicBezTo>
                      <a:pt x="23813" y="27922"/>
                      <a:pt x="23813" y="27922"/>
                      <a:pt x="23813" y="27922"/>
                    </a:cubicBezTo>
                    <a:cubicBezTo>
                      <a:pt x="23813" y="32964"/>
                      <a:pt x="24674" y="37167"/>
                      <a:pt x="25535" y="39688"/>
                    </a:cubicBezTo>
                    <a:cubicBezTo>
                      <a:pt x="144330" y="39688"/>
                      <a:pt x="144330" y="39688"/>
                      <a:pt x="144330" y="39688"/>
                    </a:cubicBezTo>
                    <a:cubicBezTo>
                      <a:pt x="145190" y="37167"/>
                      <a:pt x="146051" y="32964"/>
                      <a:pt x="146051" y="27922"/>
                    </a:cubicBezTo>
                    <a:cubicBezTo>
                      <a:pt x="146051" y="25400"/>
                      <a:pt x="146051" y="25400"/>
                      <a:pt x="146051" y="25400"/>
                    </a:cubicBezTo>
                    <a:cubicBezTo>
                      <a:pt x="23813" y="25400"/>
                      <a:pt x="23813" y="25400"/>
                      <a:pt x="23813" y="25400"/>
                    </a:cubicBezTo>
                    <a:close/>
                    <a:moveTo>
                      <a:pt x="12011" y="0"/>
                    </a:moveTo>
                    <a:cubicBezTo>
                      <a:pt x="157853" y="0"/>
                      <a:pt x="157853" y="0"/>
                      <a:pt x="157853" y="0"/>
                    </a:cubicBezTo>
                    <a:cubicBezTo>
                      <a:pt x="163858" y="0"/>
                      <a:pt x="169863" y="5219"/>
                      <a:pt x="169863" y="12178"/>
                    </a:cubicBezTo>
                    <a:cubicBezTo>
                      <a:pt x="169863" y="26966"/>
                      <a:pt x="169863" y="26966"/>
                      <a:pt x="169863" y="26966"/>
                    </a:cubicBezTo>
                    <a:cubicBezTo>
                      <a:pt x="169863" y="40884"/>
                      <a:pt x="167290" y="63500"/>
                      <a:pt x="150990" y="63500"/>
                    </a:cubicBezTo>
                    <a:cubicBezTo>
                      <a:pt x="18874" y="63500"/>
                      <a:pt x="18874" y="63500"/>
                      <a:pt x="18874" y="63500"/>
                    </a:cubicBezTo>
                    <a:cubicBezTo>
                      <a:pt x="2574" y="63500"/>
                      <a:pt x="0" y="40884"/>
                      <a:pt x="0" y="26966"/>
                    </a:cubicBezTo>
                    <a:cubicBezTo>
                      <a:pt x="0" y="12178"/>
                      <a:pt x="0" y="12178"/>
                      <a:pt x="0" y="12178"/>
                    </a:cubicBezTo>
                    <a:cubicBezTo>
                      <a:pt x="0" y="5219"/>
                      <a:pt x="6006" y="0"/>
                      <a:pt x="12011"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noAutofit/>
              </a:bodyPr>
              <a:lstStyle/>
              <a:p>
                <a:pPr defTabSz="896203">
                  <a:defRPr/>
                </a:pPr>
                <a:endParaRPr lang="en-US" sz="1764" kern="0">
                  <a:solidFill>
                    <a:sysClr val="windowText" lastClr="000000"/>
                  </a:solidFill>
                </a:endParaRPr>
              </a:p>
            </p:txBody>
          </p:sp>
          <p:sp>
            <p:nvSpPr>
              <p:cNvPr id="396" name="Freeform 395"/>
              <p:cNvSpPr>
                <a:spLocks/>
              </p:cNvSpPr>
              <p:nvPr/>
            </p:nvSpPr>
            <p:spPr bwMode="auto">
              <a:xfrm>
                <a:off x="7116768" y="3441704"/>
                <a:ext cx="606426" cy="569913"/>
              </a:xfrm>
              <a:custGeom>
                <a:avLst/>
                <a:gdLst>
                  <a:gd name="connsiteX0" fmla="*/ 65358 w 606426"/>
                  <a:gd name="connsiteY0" fmla="*/ 371618 h 569913"/>
                  <a:gd name="connsiteX1" fmla="*/ 52475 w 606426"/>
                  <a:gd name="connsiteY1" fmla="*/ 409255 h 569913"/>
                  <a:gd name="connsiteX2" fmla="*/ 25400 w 606426"/>
                  <a:gd name="connsiteY2" fmla="*/ 488356 h 569913"/>
                  <a:gd name="connsiteX3" fmla="*/ 25400 w 606426"/>
                  <a:gd name="connsiteY3" fmla="*/ 489218 h 569913"/>
                  <a:gd name="connsiteX4" fmla="*/ 26260 w 606426"/>
                  <a:gd name="connsiteY4" fmla="*/ 490080 h 569913"/>
                  <a:gd name="connsiteX5" fmla="*/ 26260 w 606426"/>
                  <a:gd name="connsiteY5" fmla="*/ 491804 h 569913"/>
                  <a:gd name="connsiteX6" fmla="*/ 25400 w 606426"/>
                  <a:gd name="connsiteY6" fmla="*/ 496113 h 569913"/>
                  <a:gd name="connsiteX7" fmla="*/ 25400 w 606426"/>
                  <a:gd name="connsiteY7" fmla="*/ 512489 h 569913"/>
                  <a:gd name="connsiteX8" fmla="*/ 58936 w 606426"/>
                  <a:gd name="connsiteY8" fmla="*/ 546101 h 569913"/>
                  <a:gd name="connsiteX9" fmla="*/ 549077 w 606426"/>
                  <a:gd name="connsiteY9" fmla="*/ 546101 h 569913"/>
                  <a:gd name="connsiteX10" fmla="*/ 582613 w 606426"/>
                  <a:gd name="connsiteY10" fmla="*/ 512489 h 569913"/>
                  <a:gd name="connsiteX11" fmla="*/ 582613 w 606426"/>
                  <a:gd name="connsiteY11" fmla="*/ 496113 h 569913"/>
                  <a:gd name="connsiteX12" fmla="*/ 580034 w 606426"/>
                  <a:gd name="connsiteY12" fmla="*/ 494389 h 569913"/>
                  <a:gd name="connsiteX13" fmla="*/ 580034 w 606426"/>
                  <a:gd name="connsiteY13" fmla="*/ 489218 h 569913"/>
                  <a:gd name="connsiteX14" fmla="*/ 580034 w 606426"/>
                  <a:gd name="connsiteY14" fmla="*/ 488356 h 569913"/>
                  <a:gd name="connsiteX15" fmla="*/ 541661 w 606426"/>
                  <a:gd name="connsiteY15" fmla="*/ 379762 h 569913"/>
                  <a:gd name="connsiteX16" fmla="*/ 539187 w 606426"/>
                  <a:gd name="connsiteY16" fmla="*/ 372761 h 569913"/>
                  <a:gd name="connsiteX17" fmla="*/ 534517 w 606426"/>
                  <a:gd name="connsiteY17" fmla="*/ 374651 h 569913"/>
                  <a:gd name="connsiteX18" fmla="*/ 72638 w 606426"/>
                  <a:gd name="connsiteY18" fmla="*/ 374651 h 569913"/>
                  <a:gd name="connsiteX19" fmla="*/ 94192 w 606426"/>
                  <a:gd name="connsiteY19" fmla="*/ 23813 h 569913"/>
                  <a:gd name="connsiteX20" fmla="*/ 60656 w 606426"/>
                  <a:gd name="connsiteY20" fmla="*/ 57426 h 569913"/>
                  <a:gd name="connsiteX21" fmla="*/ 60656 w 606426"/>
                  <a:gd name="connsiteY21" fmla="*/ 334850 h 569913"/>
                  <a:gd name="connsiteX22" fmla="*/ 60656 w 606426"/>
                  <a:gd name="connsiteY22" fmla="*/ 338299 h 569913"/>
                  <a:gd name="connsiteX23" fmla="*/ 64037 w 606426"/>
                  <a:gd name="connsiteY23" fmla="*/ 347372 h 569913"/>
                  <a:gd name="connsiteX24" fmla="*/ 72638 w 606426"/>
                  <a:gd name="connsiteY24" fmla="*/ 350875 h 569913"/>
                  <a:gd name="connsiteX25" fmla="*/ 534517 w 606426"/>
                  <a:gd name="connsiteY25" fmla="*/ 350875 h 569913"/>
                  <a:gd name="connsiteX26" fmla="*/ 543870 w 606426"/>
                  <a:gd name="connsiteY26" fmla="*/ 347372 h 569913"/>
                  <a:gd name="connsiteX27" fmla="*/ 547357 w 606426"/>
                  <a:gd name="connsiteY27" fmla="*/ 338297 h 569913"/>
                  <a:gd name="connsiteX28" fmla="*/ 547357 w 606426"/>
                  <a:gd name="connsiteY28" fmla="*/ 246229 h 569913"/>
                  <a:gd name="connsiteX29" fmla="*/ 547357 w 606426"/>
                  <a:gd name="connsiteY29" fmla="*/ 57426 h 569913"/>
                  <a:gd name="connsiteX30" fmla="*/ 513822 w 606426"/>
                  <a:gd name="connsiteY30" fmla="*/ 23813 h 569913"/>
                  <a:gd name="connsiteX31" fmla="*/ 94192 w 606426"/>
                  <a:gd name="connsiteY31" fmla="*/ 23813 h 569913"/>
                  <a:gd name="connsiteX32" fmla="*/ 93032 w 606426"/>
                  <a:gd name="connsiteY32" fmla="*/ 0 h 569913"/>
                  <a:gd name="connsiteX33" fmla="*/ 513395 w 606426"/>
                  <a:gd name="connsiteY33" fmla="*/ 0 h 569913"/>
                  <a:gd name="connsiteX34" fmla="*/ 571109 w 606426"/>
                  <a:gd name="connsiteY34" fmla="*/ 57680 h 569913"/>
                  <a:gd name="connsiteX35" fmla="*/ 571109 w 606426"/>
                  <a:gd name="connsiteY35" fmla="*/ 334794 h 569913"/>
                  <a:gd name="connsiteX36" fmla="*/ 571109 w 606426"/>
                  <a:gd name="connsiteY36" fmla="*/ 338138 h 569913"/>
                  <a:gd name="connsiteX37" fmla="*/ 571501 w 606426"/>
                  <a:gd name="connsiteY37" fmla="*/ 338138 h 569913"/>
                  <a:gd name="connsiteX38" fmla="*/ 571109 w 606426"/>
                  <a:gd name="connsiteY38" fmla="*/ 339082 h 569913"/>
                  <a:gd name="connsiteX39" fmla="*/ 571109 w 606426"/>
                  <a:gd name="connsiteY39" fmla="*/ 339193 h 569913"/>
                  <a:gd name="connsiteX40" fmla="*/ 562495 w 606426"/>
                  <a:gd name="connsiteY40" fmla="*/ 368464 h 569913"/>
                  <a:gd name="connsiteX41" fmla="*/ 602981 w 606426"/>
                  <a:gd name="connsiteY41" fmla="*/ 480380 h 569913"/>
                  <a:gd name="connsiteX42" fmla="*/ 603842 w 606426"/>
                  <a:gd name="connsiteY42" fmla="*/ 484684 h 569913"/>
                  <a:gd name="connsiteX43" fmla="*/ 606426 w 606426"/>
                  <a:gd name="connsiteY43" fmla="*/ 495015 h 569913"/>
                  <a:gd name="connsiteX44" fmla="*/ 606426 w 606426"/>
                  <a:gd name="connsiteY44" fmla="*/ 512233 h 569913"/>
                  <a:gd name="connsiteX45" fmla="*/ 548712 w 606426"/>
                  <a:gd name="connsiteY45" fmla="*/ 569913 h 569913"/>
                  <a:gd name="connsiteX46" fmla="*/ 57714 w 606426"/>
                  <a:gd name="connsiteY46" fmla="*/ 569913 h 569913"/>
                  <a:gd name="connsiteX47" fmla="*/ 0 w 606426"/>
                  <a:gd name="connsiteY47" fmla="*/ 512233 h 569913"/>
                  <a:gd name="connsiteX48" fmla="*/ 0 w 606426"/>
                  <a:gd name="connsiteY48" fmla="*/ 495015 h 569913"/>
                  <a:gd name="connsiteX49" fmla="*/ 0 w 606426"/>
                  <a:gd name="connsiteY49" fmla="*/ 491572 h 569913"/>
                  <a:gd name="connsiteX50" fmla="*/ 862 w 606426"/>
                  <a:gd name="connsiteY50" fmla="*/ 482102 h 569913"/>
                  <a:gd name="connsiteX51" fmla="*/ 862 w 606426"/>
                  <a:gd name="connsiteY51" fmla="*/ 481241 h 569913"/>
                  <a:gd name="connsiteX52" fmla="*/ 41347 w 606426"/>
                  <a:gd name="connsiteY52" fmla="*/ 364159 h 569913"/>
                  <a:gd name="connsiteX53" fmla="*/ 35318 w 606426"/>
                  <a:gd name="connsiteY53" fmla="*/ 339193 h 569913"/>
                  <a:gd name="connsiteX54" fmla="*/ 35318 w 606426"/>
                  <a:gd name="connsiteY54" fmla="*/ 57680 h 569913"/>
                  <a:gd name="connsiteX55" fmla="*/ 93032 w 606426"/>
                  <a:gd name="connsiteY55" fmla="*/ 0 h 569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606426" h="569913">
                    <a:moveTo>
                      <a:pt x="65358" y="371618"/>
                    </a:moveTo>
                    <a:lnTo>
                      <a:pt x="52475" y="409255"/>
                    </a:lnTo>
                    <a:cubicBezTo>
                      <a:pt x="25400" y="488356"/>
                      <a:pt x="25400" y="488356"/>
                      <a:pt x="25400" y="488356"/>
                    </a:cubicBezTo>
                    <a:cubicBezTo>
                      <a:pt x="25400" y="488356"/>
                      <a:pt x="25400" y="488356"/>
                      <a:pt x="25400" y="489218"/>
                    </a:cubicBezTo>
                    <a:cubicBezTo>
                      <a:pt x="26260" y="490080"/>
                      <a:pt x="26260" y="490080"/>
                      <a:pt x="26260" y="490080"/>
                    </a:cubicBezTo>
                    <a:cubicBezTo>
                      <a:pt x="26260" y="491804"/>
                      <a:pt x="26260" y="491804"/>
                      <a:pt x="26260" y="491804"/>
                    </a:cubicBezTo>
                    <a:cubicBezTo>
                      <a:pt x="26260" y="493528"/>
                      <a:pt x="25400" y="495251"/>
                      <a:pt x="25400" y="496113"/>
                    </a:cubicBezTo>
                    <a:cubicBezTo>
                      <a:pt x="25400" y="512489"/>
                      <a:pt x="25400" y="512489"/>
                      <a:pt x="25400" y="512489"/>
                    </a:cubicBezTo>
                    <a:cubicBezTo>
                      <a:pt x="25400" y="530588"/>
                      <a:pt x="40878" y="546101"/>
                      <a:pt x="58936" y="546101"/>
                    </a:cubicBezTo>
                    <a:cubicBezTo>
                      <a:pt x="549077" y="546101"/>
                      <a:pt x="549077" y="546101"/>
                      <a:pt x="549077" y="546101"/>
                    </a:cubicBezTo>
                    <a:cubicBezTo>
                      <a:pt x="567135" y="546101"/>
                      <a:pt x="582613" y="530588"/>
                      <a:pt x="582613" y="512489"/>
                    </a:cubicBezTo>
                    <a:cubicBezTo>
                      <a:pt x="582613" y="496113"/>
                      <a:pt x="582613" y="496113"/>
                      <a:pt x="582613" y="496113"/>
                    </a:cubicBezTo>
                    <a:cubicBezTo>
                      <a:pt x="580034" y="494389"/>
                      <a:pt x="580034" y="494389"/>
                      <a:pt x="580034" y="494389"/>
                    </a:cubicBezTo>
                    <a:cubicBezTo>
                      <a:pt x="580034" y="489218"/>
                      <a:pt x="580034" y="489218"/>
                      <a:pt x="580034" y="489218"/>
                    </a:cubicBezTo>
                    <a:cubicBezTo>
                      <a:pt x="580034" y="489218"/>
                      <a:pt x="580034" y="488356"/>
                      <a:pt x="580034" y="488356"/>
                    </a:cubicBezTo>
                    <a:cubicBezTo>
                      <a:pt x="558107" y="426302"/>
                      <a:pt x="547143" y="395275"/>
                      <a:pt x="541661" y="379762"/>
                    </a:cubicBezTo>
                    <a:lnTo>
                      <a:pt x="539187" y="372761"/>
                    </a:lnTo>
                    <a:lnTo>
                      <a:pt x="534517" y="374651"/>
                    </a:lnTo>
                    <a:cubicBezTo>
                      <a:pt x="72638" y="374651"/>
                      <a:pt x="72638" y="374651"/>
                      <a:pt x="72638" y="374651"/>
                    </a:cubicBezTo>
                    <a:close/>
                    <a:moveTo>
                      <a:pt x="94192" y="23813"/>
                    </a:moveTo>
                    <a:cubicBezTo>
                      <a:pt x="75274" y="23813"/>
                      <a:pt x="60656" y="39327"/>
                      <a:pt x="60656" y="57426"/>
                    </a:cubicBezTo>
                    <a:cubicBezTo>
                      <a:pt x="60656" y="268797"/>
                      <a:pt x="60656" y="321640"/>
                      <a:pt x="60656" y="334850"/>
                    </a:cubicBezTo>
                    <a:lnTo>
                      <a:pt x="60656" y="338299"/>
                    </a:lnTo>
                    <a:lnTo>
                      <a:pt x="64037" y="347372"/>
                    </a:lnTo>
                    <a:cubicBezTo>
                      <a:pt x="66187" y="349601"/>
                      <a:pt x="69197" y="350875"/>
                      <a:pt x="72638" y="350875"/>
                    </a:cubicBezTo>
                    <a:cubicBezTo>
                      <a:pt x="534517" y="350875"/>
                      <a:pt x="534517" y="350875"/>
                      <a:pt x="534517" y="350875"/>
                    </a:cubicBezTo>
                    <a:cubicBezTo>
                      <a:pt x="538387" y="350875"/>
                      <a:pt x="541613" y="349601"/>
                      <a:pt x="543870" y="347372"/>
                    </a:cubicBezTo>
                    <a:lnTo>
                      <a:pt x="547357" y="338297"/>
                    </a:lnTo>
                    <a:lnTo>
                      <a:pt x="547357" y="246229"/>
                    </a:lnTo>
                    <a:cubicBezTo>
                      <a:pt x="547357" y="57426"/>
                      <a:pt x="547357" y="57426"/>
                      <a:pt x="547357" y="57426"/>
                    </a:cubicBezTo>
                    <a:cubicBezTo>
                      <a:pt x="547357" y="39327"/>
                      <a:pt x="532739" y="23813"/>
                      <a:pt x="513822" y="23813"/>
                    </a:cubicBezTo>
                    <a:cubicBezTo>
                      <a:pt x="94192" y="23813"/>
                      <a:pt x="94192" y="23813"/>
                      <a:pt x="94192" y="23813"/>
                    </a:cubicBezTo>
                    <a:close/>
                    <a:moveTo>
                      <a:pt x="93032" y="0"/>
                    </a:moveTo>
                    <a:cubicBezTo>
                      <a:pt x="513395" y="0"/>
                      <a:pt x="513395" y="0"/>
                      <a:pt x="513395" y="0"/>
                    </a:cubicBezTo>
                    <a:cubicBezTo>
                      <a:pt x="545267" y="0"/>
                      <a:pt x="571109" y="25827"/>
                      <a:pt x="571109" y="57680"/>
                    </a:cubicBezTo>
                    <a:cubicBezTo>
                      <a:pt x="571109" y="268815"/>
                      <a:pt x="571109" y="321598"/>
                      <a:pt x="571109" y="334794"/>
                    </a:cubicBezTo>
                    <a:lnTo>
                      <a:pt x="571109" y="338138"/>
                    </a:lnTo>
                    <a:lnTo>
                      <a:pt x="571501" y="338138"/>
                    </a:lnTo>
                    <a:lnTo>
                      <a:pt x="571109" y="339082"/>
                    </a:lnTo>
                    <a:lnTo>
                      <a:pt x="571109" y="339193"/>
                    </a:lnTo>
                    <a:cubicBezTo>
                      <a:pt x="571109" y="349524"/>
                      <a:pt x="568525" y="359855"/>
                      <a:pt x="562495" y="368464"/>
                    </a:cubicBezTo>
                    <a:cubicBezTo>
                      <a:pt x="602981" y="480380"/>
                      <a:pt x="602981" y="480380"/>
                      <a:pt x="602981" y="480380"/>
                    </a:cubicBezTo>
                    <a:cubicBezTo>
                      <a:pt x="603842" y="482102"/>
                      <a:pt x="603842" y="483824"/>
                      <a:pt x="603842" y="484684"/>
                    </a:cubicBezTo>
                    <a:cubicBezTo>
                      <a:pt x="605565" y="488128"/>
                      <a:pt x="606426" y="491572"/>
                      <a:pt x="606426" y="495015"/>
                    </a:cubicBezTo>
                    <a:cubicBezTo>
                      <a:pt x="606426" y="512233"/>
                      <a:pt x="606426" y="512233"/>
                      <a:pt x="606426" y="512233"/>
                    </a:cubicBezTo>
                    <a:cubicBezTo>
                      <a:pt x="606426" y="544086"/>
                      <a:pt x="580584" y="569913"/>
                      <a:pt x="548712" y="569913"/>
                    </a:cubicBezTo>
                    <a:cubicBezTo>
                      <a:pt x="57714" y="569913"/>
                      <a:pt x="57714" y="569913"/>
                      <a:pt x="57714" y="569913"/>
                    </a:cubicBezTo>
                    <a:cubicBezTo>
                      <a:pt x="25842" y="569913"/>
                      <a:pt x="0" y="544086"/>
                      <a:pt x="0" y="512233"/>
                    </a:cubicBezTo>
                    <a:cubicBezTo>
                      <a:pt x="0" y="495015"/>
                      <a:pt x="0" y="495015"/>
                      <a:pt x="0" y="495015"/>
                    </a:cubicBezTo>
                    <a:cubicBezTo>
                      <a:pt x="0" y="493293"/>
                      <a:pt x="0" y="492433"/>
                      <a:pt x="0" y="491572"/>
                    </a:cubicBezTo>
                    <a:cubicBezTo>
                      <a:pt x="0" y="488128"/>
                      <a:pt x="0" y="484684"/>
                      <a:pt x="862" y="482102"/>
                    </a:cubicBezTo>
                    <a:cubicBezTo>
                      <a:pt x="862" y="481241"/>
                      <a:pt x="862" y="481241"/>
                      <a:pt x="862" y="481241"/>
                    </a:cubicBezTo>
                    <a:cubicBezTo>
                      <a:pt x="41347" y="364159"/>
                      <a:pt x="41347" y="364159"/>
                      <a:pt x="41347" y="364159"/>
                    </a:cubicBezTo>
                    <a:cubicBezTo>
                      <a:pt x="37040" y="356411"/>
                      <a:pt x="35318" y="346941"/>
                      <a:pt x="35318" y="339193"/>
                    </a:cubicBezTo>
                    <a:cubicBezTo>
                      <a:pt x="35318" y="57680"/>
                      <a:pt x="35318" y="57680"/>
                      <a:pt x="35318" y="57680"/>
                    </a:cubicBezTo>
                    <a:cubicBezTo>
                      <a:pt x="35318" y="25827"/>
                      <a:pt x="61160" y="0"/>
                      <a:pt x="93032"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noAutofit/>
              </a:bodyPr>
              <a:lstStyle/>
              <a:p>
                <a:pPr defTabSz="896203">
                  <a:defRPr/>
                </a:pPr>
                <a:endParaRPr lang="en-US" sz="1764" kern="0">
                  <a:solidFill>
                    <a:sysClr val="windowText" lastClr="000000"/>
                  </a:solidFill>
                </a:endParaRPr>
              </a:p>
            </p:txBody>
          </p:sp>
        </p:grpSp>
        <p:sp>
          <p:nvSpPr>
            <p:cNvPr id="397" name="TextBox 396"/>
            <p:cNvSpPr txBox="1"/>
            <p:nvPr/>
          </p:nvSpPr>
          <p:spPr>
            <a:xfrm>
              <a:off x="2402371" y="3237774"/>
              <a:ext cx="5760720" cy="440118"/>
            </a:xfrm>
            <a:prstGeom prst="rect">
              <a:avLst/>
            </a:prstGeom>
            <a:noFill/>
            <a:ln w="19050">
              <a:solidFill>
                <a:schemeClr val="accent1"/>
              </a:solidFill>
            </a:ln>
          </p:spPr>
          <p:txBody>
            <a:bodyPr wrap="none" lIns="0" tIns="0" rIns="0" bIns="0" rtlCol="0" anchor="ctr">
              <a:noAutofit/>
            </a:bodyPr>
            <a:lstStyle/>
            <a:p>
              <a:pPr algn="ctr" defTabSz="896203">
                <a:spcAft>
                  <a:spcPts val="588"/>
                </a:spcAft>
                <a:defRPr/>
              </a:pPr>
              <a:r>
                <a:rPr lang="en-US" sz="1176" kern="0" dirty="0">
                  <a:solidFill>
                    <a:srgbClr val="0078D7"/>
                  </a:solidFill>
                </a:rPr>
                <a:t>DATA SOURCES</a:t>
              </a:r>
            </a:p>
          </p:txBody>
        </p:sp>
        <p:sp>
          <p:nvSpPr>
            <p:cNvPr id="398" name="Freeform 397"/>
            <p:cNvSpPr>
              <a:spLocks/>
            </p:cNvSpPr>
            <p:nvPr/>
          </p:nvSpPr>
          <p:spPr bwMode="auto">
            <a:xfrm>
              <a:off x="4912167" y="4187429"/>
              <a:ext cx="382073" cy="342630"/>
            </a:xfrm>
            <a:custGeom>
              <a:avLst/>
              <a:gdLst>
                <a:gd name="connsiteX0" fmla="*/ 3516568 w 3629025"/>
                <a:gd name="connsiteY0" fmla="*/ 3138886 h 3254390"/>
                <a:gd name="connsiteX1" fmla="*/ 3513902 w 3629025"/>
                <a:gd name="connsiteY1" fmla="*/ 3141552 h 3254390"/>
                <a:gd name="connsiteX2" fmla="*/ 3516568 w 3629025"/>
                <a:gd name="connsiteY2" fmla="*/ 3141552 h 3254390"/>
                <a:gd name="connsiteX3" fmla="*/ 3516568 w 3629025"/>
                <a:gd name="connsiteY3" fmla="*/ 3140691 h 3254390"/>
                <a:gd name="connsiteX4" fmla="*/ 3516568 w 3629025"/>
                <a:gd name="connsiteY4" fmla="*/ 3138886 h 3254390"/>
                <a:gd name="connsiteX5" fmla="*/ 1814513 w 3629025"/>
                <a:gd name="connsiteY5" fmla="*/ 2087188 h 3254390"/>
                <a:gd name="connsiteX6" fmla="*/ 610916 w 3629025"/>
                <a:gd name="connsiteY6" fmla="*/ 2397227 h 3254390"/>
                <a:gd name="connsiteX7" fmla="*/ 145036 w 3629025"/>
                <a:gd name="connsiteY7" fmla="*/ 2934094 h 3254390"/>
                <a:gd name="connsiteX8" fmla="*/ 112994 w 3629025"/>
                <a:gd name="connsiteY8" fmla="*/ 3138502 h 3254390"/>
                <a:gd name="connsiteX9" fmla="*/ 711667 w 3629025"/>
                <a:gd name="connsiteY9" fmla="*/ 3138502 h 3254390"/>
                <a:gd name="connsiteX10" fmla="*/ 3509920 w 3629025"/>
                <a:gd name="connsiteY10" fmla="*/ 3138502 h 3254390"/>
                <a:gd name="connsiteX11" fmla="*/ 3512992 w 3629025"/>
                <a:gd name="connsiteY11" fmla="*/ 3138502 h 3254390"/>
                <a:gd name="connsiteX12" fmla="*/ 3480950 w 3629025"/>
                <a:gd name="connsiteY12" fmla="*/ 2934094 h 3254390"/>
                <a:gd name="connsiteX13" fmla="*/ 3015069 w 3629025"/>
                <a:gd name="connsiteY13" fmla="*/ 2397227 h 3254390"/>
                <a:gd name="connsiteX14" fmla="*/ 1814513 w 3629025"/>
                <a:gd name="connsiteY14" fmla="*/ 2087188 h 3254390"/>
                <a:gd name="connsiteX15" fmla="*/ 1814513 w 3629025"/>
                <a:gd name="connsiteY15" fmla="*/ 1971684 h 3254390"/>
                <a:gd name="connsiteX16" fmla="*/ 3075857 w 3629025"/>
                <a:gd name="connsiteY16" fmla="*/ 2296920 h 3254390"/>
                <a:gd name="connsiteX17" fmla="*/ 3592600 w 3629025"/>
                <a:gd name="connsiteY17" fmla="*/ 2905170 h 3254390"/>
                <a:gd name="connsiteX18" fmla="*/ 3628968 w 3629025"/>
                <a:gd name="connsiteY18" fmla="*/ 3141552 h 3254390"/>
                <a:gd name="connsiteX19" fmla="*/ 3629025 w 3629025"/>
                <a:gd name="connsiteY19" fmla="*/ 3141552 h 3254390"/>
                <a:gd name="connsiteX20" fmla="*/ 3628992 w 3629025"/>
                <a:gd name="connsiteY20" fmla="*/ 3141711 h 3254390"/>
                <a:gd name="connsiteX21" fmla="*/ 3629025 w 3629025"/>
                <a:gd name="connsiteY21" fmla="*/ 3141925 h 3254390"/>
                <a:gd name="connsiteX22" fmla="*/ 3516568 w 3629025"/>
                <a:gd name="connsiteY22" fmla="*/ 3254390 h 3254390"/>
                <a:gd name="connsiteX23" fmla="*/ 112457 w 3629025"/>
                <a:gd name="connsiteY23" fmla="*/ 3254390 h 3254390"/>
                <a:gd name="connsiteX24" fmla="*/ 8596 w 3629025"/>
                <a:gd name="connsiteY24" fmla="*/ 3184915 h 3254390"/>
                <a:gd name="connsiteX25" fmla="*/ 74 w 3629025"/>
                <a:gd name="connsiteY25" fmla="*/ 3141925 h 3254390"/>
                <a:gd name="connsiteX26" fmla="*/ 0 w 3629025"/>
                <a:gd name="connsiteY26" fmla="*/ 3141925 h 3254390"/>
                <a:gd name="connsiteX27" fmla="*/ 32 w 3629025"/>
                <a:gd name="connsiteY27" fmla="*/ 3141714 h 3254390"/>
                <a:gd name="connsiteX28" fmla="*/ 0 w 3629025"/>
                <a:gd name="connsiteY28" fmla="*/ 3141552 h 3254390"/>
                <a:gd name="connsiteX29" fmla="*/ 57 w 3629025"/>
                <a:gd name="connsiteY29" fmla="*/ 3141552 h 3254390"/>
                <a:gd name="connsiteX30" fmla="*/ 35950 w 3629025"/>
                <a:gd name="connsiteY30" fmla="*/ 2905170 h 3254390"/>
                <a:gd name="connsiteX31" fmla="*/ 550129 w 3629025"/>
                <a:gd name="connsiteY31" fmla="*/ 2296920 h 3254390"/>
                <a:gd name="connsiteX32" fmla="*/ 1814513 w 3629025"/>
                <a:gd name="connsiteY32" fmla="*/ 1971684 h 3254390"/>
                <a:gd name="connsiteX33" fmla="*/ 1746250 w 3629025"/>
                <a:gd name="connsiteY33" fmla="*/ 115888 h 3254390"/>
                <a:gd name="connsiteX34" fmla="*/ 973137 w 3629025"/>
                <a:gd name="connsiteY34" fmla="*/ 887417 h 3254390"/>
                <a:gd name="connsiteX35" fmla="*/ 1746250 w 3629025"/>
                <a:gd name="connsiteY35" fmla="*/ 1658946 h 3254390"/>
                <a:gd name="connsiteX36" fmla="*/ 2519363 w 3629025"/>
                <a:gd name="connsiteY36" fmla="*/ 887417 h 3254390"/>
                <a:gd name="connsiteX37" fmla="*/ 1746250 w 3629025"/>
                <a:gd name="connsiteY37" fmla="*/ 115888 h 3254390"/>
                <a:gd name="connsiteX38" fmla="*/ 1747837 w 3629025"/>
                <a:gd name="connsiteY38" fmla="*/ 0 h 3254390"/>
                <a:gd name="connsiteX39" fmla="*/ 2635250 w 3629025"/>
                <a:gd name="connsiteY39" fmla="*/ 887417 h 3254390"/>
                <a:gd name="connsiteX40" fmla="*/ 1747837 w 3629025"/>
                <a:gd name="connsiteY40" fmla="*/ 1774834 h 3254390"/>
                <a:gd name="connsiteX41" fmla="*/ 860424 w 3629025"/>
                <a:gd name="connsiteY41" fmla="*/ 887417 h 3254390"/>
                <a:gd name="connsiteX42" fmla="*/ 1747837 w 3629025"/>
                <a:gd name="connsiteY42" fmla="*/ 0 h 3254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3629025" h="3254390">
                  <a:moveTo>
                    <a:pt x="3516568" y="3138886"/>
                  </a:moveTo>
                  <a:lnTo>
                    <a:pt x="3513902" y="3141552"/>
                  </a:lnTo>
                  <a:lnTo>
                    <a:pt x="3516568" y="3141552"/>
                  </a:lnTo>
                  <a:lnTo>
                    <a:pt x="3516568" y="3140691"/>
                  </a:lnTo>
                  <a:cubicBezTo>
                    <a:pt x="3516568" y="3138886"/>
                    <a:pt x="3516568" y="3138886"/>
                    <a:pt x="3516568" y="3138886"/>
                  </a:cubicBezTo>
                  <a:close/>
                  <a:moveTo>
                    <a:pt x="1814513" y="2087188"/>
                  </a:moveTo>
                  <a:cubicBezTo>
                    <a:pt x="1358605" y="2087188"/>
                    <a:pt x="933091" y="2196614"/>
                    <a:pt x="610916" y="2397227"/>
                  </a:cubicBezTo>
                  <a:cubicBezTo>
                    <a:pt x="369285" y="2545407"/>
                    <a:pt x="209718" y="2731201"/>
                    <a:pt x="145036" y="2934094"/>
                  </a:cubicBezTo>
                  <a:lnTo>
                    <a:pt x="112994" y="3138502"/>
                  </a:lnTo>
                  <a:lnTo>
                    <a:pt x="711667" y="3138502"/>
                  </a:lnTo>
                  <a:cubicBezTo>
                    <a:pt x="3142581" y="3138502"/>
                    <a:pt x="3466703" y="3138502"/>
                    <a:pt x="3509920" y="3138502"/>
                  </a:cubicBezTo>
                  <a:lnTo>
                    <a:pt x="3512992" y="3138502"/>
                  </a:lnTo>
                  <a:lnTo>
                    <a:pt x="3480950" y="2934094"/>
                  </a:lnTo>
                  <a:cubicBezTo>
                    <a:pt x="3416268" y="2731201"/>
                    <a:pt x="3256701" y="2545407"/>
                    <a:pt x="3015069" y="2397227"/>
                  </a:cubicBezTo>
                  <a:cubicBezTo>
                    <a:pt x="2695934" y="2196614"/>
                    <a:pt x="2267381" y="2087188"/>
                    <a:pt x="1814513" y="2087188"/>
                  </a:cubicBezTo>
                  <a:close/>
                  <a:moveTo>
                    <a:pt x="1814513" y="1971684"/>
                  </a:moveTo>
                  <a:cubicBezTo>
                    <a:pt x="2288657" y="1971684"/>
                    <a:pt x="2738485" y="2087188"/>
                    <a:pt x="3075857" y="2296920"/>
                  </a:cubicBezTo>
                  <a:cubicBezTo>
                    <a:pt x="3342563" y="2463338"/>
                    <a:pt x="3520367" y="2674209"/>
                    <a:pt x="3592600" y="2905170"/>
                  </a:cubicBezTo>
                  <a:lnTo>
                    <a:pt x="3628968" y="3141552"/>
                  </a:lnTo>
                  <a:lnTo>
                    <a:pt x="3629025" y="3141552"/>
                  </a:lnTo>
                  <a:lnTo>
                    <a:pt x="3628992" y="3141711"/>
                  </a:lnTo>
                  <a:lnTo>
                    <a:pt x="3629025" y="3141925"/>
                  </a:lnTo>
                  <a:cubicBezTo>
                    <a:pt x="3629025" y="3202717"/>
                    <a:pt x="3577356" y="3254390"/>
                    <a:pt x="3516568" y="3254390"/>
                  </a:cubicBezTo>
                  <a:cubicBezTo>
                    <a:pt x="112457" y="3254390"/>
                    <a:pt x="112457" y="3254390"/>
                    <a:pt x="112457" y="3254390"/>
                  </a:cubicBezTo>
                  <a:cubicBezTo>
                    <a:pt x="64587" y="3254390"/>
                    <a:pt x="25265" y="3225228"/>
                    <a:pt x="8596" y="3184915"/>
                  </a:cubicBezTo>
                  <a:lnTo>
                    <a:pt x="74" y="3141925"/>
                  </a:lnTo>
                  <a:lnTo>
                    <a:pt x="0" y="3141925"/>
                  </a:lnTo>
                  <a:lnTo>
                    <a:pt x="32" y="3141714"/>
                  </a:lnTo>
                  <a:lnTo>
                    <a:pt x="0" y="3141552"/>
                  </a:lnTo>
                  <a:lnTo>
                    <a:pt x="57" y="3141552"/>
                  </a:lnTo>
                  <a:lnTo>
                    <a:pt x="35950" y="2905170"/>
                  </a:lnTo>
                  <a:cubicBezTo>
                    <a:pt x="107329" y="2674209"/>
                    <a:pt x="283423" y="2463338"/>
                    <a:pt x="550129" y="2296920"/>
                  </a:cubicBezTo>
                  <a:cubicBezTo>
                    <a:pt x="890540" y="2087188"/>
                    <a:pt x="1337329" y="1971684"/>
                    <a:pt x="1814513" y="1971684"/>
                  </a:cubicBezTo>
                  <a:close/>
                  <a:moveTo>
                    <a:pt x="1746250" y="115888"/>
                  </a:moveTo>
                  <a:cubicBezTo>
                    <a:pt x="1319271" y="115888"/>
                    <a:pt x="973137" y="461313"/>
                    <a:pt x="973137" y="887417"/>
                  </a:cubicBezTo>
                  <a:cubicBezTo>
                    <a:pt x="973137" y="1313521"/>
                    <a:pt x="1319271" y="1658946"/>
                    <a:pt x="1746250" y="1658946"/>
                  </a:cubicBezTo>
                  <a:cubicBezTo>
                    <a:pt x="2173229" y="1658946"/>
                    <a:pt x="2519363" y="1313521"/>
                    <a:pt x="2519363" y="887417"/>
                  </a:cubicBezTo>
                  <a:cubicBezTo>
                    <a:pt x="2519363" y="461313"/>
                    <a:pt x="2173229" y="115888"/>
                    <a:pt x="1746250" y="115888"/>
                  </a:cubicBezTo>
                  <a:close/>
                  <a:moveTo>
                    <a:pt x="1747837" y="0"/>
                  </a:moveTo>
                  <a:cubicBezTo>
                    <a:pt x="2237942" y="0"/>
                    <a:pt x="2635250" y="397310"/>
                    <a:pt x="2635250" y="887417"/>
                  </a:cubicBezTo>
                  <a:cubicBezTo>
                    <a:pt x="2635250" y="1377524"/>
                    <a:pt x="2237942" y="1774834"/>
                    <a:pt x="1747837" y="1774834"/>
                  </a:cubicBezTo>
                  <a:cubicBezTo>
                    <a:pt x="1257732" y="1774834"/>
                    <a:pt x="860424" y="1377524"/>
                    <a:pt x="860424" y="887417"/>
                  </a:cubicBezTo>
                  <a:cubicBezTo>
                    <a:pt x="860424" y="397310"/>
                    <a:pt x="1257732" y="0"/>
                    <a:pt x="1747837" y="0"/>
                  </a:cubicBezTo>
                  <a:close/>
                </a:path>
              </a:pathLst>
            </a:custGeom>
            <a:solidFill>
              <a:schemeClr val="accent1"/>
            </a:solidFill>
            <a:ln>
              <a:noFill/>
            </a:ln>
          </p:spPr>
          <p:txBody>
            <a:bodyPr vert="horz" wrap="square" lIns="89619" tIns="44810" rIns="89619" bIns="44810" numCol="1" anchor="t" anchorCtr="0" compatLnSpc="1">
              <a:prstTxWarp prst="textNoShape">
                <a:avLst/>
              </a:prstTxWarp>
              <a:noAutofit/>
            </a:bodyPr>
            <a:lstStyle/>
            <a:p>
              <a:pPr defTabSz="896203">
                <a:defRPr/>
              </a:pPr>
              <a:endParaRPr lang="en-US" sz="1764" kern="0">
                <a:solidFill>
                  <a:sysClr val="windowText" lastClr="000000"/>
                </a:solidFill>
              </a:endParaRPr>
            </a:p>
          </p:txBody>
        </p:sp>
        <p:sp>
          <p:nvSpPr>
            <p:cNvPr id="399" name="Freeform 398"/>
            <p:cNvSpPr>
              <a:spLocks/>
            </p:cNvSpPr>
            <p:nvPr/>
          </p:nvSpPr>
          <p:spPr bwMode="auto">
            <a:xfrm>
              <a:off x="7224021" y="4685823"/>
              <a:ext cx="323850" cy="417957"/>
            </a:xfrm>
            <a:custGeom>
              <a:avLst/>
              <a:gdLst>
                <a:gd name="connsiteX0" fmla="*/ 1616331 w 1684452"/>
                <a:gd name="connsiteY0" fmla="*/ 466888 h 1863160"/>
                <a:gd name="connsiteX1" fmla="*/ 1580938 w 1684452"/>
                <a:gd name="connsiteY1" fmla="*/ 495908 h 1863160"/>
                <a:gd name="connsiteX2" fmla="*/ 1425175 w 1684452"/>
                <a:gd name="connsiteY2" fmla="*/ 575567 h 1863160"/>
                <a:gd name="connsiteX3" fmla="*/ 842226 w 1684452"/>
                <a:gd name="connsiteY3" fmla="*/ 665288 h 1863160"/>
                <a:gd name="connsiteX4" fmla="*/ 259277 w 1684452"/>
                <a:gd name="connsiteY4" fmla="*/ 575567 h 1863160"/>
                <a:gd name="connsiteX5" fmla="*/ 103515 w 1684452"/>
                <a:gd name="connsiteY5" fmla="*/ 495908 h 1863160"/>
                <a:gd name="connsiteX6" fmla="*/ 68122 w 1684452"/>
                <a:gd name="connsiteY6" fmla="*/ 466889 h 1863160"/>
                <a:gd name="connsiteX7" fmla="*/ 68122 w 1684452"/>
                <a:gd name="connsiteY7" fmla="*/ 698353 h 1863160"/>
                <a:gd name="connsiteX8" fmla="*/ 66676 w 1684452"/>
                <a:gd name="connsiteY8" fmla="*/ 698353 h 1863160"/>
                <a:gd name="connsiteX9" fmla="*/ 66676 w 1684452"/>
                <a:gd name="connsiteY9" fmla="*/ 1507978 h 1863160"/>
                <a:gd name="connsiteX10" fmla="*/ 68122 w 1684452"/>
                <a:gd name="connsiteY10" fmla="*/ 1507978 h 1863160"/>
                <a:gd name="connsiteX11" fmla="*/ 68122 w 1684452"/>
                <a:gd name="connsiteY11" fmla="*/ 1531401 h 1863160"/>
                <a:gd name="connsiteX12" fmla="*/ 67785 w 1684452"/>
                <a:gd name="connsiteY12" fmla="*/ 1531401 h 1863160"/>
                <a:gd name="connsiteX13" fmla="*/ 842226 w 1684452"/>
                <a:gd name="connsiteY13" fmla="*/ 1795454 h 1863160"/>
                <a:gd name="connsiteX14" fmla="*/ 1616667 w 1684452"/>
                <a:gd name="connsiteY14" fmla="*/ 1531401 h 1863160"/>
                <a:gd name="connsiteX15" fmla="*/ 1616331 w 1684452"/>
                <a:gd name="connsiteY15" fmla="*/ 1531401 h 1863160"/>
                <a:gd name="connsiteX16" fmla="*/ 1616331 w 1684452"/>
                <a:gd name="connsiteY16" fmla="*/ 1507978 h 1863160"/>
                <a:gd name="connsiteX17" fmla="*/ 1619250 w 1684452"/>
                <a:gd name="connsiteY17" fmla="*/ 1507978 h 1863160"/>
                <a:gd name="connsiteX18" fmla="*/ 1619250 w 1684452"/>
                <a:gd name="connsiteY18" fmla="*/ 698353 h 1863160"/>
                <a:gd name="connsiteX19" fmla="*/ 1616331 w 1684452"/>
                <a:gd name="connsiteY19" fmla="*/ 698353 h 1863160"/>
                <a:gd name="connsiteX20" fmla="*/ 842226 w 1684452"/>
                <a:gd name="connsiteY20" fmla="*/ 68122 h 1863160"/>
                <a:gd name="connsiteX21" fmla="*/ 68122 w 1684452"/>
                <a:gd name="connsiteY21" fmla="*/ 333087 h 1863160"/>
                <a:gd name="connsiteX22" fmla="*/ 842226 w 1684452"/>
                <a:gd name="connsiteY22" fmla="*/ 598052 h 1863160"/>
                <a:gd name="connsiteX23" fmla="*/ 1616331 w 1684452"/>
                <a:gd name="connsiteY23" fmla="*/ 333087 h 1863160"/>
                <a:gd name="connsiteX24" fmla="*/ 842226 w 1684452"/>
                <a:gd name="connsiteY24" fmla="*/ 68122 h 1863160"/>
                <a:gd name="connsiteX25" fmla="*/ 842226 w 1684452"/>
                <a:gd name="connsiteY25" fmla="*/ 0 h 1863160"/>
                <a:gd name="connsiteX26" fmla="*/ 1425175 w 1684452"/>
                <a:gd name="connsiteY26" fmla="*/ 89721 h 1863160"/>
                <a:gd name="connsiteX27" fmla="*/ 1684452 w 1684452"/>
                <a:gd name="connsiteY27" fmla="*/ 331797 h 1863160"/>
                <a:gd name="connsiteX28" fmla="*/ 1681988 w 1684452"/>
                <a:gd name="connsiteY28" fmla="*/ 352107 h 1863160"/>
                <a:gd name="connsiteX29" fmla="*/ 1684452 w 1684452"/>
                <a:gd name="connsiteY29" fmla="*/ 352107 h 1863160"/>
                <a:gd name="connsiteX30" fmla="*/ 1684452 w 1684452"/>
                <a:gd name="connsiteY30" fmla="*/ 1531401 h 1863160"/>
                <a:gd name="connsiteX31" fmla="*/ 1684452 w 1684452"/>
                <a:gd name="connsiteY31" fmla="*/ 1531401 h 1863160"/>
                <a:gd name="connsiteX32" fmla="*/ 1425175 w 1684452"/>
                <a:gd name="connsiteY32" fmla="*/ 1773450 h 1863160"/>
                <a:gd name="connsiteX33" fmla="*/ 842226 w 1684452"/>
                <a:gd name="connsiteY33" fmla="*/ 1863160 h 1863160"/>
                <a:gd name="connsiteX34" fmla="*/ 259277 w 1684452"/>
                <a:gd name="connsiteY34" fmla="*/ 1773450 h 1863160"/>
                <a:gd name="connsiteX35" fmla="*/ 0 w 1684452"/>
                <a:gd name="connsiteY35" fmla="*/ 1531401 h 1863160"/>
                <a:gd name="connsiteX36" fmla="*/ 0 w 1684452"/>
                <a:gd name="connsiteY36" fmla="*/ 1140367 h 1863160"/>
                <a:gd name="connsiteX37" fmla="*/ 0 w 1684452"/>
                <a:gd name="connsiteY37" fmla="*/ 714831 h 1863160"/>
                <a:gd name="connsiteX38" fmla="*/ 0 w 1684452"/>
                <a:gd name="connsiteY38" fmla="*/ 352107 h 1863160"/>
                <a:gd name="connsiteX39" fmla="*/ 2463 w 1684452"/>
                <a:gd name="connsiteY39" fmla="*/ 352107 h 1863160"/>
                <a:gd name="connsiteX40" fmla="*/ 0 w 1684452"/>
                <a:gd name="connsiteY40" fmla="*/ 331797 h 1863160"/>
                <a:gd name="connsiteX41" fmla="*/ 259277 w 1684452"/>
                <a:gd name="connsiteY41" fmla="*/ 89721 h 1863160"/>
                <a:gd name="connsiteX42" fmla="*/ 842226 w 1684452"/>
                <a:gd name="connsiteY42" fmla="*/ 0 h 1863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684452" h="1863160">
                  <a:moveTo>
                    <a:pt x="1616331" y="466888"/>
                  </a:moveTo>
                  <a:lnTo>
                    <a:pt x="1580938" y="495908"/>
                  </a:lnTo>
                  <a:cubicBezTo>
                    <a:pt x="1540277" y="525258"/>
                    <a:pt x="1488088" y="552079"/>
                    <a:pt x="1425175" y="575567"/>
                  </a:cubicBezTo>
                  <a:cubicBezTo>
                    <a:pt x="1269270" y="633124"/>
                    <a:pt x="1062526" y="665288"/>
                    <a:pt x="842226" y="665288"/>
                  </a:cubicBezTo>
                  <a:cubicBezTo>
                    <a:pt x="621925" y="665288"/>
                    <a:pt x="415182" y="633124"/>
                    <a:pt x="259277" y="575567"/>
                  </a:cubicBezTo>
                  <a:cubicBezTo>
                    <a:pt x="196365" y="552079"/>
                    <a:pt x="144176" y="525258"/>
                    <a:pt x="103515" y="495908"/>
                  </a:cubicBezTo>
                  <a:lnTo>
                    <a:pt x="68122" y="466889"/>
                  </a:lnTo>
                  <a:lnTo>
                    <a:pt x="68122" y="698353"/>
                  </a:lnTo>
                  <a:lnTo>
                    <a:pt x="66676" y="698353"/>
                  </a:lnTo>
                  <a:lnTo>
                    <a:pt x="66676" y="1507978"/>
                  </a:lnTo>
                  <a:lnTo>
                    <a:pt x="68122" y="1507978"/>
                  </a:lnTo>
                  <a:lnTo>
                    <a:pt x="68122" y="1531401"/>
                  </a:lnTo>
                  <a:lnTo>
                    <a:pt x="67785" y="1531401"/>
                  </a:lnTo>
                  <a:cubicBezTo>
                    <a:pt x="67785" y="1656657"/>
                    <a:pt x="386374" y="1795454"/>
                    <a:pt x="842226" y="1795454"/>
                  </a:cubicBezTo>
                  <a:cubicBezTo>
                    <a:pt x="1298078" y="1795454"/>
                    <a:pt x="1616667" y="1656657"/>
                    <a:pt x="1616667" y="1531401"/>
                  </a:cubicBezTo>
                  <a:lnTo>
                    <a:pt x="1616331" y="1531401"/>
                  </a:lnTo>
                  <a:lnTo>
                    <a:pt x="1616331" y="1507978"/>
                  </a:lnTo>
                  <a:lnTo>
                    <a:pt x="1619250" y="1507978"/>
                  </a:lnTo>
                  <a:lnTo>
                    <a:pt x="1619250" y="698353"/>
                  </a:lnTo>
                  <a:lnTo>
                    <a:pt x="1616331" y="698353"/>
                  </a:lnTo>
                  <a:close/>
                  <a:moveTo>
                    <a:pt x="842226" y="68122"/>
                  </a:moveTo>
                  <a:cubicBezTo>
                    <a:pt x="414700" y="68122"/>
                    <a:pt x="68122" y="186750"/>
                    <a:pt x="68122" y="333087"/>
                  </a:cubicBezTo>
                  <a:cubicBezTo>
                    <a:pt x="68122" y="479424"/>
                    <a:pt x="414700" y="598052"/>
                    <a:pt x="842226" y="598052"/>
                  </a:cubicBezTo>
                  <a:cubicBezTo>
                    <a:pt x="1269753" y="598052"/>
                    <a:pt x="1616331" y="479424"/>
                    <a:pt x="1616331" y="333087"/>
                  </a:cubicBezTo>
                  <a:cubicBezTo>
                    <a:pt x="1616331" y="186750"/>
                    <a:pt x="1269753" y="68122"/>
                    <a:pt x="842226" y="68122"/>
                  </a:cubicBezTo>
                  <a:close/>
                  <a:moveTo>
                    <a:pt x="842226" y="0"/>
                  </a:moveTo>
                  <a:cubicBezTo>
                    <a:pt x="1062526" y="0"/>
                    <a:pt x="1269270" y="32164"/>
                    <a:pt x="1425175" y="89721"/>
                  </a:cubicBezTo>
                  <a:cubicBezTo>
                    <a:pt x="1592942" y="150663"/>
                    <a:pt x="1684452" y="236998"/>
                    <a:pt x="1684452" y="331797"/>
                  </a:cubicBezTo>
                  <a:lnTo>
                    <a:pt x="1681988" y="352107"/>
                  </a:lnTo>
                  <a:lnTo>
                    <a:pt x="1684452" y="352107"/>
                  </a:lnTo>
                  <a:lnTo>
                    <a:pt x="1684452" y="1531401"/>
                  </a:lnTo>
                  <a:lnTo>
                    <a:pt x="1684452" y="1531401"/>
                  </a:lnTo>
                  <a:cubicBezTo>
                    <a:pt x="1684452" y="1626189"/>
                    <a:pt x="1592942" y="1712515"/>
                    <a:pt x="1425175" y="1773450"/>
                  </a:cubicBezTo>
                  <a:cubicBezTo>
                    <a:pt x="1269270" y="1831000"/>
                    <a:pt x="1062526" y="1863160"/>
                    <a:pt x="842226" y="1863160"/>
                  </a:cubicBezTo>
                  <a:cubicBezTo>
                    <a:pt x="621925" y="1863160"/>
                    <a:pt x="415182" y="1831000"/>
                    <a:pt x="259277" y="1773450"/>
                  </a:cubicBezTo>
                  <a:cubicBezTo>
                    <a:pt x="91510" y="1712515"/>
                    <a:pt x="0" y="1626189"/>
                    <a:pt x="0" y="1531401"/>
                  </a:cubicBezTo>
                  <a:lnTo>
                    <a:pt x="0" y="1140367"/>
                  </a:lnTo>
                  <a:lnTo>
                    <a:pt x="0" y="714831"/>
                  </a:lnTo>
                  <a:lnTo>
                    <a:pt x="0" y="352107"/>
                  </a:lnTo>
                  <a:lnTo>
                    <a:pt x="2463" y="352107"/>
                  </a:lnTo>
                  <a:lnTo>
                    <a:pt x="0" y="331797"/>
                  </a:lnTo>
                  <a:cubicBezTo>
                    <a:pt x="0" y="236998"/>
                    <a:pt x="91510" y="150663"/>
                    <a:pt x="259277" y="89721"/>
                  </a:cubicBezTo>
                  <a:cubicBezTo>
                    <a:pt x="415182" y="32164"/>
                    <a:pt x="621925" y="0"/>
                    <a:pt x="842226" y="0"/>
                  </a:cubicBezTo>
                  <a:close/>
                </a:path>
              </a:pathLst>
            </a:custGeom>
            <a:solidFill>
              <a:schemeClr val="accent1"/>
            </a:solidFill>
            <a:ln>
              <a:noFill/>
            </a:ln>
          </p:spPr>
          <p:txBody>
            <a:bodyPr vert="horz" wrap="square" lIns="89619" tIns="161314" rIns="89619" bIns="44810" numCol="1" anchor="t" anchorCtr="0" compatLnSpc="1">
              <a:prstTxWarp prst="textNoShape">
                <a:avLst/>
              </a:prstTxWarp>
              <a:noAutofit/>
            </a:bodyPr>
            <a:lstStyle/>
            <a:p>
              <a:pPr defTabSz="896203">
                <a:defRPr/>
              </a:pPr>
              <a:r>
                <a:rPr lang="en-US" sz="1176" kern="0" dirty="0">
                  <a:solidFill>
                    <a:srgbClr val="0078D7"/>
                  </a:solidFill>
                </a:rPr>
                <a:t>{ }</a:t>
              </a:r>
            </a:p>
          </p:txBody>
        </p:sp>
        <p:grpSp>
          <p:nvGrpSpPr>
            <p:cNvPr id="400" name="Group 399"/>
            <p:cNvGrpSpPr/>
            <p:nvPr/>
          </p:nvGrpSpPr>
          <p:grpSpPr>
            <a:xfrm>
              <a:off x="6969691" y="2490605"/>
              <a:ext cx="336047" cy="448062"/>
              <a:chOff x="6972300" y="1333337"/>
              <a:chExt cx="2946149" cy="3928201"/>
            </a:xfrm>
            <a:grpFill/>
          </p:grpSpPr>
          <p:sp>
            <p:nvSpPr>
              <p:cNvPr id="401" name="Freeform 400"/>
              <p:cNvSpPr>
                <a:spLocks/>
              </p:cNvSpPr>
              <p:nvPr/>
            </p:nvSpPr>
            <p:spPr bwMode="auto">
              <a:xfrm>
                <a:off x="6972300" y="1333337"/>
                <a:ext cx="2946149" cy="3928201"/>
              </a:xfrm>
              <a:custGeom>
                <a:avLst/>
                <a:gdLst>
                  <a:gd name="connsiteX0" fmla="*/ 1293813 w 2524125"/>
                  <a:gd name="connsiteY0" fmla="*/ 2986088 h 3365500"/>
                  <a:gd name="connsiteX1" fmla="*/ 1404938 w 2524125"/>
                  <a:gd name="connsiteY1" fmla="*/ 3095626 h 3365500"/>
                  <a:gd name="connsiteX2" fmla="*/ 1293813 w 2524125"/>
                  <a:gd name="connsiteY2" fmla="*/ 3205164 h 3365500"/>
                  <a:gd name="connsiteX3" fmla="*/ 1182688 w 2524125"/>
                  <a:gd name="connsiteY3" fmla="*/ 3095626 h 3365500"/>
                  <a:gd name="connsiteX4" fmla="*/ 1293813 w 2524125"/>
                  <a:gd name="connsiteY4" fmla="*/ 2986088 h 3365500"/>
                  <a:gd name="connsiteX5" fmla="*/ 368300 w 2524125"/>
                  <a:gd name="connsiteY5" fmla="*/ 368300 h 3365500"/>
                  <a:gd name="connsiteX6" fmla="*/ 368300 w 2524125"/>
                  <a:gd name="connsiteY6" fmla="*/ 2833688 h 3365500"/>
                  <a:gd name="connsiteX7" fmla="*/ 2155825 w 2524125"/>
                  <a:gd name="connsiteY7" fmla="*/ 2833688 h 3365500"/>
                  <a:gd name="connsiteX8" fmla="*/ 2155825 w 2524125"/>
                  <a:gd name="connsiteY8" fmla="*/ 368300 h 3365500"/>
                  <a:gd name="connsiteX9" fmla="*/ 306902 w 2524125"/>
                  <a:gd name="connsiteY9" fmla="*/ 246063 h 3365500"/>
                  <a:gd name="connsiteX10" fmla="*/ 2217225 w 2524125"/>
                  <a:gd name="connsiteY10" fmla="*/ 246063 h 3365500"/>
                  <a:gd name="connsiteX11" fmla="*/ 2278063 w 2524125"/>
                  <a:gd name="connsiteY11" fmla="*/ 306855 h 3365500"/>
                  <a:gd name="connsiteX12" fmla="*/ 2278063 w 2524125"/>
                  <a:gd name="connsiteY12" fmla="*/ 2893546 h 3365500"/>
                  <a:gd name="connsiteX13" fmla="*/ 2217225 w 2524125"/>
                  <a:gd name="connsiteY13" fmla="*/ 2954338 h 3365500"/>
                  <a:gd name="connsiteX14" fmla="*/ 306902 w 2524125"/>
                  <a:gd name="connsiteY14" fmla="*/ 2954338 h 3365500"/>
                  <a:gd name="connsiteX15" fmla="*/ 246063 w 2524125"/>
                  <a:gd name="connsiteY15" fmla="*/ 2893546 h 3365500"/>
                  <a:gd name="connsiteX16" fmla="*/ 246063 w 2524125"/>
                  <a:gd name="connsiteY16" fmla="*/ 306855 h 3365500"/>
                  <a:gd name="connsiteX17" fmla="*/ 306902 w 2524125"/>
                  <a:gd name="connsiteY17" fmla="*/ 246063 h 3365500"/>
                  <a:gd name="connsiteX18" fmla="*/ 195187 w 2524125"/>
                  <a:gd name="connsiteY18" fmla="*/ 122238 h 3365500"/>
                  <a:gd name="connsiteX19" fmla="*/ 122238 w 2524125"/>
                  <a:gd name="connsiteY19" fmla="*/ 195173 h 3365500"/>
                  <a:gd name="connsiteX20" fmla="*/ 122238 w 2524125"/>
                  <a:gd name="connsiteY20" fmla="*/ 3170328 h 3365500"/>
                  <a:gd name="connsiteX21" fmla="*/ 195187 w 2524125"/>
                  <a:gd name="connsiteY21" fmla="*/ 3243263 h 3365500"/>
                  <a:gd name="connsiteX22" fmla="*/ 2328939 w 2524125"/>
                  <a:gd name="connsiteY22" fmla="*/ 3243263 h 3365500"/>
                  <a:gd name="connsiteX23" fmla="*/ 2401888 w 2524125"/>
                  <a:gd name="connsiteY23" fmla="*/ 3170328 h 3365500"/>
                  <a:gd name="connsiteX24" fmla="*/ 2401888 w 2524125"/>
                  <a:gd name="connsiteY24" fmla="*/ 195173 h 3365500"/>
                  <a:gd name="connsiteX25" fmla="*/ 2328939 w 2524125"/>
                  <a:gd name="connsiteY25" fmla="*/ 122238 h 3365500"/>
                  <a:gd name="connsiteX26" fmla="*/ 194632 w 2524125"/>
                  <a:gd name="connsiteY26" fmla="*/ 0 h 3365500"/>
                  <a:gd name="connsiteX27" fmla="*/ 2329494 w 2524125"/>
                  <a:gd name="connsiteY27" fmla="*/ 0 h 3365500"/>
                  <a:gd name="connsiteX28" fmla="*/ 2524125 w 2524125"/>
                  <a:gd name="connsiteY28" fmla="*/ 194573 h 3365500"/>
                  <a:gd name="connsiteX29" fmla="*/ 2524125 w 2524125"/>
                  <a:gd name="connsiteY29" fmla="*/ 3170927 h 3365500"/>
                  <a:gd name="connsiteX30" fmla="*/ 2329494 w 2524125"/>
                  <a:gd name="connsiteY30" fmla="*/ 3365500 h 3365500"/>
                  <a:gd name="connsiteX31" fmla="*/ 194632 w 2524125"/>
                  <a:gd name="connsiteY31" fmla="*/ 3365500 h 3365500"/>
                  <a:gd name="connsiteX32" fmla="*/ 0 w 2524125"/>
                  <a:gd name="connsiteY32" fmla="*/ 3170927 h 3365500"/>
                  <a:gd name="connsiteX33" fmla="*/ 0 w 2524125"/>
                  <a:gd name="connsiteY33" fmla="*/ 194573 h 3365500"/>
                  <a:gd name="connsiteX34" fmla="*/ 194632 w 2524125"/>
                  <a:gd name="connsiteY34" fmla="*/ 0 h 3365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524125" h="3365500">
                    <a:moveTo>
                      <a:pt x="1293813" y="2986088"/>
                    </a:moveTo>
                    <a:cubicBezTo>
                      <a:pt x="1355186" y="2986088"/>
                      <a:pt x="1404938" y="3035130"/>
                      <a:pt x="1404938" y="3095626"/>
                    </a:cubicBezTo>
                    <a:cubicBezTo>
                      <a:pt x="1404938" y="3156122"/>
                      <a:pt x="1355186" y="3205164"/>
                      <a:pt x="1293813" y="3205164"/>
                    </a:cubicBezTo>
                    <a:cubicBezTo>
                      <a:pt x="1232440" y="3205164"/>
                      <a:pt x="1182688" y="3156122"/>
                      <a:pt x="1182688" y="3095626"/>
                    </a:cubicBezTo>
                    <a:cubicBezTo>
                      <a:pt x="1182688" y="3035130"/>
                      <a:pt x="1232440" y="2986088"/>
                      <a:pt x="1293813" y="2986088"/>
                    </a:cubicBezTo>
                    <a:close/>
                    <a:moveTo>
                      <a:pt x="368300" y="368300"/>
                    </a:moveTo>
                    <a:lnTo>
                      <a:pt x="368300" y="2833688"/>
                    </a:lnTo>
                    <a:lnTo>
                      <a:pt x="2155825" y="2833688"/>
                    </a:lnTo>
                    <a:lnTo>
                      <a:pt x="2155825" y="368300"/>
                    </a:lnTo>
                    <a:close/>
                    <a:moveTo>
                      <a:pt x="306902" y="246063"/>
                    </a:moveTo>
                    <a:cubicBezTo>
                      <a:pt x="2217225" y="246063"/>
                      <a:pt x="2217225" y="246063"/>
                      <a:pt x="2217225" y="246063"/>
                    </a:cubicBezTo>
                    <a:cubicBezTo>
                      <a:pt x="2250686" y="246063"/>
                      <a:pt x="2278063" y="273419"/>
                      <a:pt x="2278063" y="306855"/>
                    </a:cubicBezTo>
                    <a:cubicBezTo>
                      <a:pt x="2278063" y="2893546"/>
                      <a:pt x="2278063" y="2893546"/>
                      <a:pt x="2278063" y="2893546"/>
                    </a:cubicBezTo>
                    <a:cubicBezTo>
                      <a:pt x="2278063" y="2926982"/>
                      <a:pt x="2250686" y="2954338"/>
                      <a:pt x="2217225" y="2954338"/>
                    </a:cubicBezTo>
                    <a:cubicBezTo>
                      <a:pt x="306902" y="2954338"/>
                      <a:pt x="306902" y="2954338"/>
                      <a:pt x="306902" y="2954338"/>
                    </a:cubicBezTo>
                    <a:cubicBezTo>
                      <a:pt x="273440" y="2954338"/>
                      <a:pt x="246063" y="2926982"/>
                      <a:pt x="246063" y="2893546"/>
                    </a:cubicBezTo>
                    <a:cubicBezTo>
                      <a:pt x="246063" y="306855"/>
                      <a:pt x="246063" y="306855"/>
                      <a:pt x="246063" y="306855"/>
                    </a:cubicBezTo>
                    <a:cubicBezTo>
                      <a:pt x="246063" y="273419"/>
                      <a:pt x="273440" y="246063"/>
                      <a:pt x="306902" y="246063"/>
                    </a:cubicBezTo>
                    <a:close/>
                    <a:moveTo>
                      <a:pt x="195187" y="122238"/>
                    </a:moveTo>
                    <a:cubicBezTo>
                      <a:pt x="155673" y="122238"/>
                      <a:pt x="122238" y="155667"/>
                      <a:pt x="122238" y="195173"/>
                    </a:cubicBezTo>
                    <a:cubicBezTo>
                      <a:pt x="122238" y="3170328"/>
                      <a:pt x="122238" y="3170328"/>
                      <a:pt x="122238" y="3170328"/>
                    </a:cubicBezTo>
                    <a:cubicBezTo>
                      <a:pt x="122238" y="3209834"/>
                      <a:pt x="155673" y="3243263"/>
                      <a:pt x="195187" y="3243263"/>
                    </a:cubicBezTo>
                    <a:cubicBezTo>
                      <a:pt x="2328939" y="3243263"/>
                      <a:pt x="2328939" y="3243263"/>
                      <a:pt x="2328939" y="3243263"/>
                    </a:cubicBezTo>
                    <a:cubicBezTo>
                      <a:pt x="2371493" y="3243263"/>
                      <a:pt x="2401888" y="3209834"/>
                      <a:pt x="2401888" y="3170328"/>
                    </a:cubicBezTo>
                    <a:cubicBezTo>
                      <a:pt x="2401888" y="195173"/>
                      <a:pt x="2401888" y="195173"/>
                      <a:pt x="2401888" y="195173"/>
                    </a:cubicBezTo>
                    <a:cubicBezTo>
                      <a:pt x="2401888" y="155667"/>
                      <a:pt x="2371493" y="122238"/>
                      <a:pt x="2328939" y="122238"/>
                    </a:cubicBezTo>
                    <a:close/>
                    <a:moveTo>
                      <a:pt x="194632" y="0"/>
                    </a:moveTo>
                    <a:cubicBezTo>
                      <a:pt x="2329494" y="0"/>
                      <a:pt x="2329494" y="0"/>
                      <a:pt x="2329494" y="0"/>
                    </a:cubicBezTo>
                    <a:cubicBezTo>
                      <a:pt x="2438974" y="0"/>
                      <a:pt x="2524125" y="88166"/>
                      <a:pt x="2524125" y="194573"/>
                    </a:cubicBezTo>
                    <a:cubicBezTo>
                      <a:pt x="2524125" y="3170927"/>
                      <a:pt x="2524125" y="3170927"/>
                      <a:pt x="2524125" y="3170927"/>
                    </a:cubicBezTo>
                    <a:cubicBezTo>
                      <a:pt x="2524125" y="3277334"/>
                      <a:pt x="2438974" y="3365500"/>
                      <a:pt x="2329494" y="3365500"/>
                    </a:cubicBezTo>
                    <a:cubicBezTo>
                      <a:pt x="194632" y="3365500"/>
                      <a:pt x="194632" y="3365500"/>
                      <a:pt x="194632" y="3365500"/>
                    </a:cubicBezTo>
                    <a:cubicBezTo>
                      <a:pt x="88193" y="3365500"/>
                      <a:pt x="0" y="3277334"/>
                      <a:pt x="0" y="3170927"/>
                    </a:cubicBezTo>
                    <a:cubicBezTo>
                      <a:pt x="0" y="194573"/>
                      <a:pt x="0" y="194573"/>
                      <a:pt x="0" y="194573"/>
                    </a:cubicBezTo>
                    <a:cubicBezTo>
                      <a:pt x="0" y="88166"/>
                      <a:pt x="88193" y="0"/>
                      <a:pt x="194632" y="0"/>
                    </a:cubicBezTo>
                    <a:close/>
                  </a:path>
                </a:pathLst>
              </a:custGeom>
              <a:solidFill>
                <a:schemeClr val="accent1"/>
              </a:solidFill>
              <a:ln>
                <a:noFill/>
              </a:ln>
            </p:spPr>
            <p:txBody>
              <a:bodyPr vert="horz" wrap="square" lIns="89619" tIns="44810" rIns="89619" bIns="44810" numCol="1" anchor="t" anchorCtr="0" compatLnSpc="1">
                <a:prstTxWarp prst="textNoShape">
                  <a:avLst/>
                </a:prstTxWarp>
                <a:noAutofit/>
              </a:bodyPr>
              <a:lstStyle/>
              <a:p>
                <a:pPr defTabSz="896203">
                  <a:defRPr/>
                </a:pPr>
                <a:endParaRPr lang="en-US" sz="1764" kern="0">
                  <a:solidFill>
                    <a:sysClr val="windowText" lastClr="000000"/>
                  </a:solidFill>
                </a:endParaRPr>
              </a:p>
            </p:txBody>
          </p:sp>
          <p:sp>
            <p:nvSpPr>
              <p:cNvPr id="402" name="Flowchart: Decision 183"/>
              <p:cNvSpPr/>
              <p:nvPr/>
            </p:nvSpPr>
            <p:spPr bwMode="auto">
              <a:xfrm>
                <a:off x="7862612" y="2650736"/>
                <a:ext cx="1165523" cy="1112815"/>
              </a:xfrm>
              <a:custGeom>
                <a:avLst/>
                <a:gdLst/>
                <a:ahLst/>
                <a:cxnLst/>
                <a:rect l="l" t="t" r="r" b="b"/>
                <a:pathLst>
                  <a:path w="665897" h="635783">
                    <a:moveTo>
                      <a:pt x="0" y="287388"/>
                    </a:moveTo>
                    <a:lnTo>
                      <a:pt x="6431" y="291748"/>
                    </a:lnTo>
                    <a:lnTo>
                      <a:pt x="212" y="295965"/>
                    </a:lnTo>
                    <a:close/>
                    <a:moveTo>
                      <a:pt x="665897" y="137457"/>
                    </a:moveTo>
                    <a:lnTo>
                      <a:pt x="665897" y="515370"/>
                    </a:lnTo>
                    <a:lnTo>
                      <a:pt x="350969" y="635783"/>
                    </a:lnTo>
                    <a:lnTo>
                      <a:pt x="349117" y="254165"/>
                    </a:lnTo>
                    <a:close/>
                    <a:moveTo>
                      <a:pt x="19370" y="137457"/>
                    </a:moveTo>
                    <a:lnTo>
                      <a:pt x="330592" y="252313"/>
                    </a:lnTo>
                    <a:lnTo>
                      <a:pt x="330592" y="630225"/>
                    </a:lnTo>
                    <a:lnTo>
                      <a:pt x="19370" y="515370"/>
                    </a:lnTo>
                    <a:close/>
                    <a:moveTo>
                      <a:pt x="343560" y="0"/>
                    </a:moveTo>
                    <a:lnTo>
                      <a:pt x="665897" y="116894"/>
                    </a:lnTo>
                    <a:lnTo>
                      <a:pt x="343560" y="233788"/>
                    </a:lnTo>
                    <a:lnTo>
                      <a:pt x="21222" y="116894"/>
                    </a:lnTo>
                    <a:close/>
                  </a:path>
                </a:pathLst>
              </a:custGeom>
              <a:solidFill>
                <a:schemeClr val="accent1"/>
              </a:solidFill>
              <a:ln>
                <a:solidFill>
                  <a:schemeClr val="accent1"/>
                </a:solidFill>
              </a:ln>
              <a:extLst/>
            </p:spPr>
            <p:txBody>
              <a:bodyPr rot="0" spcFirstLastPara="0" vertOverflow="overflow" horzOverflow="overflow" vert="horz" wrap="square" lIns="89619" tIns="44810" rIns="89619" bIns="44810" numCol="1" spcCol="0" rtlCol="0" fromWordArt="0" anchor="t" anchorCtr="0" forceAA="0" compatLnSpc="1">
                <a:prstTxWarp prst="textNoShape">
                  <a:avLst/>
                </a:prstTxWarp>
                <a:noAutofit/>
              </a:bodyPr>
              <a:lstStyle/>
              <a:p>
                <a:pPr algn="ctr" defTabSz="896203">
                  <a:defRPr/>
                </a:pPr>
                <a:endParaRPr lang="en-US" sz="1764" kern="0">
                  <a:solidFill>
                    <a:sysClr val="windowText" lastClr="000000"/>
                  </a:solidFill>
                </a:endParaRPr>
              </a:p>
            </p:txBody>
          </p:sp>
        </p:grpSp>
        <p:grpSp>
          <p:nvGrpSpPr>
            <p:cNvPr id="403" name="Group 402"/>
            <p:cNvGrpSpPr/>
            <p:nvPr/>
          </p:nvGrpSpPr>
          <p:grpSpPr>
            <a:xfrm flipH="1">
              <a:off x="7039461" y="1664005"/>
              <a:ext cx="208668" cy="390479"/>
              <a:chOff x="4428034" y="2663776"/>
              <a:chExt cx="1294586" cy="2422549"/>
            </a:xfrm>
            <a:grpFill/>
          </p:grpSpPr>
          <p:sp>
            <p:nvSpPr>
              <p:cNvPr id="404" name="Rounded Rectangle 16"/>
              <p:cNvSpPr/>
              <p:nvPr/>
            </p:nvSpPr>
            <p:spPr>
              <a:xfrm>
                <a:off x="4428034" y="2971800"/>
                <a:ext cx="1294586" cy="2114525"/>
              </a:xfrm>
              <a:custGeom>
                <a:avLst/>
                <a:gdLst/>
                <a:ahLst/>
                <a:cxnLst/>
                <a:rect l="l" t="t" r="r" b="b"/>
                <a:pathLst>
                  <a:path w="943814" h="1541591">
                    <a:moveTo>
                      <a:pt x="736899" y="969127"/>
                    </a:moveTo>
                    <a:lnTo>
                      <a:pt x="679817" y="1021413"/>
                    </a:lnTo>
                    <a:lnTo>
                      <a:pt x="792148" y="1132781"/>
                    </a:lnTo>
                    <a:close/>
                    <a:moveTo>
                      <a:pt x="207265" y="968092"/>
                    </a:moveTo>
                    <a:lnTo>
                      <a:pt x="153857" y="1126290"/>
                    </a:lnTo>
                    <a:lnTo>
                      <a:pt x="262444" y="1018635"/>
                    </a:lnTo>
                    <a:close/>
                    <a:moveTo>
                      <a:pt x="503411" y="910899"/>
                    </a:moveTo>
                    <a:lnTo>
                      <a:pt x="503411" y="1120999"/>
                    </a:lnTo>
                    <a:lnTo>
                      <a:pt x="613560" y="1020104"/>
                    </a:lnTo>
                    <a:close/>
                    <a:moveTo>
                      <a:pt x="441498" y="905495"/>
                    </a:moveTo>
                    <a:lnTo>
                      <a:pt x="328701" y="1017325"/>
                    </a:lnTo>
                    <a:lnTo>
                      <a:pt x="441499" y="1120647"/>
                    </a:lnTo>
                    <a:close/>
                    <a:moveTo>
                      <a:pt x="635043" y="713610"/>
                    </a:moveTo>
                    <a:lnTo>
                      <a:pt x="503410" y="844114"/>
                    </a:lnTo>
                    <a:lnTo>
                      <a:pt x="503411" y="846520"/>
                    </a:lnTo>
                    <a:lnTo>
                      <a:pt x="647312" y="989187"/>
                    </a:lnTo>
                    <a:lnTo>
                      <a:pt x="720911" y="921771"/>
                    </a:lnTo>
                    <a:lnTo>
                      <a:pt x="658481" y="736848"/>
                    </a:lnTo>
                    <a:close/>
                    <a:moveTo>
                      <a:pt x="304414" y="713610"/>
                    </a:moveTo>
                    <a:lnTo>
                      <a:pt x="287524" y="730357"/>
                    </a:lnTo>
                    <a:lnTo>
                      <a:pt x="223252" y="920736"/>
                    </a:lnTo>
                    <a:lnTo>
                      <a:pt x="294949" y="986409"/>
                    </a:lnTo>
                    <a:lnTo>
                      <a:pt x="437261" y="845317"/>
                    </a:lnTo>
                    <a:close/>
                    <a:moveTo>
                      <a:pt x="503411" y="583107"/>
                    </a:moveTo>
                    <a:lnTo>
                      <a:pt x="503410" y="779733"/>
                    </a:lnTo>
                    <a:lnTo>
                      <a:pt x="602574" y="681421"/>
                    </a:lnTo>
                    <a:close/>
                    <a:moveTo>
                      <a:pt x="441499" y="577703"/>
                    </a:moveTo>
                    <a:lnTo>
                      <a:pt x="336883" y="681420"/>
                    </a:lnTo>
                    <a:lnTo>
                      <a:pt x="441499" y="785139"/>
                    </a:lnTo>
                    <a:close/>
                    <a:moveTo>
                      <a:pt x="378907" y="459672"/>
                    </a:moveTo>
                    <a:lnTo>
                      <a:pt x="320193" y="633588"/>
                    </a:lnTo>
                    <a:lnTo>
                      <a:pt x="437260" y="517525"/>
                    </a:lnTo>
                    <a:close/>
                    <a:moveTo>
                      <a:pt x="563814" y="456436"/>
                    </a:moveTo>
                    <a:lnTo>
                      <a:pt x="503411" y="516322"/>
                    </a:lnTo>
                    <a:lnTo>
                      <a:pt x="503410" y="518728"/>
                    </a:lnTo>
                    <a:lnTo>
                      <a:pt x="625812" y="640079"/>
                    </a:lnTo>
                    <a:close/>
                    <a:moveTo>
                      <a:pt x="503411" y="277517"/>
                    </a:moveTo>
                    <a:lnTo>
                      <a:pt x="503411" y="451941"/>
                    </a:lnTo>
                    <a:lnTo>
                      <a:pt x="547530" y="408201"/>
                    </a:lnTo>
                    <a:close/>
                    <a:moveTo>
                      <a:pt x="441498" y="274270"/>
                    </a:moveTo>
                    <a:lnTo>
                      <a:pt x="395191" y="411437"/>
                    </a:lnTo>
                    <a:lnTo>
                      <a:pt x="441499" y="457347"/>
                    </a:lnTo>
                    <a:close/>
                    <a:moveTo>
                      <a:pt x="471906" y="0"/>
                    </a:moveTo>
                    <a:cubicBezTo>
                      <a:pt x="491186" y="0"/>
                      <a:pt x="506817" y="15630"/>
                      <a:pt x="506817" y="34910"/>
                    </a:cubicBezTo>
                    <a:cubicBezTo>
                      <a:pt x="506816" y="49090"/>
                      <a:pt x="498363" y="61295"/>
                      <a:pt x="485132" y="64342"/>
                    </a:cubicBezTo>
                    <a:cubicBezTo>
                      <a:pt x="491821" y="64772"/>
                      <a:pt x="496693" y="69512"/>
                      <a:pt x="498695" y="76196"/>
                    </a:cubicBezTo>
                    <a:cubicBezTo>
                      <a:pt x="498749" y="76214"/>
                      <a:pt x="498767" y="76250"/>
                      <a:pt x="498776" y="76290"/>
                    </a:cubicBezTo>
                    <a:cubicBezTo>
                      <a:pt x="500921" y="76999"/>
                      <a:pt x="501573" y="78515"/>
                      <a:pt x="502109" y="80103"/>
                    </a:cubicBezTo>
                    <a:lnTo>
                      <a:pt x="942180" y="1383632"/>
                    </a:lnTo>
                    <a:cubicBezTo>
                      <a:pt x="947649" y="1399831"/>
                      <a:pt x="938951" y="1417395"/>
                      <a:pt x="922752" y="1422863"/>
                    </a:cubicBezTo>
                    <a:cubicBezTo>
                      <a:pt x="906553" y="1428332"/>
                      <a:pt x="888989" y="1419634"/>
                      <a:pt x="883520" y="1403435"/>
                    </a:cubicBezTo>
                    <a:lnTo>
                      <a:pt x="824817" y="1229549"/>
                    </a:lnTo>
                    <a:lnTo>
                      <a:pt x="646065" y="1052330"/>
                    </a:lnTo>
                    <a:lnTo>
                      <a:pt x="503411" y="1183000"/>
                    </a:lnTo>
                    <a:lnTo>
                      <a:pt x="503410" y="1510636"/>
                    </a:lnTo>
                    <a:cubicBezTo>
                      <a:pt x="503411" y="1527733"/>
                      <a:pt x="489552" y="1541592"/>
                      <a:pt x="472455" y="1541591"/>
                    </a:cubicBezTo>
                    <a:cubicBezTo>
                      <a:pt x="455357" y="1541591"/>
                      <a:pt x="441498" y="1527733"/>
                      <a:pt x="441499" y="1510636"/>
                    </a:cubicBezTo>
                    <a:lnTo>
                      <a:pt x="441499" y="1182647"/>
                    </a:lnTo>
                    <a:lnTo>
                      <a:pt x="296196" y="1049552"/>
                    </a:lnTo>
                    <a:lnTo>
                      <a:pt x="121188" y="1223058"/>
                    </a:lnTo>
                    <a:lnTo>
                      <a:pt x="60293" y="1403435"/>
                    </a:lnTo>
                    <a:cubicBezTo>
                      <a:pt x="54824" y="1419634"/>
                      <a:pt x="37260" y="1428332"/>
                      <a:pt x="21061" y="1422863"/>
                    </a:cubicBezTo>
                    <a:cubicBezTo>
                      <a:pt x="4863" y="1417394"/>
                      <a:pt x="-3835" y="1399830"/>
                      <a:pt x="1634" y="1383632"/>
                    </a:cubicBezTo>
                    <a:lnTo>
                      <a:pt x="441704" y="80103"/>
                    </a:lnTo>
                    <a:cubicBezTo>
                      <a:pt x="442240" y="78514"/>
                      <a:pt x="442893" y="76998"/>
                      <a:pt x="445037" y="76290"/>
                    </a:cubicBezTo>
                    <a:cubicBezTo>
                      <a:pt x="445047" y="76250"/>
                      <a:pt x="445064" y="76214"/>
                      <a:pt x="445119" y="76195"/>
                    </a:cubicBezTo>
                    <a:lnTo>
                      <a:pt x="458681" y="64342"/>
                    </a:lnTo>
                    <a:cubicBezTo>
                      <a:pt x="445450" y="61294"/>
                      <a:pt x="436997" y="49089"/>
                      <a:pt x="436997" y="34910"/>
                    </a:cubicBezTo>
                    <a:cubicBezTo>
                      <a:pt x="436997" y="15630"/>
                      <a:pt x="452626" y="0"/>
                      <a:pt x="471906"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03">
                  <a:defRPr/>
                </a:pPr>
                <a:endParaRPr lang="en-US" sz="1764" kern="0" dirty="0">
                  <a:solidFill>
                    <a:schemeClr val="tx1"/>
                  </a:solidFill>
                </a:endParaRPr>
              </a:p>
            </p:txBody>
          </p:sp>
          <p:grpSp>
            <p:nvGrpSpPr>
              <p:cNvPr id="405" name="Group 404"/>
              <p:cNvGrpSpPr/>
              <p:nvPr/>
            </p:nvGrpSpPr>
            <p:grpSpPr>
              <a:xfrm>
                <a:off x="4577514" y="2663776"/>
                <a:ext cx="986039" cy="708121"/>
                <a:chOff x="4577514" y="2663776"/>
                <a:chExt cx="986039" cy="708121"/>
              </a:xfrm>
              <a:grpFill/>
            </p:grpSpPr>
            <p:sp>
              <p:nvSpPr>
                <p:cNvPr id="406" name="Freeform 405"/>
                <p:cNvSpPr>
                  <a:spLocks noChangeArrowheads="1"/>
                </p:cNvSpPr>
                <p:nvPr/>
              </p:nvSpPr>
              <p:spPr bwMode="auto">
                <a:xfrm rot="5400000" flipH="1">
                  <a:off x="4912926" y="2721270"/>
                  <a:ext cx="706692" cy="594562"/>
                </a:xfrm>
                <a:custGeom>
                  <a:avLst/>
                  <a:gdLst>
                    <a:gd name="connsiteX0" fmla="*/ 1925912 w 3848648"/>
                    <a:gd name="connsiteY0" fmla="*/ 2280727 h 3237989"/>
                    <a:gd name="connsiteX1" fmla="*/ 1506812 w 3848648"/>
                    <a:gd name="connsiteY1" fmla="*/ 2698240 h 3237989"/>
                    <a:gd name="connsiteX2" fmla="*/ 1925912 w 3848648"/>
                    <a:gd name="connsiteY2" fmla="*/ 3115753 h 3237989"/>
                    <a:gd name="connsiteX3" fmla="*/ 2345012 w 3848648"/>
                    <a:gd name="connsiteY3" fmla="*/ 2698240 h 3237989"/>
                    <a:gd name="connsiteX4" fmla="*/ 1925912 w 3848648"/>
                    <a:gd name="connsiteY4" fmla="*/ 2280727 h 3237989"/>
                    <a:gd name="connsiteX5" fmla="*/ 1925118 w 3848648"/>
                    <a:gd name="connsiteY5" fmla="*/ 2158489 h 3237989"/>
                    <a:gd name="connsiteX6" fmla="*/ 2465662 w 3848648"/>
                    <a:gd name="connsiteY6" fmla="*/ 2698239 h 3237989"/>
                    <a:gd name="connsiteX7" fmla="*/ 1925118 w 3848648"/>
                    <a:gd name="connsiteY7" fmla="*/ 3237989 h 3237989"/>
                    <a:gd name="connsiteX8" fmla="*/ 1384574 w 3848648"/>
                    <a:gd name="connsiteY8" fmla="*/ 2698239 h 3237989"/>
                    <a:gd name="connsiteX9" fmla="*/ 1925118 w 3848648"/>
                    <a:gd name="connsiteY9" fmla="*/ 2158489 h 3237989"/>
                    <a:gd name="connsiteX10" fmla="*/ 1924773 w 3848648"/>
                    <a:gd name="connsiteY10" fmla="*/ 1438131 h 3237989"/>
                    <a:gd name="connsiteX11" fmla="*/ 2816009 w 3848648"/>
                    <a:gd name="connsiteY11" fmla="*/ 1805943 h 3237989"/>
                    <a:gd name="connsiteX12" fmla="*/ 2816009 w 3848648"/>
                    <a:gd name="connsiteY12" fmla="*/ 1894279 h 3237989"/>
                    <a:gd name="connsiteX13" fmla="*/ 2727911 w 3848648"/>
                    <a:gd name="connsiteY13" fmla="*/ 1894279 h 3237989"/>
                    <a:gd name="connsiteX14" fmla="*/ 1120875 w 3848648"/>
                    <a:gd name="connsiteY14" fmla="*/ 1894279 h 3237989"/>
                    <a:gd name="connsiteX15" fmla="*/ 1078345 w 3848648"/>
                    <a:gd name="connsiteY15" fmla="*/ 1909510 h 3237989"/>
                    <a:gd name="connsiteX16" fmla="*/ 1035815 w 3848648"/>
                    <a:gd name="connsiteY16" fmla="*/ 1894279 h 3237989"/>
                    <a:gd name="connsiteX17" fmla="*/ 1035815 w 3848648"/>
                    <a:gd name="connsiteY17" fmla="*/ 1805943 h 3237989"/>
                    <a:gd name="connsiteX18" fmla="*/ 1924773 w 3848648"/>
                    <a:gd name="connsiteY18" fmla="*/ 1438131 h 3237989"/>
                    <a:gd name="connsiteX19" fmla="*/ 1925119 w 3848648"/>
                    <a:gd name="connsiteY19" fmla="*/ 717039 h 3237989"/>
                    <a:gd name="connsiteX20" fmla="*/ 3322424 w 3848648"/>
                    <a:gd name="connsiteY20" fmla="*/ 1298085 h 3237989"/>
                    <a:gd name="connsiteX21" fmla="*/ 3322424 w 3848648"/>
                    <a:gd name="connsiteY21" fmla="*/ 1383265 h 3237989"/>
                    <a:gd name="connsiteX22" fmla="*/ 3237371 w 3848648"/>
                    <a:gd name="connsiteY22" fmla="*/ 1383265 h 3237989"/>
                    <a:gd name="connsiteX23" fmla="*/ 1925119 w 3848648"/>
                    <a:gd name="connsiteY23" fmla="*/ 838724 h 3237989"/>
                    <a:gd name="connsiteX24" fmla="*/ 612866 w 3848648"/>
                    <a:gd name="connsiteY24" fmla="*/ 1383265 h 3237989"/>
                    <a:gd name="connsiteX25" fmla="*/ 570339 w 3848648"/>
                    <a:gd name="connsiteY25" fmla="*/ 1401518 h 3237989"/>
                    <a:gd name="connsiteX26" fmla="*/ 527813 w 3848648"/>
                    <a:gd name="connsiteY26" fmla="*/ 1383265 h 3237989"/>
                    <a:gd name="connsiteX27" fmla="*/ 527813 w 3848648"/>
                    <a:gd name="connsiteY27" fmla="*/ 1298085 h 3237989"/>
                    <a:gd name="connsiteX28" fmla="*/ 1925119 w 3848648"/>
                    <a:gd name="connsiteY28" fmla="*/ 717039 h 3237989"/>
                    <a:gd name="connsiteX29" fmla="*/ 1925843 w 3848648"/>
                    <a:gd name="connsiteY29" fmla="*/ 0 h 3237989"/>
                    <a:gd name="connsiteX30" fmla="*/ 3830423 w 3848648"/>
                    <a:gd name="connsiteY30" fmla="*/ 790191 h 3237989"/>
                    <a:gd name="connsiteX31" fmla="*/ 3830423 w 3848648"/>
                    <a:gd name="connsiteY31" fmla="*/ 875288 h 3237989"/>
                    <a:gd name="connsiteX32" fmla="*/ 3787897 w 3848648"/>
                    <a:gd name="connsiteY32" fmla="*/ 893523 h 3237989"/>
                    <a:gd name="connsiteX33" fmla="*/ 3745370 w 3848648"/>
                    <a:gd name="connsiteY33" fmla="*/ 875288 h 3237989"/>
                    <a:gd name="connsiteX34" fmla="*/ 103278 w 3848648"/>
                    <a:gd name="connsiteY34" fmla="*/ 875288 h 3237989"/>
                    <a:gd name="connsiteX35" fmla="*/ 18225 w 3848648"/>
                    <a:gd name="connsiteY35" fmla="*/ 875288 h 3237989"/>
                    <a:gd name="connsiteX36" fmla="*/ 18225 w 3848648"/>
                    <a:gd name="connsiteY36" fmla="*/ 790191 h 3237989"/>
                    <a:gd name="connsiteX37" fmla="*/ 1925843 w 3848648"/>
                    <a:gd name="connsiteY37" fmla="*/ 0 h 3237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848648" h="3237989">
                      <a:moveTo>
                        <a:pt x="1925912" y="2280727"/>
                      </a:moveTo>
                      <a:cubicBezTo>
                        <a:pt x="1694449" y="2280727"/>
                        <a:pt x="1506812" y="2467654"/>
                        <a:pt x="1506812" y="2698240"/>
                      </a:cubicBezTo>
                      <a:cubicBezTo>
                        <a:pt x="1506812" y="2928826"/>
                        <a:pt x="1694449" y="3115753"/>
                        <a:pt x="1925912" y="3115753"/>
                      </a:cubicBezTo>
                      <a:cubicBezTo>
                        <a:pt x="2157375" y="3115753"/>
                        <a:pt x="2345012" y="2928826"/>
                        <a:pt x="2345012" y="2698240"/>
                      </a:cubicBezTo>
                      <a:cubicBezTo>
                        <a:pt x="2345012" y="2467654"/>
                        <a:pt x="2157375" y="2280727"/>
                        <a:pt x="1925912" y="2280727"/>
                      </a:cubicBezTo>
                      <a:close/>
                      <a:moveTo>
                        <a:pt x="1925118" y="2158489"/>
                      </a:moveTo>
                      <a:cubicBezTo>
                        <a:pt x="2223652" y="2158489"/>
                        <a:pt x="2465662" y="2400143"/>
                        <a:pt x="2465662" y="2698239"/>
                      </a:cubicBezTo>
                      <a:cubicBezTo>
                        <a:pt x="2465662" y="2996335"/>
                        <a:pt x="2223652" y="3237989"/>
                        <a:pt x="1925118" y="3237989"/>
                      </a:cubicBezTo>
                      <a:cubicBezTo>
                        <a:pt x="1626584" y="3237989"/>
                        <a:pt x="1384574" y="2996335"/>
                        <a:pt x="1384574" y="2698239"/>
                      </a:cubicBezTo>
                      <a:cubicBezTo>
                        <a:pt x="1384574" y="2400143"/>
                        <a:pt x="1626584" y="2158489"/>
                        <a:pt x="1925118" y="2158489"/>
                      </a:cubicBezTo>
                      <a:close/>
                      <a:moveTo>
                        <a:pt x="1924773" y="1438131"/>
                      </a:moveTo>
                      <a:cubicBezTo>
                        <a:pt x="2247167" y="1438131"/>
                        <a:pt x="2569942" y="1560735"/>
                        <a:pt x="2816009" y="1805943"/>
                      </a:cubicBezTo>
                      <a:cubicBezTo>
                        <a:pt x="2840312" y="1830312"/>
                        <a:pt x="2840312" y="1869911"/>
                        <a:pt x="2816009" y="1894279"/>
                      </a:cubicBezTo>
                      <a:cubicBezTo>
                        <a:pt x="2791706" y="1915602"/>
                        <a:pt x="2752214" y="1915602"/>
                        <a:pt x="2727911" y="1894279"/>
                      </a:cubicBezTo>
                      <a:cubicBezTo>
                        <a:pt x="2287419" y="1449554"/>
                        <a:pt x="1564405" y="1449554"/>
                        <a:pt x="1120875" y="1894279"/>
                      </a:cubicBezTo>
                      <a:cubicBezTo>
                        <a:pt x="1108724" y="1903418"/>
                        <a:pt x="1093534" y="1909510"/>
                        <a:pt x="1078345" y="1909510"/>
                      </a:cubicBezTo>
                      <a:cubicBezTo>
                        <a:pt x="1063156" y="1909510"/>
                        <a:pt x="1047966" y="1903418"/>
                        <a:pt x="1035815" y="1894279"/>
                      </a:cubicBezTo>
                      <a:cubicBezTo>
                        <a:pt x="1011512" y="1869911"/>
                        <a:pt x="1011512" y="1830312"/>
                        <a:pt x="1035815" y="1805943"/>
                      </a:cubicBezTo>
                      <a:cubicBezTo>
                        <a:pt x="1280364" y="1560735"/>
                        <a:pt x="1602379" y="1438131"/>
                        <a:pt x="1924773" y="1438131"/>
                      </a:cubicBezTo>
                      <a:close/>
                      <a:moveTo>
                        <a:pt x="1925119" y="717039"/>
                      </a:moveTo>
                      <a:cubicBezTo>
                        <a:pt x="2453665" y="717039"/>
                        <a:pt x="2948797" y="923904"/>
                        <a:pt x="3322424" y="1298085"/>
                      </a:cubicBezTo>
                      <a:cubicBezTo>
                        <a:pt x="3346725" y="1322422"/>
                        <a:pt x="3346725" y="1358928"/>
                        <a:pt x="3322424" y="1383265"/>
                      </a:cubicBezTo>
                      <a:cubicBezTo>
                        <a:pt x="3298123" y="1407602"/>
                        <a:pt x="3261672" y="1407602"/>
                        <a:pt x="3237371" y="1383265"/>
                      </a:cubicBezTo>
                      <a:cubicBezTo>
                        <a:pt x="2885007" y="1033420"/>
                        <a:pt x="2420251" y="838724"/>
                        <a:pt x="1925119" y="838724"/>
                      </a:cubicBezTo>
                      <a:cubicBezTo>
                        <a:pt x="1429987" y="838724"/>
                        <a:pt x="962192" y="1033420"/>
                        <a:pt x="612866" y="1383265"/>
                      </a:cubicBezTo>
                      <a:cubicBezTo>
                        <a:pt x="600716" y="1395433"/>
                        <a:pt x="585528" y="1401518"/>
                        <a:pt x="570339" y="1401518"/>
                      </a:cubicBezTo>
                      <a:cubicBezTo>
                        <a:pt x="555151" y="1401518"/>
                        <a:pt x="536926" y="1395433"/>
                        <a:pt x="527813" y="1383265"/>
                      </a:cubicBezTo>
                      <a:cubicBezTo>
                        <a:pt x="503512" y="1358928"/>
                        <a:pt x="503512" y="1322422"/>
                        <a:pt x="527813" y="1298085"/>
                      </a:cubicBezTo>
                      <a:cubicBezTo>
                        <a:pt x="898402" y="923904"/>
                        <a:pt x="1396573" y="717039"/>
                        <a:pt x="1925119" y="717039"/>
                      </a:cubicBezTo>
                      <a:close/>
                      <a:moveTo>
                        <a:pt x="1925843" y="0"/>
                      </a:moveTo>
                      <a:cubicBezTo>
                        <a:pt x="2645756" y="0"/>
                        <a:pt x="3323143" y="279606"/>
                        <a:pt x="3830423" y="790191"/>
                      </a:cubicBezTo>
                      <a:cubicBezTo>
                        <a:pt x="3854724" y="814504"/>
                        <a:pt x="3854724" y="850975"/>
                        <a:pt x="3830423" y="875288"/>
                      </a:cubicBezTo>
                      <a:cubicBezTo>
                        <a:pt x="3818273" y="887445"/>
                        <a:pt x="3803085" y="893523"/>
                        <a:pt x="3787897" y="893523"/>
                      </a:cubicBezTo>
                      <a:cubicBezTo>
                        <a:pt x="3772709" y="893523"/>
                        <a:pt x="3757521" y="887445"/>
                        <a:pt x="3745370" y="875288"/>
                      </a:cubicBezTo>
                      <a:cubicBezTo>
                        <a:pt x="2742960" y="-127647"/>
                        <a:pt x="1108726" y="-130686"/>
                        <a:pt x="103278" y="875288"/>
                      </a:cubicBezTo>
                      <a:cubicBezTo>
                        <a:pt x="82014" y="899602"/>
                        <a:pt x="42525" y="899602"/>
                        <a:pt x="18225" y="875288"/>
                      </a:cubicBezTo>
                      <a:cubicBezTo>
                        <a:pt x="-6076" y="850975"/>
                        <a:pt x="-6076" y="811465"/>
                        <a:pt x="18225" y="790191"/>
                      </a:cubicBezTo>
                      <a:cubicBezTo>
                        <a:pt x="528543" y="279606"/>
                        <a:pt x="1205929" y="0"/>
                        <a:pt x="1925843" y="0"/>
                      </a:cubicBezTo>
                      <a:close/>
                    </a:path>
                  </a:pathLst>
                </a:custGeom>
                <a:grpFill/>
                <a:ln>
                  <a:noFill/>
                </a:ln>
              </p:spPr>
              <p:txBody>
                <a:bodyPr vert="horz" wrap="square" lIns="89619" tIns="44810" rIns="89619" bIns="44810" numCol="1" anchor="t" anchorCtr="0" compatLnSpc="1">
                  <a:prstTxWarp prst="textNoShape">
                    <a:avLst/>
                  </a:prstTxWarp>
                  <a:noAutofit/>
                </a:bodyPr>
                <a:lstStyle/>
                <a:p>
                  <a:pPr defTabSz="896203">
                    <a:defRPr/>
                  </a:pPr>
                  <a:endParaRPr lang="en-US" sz="1764" kern="0" dirty="0">
                    <a:solidFill>
                      <a:sysClr val="windowText" lastClr="000000"/>
                    </a:solidFill>
                  </a:endParaRPr>
                </a:p>
              </p:txBody>
            </p:sp>
            <p:sp>
              <p:nvSpPr>
                <p:cNvPr id="407" name="Freeform 406"/>
                <p:cNvSpPr>
                  <a:spLocks noChangeArrowheads="1"/>
                </p:cNvSpPr>
                <p:nvPr/>
              </p:nvSpPr>
              <p:spPr bwMode="auto">
                <a:xfrm rot="16200000" flipH="1">
                  <a:off x="4521449" y="2719841"/>
                  <a:ext cx="706692" cy="594562"/>
                </a:xfrm>
                <a:custGeom>
                  <a:avLst/>
                  <a:gdLst>
                    <a:gd name="connsiteX0" fmla="*/ 1925912 w 3848648"/>
                    <a:gd name="connsiteY0" fmla="*/ 2280727 h 3237989"/>
                    <a:gd name="connsiteX1" fmla="*/ 1506812 w 3848648"/>
                    <a:gd name="connsiteY1" fmla="*/ 2698240 h 3237989"/>
                    <a:gd name="connsiteX2" fmla="*/ 1925912 w 3848648"/>
                    <a:gd name="connsiteY2" fmla="*/ 3115753 h 3237989"/>
                    <a:gd name="connsiteX3" fmla="*/ 2345012 w 3848648"/>
                    <a:gd name="connsiteY3" fmla="*/ 2698240 h 3237989"/>
                    <a:gd name="connsiteX4" fmla="*/ 1925912 w 3848648"/>
                    <a:gd name="connsiteY4" fmla="*/ 2280727 h 3237989"/>
                    <a:gd name="connsiteX5" fmla="*/ 1925118 w 3848648"/>
                    <a:gd name="connsiteY5" fmla="*/ 2158489 h 3237989"/>
                    <a:gd name="connsiteX6" fmla="*/ 2465662 w 3848648"/>
                    <a:gd name="connsiteY6" fmla="*/ 2698239 h 3237989"/>
                    <a:gd name="connsiteX7" fmla="*/ 1925118 w 3848648"/>
                    <a:gd name="connsiteY7" fmla="*/ 3237989 h 3237989"/>
                    <a:gd name="connsiteX8" fmla="*/ 1384574 w 3848648"/>
                    <a:gd name="connsiteY8" fmla="*/ 2698239 h 3237989"/>
                    <a:gd name="connsiteX9" fmla="*/ 1925118 w 3848648"/>
                    <a:gd name="connsiteY9" fmla="*/ 2158489 h 3237989"/>
                    <a:gd name="connsiteX10" fmla="*/ 1924773 w 3848648"/>
                    <a:gd name="connsiteY10" fmla="*/ 1438131 h 3237989"/>
                    <a:gd name="connsiteX11" fmla="*/ 2816009 w 3848648"/>
                    <a:gd name="connsiteY11" fmla="*/ 1805943 h 3237989"/>
                    <a:gd name="connsiteX12" fmla="*/ 2816009 w 3848648"/>
                    <a:gd name="connsiteY12" fmla="*/ 1894279 h 3237989"/>
                    <a:gd name="connsiteX13" fmla="*/ 2727911 w 3848648"/>
                    <a:gd name="connsiteY13" fmla="*/ 1894279 h 3237989"/>
                    <a:gd name="connsiteX14" fmla="*/ 1120875 w 3848648"/>
                    <a:gd name="connsiteY14" fmla="*/ 1894279 h 3237989"/>
                    <a:gd name="connsiteX15" fmla="*/ 1078345 w 3848648"/>
                    <a:gd name="connsiteY15" fmla="*/ 1909510 h 3237989"/>
                    <a:gd name="connsiteX16" fmla="*/ 1035815 w 3848648"/>
                    <a:gd name="connsiteY16" fmla="*/ 1894279 h 3237989"/>
                    <a:gd name="connsiteX17" fmla="*/ 1035815 w 3848648"/>
                    <a:gd name="connsiteY17" fmla="*/ 1805943 h 3237989"/>
                    <a:gd name="connsiteX18" fmla="*/ 1924773 w 3848648"/>
                    <a:gd name="connsiteY18" fmla="*/ 1438131 h 3237989"/>
                    <a:gd name="connsiteX19" fmla="*/ 1925119 w 3848648"/>
                    <a:gd name="connsiteY19" fmla="*/ 717039 h 3237989"/>
                    <a:gd name="connsiteX20" fmla="*/ 3322424 w 3848648"/>
                    <a:gd name="connsiteY20" fmla="*/ 1298085 h 3237989"/>
                    <a:gd name="connsiteX21" fmla="*/ 3322424 w 3848648"/>
                    <a:gd name="connsiteY21" fmla="*/ 1383265 h 3237989"/>
                    <a:gd name="connsiteX22" fmla="*/ 3237371 w 3848648"/>
                    <a:gd name="connsiteY22" fmla="*/ 1383265 h 3237989"/>
                    <a:gd name="connsiteX23" fmla="*/ 1925119 w 3848648"/>
                    <a:gd name="connsiteY23" fmla="*/ 838724 h 3237989"/>
                    <a:gd name="connsiteX24" fmla="*/ 612866 w 3848648"/>
                    <a:gd name="connsiteY24" fmla="*/ 1383265 h 3237989"/>
                    <a:gd name="connsiteX25" fmla="*/ 570339 w 3848648"/>
                    <a:gd name="connsiteY25" fmla="*/ 1401518 h 3237989"/>
                    <a:gd name="connsiteX26" fmla="*/ 527813 w 3848648"/>
                    <a:gd name="connsiteY26" fmla="*/ 1383265 h 3237989"/>
                    <a:gd name="connsiteX27" fmla="*/ 527813 w 3848648"/>
                    <a:gd name="connsiteY27" fmla="*/ 1298085 h 3237989"/>
                    <a:gd name="connsiteX28" fmla="*/ 1925119 w 3848648"/>
                    <a:gd name="connsiteY28" fmla="*/ 717039 h 3237989"/>
                    <a:gd name="connsiteX29" fmla="*/ 1925843 w 3848648"/>
                    <a:gd name="connsiteY29" fmla="*/ 0 h 3237989"/>
                    <a:gd name="connsiteX30" fmla="*/ 3830423 w 3848648"/>
                    <a:gd name="connsiteY30" fmla="*/ 790191 h 3237989"/>
                    <a:gd name="connsiteX31" fmla="*/ 3830423 w 3848648"/>
                    <a:gd name="connsiteY31" fmla="*/ 875288 h 3237989"/>
                    <a:gd name="connsiteX32" fmla="*/ 3787897 w 3848648"/>
                    <a:gd name="connsiteY32" fmla="*/ 893523 h 3237989"/>
                    <a:gd name="connsiteX33" fmla="*/ 3745370 w 3848648"/>
                    <a:gd name="connsiteY33" fmla="*/ 875288 h 3237989"/>
                    <a:gd name="connsiteX34" fmla="*/ 103278 w 3848648"/>
                    <a:gd name="connsiteY34" fmla="*/ 875288 h 3237989"/>
                    <a:gd name="connsiteX35" fmla="*/ 18225 w 3848648"/>
                    <a:gd name="connsiteY35" fmla="*/ 875288 h 3237989"/>
                    <a:gd name="connsiteX36" fmla="*/ 18225 w 3848648"/>
                    <a:gd name="connsiteY36" fmla="*/ 790191 h 3237989"/>
                    <a:gd name="connsiteX37" fmla="*/ 1925843 w 3848648"/>
                    <a:gd name="connsiteY37" fmla="*/ 0 h 3237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848648" h="3237989">
                      <a:moveTo>
                        <a:pt x="1925912" y="2280727"/>
                      </a:moveTo>
                      <a:cubicBezTo>
                        <a:pt x="1694449" y="2280727"/>
                        <a:pt x="1506812" y="2467654"/>
                        <a:pt x="1506812" y="2698240"/>
                      </a:cubicBezTo>
                      <a:cubicBezTo>
                        <a:pt x="1506812" y="2928826"/>
                        <a:pt x="1694449" y="3115753"/>
                        <a:pt x="1925912" y="3115753"/>
                      </a:cubicBezTo>
                      <a:cubicBezTo>
                        <a:pt x="2157375" y="3115753"/>
                        <a:pt x="2345012" y="2928826"/>
                        <a:pt x="2345012" y="2698240"/>
                      </a:cubicBezTo>
                      <a:cubicBezTo>
                        <a:pt x="2345012" y="2467654"/>
                        <a:pt x="2157375" y="2280727"/>
                        <a:pt x="1925912" y="2280727"/>
                      </a:cubicBezTo>
                      <a:close/>
                      <a:moveTo>
                        <a:pt x="1925118" y="2158489"/>
                      </a:moveTo>
                      <a:cubicBezTo>
                        <a:pt x="2223652" y="2158489"/>
                        <a:pt x="2465662" y="2400143"/>
                        <a:pt x="2465662" y="2698239"/>
                      </a:cubicBezTo>
                      <a:cubicBezTo>
                        <a:pt x="2465662" y="2996335"/>
                        <a:pt x="2223652" y="3237989"/>
                        <a:pt x="1925118" y="3237989"/>
                      </a:cubicBezTo>
                      <a:cubicBezTo>
                        <a:pt x="1626584" y="3237989"/>
                        <a:pt x="1384574" y="2996335"/>
                        <a:pt x="1384574" y="2698239"/>
                      </a:cubicBezTo>
                      <a:cubicBezTo>
                        <a:pt x="1384574" y="2400143"/>
                        <a:pt x="1626584" y="2158489"/>
                        <a:pt x="1925118" y="2158489"/>
                      </a:cubicBezTo>
                      <a:close/>
                      <a:moveTo>
                        <a:pt x="1924773" y="1438131"/>
                      </a:moveTo>
                      <a:cubicBezTo>
                        <a:pt x="2247167" y="1438131"/>
                        <a:pt x="2569942" y="1560735"/>
                        <a:pt x="2816009" y="1805943"/>
                      </a:cubicBezTo>
                      <a:cubicBezTo>
                        <a:pt x="2840312" y="1830312"/>
                        <a:pt x="2840312" y="1869911"/>
                        <a:pt x="2816009" y="1894279"/>
                      </a:cubicBezTo>
                      <a:cubicBezTo>
                        <a:pt x="2791706" y="1915602"/>
                        <a:pt x="2752214" y="1915602"/>
                        <a:pt x="2727911" y="1894279"/>
                      </a:cubicBezTo>
                      <a:cubicBezTo>
                        <a:pt x="2287419" y="1449554"/>
                        <a:pt x="1564405" y="1449554"/>
                        <a:pt x="1120875" y="1894279"/>
                      </a:cubicBezTo>
                      <a:cubicBezTo>
                        <a:pt x="1108724" y="1903418"/>
                        <a:pt x="1093534" y="1909510"/>
                        <a:pt x="1078345" y="1909510"/>
                      </a:cubicBezTo>
                      <a:cubicBezTo>
                        <a:pt x="1063156" y="1909510"/>
                        <a:pt x="1047966" y="1903418"/>
                        <a:pt x="1035815" y="1894279"/>
                      </a:cubicBezTo>
                      <a:cubicBezTo>
                        <a:pt x="1011512" y="1869911"/>
                        <a:pt x="1011512" y="1830312"/>
                        <a:pt x="1035815" y="1805943"/>
                      </a:cubicBezTo>
                      <a:cubicBezTo>
                        <a:pt x="1280364" y="1560735"/>
                        <a:pt x="1602379" y="1438131"/>
                        <a:pt x="1924773" y="1438131"/>
                      </a:cubicBezTo>
                      <a:close/>
                      <a:moveTo>
                        <a:pt x="1925119" y="717039"/>
                      </a:moveTo>
                      <a:cubicBezTo>
                        <a:pt x="2453665" y="717039"/>
                        <a:pt x="2948797" y="923904"/>
                        <a:pt x="3322424" y="1298085"/>
                      </a:cubicBezTo>
                      <a:cubicBezTo>
                        <a:pt x="3346725" y="1322422"/>
                        <a:pt x="3346725" y="1358928"/>
                        <a:pt x="3322424" y="1383265"/>
                      </a:cubicBezTo>
                      <a:cubicBezTo>
                        <a:pt x="3298123" y="1407602"/>
                        <a:pt x="3261672" y="1407602"/>
                        <a:pt x="3237371" y="1383265"/>
                      </a:cubicBezTo>
                      <a:cubicBezTo>
                        <a:pt x="2885007" y="1033420"/>
                        <a:pt x="2420251" y="838724"/>
                        <a:pt x="1925119" y="838724"/>
                      </a:cubicBezTo>
                      <a:cubicBezTo>
                        <a:pt x="1429987" y="838724"/>
                        <a:pt x="962192" y="1033420"/>
                        <a:pt x="612866" y="1383265"/>
                      </a:cubicBezTo>
                      <a:cubicBezTo>
                        <a:pt x="600716" y="1395433"/>
                        <a:pt x="585528" y="1401518"/>
                        <a:pt x="570339" y="1401518"/>
                      </a:cubicBezTo>
                      <a:cubicBezTo>
                        <a:pt x="555151" y="1401518"/>
                        <a:pt x="536926" y="1395433"/>
                        <a:pt x="527813" y="1383265"/>
                      </a:cubicBezTo>
                      <a:cubicBezTo>
                        <a:pt x="503512" y="1358928"/>
                        <a:pt x="503512" y="1322422"/>
                        <a:pt x="527813" y="1298085"/>
                      </a:cubicBezTo>
                      <a:cubicBezTo>
                        <a:pt x="898402" y="923904"/>
                        <a:pt x="1396573" y="717039"/>
                        <a:pt x="1925119" y="717039"/>
                      </a:cubicBezTo>
                      <a:close/>
                      <a:moveTo>
                        <a:pt x="1925843" y="0"/>
                      </a:moveTo>
                      <a:cubicBezTo>
                        <a:pt x="2645756" y="0"/>
                        <a:pt x="3323143" y="279606"/>
                        <a:pt x="3830423" y="790191"/>
                      </a:cubicBezTo>
                      <a:cubicBezTo>
                        <a:pt x="3854724" y="814504"/>
                        <a:pt x="3854724" y="850975"/>
                        <a:pt x="3830423" y="875288"/>
                      </a:cubicBezTo>
                      <a:cubicBezTo>
                        <a:pt x="3818273" y="887445"/>
                        <a:pt x="3803085" y="893523"/>
                        <a:pt x="3787897" y="893523"/>
                      </a:cubicBezTo>
                      <a:cubicBezTo>
                        <a:pt x="3772709" y="893523"/>
                        <a:pt x="3757521" y="887445"/>
                        <a:pt x="3745370" y="875288"/>
                      </a:cubicBezTo>
                      <a:cubicBezTo>
                        <a:pt x="2742960" y="-127647"/>
                        <a:pt x="1108726" y="-130686"/>
                        <a:pt x="103278" y="875288"/>
                      </a:cubicBezTo>
                      <a:cubicBezTo>
                        <a:pt x="82014" y="899602"/>
                        <a:pt x="42525" y="899602"/>
                        <a:pt x="18225" y="875288"/>
                      </a:cubicBezTo>
                      <a:cubicBezTo>
                        <a:pt x="-6076" y="850975"/>
                        <a:pt x="-6076" y="811465"/>
                        <a:pt x="18225" y="790191"/>
                      </a:cubicBezTo>
                      <a:cubicBezTo>
                        <a:pt x="528543" y="279606"/>
                        <a:pt x="1205929" y="0"/>
                        <a:pt x="1925843" y="0"/>
                      </a:cubicBezTo>
                      <a:close/>
                    </a:path>
                  </a:pathLst>
                </a:custGeom>
                <a:grpFill/>
                <a:ln>
                  <a:noFill/>
                </a:ln>
              </p:spPr>
              <p:txBody>
                <a:bodyPr vert="horz" wrap="square" lIns="89619" tIns="44810" rIns="89619" bIns="44810" numCol="1" anchor="t" anchorCtr="0" compatLnSpc="1">
                  <a:prstTxWarp prst="textNoShape">
                    <a:avLst/>
                  </a:prstTxWarp>
                  <a:noAutofit/>
                </a:bodyPr>
                <a:lstStyle/>
                <a:p>
                  <a:pPr defTabSz="896203">
                    <a:defRPr/>
                  </a:pPr>
                  <a:endParaRPr lang="en-US" sz="1764" kern="0" dirty="0">
                    <a:solidFill>
                      <a:sysClr val="windowText" lastClr="000000"/>
                    </a:solidFill>
                  </a:endParaRPr>
                </a:p>
              </p:txBody>
            </p:sp>
          </p:grpSp>
        </p:grpSp>
        <p:sp>
          <p:nvSpPr>
            <p:cNvPr id="408" name="Freeform 407"/>
            <p:cNvSpPr>
              <a:spLocks/>
            </p:cNvSpPr>
            <p:nvPr/>
          </p:nvSpPr>
          <p:spPr bwMode="auto">
            <a:xfrm>
              <a:off x="4602268" y="2704331"/>
              <a:ext cx="419729" cy="238955"/>
            </a:xfrm>
            <a:custGeom>
              <a:avLst/>
              <a:gdLst>
                <a:gd name="connsiteX0" fmla="*/ 1624088 w 3848100"/>
                <a:gd name="connsiteY0" fmla="*/ 122238 h 2190750"/>
                <a:gd name="connsiteX1" fmla="*/ 861739 w 3848100"/>
                <a:gd name="connsiteY1" fmla="*/ 624012 h 2190750"/>
                <a:gd name="connsiteX2" fmla="*/ 816180 w 3848100"/>
                <a:gd name="connsiteY2" fmla="*/ 769983 h 2190750"/>
                <a:gd name="connsiteX3" fmla="*/ 755435 w 3848100"/>
                <a:gd name="connsiteY3" fmla="*/ 812558 h 2190750"/>
                <a:gd name="connsiteX4" fmla="*/ 749360 w 3848100"/>
                <a:gd name="connsiteY4" fmla="*/ 812558 h 2190750"/>
                <a:gd name="connsiteX5" fmla="*/ 120650 w 3848100"/>
                <a:gd name="connsiteY5" fmla="*/ 1442056 h 2190750"/>
                <a:gd name="connsiteX6" fmla="*/ 685578 w 3848100"/>
                <a:gd name="connsiteY6" fmla="*/ 2065472 h 2190750"/>
                <a:gd name="connsiteX7" fmla="*/ 740249 w 3848100"/>
                <a:gd name="connsiteY7" fmla="*/ 2068513 h 2190750"/>
                <a:gd name="connsiteX8" fmla="*/ 746323 w 3848100"/>
                <a:gd name="connsiteY8" fmla="*/ 2068513 h 2190750"/>
                <a:gd name="connsiteX9" fmla="*/ 3343170 w 3848100"/>
                <a:gd name="connsiteY9" fmla="*/ 2068513 h 2190750"/>
                <a:gd name="connsiteX10" fmla="*/ 3349244 w 3848100"/>
                <a:gd name="connsiteY10" fmla="*/ 2068513 h 2190750"/>
                <a:gd name="connsiteX11" fmla="*/ 3422138 w 3848100"/>
                <a:gd name="connsiteY11" fmla="*/ 2062431 h 2190750"/>
                <a:gd name="connsiteX12" fmla="*/ 3725863 w 3848100"/>
                <a:gd name="connsiteY12" fmla="*/ 1685340 h 2190750"/>
                <a:gd name="connsiteX13" fmla="*/ 3422138 w 3848100"/>
                <a:gd name="connsiteY13" fmla="*/ 1311291 h 2190750"/>
                <a:gd name="connsiteX14" fmla="*/ 3382654 w 3848100"/>
                <a:gd name="connsiteY14" fmla="*/ 1308250 h 2190750"/>
                <a:gd name="connsiteX15" fmla="*/ 3327984 w 3848100"/>
                <a:gd name="connsiteY15" fmla="*/ 1253511 h 2190750"/>
                <a:gd name="connsiteX16" fmla="*/ 3324946 w 3848100"/>
                <a:gd name="connsiteY16" fmla="*/ 1207895 h 2190750"/>
                <a:gd name="connsiteX17" fmla="*/ 2720534 w 3848100"/>
                <a:gd name="connsiteY17" fmla="*/ 718285 h 2190750"/>
                <a:gd name="connsiteX18" fmla="*/ 2538299 w 3848100"/>
                <a:gd name="connsiteY18" fmla="*/ 745654 h 2190750"/>
                <a:gd name="connsiteX19" fmla="*/ 2495778 w 3848100"/>
                <a:gd name="connsiteY19" fmla="*/ 760860 h 2190750"/>
                <a:gd name="connsiteX20" fmla="*/ 2447182 w 3848100"/>
                <a:gd name="connsiteY20" fmla="*/ 760860 h 2190750"/>
                <a:gd name="connsiteX21" fmla="*/ 2416809 w 3848100"/>
                <a:gd name="connsiteY21" fmla="*/ 724367 h 2190750"/>
                <a:gd name="connsiteX22" fmla="*/ 2386437 w 3848100"/>
                <a:gd name="connsiteY22" fmla="*/ 624012 h 2190750"/>
                <a:gd name="connsiteX23" fmla="*/ 1624088 w 3848100"/>
                <a:gd name="connsiteY23" fmla="*/ 122238 h 2190750"/>
                <a:gd name="connsiteX24" fmla="*/ 1624889 w 3848100"/>
                <a:gd name="connsiteY24" fmla="*/ 0 h 2190750"/>
                <a:gd name="connsiteX25" fmla="*/ 2499595 w 3848100"/>
                <a:gd name="connsiteY25" fmla="*/ 581157 h 2190750"/>
                <a:gd name="connsiteX26" fmla="*/ 2499595 w 3848100"/>
                <a:gd name="connsiteY26" fmla="*/ 587243 h 2190750"/>
                <a:gd name="connsiteX27" fmla="*/ 2514781 w 3848100"/>
                <a:gd name="connsiteY27" fmla="*/ 626798 h 2190750"/>
                <a:gd name="connsiteX28" fmla="*/ 2721308 w 3848100"/>
                <a:gd name="connsiteY28" fmla="*/ 596371 h 2190750"/>
                <a:gd name="connsiteX29" fmla="*/ 3444156 w 3848100"/>
                <a:gd name="connsiteY29" fmla="*/ 1186656 h 2190750"/>
                <a:gd name="connsiteX30" fmla="*/ 3447193 w 3848100"/>
                <a:gd name="connsiteY30" fmla="*/ 1192742 h 2190750"/>
                <a:gd name="connsiteX31" fmla="*/ 3848100 w 3848100"/>
                <a:gd name="connsiteY31" fmla="*/ 1685661 h 2190750"/>
                <a:gd name="connsiteX32" fmla="*/ 3444156 w 3848100"/>
                <a:gd name="connsiteY32" fmla="*/ 2181622 h 2190750"/>
                <a:gd name="connsiteX33" fmla="*/ 3438082 w 3848100"/>
                <a:gd name="connsiteY33" fmla="*/ 2181622 h 2190750"/>
                <a:gd name="connsiteX34" fmla="*/ 3374301 w 3848100"/>
                <a:gd name="connsiteY34" fmla="*/ 2187707 h 2190750"/>
                <a:gd name="connsiteX35" fmla="*/ 3356078 w 3848100"/>
                <a:gd name="connsiteY35" fmla="*/ 2190750 h 2190750"/>
                <a:gd name="connsiteX36" fmla="*/ 738034 w 3848100"/>
                <a:gd name="connsiteY36" fmla="*/ 2190750 h 2190750"/>
                <a:gd name="connsiteX37" fmla="*/ 722848 w 3848100"/>
                <a:gd name="connsiteY37" fmla="*/ 2190750 h 2190750"/>
                <a:gd name="connsiteX38" fmla="*/ 677290 w 3848100"/>
                <a:gd name="connsiteY38" fmla="*/ 2187707 h 2190750"/>
                <a:gd name="connsiteX39" fmla="*/ 674253 w 3848100"/>
                <a:gd name="connsiteY39" fmla="*/ 2187707 h 2190750"/>
                <a:gd name="connsiteX40" fmla="*/ 0 w 3848100"/>
                <a:gd name="connsiteY40" fmla="*/ 1442244 h 2190750"/>
                <a:gd name="connsiteX41" fmla="*/ 716773 w 3848100"/>
                <a:gd name="connsiteY41" fmla="*/ 690695 h 2190750"/>
                <a:gd name="connsiteX42" fmla="*/ 747145 w 3848100"/>
                <a:gd name="connsiteY42" fmla="*/ 587243 h 2190750"/>
                <a:gd name="connsiteX43" fmla="*/ 750182 w 3848100"/>
                <a:gd name="connsiteY43" fmla="*/ 581157 h 2190750"/>
                <a:gd name="connsiteX44" fmla="*/ 1624889 w 3848100"/>
                <a:gd name="connsiteY44" fmla="*/ 0 h 2190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848100" h="2190750">
                  <a:moveTo>
                    <a:pt x="1624088" y="122238"/>
                  </a:moveTo>
                  <a:cubicBezTo>
                    <a:pt x="1293028" y="122238"/>
                    <a:pt x="992340" y="319907"/>
                    <a:pt x="861739" y="624012"/>
                  </a:cubicBezTo>
                  <a:cubicBezTo>
                    <a:pt x="816180" y="769983"/>
                    <a:pt x="816180" y="769983"/>
                    <a:pt x="816180" y="769983"/>
                  </a:cubicBezTo>
                  <a:cubicBezTo>
                    <a:pt x="810105" y="797352"/>
                    <a:pt x="782770" y="815599"/>
                    <a:pt x="755435" y="812558"/>
                  </a:cubicBezTo>
                  <a:cubicBezTo>
                    <a:pt x="749360" y="812558"/>
                    <a:pt x="749360" y="812558"/>
                    <a:pt x="749360" y="812558"/>
                  </a:cubicBezTo>
                  <a:cubicBezTo>
                    <a:pt x="403114" y="812558"/>
                    <a:pt x="120650" y="1095376"/>
                    <a:pt x="120650" y="1442056"/>
                  </a:cubicBezTo>
                  <a:cubicBezTo>
                    <a:pt x="120650" y="1764408"/>
                    <a:pt x="363630" y="2032021"/>
                    <a:pt x="685578" y="2065472"/>
                  </a:cubicBezTo>
                  <a:cubicBezTo>
                    <a:pt x="740249" y="2068513"/>
                    <a:pt x="740249" y="2068513"/>
                    <a:pt x="740249" y="2068513"/>
                  </a:cubicBezTo>
                  <a:cubicBezTo>
                    <a:pt x="740249" y="2068513"/>
                    <a:pt x="743286" y="2068513"/>
                    <a:pt x="746323" y="2068513"/>
                  </a:cubicBezTo>
                  <a:cubicBezTo>
                    <a:pt x="3343170" y="2068513"/>
                    <a:pt x="3343170" y="2068513"/>
                    <a:pt x="3343170" y="2068513"/>
                  </a:cubicBezTo>
                  <a:cubicBezTo>
                    <a:pt x="3346207" y="2068513"/>
                    <a:pt x="3346207" y="2068513"/>
                    <a:pt x="3349244" y="2068513"/>
                  </a:cubicBezTo>
                  <a:cubicBezTo>
                    <a:pt x="3422138" y="2062431"/>
                    <a:pt x="3422138" y="2062431"/>
                    <a:pt x="3422138" y="2062431"/>
                  </a:cubicBezTo>
                  <a:cubicBezTo>
                    <a:pt x="3598299" y="2022897"/>
                    <a:pt x="3725863" y="1867804"/>
                    <a:pt x="3725863" y="1685340"/>
                  </a:cubicBezTo>
                  <a:cubicBezTo>
                    <a:pt x="3725863" y="1505918"/>
                    <a:pt x="3598299" y="1350824"/>
                    <a:pt x="3422138" y="1311291"/>
                  </a:cubicBezTo>
                  <a:cubicBezTo>
                    <a:pt x="3382654" y="1308250"/>
                    <a:pt x="3382654" y="1308250"/>
                    <a:pt x="3382654" y="1308250"/>
                  </a:cubicBezTo>
                  <a:cubicBezTo>
                    <a:pt x="3355319" y="1305208"/>
                    <a:pt x="3331021" y="1283921"/>
                    <a:pt x="3327984" y="1253511"/>
                  </a:cubicBezTo>
                  <a:cubicBezTo>
                    <a:pt x="3324946" y="1207895"/>
                    <a:pt x="3324946" y="1207895"/>
                    <a:pt x="3324946" y="1207895"/>
                  </a:cubicBezTo>
                  <a:cubicBezTo>
                    <a:pt x="3264201" y="925077"/>
                    <a:pt x="3012110" y="718285"/>
                    <a:pt x="2720534" y="718285"/>
                  </a:cubicBezTo>
                  <a:cubicBezTo>
                    <a:pt x="2659789" y="718285"/>
                    <a:pt x="2596007" y="727408"/>
                    <a:pt x="2538299" y="745654"/>
                  </a:cubicBezTo>
                  <a:cubicBezTo>
                    <a:pt x="2495778" y="760860"/>
                    <a:pt x="2495778" y="760860"/>
                    <a:pt x="2495778" y="760860"/>
                  </a:cubicBezTo>
                  <a:cubicBezTo>
                    <a:pt x="2477554" y="766942"/>
                    <a:pt x="2462368" y="766942"/>
                    <a:pt x="2447182" y="760860"/>
                  </a:cubicBezTo>
                  <a:cubicBezTo>
                    <a:pt x="2431996" y="751736"/>
                    <a:pt x="2419847" y="739572"/>
                    <a:pt x="2416809" y="724367"/>
                  </a:cubicBezTo>
                  <a:cubicBezTo>
                    <a:pt x="2386437" y="624012"/>
                    <a:pt x="2386437" y="624012"/>
                    <a:pt x="2386437" y="624012"/>
                  </a:cubicBezTo>
                  <a:cubicBezTo>
                    <a:pt x="2255835" y="319907"/>
                    <a:pt x="1955148" y="122238"/>
                    <a:pt x="1624088" y="122238"/>
                  </a:cubicBezTo>
                  <a:close/>
                  <a:moveTo>
                    <a:pt x="1624889" y="0"/>
                  </a:moveTo>
                  <a:cubicBezTo>
                    <a:pt x="2007572" y="0"/>
                    <a:pt x="2350773" y="228203"/>
                    <a:pt x="2499595" y="581157"/>
                  </a:cubicBezTo>
                  <a:cubicBezTo>
                    <a:pt x="2499595" y="581157"/>
                    <a:pt x="2499595" y="584200"/>
                    <a:pt x="2499595" y="587243"/>
                  </a:cubicBezTo>
                  <a:cubicBezTo>
                    <a:pt x="2514781" y="626798"/>
                    <a:pt x="2514781" y="626798"/>
                    <a:pt x="2514781" y="626798"/>
                  </a:cubicBezTo>
                  <a:cubicBezTo>
                    <a:pt x="2581598" y="605499"/>
                    <a:pt x="2651453" y="596371"/>
                    <a:pt x="2721308" y="596371"/>
                  </a:cubicBezTo>
                  <a:cubicBezTo>
                    <a:pt x="3070583" y="596371"/>
                    <a:pt x="3374301" y="845873"/>
                    <a:pt x="3444156" y="1186656"/>
                  </a:cubicBezTo>
                  <a:cubicBezTo>
                    <a:pt x="3444156" y="1186656"/>
                    <a:pt x="3447193" y="1189699"/>
                    <a:pt x="3447193" y="1192742"/>
                  </a:cubicBezTo>
                  <a:cubicBezTo>
                    <a:pt x="3678018" y="1241425"/>
                    <a:pt x="3848100" y="1448329"/>
                    <a:pt x="3848100" y="1685661"/>
                  </a:cubicBezTo>
                  <a:cubicBezTo>
                    <a:pt x="3848100" y="1926035"/>
                    <a:pt x="3678018" y="2132939"/>
                    <a:pt x="3444156" y="2181622"/>
                  </a:cubicBezTo>
                  <a:cubicBezTo>
                    <a:pt x="3444156" y="2181622"/>
                    <a:pt x="3441119" y="2181622"/>
                    <a:pt x="3438082" y="2181622"/>
                  </a:cubicBezTo>
                  <a:cubicBezTo>
                    <a:pt x="3374301" y="2187707"/>
                    <a:pt x="3374301" y="2187707"/>
                    <a:pt x="3374301" y="2187707"/>
                  </a:cubicBezTo>
                  <a:cubicBezTo>
                    <a:pt x="3368227" y="2190750"/>
                    <a:pt x="3362152" y="2190750"/>
                    <a:pt x="3356078" y="2190750"/>
                  </a:cubicBezTo>
                  <a:cubicBezTo>
                    <a:pt x="738034" y="2190750"/>
                    <a:pt x="738034" y="2190750"/>
                    <a:pt x="738034" y="2190750"/>
                  </a:cubicBezTo>
                  <a:cubicBezTo>
                    <a:pt x="731959" y="2190750"/>
                    <a:pt x="728922" y="2190750"/>
                    <a:pt x="722848" y="2190750"/>
                  </a:cubicBezTo>
                  <a:cubicBezTo>
                    <a:pt x="677290" y="2187707"/>
                    <a:pt x="677290" y="2187707"/>
                    <a:pt x="677290" y="2187707"/>
                  </a:cubicBezTo>
                  <a:cubicBezTo>
                    <a:pt x="677290" y="2187707"/>
                    <a:pt x="677290" y="2187707"/>
                    <a:pt x="674253" y="2187707"/>
                  </a:cubicBezTo>
                  <a:cubicBezTo>
                    <a:pt x="291569" y="2148152"/>
                    <a:pt x="0" y="1828668"/>
                    <a:pt x="0" y="1442244"/>
                  </a:cubicBezTo>
                  <a:cubicBezTo>
                    <a:pt x="0" y="1040606"/>
                    <a:pt x="318904" y="711994"/>
                    <a:pt x="716773" y="690695"/>
                  </a:cubicBezTo>
                  <a:cubicBezTo>
                    <a:pt x="747145" y="587243"/>
                    <a:pt x="747145" y="587243"/>
                    <a:pt x="747145" y="587243"/>
                  </a:cubicBezTo>
                  <a:cubicBezTo>
                    <a:pt x="750182" y="584200"/>
                    <a:pt x="750182" y="581157"/>
                    <a:pt x="750182" y="581157"/>
                  </a:cubicBezTo>
                  <a:cubicBezTo>
                    <a:pt x="899004" y="228203"/>
                    <a:pt x="1242205" y="0"/>
                    <a:pt x="1624889" y="0"/>
                  </a:cubicBezTo>
                  <a:close/>
                </a:path>
              </a:pathLst>
            </a:custGeom>
            <a:solidFill>
              <a:schemeClr val="accent1"/>
            </a:solidFill>
            <a:ln>
              <a:noFill/>
            </a:ln>
          </p:spPr>
          <p:txBody>
            <a:bodyPr vert="horz" wrap="square" lIns="89619" tIns="44810" rIns="89619" bIns="44810" numCol="1" anchor="t" anchorCtr="0" compatLnSpc="1">
              <a:prstTxWarp prst="textNoShape">
                <a:avLst/>
              </a:prstTxWarp>
              <a:noAutofit/>
            </a:bodyPr>
            <a:lstStyle/>
            <a:p>
              <a:pPr defTabSz="896203">
                <a:defRPr/>
              </a:pPr>
              <a:endParaRPr lang="en-US" sz="1764" kern="0" dirty="0">
                <a:solidFill>
                  <a:sysClr val="windowText" lastClr="000000"/>
                </a:solidFill>
              </a:endParaRPr>
            </a:p>
          </p:txBody>
        </p:sp>
        <p:sp>
          <p:nvSpPr>
            <p:cNvPr id="409" name="Freeform 408"/>
            <p:cNvSpPr>
              <a:spLocks/>
            </p:cNvSpPr>
            <p:nvPr/>
          </p:nvSpPr>
          <p:spPr bwMode="auto">
            <a:xfrm>
              <a:off x="5698628" y="1913756"/>
              <a:ext cx="609187" cy="346815"/>
            </a:xfrm>
            <a:custGeom>
              <a:avLst/>
              <a:gdLst>
                <a:gd name="connsiteX0" fmla="*/ 257234 w 609187"/>
                <a:gd name="connsiteY0" fmla="*/ 0 h 346815"/>
                <a:gd name="connsiteX1" fmla="*/ 395707 w 609187"/>
                <a:gd name="connsiteY1" fmla="*/ 92002 h 346815"/>
                <a:gd name="connsiteX2" fmla="*/ 395707 w 609187"/>
                <a:gd name="connsiteY2" fmla="*/ 92966 h 346815"/>
                <a:gd name="connsiteX3" fmla="*/ 398111 w 609187"/>
                <a:gd name="connsiteY3" fmla="*/ 99228 h 346815"/>
                <a:gd name="connsiteX4" fmla="*/ 430806 w 609187"/>
                <a:gd name="connsiteY4" fmla="*/ 94411 h 346815"/>
                <a:gd name="connsiteX5" fmla="*/ 545239 w 609187"/>
                <a:gd name="connsiteY5" fmla="*/ 187858 h 346815"/>
                <a:gd name="connsiteX6" fmla="*/ 545720 w 609187"/>
                <a:gd name="connsiteY6" fmla="*/ 188822 h 346815"/>
                <a:gd name="connsiteX7" fmla="*/ 609187 w 609187"/>
                <a:gd name="connsiteY7" fmla="*/ 266855 h 346815"/>
                <a:gd name="connsiteX8" fmla="*/ 545239 w 609187"/>
                <a:gd name="connsiteY8" fmla="*/ 345370 h 346815"/>
                <a:gd name="connsiteX9" fmla="*/ 544278 w 609187"/>
                <a:gd name="connsiteY9" fmla="*/ 345370 h 346815"/>
                <a:gd name="connsiteX10" fmla="*/ 534181 w 609187"/>
                <a:gd name="connsiteY10" fmla="*/ 346333 h 346815"/>
                <a:gd name="connsiteX11" fmla="*/ 531296 w 609187"/>
                <a:gd name="connsiteY11" fmla="*/ 346815 h 346815"/>
                <a:gd name="connsiteX12" fmla="*/ 476414 w 609187"/>
                <a:gd name="connsiteY12" fmla="*/ 346815 h 346815"/>
                <a:gd name="connsiteX13" fmla="*/ 476414 w 609187"/>
                <a:gd name="connsiteY13" fmla="*/ 327464 h 346815"/>
                <a:gd name="connsiteX14" fmla="*/ 477864 w 609187"/>
                <a:gd name="connsiteY14" fmla="*/ 327464 h 346815"/>
                <a:gd name="connsiteX15" fmla="*/ 529252 w 609187"/>
                <a:gd name="connsiteY15" fmla="*/ 327464 h 346815"/>
                <a:gd name="connsiteX16" fmla="*/ 530214 w 609187"/>
                <a:gd name="connsiteY16" fmla="*/ 327464 h 346815"/>
                <a:gd name="connsiteX17" fmla="*/ 541754 w 609187"/>
                <a:gd name="connsiteY17" fmla="*/ 326501 h 346815"/>
                <a:gd name="connsiteX18" fmla="*/ 589836 w 609187"/>
                <a:gd name="connsiteY18" fmla="*/ 266804 h 346815"/>
                <a:gd name="connsiteX19" fmla="*/ 541754 w 609187"/>
                <a:gd name="connsiteY19" fmla="*/ 207589 h 346815"/>
                <a:gd name="connsiteX20" fmla="*/ 535503 w 609187"/>
                <a:gd name="connsiteY20" fmla="*/ 207108 h 346815"/>
                <a:gd name="connsiteX21" fmla="*/ 526848 w 609187"/>
                <a:gd name="connsiteY21" fmla="*/ 198442 h 346815"/>
                <a:gd name="connsiteX22" fmla="*/ 526367 w 609187"/>
                <a:gd name="connsiteY22" fmla="*/ 191220 h 346815"/>
                <a:gd name="connsiteX23" fmla="*/ 430684 w 609187"/>
                <a:gd name="connsiteY23" fmla="*/ 113711 h 346815"/>
                <a:gd name="connsiteX24" fmla="*/ 401834 w 609187"/>
                <a:gd name="connsiteY24" fmla="*/ 118044 h 346815"/>
                <a:gd name="connsiteX25" fmla="*/ 395103 w 609187"/>
                <a:gd name="connsiteY25" fmla="*/ 120451 h 346815"/>
                <a:gd name="connsiteX26" fmla="*/ 387410 w 609187"/>
                <a:gd name="connsiteY26" fmla="*/ 120451 h 346815"/>
                <a:gd name="connsiteX27" fmla="*/ 382602 w 609187"/>
                <a:gd name="connsiteY27" fmla="*/ 114674 h 346815"/>
                <a:gd name="connsiteX28" fmla="*/ 377793 w 609187"/>
                <a:gd name="connsiteY28" fmla="*/ 98787 h 346815"/>
                <a:gd name="connsiteX29" fmla="*/ 257107 w 609187"/>
                <a:gd name="connsiteY29" fmla="*/ 19351 h 346815"/>
                <a:gd name="connsiteX30" fmla="*/ 136421 w 609187"/>
                <a:gd name="connsiteY30" fmla="*/ 98787 h 346815"/>
                <a:gd name="connsiteX31" fmla="*/ 129208 w 609187"/>
                <a:gd name="connsiteY31" fmla="*/ 121895 h 346815"/>
                <a:gd name="connsiteX32" fmla="*/ 119592 w 609187"/>
                <a:gd name="connsiteY32" fmla="*/ 128635 h 346815"/>
                <a:gd name="connsiteX33" fmla="*/ 118630 w 609187"/>
                <a:gd name="connsiteY33" fmla="*/ 128635 h 346815"/>
                <a:gd name="connsiteX34" fmla="*/ 19100 w 609187"/>
                <a:gd name="connsiteY34" fmla="*/ 228290 h 346815"/>
                <a:gd name="connsiteX35" fmla="*/ 108533 w 609187"/>
                <a:gd name="connsiteY35" fmla="*/ 326983 h 346815"/>
                <a:gd name="connsiteX36" fmla="*/ 117188 w 609187"/>
                <a:gd name="connsiteY36" fmla="*/ 327464 h 346815"/>
                <a:gd name="connsiteX37" fmla="*/ 118149 w 609187"/>
                <a:gd name="connsiteY37" fmla="*/ 327464 h 346815"/>
                <a:gd name="connsiteX38" fmla="*/ 194985 w 609187"/>
                <a:gd name="connsiteY38" fmla="*/ 327464 h 346815"/>
                <a:gd name="connsiteX39" fmla="*/ 194985 w 609187"/>
                <a:gd name="connsiteY39" fmla="*/ 346815 h 346815"/>
                <a:gd name="connsiteX40" fmla="*/ 168644 w 609187"/>
                <a:gd name="connsiteY40" fmla="*/ 346815 h 346815"/>
                <a:gd name="connsiteX41" fmla="*/ 116837 w 609187"/>
                <a:gd name="connsiteY41" fmla="*/ 346815 h 346815"/>
                <a:gd name="connsiteX42" fmla="*/ 114433 w 609187"/>
                <a:gd name="connsiteY42" fmla="*/ 346815 h 346815"/>
                <a:gd name="connsiteX43" fmla="*/ 107221 w 609187"/>
                <a:gd name="connsiteY43" fmla="*/ 346333 h 346815"/>
                <a:gd name="connsiteX44" fmla="*/ 106740 w 609187"/>
                <a:gd name="connsiteY44" fmla="*/ 346333 h 346815"/>
                <a:gd name="connsiteX45" fmla="*/ 0 w 609187"/>
                <a:gd name="connsiteY45" fmla="*/ 228320 h 346815"/>
                <a:gd name="connsiteX46" fmla="*/ 113471 w 609187"/>
                <a:gd name="connsiteY46" fmla="*/ 109343 h 346815"/>
                <a:gd name="connsiteX47" fmla="*/ 118280 w 609187"/>
                <a:gd name="connsiteY47" fmla="*/ 92966 h 346815"/>
                <a:gd name="connsiteX48" fmla="*/ 118760 w 609187"/>
                <a:gd name="connsiteY48" fmla="*/ 92002 h 346815"/>
                <a:gd name="connsiteX49" fmla="*/ 257234 w 609187"/>
                <a:gd name="connsiteY49" fmla="*/ 0 h 346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609187" h="346815">
                  <a:moveTo>
                    <a:pt x="257234" y="0"/>
                  </a:moveTo>
                  <a:cubicBezTo>
                    <a:pt x="317816" y="0"/>
                    <a:pt x="372148" y="36127"/>
                    <a:pt x="395707" y="92002"/>
                  </a:cubicBezTo>
                  <a:cubicBezTo>
                    <a:pt x="395707" y="92002"/>
                    <a:pt x="395707" y="92484"/>
                    <a:pt x="395707" y="92966"/>
                  </a:cubicBezTo>
                  <a:cubicBezTo>
                    <a:pt x="398111" y="99228"/>
                    <a:pt x="398111" y="99228"/>
                    <a:pt x="398111" y="99228"/>
                  </a:cubicBezTo>
                  <a:cubicBezTo>
                    <a:pt x="408689" y="95856"/>
                    <a:pt x="419748" y="94411"/>
                    <a:pt x="430806" y="94411"/>
                  </a:cubicBezTo>
                  <a:cubicBezTo>
                    <a:pt x="486100" y="94411"/>
                    <a:pt x="534181" y="133909"/>
                    <a:pt x="545239" y="187858"/>
                  </a:cubicBezTo>
                  <a:cubicBezTo>
                    <a:pt x="545239" y="187858"/>
                    <a:pt x="545720" y="188340"/>
                    <a:pt x="545720" y="188822"/>
                  </a:cubicBezTo>
                  <a:cubicBezTo>
                    <a:pt x="582262" y="196529"/>
                    <a:pt x="609187" y="229283"/>
                    <a:pt x="609187" y="266855"/>
                  </a:cubicBezTo>
                  <a:cubicBezTo>
                    <a:pt x="609187" y="304908"/>
                    <a:pt x="582262" y="337663"/>
                    <a:pt x="545239" y="345370"/>
                  </a:cubicBezTo>
                  <a:cubicBezTo>
                    <a:pt x="545239" y="345370"/>
                    <a:pt x="544759" y="345370"/>
                    <a:pt x="544278" y="345370"/>
                  </a:cubicBezTo>
                  <a:cubicBezTo>
                    <a:pt x="534181" y="346333"/>
                    <a:pt x="534181" y="346333"/>
                    <a:pt x="534181" y="346333"/>
                  </a:cubicBezTo>
                  <a:cubicBezTo>
                    <a:pt x="533219" y="346815"/>
                    <a:pt x="532257" y="346815"/>
                    <a:pt x="531296" y="346815"/>
                  </a:cubicBezTo>
                  <a:lnTo>
                    <a:pt x="476414" y="346815"/>
                  </a:lnTo>
                  <a:lnTo>
                    <a:pt x="476414" y="327464"/>
                  </a:lnTo>
                  <a:lnTo>
                    <a:pt x="477864" y="327464"/>
                  </a:lnTo>
                  <a:cubicBezTo>
                    <a:pt x="529252" y="327464"/>
                    <a:pt x="529252" y="327464"/>
                    <a:pt x="529252" y="327464"/>
                  </a:cubicBezTo>
                  <a:cubicBezTo>
                    <a:pt x="529733" y="327464"/>
                    <a:pt x="529733" y="327464"/>
                    <a:pt x="530214" y="327464"/>
                  </a:cubicBezTo>
                  <a:cubicBezTo>
                    <a:pt x="541754" y="326501"/>
                    <a:pt x="541754" y="326501"/>
                    <a:pt x="541754" y="326501"/>
                  </a:cubicBezTo>
                  <a:cubicBezTo>
                    <a:pt x="569642" y="320243"/>
                    <a:pt x="589836" y="295690"/>
                    <a:pt x="589836" y="266804"/>
                  </a:cubicBezTo>
                  <a:cubicBezTo>
                    <a:pt x="589836" y="238400"/>
                    <a:pt x="569642" y="213847"/>
                    <a:pt x="541754" y="207589"/>
                  </a:cubicBezTo>
                  <a:cubicBezTo>
                    <a:pt x="535503" y="207108"/>
                    <a:pt x="535503" y="207108"/>
                    <a:pt x="535503" y="207108"/>
                  </a:cubicBezTo>
                  <a:cubicBezTo>
                    <a:pt x="531176" y="206626"/>
                    <a:pt x="527329" y="203256"/>
                    <a:pt x="526848" y="198442"/>
                  </a:cubicBezTo>
                  <a:cubicBezTo>
                    <a:pt x="526367" y="191220"/>
                    <a:pt x="526367" y="191220"/>
                    <a:pt x="526367" y="191220"/>
                  </a:cubicBezTo>
                  <a:cubicBezTo>
                    <a:pt x="516751" y="146448"/>
                    <a:pt x="476843" y="113711"/>
                    <a:pt x="430684" y="113711"/>
                  </a:cubicBezTo>
                  <a:cubicBezTo>
                    <a:pt x="421067" y="113711"/>
                    <a:pt x="410970" y="115155"/>
                    <a:pt x="401834" y="118044"/>
                  </a:cubicBezTo>
                  <a:cubicBezTo>
                    <a:pt x="395103" y="120451"/>
                    <a:pt x="395103" y="120451"/>
                    <a:pt x="395103" y="120451"/>
                  </a:cubicBezTo>
                  <a:cubicBezTo>
                    <a:pt x="392218" y="121414"/>
                    <a:pt x="389814" y="121414"/>
                    <a:pt x="387410" y="120451"/>
                  </a:cubicBezTo>
                  <a:cubicBezTo>
                    <a:pt x="385006" y="119006"/>
                    <a:pt x="383083" y="117081"/>
                    <a:pt x="382602" y="114674"/>
                  </a:cubicBezTo>
                  <a:cubicBezTo>
                    <a:pt x="377793" y="98787"/>
                    <a:pt x="377793" y="98787"/>
                    <a:pt x="377793" y="98787"/>
                  </a:cubicBezTo>
                  <a:cubicBezTo>
                    <a:pt x="357118" y="50644"/>
                    <a:pt x="309517" y="19351"/>
                    <a:pt x="257107" y="19351"/>
                  </a:cubicBezTo>
                  <a:cubicBezTo>
                    <a:pt x="204697" y="19351"/>
                    <a:pt x="157096" y="50644"/>
                    <a:pt x="136421" y="98787"/>
                  </a:cubicBezTo>
                  <a:cubicBezTo>
                    <a:pt x="129208" y="121895"/>
                    <a:pt x="129208" y="121895"/>
                    <a:pt x="129208" y="121895"/>
                  </a:cubicBezTo>
                  <a:cubicBezTo>
                    <a:pt x="128247" y="126228"/>
                    <a:pt x="123919" y="129117"/>
                    <a:pt x="119592" y="128635"/>
                  </a:cubicBezTo>
                  <a:cubicBezTo>
                    <a:pt x="118630" y="128635"/>
                    <a:pt x="118630" y="128635"/>
                    <a:pt x="118630" y="128635"/>
                  </a:cubicBezTo>
                  <a:cubicBezTo>
                    <a:pt x="63817" y="128635"/>
                    <a:pt x="19100" y="173408"/>
                    <a:pt x="19100" y="228290"/>
                  </a:cubicBezTo>
                  <a:cubicBezTo>
                    <a:pt x="19100" y="279321"/>
                    <a:pt x="57566" y="321687"/>
                    <a:pt x="108533" y="326983"/>
                  </a:cubicBezTo>
                  <a:cubicBezTo>
                    <a:pt x="117188" y="327464"/>
                    <a:pt x="117188" y="327464"/>
                    <a:pt x="117188" y="327464"/>
                  </a:cubicBezTo>
                  <a:cubicBezTo>
                    <a:pt x="117188" y="327464"/>
                    <a:pt x="117669" y="327464"/>
                    <a:pt x="118149" y="327464"/>
                  </a:cubicBezTo>
                  <a:lnTo>
                    <a:pt x="194985" y="327464"/>
                  </a:lnTo>
                  <a:lnTo>
                    <a:pt x="194985" y="346815"/>
                  </a:lnTo>
                  <a:lnTo>
                    <a:pt x="168644" y="346815"/>
                  </a:lnTo>
                  <a:cubicBezTo>
                    <a:pt x="116837" y="346815"/>
                    <a:pt x="116837" y="346815"/>
                    <a:pt x="116837" y="346815"/>
                  </a:cubicBezTo>
                  <a:cubicBezTo>
                    <a:pt x="115875" y="346815"/>
                    <a:pt x="115395" y="346815"/>
                    <a:pt x="114433" y="346815"/>
                  </a:cubicBezTo>
                  <a:cubicBezTo>
                    <a:pt x="107221" y="346333"/>
                    <a:pt x="107221" y="346333"/>
                    <a:pt x="107221" y="346333"/>
                  </a:cubicBezTo>
                  <a:cubicBezTo>
                    <a:pt x="107221" y="346333"/>
                    <a:pt x="107221" y="346333"/>
                    <a:pt x="106740" y="346333"/>
                  </a:cubicBezTo>
                  <a:cubicBezTo>
                    <a:pt x="46158" y="340072"/>
                    <a:pt x="0" y="289494"/>
                    <a:pt x="0" y="228320"/>
                  </a:cubicBezTo>
                  <a:cubicBezTo>
                    <a:pt x="0" y="164737"/>
                    <a:pt x="50485" y="112715"/>
                    <a:pt x="113471" y="109343"/>
                  </a:cubicBezTo>
                  <a:cubicBezTo>
                    <a:pt x="118280" y="92966"/>
                    <a:pt x="118280" y="92966"/>
                    <a:pt x="118280" y="92966"/>
                  </a:cubicBezTo>
                  <a:cubicBezTo>
                    <a:pt x="118760" y="92484"/>
                    <a:pt x="118760" y="92002"/>
                    <a:pt x="118760" y="92002"/>
                  </a:cubicBezTo>
                  <a:cubicBezTo>
                    <a:pt x="142320" y="36127"/>
                    <a:pt x="196652" y="0"/>
                    <a:pt x="257234" y="0"/>
                  </a:cubicBezTo>
                  <a:close/>
                </a:path>
              </a:pathLst>
            </a:custGeom>
            <a:solidFill>
              <a:schemeClr val="accent1"/>
            </a:solidFill>
            <a:ln>
              <a:noFill/>
            </a:ln>
          </p:spPr>
          <p:txBody>
            <a:bodyPr vert="horz" wrap="square" lIns="89619" tIns="44810" rIns="89619" bIns="44810" numCol="1" anchor="t" anchorCtr="0" compatLnSpc="1">
              <a:prstTxWarp prst="textNoShape">
                <a:avLst/>
              </a:prstTxWarp>
              <a:noAutofit/>
            </a:bodyPr>
            <a:lstStyle/>
            <a:p>
              <a:pPr defTabSz="896203">
                <a:defRPr/>
              </a:pPr>
              <a:endParaRPr lang="en-US" sz="1764" kern="0" dirty="0">
                <a:solidFill>
                  <a:sysClr val="windowText" lastClr="000000"/>
                </a:solidFill>
              </a:endParaRPr>
            </a:p>
          </p:txBody>
        </p:sp>
        <p:sp>
          <p:nvSpPr>
            <p:cNvPr id="410" name="Freeform 409"/>
            <p:cNvSpPr>
              <a:spLocks/>
            </p:cNvSpPr>
            <p:nvPr/>
          </p:nvSpPr>
          <p:spPr bwMode="auto">
            <a:xfrm>
              <a:off x="5902503" y="2073115"/>
              <a:ext cx="265548" cy="342713"/>
            </a:xfrm>
            <a:custGeom>
              <a:avLst/>
              <a:gdLst>
                <a:gd name="connsiteX0" fmla="*/ 1616331 w 1684452"/>
                <a:gd name="connsiteY0" fmla="*/ 466888 h 1863160"/>
                <a:gd name="connsiteX1" fmla="*/ 1580938 w 1684452"/>
                <a:gd name="connsiteY1" fmla="*/ 495908 h 1863160"/>
                <a:gd name="connsiteX2" fmla="*/ 1425175 w 1684452"/>
                <a:gd name="connsiteY2" fmla="*/ 575567 h 1863160"/>
                <a:gd name="connsiteX3" fmla="*/ 842226 w 1684452"/>
                <a:gd name="connsiteY3" fmla="*/ 665288 h 1863160"/>
                <a:gd name="connsiteX4" fmla="*/ 259277 w 1684452"/>
                <a:gd name="connsiteY4" fmla="*/ 575567 h 1863160"/>
                <a:gd name="connsiteX5" fmla="*/ 103515 w 1684452"/>
                <a:gd name="connsiteY5" fmla="*/ 495908 h 1863160"/>
                <a:gd name="connsiteX6" fmla="*/ 68122 w 1684452"/>
                <a:gd name="connsiteY6" fmla="*/ 466889 h 1863160"/>
                <a:gd name="connsiteX7" fmla="*/ 68122 w 1684452"/>
                <a:gd name="connsiteY7" fmla="*/ 698353 h 1863160"/>
                <a:gd name="connsiteX8" fmla="*/ 66676 w 1684452"/>
                <a:gd name="connsiteY8" fmla="*/ 698353 h 1863160"/>
                <a:gd name="connsiteX9" fmla="*/ 66676 w 1684452"/>
                <a:gd name="connsiteY9" fmla="*/ 1507978 h 1863160"/>
                <a:gd name="connsiteX10" fmla="*/ 68122 w 1684452"/>
                <a:gd name="connsiteY10" fmla="*/ 1507978 h 1863160"/>
                <a:gd name="connsiteX11" fmla="*/ 68122 w 1684452"/>
                <a:gd name="connsiteY11" fmla="*/ 1531401 h 1863160"/>
                <a:gd name="connsiteX12" fmla="*/ 67785 w 1684452"/>
                <a:gd name="connsiteY12" fmla="*/ 1531401 h 1863160"/>
                <a:gd name="connsiteX13" fmla="*/ 842226 w 1684452"/>
                <a:gd name="connsiteY13" fmla="*/ 1795454 h 1863160"/>
                <a:gd name="connsiteX14" fmla="*/ 1616667 w 1684452"/>
                <a:gd name="connsiteY14" fmla="*/ 1531401 h 1863160"/>
                <a:gd name="connsiteX15" fmla="*/ 1616331 w 1684452"/>
                <a:gd name="connsiteY15" fmla="*/ 1531401 h 1863160"/>
                <a:gd name="connsiteX16" fmla="*/ 1616331 w 1684452"/>
                <a:gd name="connsiteY16" fmla="*/ 1507978 h 1863160"/>
                <a:gd name="connsiteX17" fmla="*/ 1619250 w 1684452"/>
                <a:gd name="connsiteY17" fmla="*/ 1507978 h 1863160"/>
                <a:gd name="connsiteX18" fmla="*/ 1619250 w 1684452"/>
                <a:gd name="connsiteY18" fmla="*/ 698353 h 1863160"/>
                <a:gd name="connsiteX19" fmla="*/ 1616331 w 1684452"/>
                <a:gd name="connsiteY19" fmla="*/ 698353 h 1863160"/>
                <a:gd name="connsiteX20" fmla="*/ 842226 w 1684452"/>
                <a:gd name="connsiteY20" fmla="*/ 68122 h 1863160"/>
                <a:gd name="connsiteX21" fmla="*/ 68122 w 1684452"/>
                <a:gd name="connsiteY21" fmla="*/ 333087 h 1863160"/>
                <a:gd name="connsiteX22" fmla="*/ 842226 w 1684452"/>
                <a:gd name="connsiteY22" fmla="*/ 598052 h 1863160"/>
                <a:gd name="connsiteX23" fmla="*/ 1616331 w 1684452"/>
                <a:gd name="connsiteY23" fmla="*/ 333087 h 1863160"/>
                <a:gd name="connsiteX24" fmla="*/ 842226 w 1684452"/>
                <a:gd name="connsiteY24" fmla="*/ 68122 h 1863160"/>
                <a:gd name="connsiteX25" fmla="*/ 842226 w 1684452"/>
                <a:gd name="connsiteY25" fmla="*/ 0 h 1863160"/>
                <a:gd name="connsiteX26" fmla="*/ 1425175 w 1684452"/>
                <a:gd name="connsiteY26" fmla="*/ 89721 h 1863160"/>
                <a:gd name="connsiteX27" fmla="*/ 1684452 w 1684452"/>
                <a:gd name="connsiteY27" fmla="*/ 331797 h 1863160"/>
                <a:gd name="connsiteX28" fmla="*/ 1681988 w 1684452"/>
                <a:gd name="connsiteY28" fmla="*/ 352107 h 1863160"/>
                <a:gd name="connsiteX29" fmla="*/ 1684452 w 1684452"/>
                <a:gd name="connsiteY29" fmla="*/ 352107 h 1863160"/>
                <a:gd name="connsiteX30" fmla="*/ 1684452 w 1684452"/>
                <a:gd name="connsiteY30" fmla="*/ 1531401 h 1863160"/>
                <a:gd name="connsiteX31" fmla="*/ 1684452 w 1684452"/>
                <a:gd name="connsiteY31" fmla="*/ 1531401 h 1863160"/>
                <a:gd name="connsiteX32" fmla="*/ 1425175 w 1684452"/>
                <a:gd name="connsiteY32" fmla="*/ 1773450 h 1863160"/>
                <a:gd name="connsiteX33" fmla="*/ 842226 w 1684452"/>
                <a:gd name="connsiteY33" fmla="*/ 1863160 h 1863160"/>
                <a:gd name="connsiteX34" fmla="*/ 259277 w 1684452"/>
                <a:gd name="connsiteY34" fmla="*/ 1773450 h 1863160"/>
                <a:gd name="connsiteX35" fmla="*/ 0 w 1684452"/>
                <a:gd name="connsiteY35" fmla="*/ 1531401 h 1863160"/>
                <a:gd name="connsiteX36" fmla="*/ 0 w 1684452"/>
                <a:gd name="connsiteY36" fmla="*/ 1140367 h 1863160"/>
                <a:gd name="connsiteX37" fmla="*/ 0 w 1684452"/>
                <a:gd name="connsiteY37" fmla="*/ 714831 h 1863160"/>
                <a:gd name="connsiteX38" fmla="*/ 0 w 1684452"/>
                <a:gd name="connsiteY38" fmla="*/ 352107 h 1863160"/>
                <a:gd name="connsiteX39" fmla="*/ 2463 w 1684452"/>
                <a:gd name="connsiteY39" fmla="*/ 352107 h 1863160"/>
                <a:gd name="connsiteX40" fmla="*/ 0 w 1684452"/>
                <a:gd name="connsiteY40" fmla="*/ 331797 h 1863160"/>
                <a:gd name="connsiteX41" fmla="*/ 259277 w 1684452"/>
                <a:gd name="connsiteY41" fmla="*/ 89721 h 1863160"/>
                <a:gd name="connsiteX42" fmla="*/ 842226 w 1684452"/>
                <a:gd name="connsiteY42" fmla="*/ 0 h 1863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684452" h="1863160">
                  <a:moveTo>
                    <a:pt x="1616331" y="466888"/>
                  </a:moveTo>
                  <a:lnTo>
                    <a:pt x="1580938" y="495908"/>
                  </a:lnTo>
                  <a:cubicBezTo>
                    <a:pt x="1540277" y="525258"/>
                    <a:pt x="1488088" y="552079"/>
                    <a:pt x="1425175" y="575567"/>
                  </a:cubicBezTo>
                  <a:cubicBezTo>
                    <a:pt x="1269270" y="633124"/>
                    <a:pt x="1062526" y="665288"/>
                    <a:pt x="842226" y="665288"/>
                  </a:cubicBezTo>
                  <a:cubicBezTo>
                    <a:pt x="621925" y="665288"/>
                    <a:pt x="415182" y="633124"/>
                    <a:pt x="259277" y="575567"/>
                  </a:cubicBezTo>
                  <a:cubicBezTo>
                    <a:pt x="196365" y="552079"/>
                    <a:pt x="144176" y="525258"/>
                    <a:pt x="103515" y="495908"/>
                  </a:cubicBezTo>
                  <a:lnTo>
                    <a:pt x="68122" y="466889"/>
                  </a:lnTo>
                  <a:lnTo>
                    <a:pt x="68122" y="698353"/>
                  </a:lnTo>
                  <a:lnTo>
                    <a:pt x="66676" y="698353"/>
                  </a:lnTo>
                  <a:lnTo>
                    <a:pt x="66676" y="1507978"/>
                  </a:lnTo>
                  <a:lnTo>
                    <a:pt x="68122" y="1507978"/>
                  </a:lnTo>
                  <a:lnTo>
                    <a:pt x="68122" y="1531401"/>
                  </a:lnTo>
                  <a:lnTo>
                    <a:pt x="67785" y="1531401"/>
                  </a:lnTo>
                  <a:cubicBezTo>
                    <a:pt x="67785" y="1656657"/>
                    <a:pt x="386374" y="1795454"/>
                    <a:pt x="842226" y="1795454"/>
                  </a:cubicBezTo>
                  <a:cubicBezTo>
                    <a:pt x="1298078" y="1795454"/>
                    <a:pt x="1616667" y="1656657"/>
                    <a:pt x="1616667" y="1531401"/>
                  </a:cubicBezTo>
                  <a:lnTo>
                    <a:pt x="1616331" y="1531401"/>
                  </a:lnTo>
                  <a:lnTo>
                    <a:pt x="1616331" y="1507978"/>
                  </a:lnTo>
                  <a:lnTo>
                    <a:pt x="1619250" y="1507978"/>
                  </a:lnTo>
                  <a:lnTo>
                    <a:pt x="1619250" y="698353"/>
                  </a:lnTo>
                  <a:lnTo>
                    <a:pt x="1616331" y="698353"/>
                  </a:lnTo>
                  <a:close/>
                  <a:moveTo>
                    <a:pt x="842226" y="68122"/>
                  </a:moveTo>
                  <a:cubicBezTo>
                    <a:pt x="414700" y="68122"/>
                    <a:pt x="68122" y="186750"/>
                    <a:pt x="68122" y="333087"/>
                  </a:cubicBezTo>
                  <a:cubicBezTo>
                    <a:pt x="68122" y="479424"/>
                    <a:pt x="414700" y="598052"/>
                    <a:pt x="842226" y="598052"/>
                  </a:cubicBezTo>
                  <a:cubicBezTo>
                    <a:pt x="1269753" y="598052"/>
                    <a:pt x="1616331" y="479424"/>
                    <a:pt x="1616331" y="333087"/>
                  </a:cubicBezTo>
                  <a:cubicBezTo>
                    <a:pt x="1616331" y="186750"/>
                    <a:pt x="1269753" y="68122"/>
                    <a:pt x="842226" y="68122"/>
                  </a:cubicBezTo>
                  <a:close/>
                  <a:moveTo>
                    <a:pt x="842226" y="0"/>
                  </a:moveTo>
                  <a:cubicBezTo>
                    <a:pt x="1062526" y="0"/>
                    <a:pt x="1269270" y="32164"/>
                    <a:pt x="1425175" y="89721"/>
                  </a:cubicBezTo>
                  <a:cubicBezTo>
                    <a:pt x="1592942" y="150663"/>
                    <a:pt x="1684452" y="236998"/>
                    <a:pt x="1684452" y="331797"/>
                  </a:cubicBezTo>
                  <a:lnTo>
                    <a:pt x="1681988" y="352107"/>
                  </a:lnTo>
                  <a:lnTo>
                    <a:pt x="1684452" y="352107"/>
                  </a:lnTo>
                  <a:lnTo>
                    <a:pt x="1684452" y="1531401"/>
                  </a:lnTo>
                  <a:lnTo>
                    <a:pt x="1684452" y="1531401"/>
                  </a:lnTo>
                  <a:cubicBezTo>
                    <a:pt x="1684452" y="1626189"/>
                    <a:pt x="1592942" y="1712515"/>
                    <a:pt x="1425175" y="1773450"/>
                  </a:cubicBezTo>
                  <a:cubicBezTo>
                    <a:pt x="1269270" y="1831000"/>
                    <a:pt x="1062526" y="1863160"/>
                    <a:pt x="842226" y="1863160"/>
                  </a:cubicBezTo>
                  <a:cubicBezTo>
                    <a:pt x="621925" y="1863160"/>
                    <a:pt x="415182" y="1831000"/>
                    <a:pt x="259277" y="1773450"/>
                  </a:cubicBezTo>
                  <a:cubicBezTo>
                    <a:pt x="91510" y="1712515"/>
                    <a:pt x="0" y="1626189"/>
                    <a:pt x="0" y="1531401"/>
                  </a:cubicBezTo>
                  <a:lnTo>
                    <a:pt x="0" y="1140367"/>
                  </a:lnTo>
                  <a:lnTo>
                    <a:pt x="0" y="714831"/>
                  </a:lnTo>
                  <a:lnTo>
                    <a:pt x="0" y="352107"/>
                  </a:lnTo>
                  <a:lnTo>
                    <a:pt x="2463" y="352107"/>
                  </a:lnTo>
                  <a:lnTo>
                    <a:pt x="0" y="331797"/>
                  </a:lnTo>
                  <a:cubicBezTo>
                    <a:pt x="0" y="236998"/>
                    <a:pt x="91510" y="150663"/>
                    <a:pt x="259277" y="89721"/>
                  </a:cubicBezTo>
                  <a:cubicBezTo>
                    <a:pt x="415182" y="32164"/>
                    <a:pt x="621925" y="0"/>
                    <a:pt x="842226" y="0"/>
                  </a:cubicBezTo>
                  <a:close/>
                </a:path>
              </a:pathLst>
            </a:custGeom>
            <a:solidFill>
              <a:schemeClr val="accent1"/>
            </a:solidFill>
            <a:ln>
              <a:noFill/>
            </a:ln>
          </p:spPr>
          <p:txBody>
            <a:bodyPr vert="horz" wrap="square" lIns="0" tIns="179238" rIns="0" bIns="0" numCol="1" anchor="t" anchorCtr="0" compatLnSpc="1">
              <a:prstTxWarp prst="textNoShape">
                <a:avLst/>
              </a:prstTxWarp>
              <a:noAutofit/>
            </a:bodyPr>
            <a:lstStyle/>
            <a:p>
              <a:pPr algn="ctr" defTabSz="896203">
                <a:defRPr/>
              </a:pPr>
              <a:r>
                <a:rPr lang="en-US" sz="686" kern="0" dirty="0">
                  <a:solidFill>
                    <a:srgbClr val="0078D7"/>
                  </a:solidFill>
                </a:rPr>
                <a:t>SQL</a:t>
              </a:r>
            </a:p>
          </p:txBody>
        </p:sp>
        <p:grpSp>
          <p:nvGrpSpPr>
            <p:cNvPr id="411" name="Group 410"/>
            <p:cNvGrpSpPr/>
            <p:nvPr/>
          </p:nvGrpSpPr>
          <p:grpSpPr>
            <a:xfrm>
              <a:off x="7296524" y="2063404"/>
              <a:ext cx="473696" cy="331238"/>
              <a:chOff x="1182255" y="2216727"/>
              <a:chExt cx="5006109" cy="3500582"/>
            </a:xfrm>
            <a:grpFill/>
          </p:grpSpPr>
          <p:sp>
            <p:nvSpPr>
              <p:cNvPr id="412" name="Freeform 411"/>
              <p:cNvSpPr/>
              <p:nvPr/>
            </p:nvSpPr>
            <p:spPr bwMode="auto">
              <a:xfrm>
                <a:off x="1182255" y="2216727"/>
                <a:ext cx="5006109" cy="3500582"/>
              </a:xfrm>
              <a:custGeom>
                <a:avLst/>
                <a:gdLst>
                  <a:gd name="connsiteX0" fmla="*/ 115224 w 5006109"/>
                  <a:gd name="connsiteY0" fmla="*/ 113026 h 3500582"/>
                  <a:gd name="connsiteX1" fmla="*/ 115224 w 5006109"/>
                  <a:gd name="connsiteY1" fmla="*/ 3387556 h 3500582"/>
                  <a:gd name="connsiteX2" fmla="*/ 4890886 w 5006109"/>
                  <a:gd name="connsiteY2" fmla="*/ 3387556 h 3500582"/>
                  <a:gd name="connsiteX3" fmla="*/ 4890886 w 5006109"/>
                  <a:gd name="connsiteY3" fmla="*/ 113026 h 3500582"/>
                  <a:gd name="connsiteX4" fmla="*/ 0 w 5006109"/>
                  <a:gd name="connsiteY4" fmla="*/ 0 h 3500582"/>
                  <a:gd name="connsiteX5" fmla="*/ 5006109 w 5006109"/>
                  <a:gd name="connsiteY5" fmla="*/ 0 h 3500582"/>
                  <a:gd name="connsiteX6" fmla="*/ 5006109 w 5006109"/>
                  <a:gd name="connsiteY6" fmla="*/ 3500582 h 3500582"/>
                  <a:gd name="connsiteX7" fmla="*/ 0 w 5006109"/>
                  <a:gd name="connsiteY7" fmla="*/ 3500582 h 3500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06109" h="3500582">
                    <a:moveTo>
                      <a:pt x="115224" y="113026"/>
                    </a:moveTo>
                    <a:lnTo>
                      <a:pt x="115224" y="3387556"/>
                    </a:lnTo>
                    <a:lnTo>
                      <a:pt x="4890886" y="3387556"/>
                    </a:lnTo>
                    <a:lnTo>
                      <a:pt x="4890886" y="113026"/>
                    </a:lnTo>
                    <a:close/>
                    <a:moveTo>
                      <a:pt x="0" y="0"/>
                    </a:moveTo>
                    <a:lnTo>
                      <a:pt x="5006109" y="0"/>
                    </a:lnTo>
                    <a:lnTo>
                      <a:pt x="5006109" y="3500582"/>
                    </a:lnTo>
                    <a:lnTo>
                      <a:pt x="0" y="3500582"/>
                    </a:lnTo>
                    <a:close/>
                  </a:path>
                </a:pathLst>
              </a:cu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tx1"/>
                  </a:solidFill>
                </a:endParaRPr>
              </a:p>
            </p:txBody>
          </p:sp>
          <p:grpSp>
            <p:nvGrpSpPr>
              <p:cNvPr id="413" name="Group 412"/>
              <p:cNvGrpSpPr/>
              <p:nvPr/>
            </p:nvGrpSpPr>
            <p:grpSpPr>
              <a:xfrm>
                <a:off x="1371600" y="2904099"/>
                <a:ext cx="4622800" cy="2628550"/>
                <a:chOff x="1371600" y="3272399"/>
                <a:chExt cx="4622800" cy="2628550"/>
              </a:xfrm>
              <a:grpFill/>
            </p:grpSpPr>
            <p:grpSp>
              <p:nvGrpSpPr>
                <p:cNvPr id="414" name="Group 413"/>
                <p:cNvGrpSpPr/>
                <p:nvPr/>
              </p:nvGrpSpPr>
              <p:grpSpPr>
                <a:xfrm>
                  <a:off x="1371600" y="3272399"/>
                  <a:ext cx="4622800" cy="609250"/>
                  <a:chOff x="1403350" y="3272399"/>
                  <a:chExt cx="4216400" cy="609250"/>
                </a:xfrm>
                <a:grpFill/>
              </p:grpSpPr>
              <p:sp>
                <p:nvSpPr>
                  <p:cNvPr id="430" name="Freeform 429"/>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tx1"/>
                      </a:solidFill>
                    </a:endParaRPr>
                  </a:p>
                </p:txBody>
              </p:sp>
              <p:sp>
                <p:nvSpPr>
                  <p:cNvPr id="431" name="Freeform 430"/>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tx1"/>
                      </a:solidFill>
                    </a:endParaRPr>
                  </a:p>
                </p:txBody>
              </p:sp>
              <p:sp>
                <p:nvSpPr>
                  <p:cNvPr id="432" name="Freeform 431"/>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tx1"/>
                      </a:solidFill>
                    </a:endParaRPr>
                  </a:p>
                </p:txBody>
              </p:sp>
              <p:sp>
                <p:nvSpPr>
                  <p:cNvPr id="433" name="Freeform 432"/>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tx1"/>
                      </a:solidFill>
                    </a:endParaRPr>
                  </a:p>
                </p:txBody>
              </p:sp>
            </p:grpSp>
            <p:grpSp>
              <p:nvGrpSpPr>
                <p:cNvPr id="415" name="Group 414"/>
                <p:cNvGrpSpPr/>
                <p:nvPr/>
              </p:nvGrpSpPr>
              <p:grpSpPr>
                <a:xfrm>
                  <a:off x="1371600" y="3945499"/>
                  <a:ext cx="4622800" cy="609250"/>
                  <a:chOff x="1403350" y="3272399"/>
                  <a:chExt cx="4216400" cy="609250"/>
                </a:xfrm>
                <a:grpFill/>
              </p:grpSpPr>
              <p:sp>
                <p:nvSpPr>
                  <p:cNvPr id="426" name="Freeform 425"/>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tx1"/>
                      </a:solidFill>
                    </a:endParaRPr>
                  </a:p>
                </p:txBody>
              </p:sp>
              <p:sp>
                <p:nvSpPr>
                  <p:cNvPr id="427" name="Freeform 426"/>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tx1"/>
                      </a:solidFill>
                    </a:endParaRPr>
                  </a:p>
                </p:txBody>
              </p:sp>
              <p:sp>
                <p:nvSpPr>
                  <p:cNvPr id="428" name="Freeform 427"/>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tx1"/>
                      </a:solidFill>
                    </a:endParaRPr>
                  </a:p>
                </p:txBody>
              </p:sp>
              <p:sp>
                <p:nvSpPr>
                  <p:cNvPr id="429" name="Freeform 428"/>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tx1"/>
                      </a:solidFill>
                    </a:endParaRPr>
                  </a:p>
                </p:txBody>
              </p:sp>
            </p:grpSp>
            <p:grpSp>
              <p:nvGrpSpPr>
                <p:cNvPr id="416" name="Group 415"/>
                <p:cNvGrpSpPr/>
                <p:nvPr/>
              </p:nvGrpSpPr>
              <p:grpSpPr>
                <a:xfrm>
                  <a:off x="1371600" y="4618599"/>
                  <a:ext cx="4622800" cy="609250"/>
                  <a:chOff x="1403350" y="3272399"/>
                  <a:chExt cx="4216400" cy="609250"/>
                </a:xfrm>
                <a:grpFill/>
              </p:grpSpPr>
              <p:sp>
                <p:nvSpPr>
                  <p:cNvPr id="422" name="Freeform 421"/>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tx1"/>
                      </a:solidFill>
                    </a:endParaRPr>
                  </a:p>
                </p:txBody>
              </p:sp>
              <p:sp>
                <p:nvSpPr>
                  <p:cNvPr id="423" name="Freeform 422"/>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tx1"/>
                      </a:solidFill>
                    </a:endParaRPr>
                  </a:p>
                </p:txBody>
              </p:sp>
              <p:sp>
                <p:nvSpPr>
                  <p:cNvPr id="424" name="Freeform 423"/>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tx1"/>
                      </a:solidFill>
                    </a:endParaRPr>
                  </a:p>
                </p:txBody>
              </p:sp>
              <p:sp>
                <p:nvSpPr>
                  <p:cNvPr id="425" name="Freeform 424"/>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tx1"/>
                      </a:solidFill>
                    </a:endParaRPr>
                  </a:p>
                </p:txBody>
              </p:sp>
            </p:grpSp>
            <p:grpSp>
              <p:nvGrpSpPr>
                <p:cNvPr id="417" name="Group 416"/>
                <p:cNvGrpSpPr/>
                <p:nvPr/>
              </p:nvGrpSpPr>
              <p:grpSpPr>
                <a:xfrm>
                  <a:off x="1371600" y="5291699"/>
                  <a:ext cx="4622800" cy="609250"/>
                  <a:chOff x="1403350" y="3272399"/>
                  <a:chExt cx="4216400" cy="609250"/>
                </a:xfrm>
                <a:grpFill/>
              </p:grpSpPr>
              <p:sp>
                <p:nvSpPr>
                  <p:cNvPr id="418" name="Freeform 417"/>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tx1"/>
                      </a:solidFill>
                    </a:endParaRPr>
                  </a:p>
                </p:txBody>
              </p:sp>
              <p:sp>
                <p:nvSpPr>
                  <p:cNvPr id="419" name="Freeform 418"/>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tx1"/>
                      </a:solidFill>
                    </a:endParaRPr>
                  </a:p>
                </p:txBody>
              </p:sp>
              <p:sp>
                <p:nvSpPr>
                  <p:cNvPr id="420" name="Freeform 419"/>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tx1"/>
                      </a:solidFill>
                    </a:endParaRPr>
                  </a:p>
                </p:txBody>
              </p:sp>
              <p:sp>
                <p:nvSpPr>
                  <p:cNvPr id="421" name="Freeform 420"/>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tx1"/>
                      </a:solidFill>
                    </a:endParaRPr>
                  </a:p>
                </p:txBody>
              </p:sp>
            </p:grpSp>
          </p:grpSp>
        </p:grpSp>
        <p:cxnSp>
          <p:nvCxnSpPr>
            <p:cNvPr id="434" name="Straight Connector 433"/>
            <p:cNvCxnSpPr/>
            <p:nvPr/>
          </p:nvCxnSpPr>
          <p:spPr>
            <a:xfrm flipV="1">
              <a:off x="3060336" y="2493616"/>
              <a:ext cx="0" cy="746125"/>
            </a:xfrm>
            <a:prstGeom prst="line">
              <a:avLst/>
            </a:prstGeom>
            <a:grpFill/>
            <a:ln>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35" name="Straight Connector 434"/>
            <p:cNvCxnSpPr/>
            <p:nvPr/>
          </p:nvCxnSpPr>
          <p:spPr>
            <a:xfrm flipV="1">
              <a:off x="4800064" y="2930179"/>
              <a:ext cx="0" cy="309562"/>
            </a:xfrm>
            <a:prstGeom prst="line">
              <a:avLst/>
            </a:prstGeom>
            <a:grpFill/>
            <a:ln>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36" name="Straight Connector 435"/>
            <p:cNvCxnSpPr/>
            <p:nvPr/>
          </p:nvCxnSpPr>
          <p:spPr>
            <a:xfrm flipV="1">
              <a:off x="6039338" y="2415829"/>
              <a:ext cx="0" cy="823912"/>
            </a:xfrm>
            <a:prstGeom prst="line">
              <a:avLst/>
            </a:prstGeom>
            <a:grpFill/>
            <a:ln>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37" name="Straight Connector 436"/>
            <p:cNvCxnSpPr/>
            <p:nvPr/>
          </p:nvCxnSpPr>
          <p:spPr>
            <a:xfrm flipV="1">
              <a:off x="7138292" y="2930179"/>
              <a:ext cx="0" cy="309562"/>
            </a:xfrm>
            <a:prstGeom prst="line">
              <a:avLst/>
            </a:prstGeom>
            <a:grpFill/>
            <a:ln>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38" name="Straight Connector 437"/>
            <p:cNvCxnSpPr/>
            <p:nvPr/>
          </p:nvCxnSpPr>
          <p:spPr>
            <a:xfrm flipV="1">
              <a:off x="7352604" y="3673129"/>
              <a:ext cx="0" cy="371475"/>
            </a:xfrm>
            <a:prstGeom prst="line">
              <a:avLst/>
            </a:prstGeom>
            <a:grpFill/>
            <a:ln>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39" name="Straight Connector 438"/>
            <p:cNvCxnSpPr/>
            <p:nvPr/>
          </p:nvCxnSpPr>
          <p:spPr>
            <a:xfrm flipV="1">
              <a:off x="5090576" y="3673130"/>
              <a:ext cx="0" cy="509586"/>
            </a:xfrm>
            <a:prstGeom prst="line">
              <a:avLst/>
            </a:prstGeom>
            <a:grpFill/>
            <a:ln>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40" name="Straight Connector 439"/>
            <p:cNvCxnSpPr/>
            <p:nvPr/>
          </p:nvCxnSpPr>
          <p:spPr>
            <a:xfrm flipV="1">
              <a:off x="3217494" y="3673130"/>
              <a:ext cx="0" cy="509586"/>
            </a:xfrm>
            <a:prstGeom prst="line">
              <a:avLst/>
            </a:prstGeom>
            <a:grpFill/>
            <a:ln>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441" name="Group 440"/>
            <p:cNvGrpSpPr/>
            <p:nvPr/>
          </p:nvGrpSpPr>
          <p:grpSpPr>
            <a:xfrm>
              <a:off x="8324139" y="3351763"/>
              <a:ext cx="2468880" cy="234950"/>
              <a:chOff x="4329107" y="3274811"/>
              <a:chExt cx="414343" cy="234950"/>
            </a:xfrm>
            <a:grpFill/>
          </p:grpSpPr>
          <p:cxnSp>
            <p:nvCxnSpPr>
              <p:cNvPr id="442" name="Straight Connector 441"/>
              <p:cNvCxnSpPr/>
              <p:nvPr/>
            </p:nvCxnSpPr>
            <p:spPr>
              <a:xfrm>
                <a:off x="4329107" y="3392286"/>
                <a:ext cx="414343" cy="0"/>
              </a:xfrm>
              <a:prstGeom prst="line">
                <a:avLst/>
              </a:prstGeom>
              <a:grpFill/>
              <a:ln>
                <a:solidFill>
                  <a:schemeClr val="accent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43" name="Straight Connector 442"/>
              <p:cNvCxnSpPr/>
              <p:nvPr/>
            </p:nvCxnSpPr>
            <p:spPr>
              <a:xfrm>
                <a:off x="4329107" y="3274811"/>
                <a:ext cx="414343" cy="0"/>
              </a:xfrm>
              <a:prstGeom prst="line">
                <a:avLst/>
              </a:prstGeom>
              <a:grpFill/>
              <a:ln>
                <a:solidFill>
                  <a:schemeClr val="accent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48" name="Straight Connector 447"/>
              <p:cNvCxnSpPr/>
              <p:nvPr/>
            </p:nvCxnSpPr>
            <p:spPr>
              <a:xfrm>
                <a:off x="4329107" y="3509761"/>
                <a:ext cx="414343" cy="0"/>
              </a:xfrm>
              <a:prstGeom prst="line">
                <a:avLst/>
              </a:prstGeom>
              <a:grpFill/>
              <a:ln>
                <a:solidFill>
                  <a:schemeClr val="accent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449" name="Freeform 448"/>
            <p:cNvSpPr>
              <a:spLocks/>
            </p:cNvSpPr>
            <p:nvPr/>
          </p:nvSpPr>
          <p:spPr bwMode="auto">
            <a:xfrm>
              <a:off x="4621141" y="2258125"/>
              <a:ext cx="329644" cy="249460"/>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noFill/>
            <a:ln w="6350">
              <a:solidFill>
                <a:schemeClr val="accent1"/>
              </a:solidFill>
            </a:ln>
          </p:spPr>
          <p:txBody>
            <a:bodyPr vert="horz" wrap="square" lIns="89619" tIns="44810" rIns="89619" bIns="44810" numCol="1" anchor="t" anchorCtr="0" compatLnSpc="1">
              <a:prstTxWarp prst="textNoShape">
                <a:avLst/>
              </a:prstTxWarp>
            </a:bodyPr>
            <a:lstStyle/>
            <a:p>
              <a:pPr defTabSz="896203">
                <a:defRPr/>
              </a:pPr>
              <a:endParaRPr lang="en-US" sz="1568" kern="0" dirty="0">
                <a:solidFill>
                  <a:sysClr val="windowText" lastClr="000000"/>
                </a:solidFill>
              </a:endParaRPr>
            </a:p>
          </p:txBody>
        </p:sp>
      </p:grpSp>
      <p:grpSp>
        <p:nvGrpSpPr>
          <p:cNvPr id="4" name="Group 3"/>
          <p:cNvGrpSpPr/>
          <p:nvPr/>
        </p:nvGrpSpPr>
        <p:grpSpPr>
          <a:xfrm>
            <a:off x="2152080" y="5202677"/>
            <a:ext cx="10023920" cy="1167376"/>
            <a:chOff x="2228463" y="5624040"/>
            <a:chExt cx="10227584" cy="1191095"/>
          </a:xfrm>
        </p:grpSpPr>
        <p:sp>
          <p:nvSpPr>
            <p:cNvPr id="450" name="TextBox 449"/>
            <p:cNvSpPr txBox="1"/>
            <p:nvPr/>
          </p:nvSpPr>
          <p:spPr>
            <a:xfrm>
              <a:off x="2228463" y="5624040"/>
              <a:ext cx="5214023" cy="1191095"/>
            </a:xfrm>
            <a:prstGeom prst="rect">
              <a:avLst/>
            </a:prstGeom>
            <a:noFill/>
          </p:spPr>
          <p:txBody>
            <a:bodyPr wrap="square" lIns="179238" tIns="143391" rIns="179238" bIns="143391" rtlCol="0">
              <a:spAutoFit/>
            </a:bodyPr>
            <a:lstStyle/>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Create, schedule, orchestrate, and manage data pipelines</a:t>
              </a:r>
            </a:p>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Visualize data lineage</a:t>
              </a:r>
            </a:p>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Connect to on-premises and cloud data sources</a:t>
              </a:r>
            </a:p>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Monitor data pipeline health</a:t>
              </a:r>
            </a:p>
          </p:txBody>
        </p:sp>
        <p:sp>
          <p:nvSpPr>
            <p:cNvPr id="451" name="TextBox 450"/>
            <p:cNvSpPr txBox="1"/>
            <p:nvPr/>
          </p:nvSpPr>
          <p:spPr>
            <a:xfrm>
              <a:off x="7408213" y="5630762"/>
              <a:ext cx="5047834" cy="947952"/>
            </a:xfrm>
            <a:prstGeom prst="rect">
              <a:avLst/>
            </a:prstGeom>
            <a:noFill/>
          </p:spPr>
          <p:txBody>
            <a:bodyPr wrap="square" lIns="179238" tIns="143391" rIns="179238" bIns="143391" rtlCol="0">
              <a:spAutoFit/>
            </a:bodyPr>
            <a:lstStyle/>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Automate cloud resource management</a:t>
              </a:r>
            </a:p>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Move relational data for Hadoop processing</a:t>
              </a:r>
            </a:p>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Transform with Hive, Pig, or custom code</a:t>
              </a:r>
            </a:p>
          </p:txBody>
        </p:sp>
      </p:grpSp>
      <p:sp>
        <p:nvSpPr>
          <p:cNvPr id="267" name="Rectangle 266"/>
          <p:cNvSpPr/>
          <p:nvPr/>
        </p:nvSpPr>
        <p:spPr bwMode="auto">
          <a:xfrm>
            <a:off x="-7529" y="1648921"/>
            <a:ext cx="1736661" cy="3781517"/>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4" tIns="91403" rIns="18274" bIns="91365" numCol="1" spcCol="1270" anchor="t" anchorCtr="0">
            <a:noAutofit/>
          </a:bodyPr>
          <a:lstStyle/>
          <a:p>
            <a:pPr algn="ctr" defTabSz="724725">
              <a:spcBef>
                <a:spcPct val="0"/>
              </a:spcBef>
              <a:spcAft>
                <a:spcPct val="35000"/>
              </a:spcAft>
              <a:defRPr/>
            </a:pPr>
            <a:r>
              <a:rPr lang="en-US" sz="1400" kern="0" dirty="0">
                <a:solidFill>
                  <a:schemeClr val="tx1"/>
                </a:solidFill>
                <a:latin typeface="Segoe UI Semibold" panose="020B0702040204020203" pitchFamily="34" charset="0"/>
                <a:cs typeface="Segoe UI Semibold" panose="020B0702040204020203" pitchFamily="34" charset="0"/>
              </a:rPr>
              <a:t>Information Management</a:t>
            </a:r>
          </a:p>
        </p:txBody>
      </p:sp>
      <p:sp>
        <p:nvSpPr>
          <p:cNvPr id="268" name="Rectangle 267"/>
          <p:cNvSpPr/>
          <p:nvPr/>
        </p:nvSpPr>
        <p:spPr>
          <a:xfrm>
            <a:off x="545321" y="4147754"/>
            <a:ext cx="1270505" cy="264903"/>
          </a:xfrm>
          <a:prstGeom prst="rect">
            <a:avLst/>
          </a:prstGeom>
        </p:spPr>
        <p:txBody>
          <a:bodyPr wrap="square">
            <a:spAutoFit/>
          </a:bodyPr>
          <a:lstStyle/>
          <a:p>
            <a:pPr defTabSz="896203">
              <a:defRPr/>
            </a:pPr>
            <a:r>
              <a:rPr lang="en-US" sz="1100" kern="0" dirty="0">
                <a:solidFill>
                  <a:schemeClr val="accent2">
                    <a:lumMod val="75000"/>
                  </a:schemeClr>
                </a:solidFill>
                <a:cs typeface="Segoe UI Semilight" panose="020B0402040204020203" pitchFamily="34" charset="0"/>
              </a:rPr>
              <a:t>Event Hubs</a:t>
            </a:r>
            <a:endParaRPr lang="en-US" sz="1100" kern="0" dirty="0">
              <a:solidFill>
                <a:schemeClr val="accent2">
                  <a:lumMod val="75000"/>
                </a:schemeClr>
              </a:solidFill>
            </a:endParaRPr>
          </a:p>
        </p:txBody>
      </p:sp>
      <p:sp>
        <p:nvSpPr>
          <p:cNvPr id="269" name="Rectangle 268"/>
          <p:cNvSpPr/>
          <p:nvPr/>
        </p:nvSpPr>
        <p:spPr>
          <a:xfrm>
            <a:off x="545321" y="3354951"/>
            <a:ext cx="1270505" cy="264903"/>
          </a:xfrm>
          <a:prstGeom prst="rect">
            <a:avLst/>
          </a:prstGeom>
        </p:spPr>
        <p:txBody>
          <a:bodyPr wrap="square">
            <a:spAutoFit/>
          </a:bodyPr>
          <a:lstStyle/>
          <a:p>
            <a:pPr defTabSz="896203">
              <a:defRPr/>
            </a:pPr>
            <a:r>
              <a:rPr lang="en-US" sz="1100" kern="0" dirty="0">
                <a:solidFill>
                  <a:schemeClr val="accent2">
                    <a:lumMod val="75000"/>
                  </a:schemeClr>
                </a:solidFill>
                <a:cs typeface="Segoe UI Semilight" panose="020B0402040204020203" pitchFamily="34" charset="0"/>
              </a:rPr>
              <a:t>Data Catalog</a:t>
            </a:r>
          </a:p>
        </p:txBody>
      </p:sp>
      <p:grpSp>
        <p:nvGrpSpPr>
          <p:cNvPr id="270" name="Group 269"/>
          <p:cNvGrpSpPr/>
          <p:nvPr/>
        </p:nvGrpSpPr>
        <p:grpSpPr>
          <a:xfrm>
            <a:off x="230540" y="3312523"/>
            <a:ext cx="274886" cy="292409"/>
            <a:chOff x="3232150" y="382588"/>
            <a:chExt cx="5727700" cy="6092825"/>
          </a:xfrm>
          <a:solidFill>
            <a:schemeClr val="accent2">
              <a:lumMod val="75000"/>
            </a:schemeClr>
          </a:solidFill>
        </p:grpSpPr>
        <p:sp>
          <p:nvSpPr>
            <p:cNvPr id="274"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defRPr/>
              </a:pPr>
              <a:endParaRPr lang="en-US" sz="1799" kern="0">
                <a:solidFill>
                  <a:sysClr val="windowText" lastClr="000000"/>
                </a:solidFill>
              </a:endParaRPr>
            </a:p>
          </p:txBody>
        </p:sp>
        <p:sp>
          <p:nvSpPr>
            <p:cNvPr id="275"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defRPr/>
              </a:pPr>
              <a:endParaRPr lang="en-US" sz="1799" kern="0">
                <a:solidFill>
                  <a:sysClr val="windowText" lastClr="000000"/>
                </a:solidFill>
              </a:endParaRPr>
            </a:p>
          </p:txBody>
        </p:sp>
        <p:sp>
          <p:nvSpPr>
            <p:cNvPr id="276"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defRPr/>
              </a:pPr>
              <a:endParaRPr lang="en-US" sz="1799" kern="0">
                <a:solidFill>
                  <a:sysClr val="windowText" lastClr="000000"/>
                </a:solidFill>
              </a:endParaRPr>
            </a:p>
          </p:txBody>
        </p:sp>
      </p:grpSp>
      <p:sp>
        <p:nvSpPr>
          <p:cNvPr id="271" name="Rectangle 270"/>
          <p:cNvSpPr/>
          <p:nvPr/>
        </p:nvSpPr>
        <p:spPr>
          <a:xfrm>
            <a:off x="545321" y="2519749"/>
            <a:ext cx="1270505" cy="264903"/>
          </a:xfrm>
          <a:prstGeom prst="rect">
            <a:avLst/>
          </a:prstGeom>
        </p:spPr>
        <p:txBody>
          <a:bodyPr wrap="square">
            <a:spAutoFit/>
          </a:bodyPr>
          <a:lstStyle/>
          <a:p>
            <a:pPr defTabSz="896203">
              <a:defRPr/>
            </a:pPr>
            <a:r>
              <a:rPr lang="en-US" sz="1100" kern="0" dirty="0">
                <a:solidFill>
                  <a:sysClr val="windowText" lastClr="000000"/>
                </a:solidFill>
                <a:cs typeface="Segoe UI Semilight" panose="020B0402040204020203" pitchFamily="34" charset="0"/>
              </a:rPr>
              <a:t>Data Factory </a:t>
            </a:r>
            <a:endParaRPr lang="en-US" sz="1100" kern="0" dirty="0">
              <a:solidFill>
                <a:sysClr val="windowText" lastClr="000000"/>
              </a:solidFill>
            </a:endParaRPr>
          </a:p>
        </p:txBody>
      </p:sp>
      <p:sp>
        <p:nvSpPr>
          <p:cNvPr id="272" name="Freeform 271"/>
          <p:cNvSpPr/>
          <p:nvPr/>
        </p:nvSpPr>
        <p:spPr bwMode="auto">
          <a:xfrm>
            <a:off x="226535" y="2458510"/>
            <a:ext cx="286345" cy="300909"/>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defRPr/>
            </a:pPr>
            <a:endParaRPr lang="en-US" sz="2399" kern="0">
              <a:solidFill>
                <a:schemeClr val="tx1"/>
              </a:solidFill>
              <a:ea typeface="Segoe UI" pitchFamily="34" charset="0"/>
              <a:cs typeface="Segoe UI" pitchFamily="34" charset="0"/>
            </a:endParaRPr>
          </a:p>
        </p:txBody>
      </p:sp>
      <p:sp>
        <p:nvSpPr>
          <p:cNvPr id="273" name="Freeform 272"/>
          <p:cNvSpPr/>
          <p:nvPr/>
        </p:nvSpPr>
        <p:spPr bwMode="auto">
          <a:xfrm>
            <a:off x="246848" y="4152678"/>
            <a:ext cx="231481" cy="242237"/>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defRPr/>
            </a:pPr>
            <a:endParaRPr lang="en-US" sz="2399" kern="0" dirty="0">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930612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5"/>
                                        </p:tgtEl>
                                      </p:cBhvr>
                                    </p:animEffect>
                                    <p:set>
                                      <p:cBhvr>
                                        <p:cTn id="7" dur="1" fill="hold">
                                          <p:stCondLst>
                                            <p:cond delay="499"/>
                                          </p:stCondLst>
                                        </p:cTn>
                                        <p:tgtEl>
                                          <p:spTgt spid="5"/>
                                        </p:tgtEl>
                                        <p:attrNameLst>
                                          <p:attrName>style.visibility</p:attrName>
                                        </p:attrNameLst>
                                      </p:cBhvr>
                                      <p:to>
                                        <p:strVal val="hidden"/>
                                      </p:to>
                                    </p:set>
                                  </p:childTnLst>
                                </p:cTn>
                              </p:par>
                              <p:par>
                                <p:cTn id="8" presetID="35" presetClass="path" presetSubtype="0" accel="50000" decel="50000" fill="hold" nodeType="withEffect">
                                  <p:stCondLst>
                                    <p:cond delay="0"/>
                                  </p:stCondLst>
                                  <p:childTnLst>
                                    <p:animMotion origin="layout" path="M -4.25581E-6 -4.80254E-6 L -0.67985 -4.80254E-6 " pathEditMode="relative" rAng="0" ptsTypes="AA">
                                      <p:cBhvr>
                                        <p:cTn id="9" dur="2000" fill="hold"/>
                                        <p:tgtEl>
                                          <p:spTgt spid="3"/>
                                        </p:tgtEl>
                                        <p:attrNameLst>
                                          <p:attrName>ppt_x</p:attrName>
                                          <p:attrName>ppt_y</p:attrName>
                                        </p:attrNameLst>
                                      </p:cBhvr>
                                      <p:rCtr x="-3399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1" name="Rectangle 20"/>
          <p:cNvSpPr/>
          <p:nvPr/>
        </p:nvSpPr>
        <p:spPr bwMode="auto">
          <a:xfrm>
            <a:off x="1" y="5171771"/>
            <a:ext cx="12188824" cy="1154529"/>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kern="0" dirty="0">
              <a:gradFill>
                <a:gsLst>
                  <a:gs pos="0">
                    <a:srgbClr val="FFFFFF"/>
                  </a:gs>
                  <a:gs pos="100000">
                    <a:srgbClr val="FFFFFF"/>
                  </a:gs>
                </a:gsLst>
                <a:lin ang="5400000" scaled="0"/>
              </a:gradFill>
            </a:endParaRPr>
          </a:p>
        </p:txBody>
      </p:sp>
      <p:grpSp>
        <p:nvGrpSpPr>
          <p:cNvPr id="3" name="Group 2"/>
          <p:cNvGrpSpPr/>
          <p:nvPr/>
        </p:nvGrpSpPr>
        <p:grpSpPr>
          <a:xfrm>
            <a:off x="2688923" y="1305044"/>
            <a:ext cx="7590628" cy="3547994"/>
            <a:chOff x="1759483" y="1309669"/>
            <a:chExt cx="7744853" cy="3620081"/>
          </a:xfrm>
        </p:grpSpPr>
        <p:pic>
          <p:nvPicPr>
            <p:cNvPr id="17" name="Picture 16"/>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2868850" y="1708911"/>
              <a:ext cx="5527519" cy="3171985"/>
            </a:xfrm>
            <a:prstGeom prst="rect">
              <a:avLst/>
            </a:prstGeom>
          </p:spPr>
        </p:pic>
        <p:pic>
          <p:nvPicPr>
            <p:cNvPr id="32" name="Picture 31"/>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759483" y="1309669"/>
              <a:ext cx="7744853" cy="3620081"/>
            </a:xfrm>
            <a:prstGeom prst="rect">
              <a:avLst/>
            </a:prstGeom>
          </p:spPr>
        </p:pic>
      </p:grpSp>
      <p:sp>
        <p:nvSpPr>
          <p:cNvPr id="2" name="Title 1"/>
          <p:cNvSpPr>
            <a:spLocks noGrp="1"/>
          </p:cNvSpPr>
          <p:nvPr>
            <p:ph type="title"/>
          </p:nvPr>
        </p:nvSpPr>
        <p:spPr/>
        <p:txBody>
          <a:bodyPr/>
          <a:lstStyle/>
          <a:p>
            <a:pPr defTabSz="896203">
              <a:spcBef>
                <a:spcPts val="0"/>
              </a:spcBef>
              <a:spcAft>
                <a:spcPts val="588"/>
              </a:spcAft>
              <a:defRPr/>
            </a:pPr>
            <a:r>
              <a:rPr lang="en-US" kern="0" spc="0" dirty="0">
                <a:ln>
                  <a:noFill/>
                </a:ln>
              </a:rPr>
              <a:t>Get more value from your enterprise data assets</a:t>
            </a:r>
          </a:p>
        </p:txBody>
      </p:sp>
      <p:sp>
        <p:nvSpPr>
          <p:cNvPr id="4" name="AutoShape 2" descr="Image result for azure data catalog"/>
          <p:cNvSpPr>
            <a:spLocks noChangeAspect="1" noChangeArrowheads="1"/>
          </p:cNvSpPr>
          <p:nvPr/>
        </p:nvSpPr>
        <p:spPr bwMode="auto">
          <a:xfrm>
            <a:off x="152477" y="-140206"/>
            <a:ext cx="298730" cy="29873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22" name="Rectangle 21"/>
          <p:cNvSpPr/>
          <p:nvPr/>
        </p:nvSpPr>
        <p:spPr bwMode="auto">
          <a:xfrm>
            <a:off x="-7529" y="1648921"/>
            <a:ext cx="1736661" cy="3781517"/>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4" tIns="91403" rIns="18274" bIns="91365" numCol="1" spcCol="1270" anchor="t" anchorCtr="0">
            <a:noAutofit/>
          </a:bodyPr>
          <a:lstStyle/>
          <a:p>
            <a:pPr algn="ctr" defTabSz="724725">
              <a:spcBef>
                <a:spcPct val="0"/>
              </a:spcBef>
              <a:spcAft>
                <a:spcPct val="35000"/>
              </a:spcAft>
              <a:defRPr/>
            </a:pPr>
            <a:r>
              <a:rPr lang="en-US" sz="1400" kern="0" dirty="0">
                <a:solidFill>
                  <a:schemeClr val="tx1"/>
                </a:solidFill>
                <a:latin typeface="Segoe UI Semibold" panose="020B0702040204020203" pitchFamily="34" charset="0"/>
                <a:cs typeface="Segoe UI Semibold" panose="020B0702040204020203" pitchFamily="34" charset="0"/>
              </a:rPr>
              <a:t>Information Management</a:t>
            </a:r>
          </a:p>
        </p:txBody>
      </p:sp>
      <p:sp>
        <p:nvSpPr>
          <p:cNvPr id="23" name="Rectangle 22"/>
          <p:cNvSpPr/>
          <p:nvPr/>
        </p:nvSpPr>
        <p:spPr>
          <a:xfrm>
            <a:off x="545321" y="4147754"/>
            <a:ext cx="1270505" cy="264903"/>
          </a:xfrm>
          <a:prstGeom prst="rect">
            <a:avLst/>
          </a:prstGeom>
        </p:spPr>
        <p:txBody>
          <a:bodyPr wrap="square">
            <a:spAutoFit/>
          </a:bodyPr>
          <a:lstStyle/>
          <a:p>
            <a:pPr defTabSz="896203">
              <a:defRPr/>
            </a:pPr>
            <a:r>
              <a:rPr lang="en-US" sz="1100" kern="0" dirty="0">
                <a:solidFill>
                  <a:schemeClr val="accent2">
                    <a:lumMod val="75000"/>
                  </a:schemeClr>
                </a:solidFill>
                <a:cs typeface="Segoe UI Semilight" panose="020B0402040204020203" pitchFamily="34" charset="0"/>
              </a:rPr>
              <a:t>Event Hubs</a:t>
            </a:r>
            <a:endParaRPr lang="en-US" sz="1100" kern="0" dirty="0">
              <a:solidFill>
                <a:schemeClr val="accent2">
                  <a:lumMod val="75000"/>
                </a:schemeClr>
              </a:solidFill>
            </a:endParaRPr>
          </a:p>
        </p:txBody>
      </p:sp>
      <p:sp>
        <p:nvSpPr>
          <p:cNvPr id="24" name="Rectangle 23"/>
          <p:cNvSpPr/>
          <p:nvPr/>
        </p:nvSpPr>
        <p:spPr>
          <a:xfrm>
            <a:off x="545321" y="3354951"/>
            <a:ext cx="1270505" cy="264903"/>
          </a:xfrm>
          <a:prstGeom prst="rect">
            <a:avLst/>
          </a:prstGeom>
        </p:spPr>
        <p:txBody>
          <a:bodyPr wrap="square">
            <a:spAutoFit/>
          </a:bodyPr>
          <a:lstStyle/>
          <a:p>
            <a:pPr defTabSz="896203">
              <a:defRPr/>
            </a:pPr>
            <a:r>
              <a:rPr lang="en-US" sz="1100" kern="0" dirty="0">
                <a:solidFill>
                  <a:sysClr val="windowText" lastClr="000000"/>
                </a:solidFill>
                <a:cs typeface="Segoe UI Semilight" panose="020B0402040204020203" pitchFamily="34" charset="0"/>
              </a:rPr>
              <a:t>Data Catalog</a:t>
            </a:r>
          </a:p>
        </p:txBody>
      </p:sp>
      <p:grpSp>
        <p:nvGrpSpPr>
          <p:cNvPr id="25" name="Group 24"/>
          <p:cNvGrpSpPr/>
          <p:nvPr/>
        </p:nvGrpSpPr>
        <p:grpSpPr>
          <a:xfrm>
            <a:off x="230540" y="3312523"/>
            <a:ext cx="274886" cy="292409"/>
            <a:chOff x="3232150" y="382588"/>
            <a:chExt cx="5727700" cy="6092825"/>
          </a:xfrm>
          <a:solidFill>
            <a:schemeClr val="tx1"/>
          </a:solidFill>
        </p:grpSpPr>
        <p:sp>
          <p:nvSpPr>
            <p:cNvPr id="26"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defRPr/>
              </a:pPr>
              <a:endParaRPr lang="en-US" sz="1799" kern="0">
                <a:solidFill>
                  <a:sysClr val="windowText" lastClr="000000"/>
                </a:solidFill>
              </a:endParaRPr>
            </a:p>
          </p:txBody>
        </p:sp>
        <p:sp>
          <p:nvSpPr>
            <p:cNvPr id="27"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defRPr/>
              </a:pPr>
              <a:endParaRPr lang="en-US" sz="1799" kern="0">
                <a:solidFill>
                  <a:sysClr val="windowText" lastClr="000000"/>
                </a:solidFill>
              </a:endParaRPr>
            </a:p>
          </p:txBody>
        </p:sp>
        <p:sp>
          <p:nvSpPr>
            <p:cNvPr id="28"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defRPr/>
              </a:pPr>
              <a:endParaRPr lang="en-US" sz="1799" kern="0">
                <a:solidFill>
                  <a:sysClr val="windowText" lastClr="000000"/>
                </a:solidFill>
              </a:endParaRPr>
            </a:p>
          </p:txBody>
        </p:sp>
      </p:grpSp>
      <p:sp>
        <p:nvSpPr>
          <p:cNvPr id="29" name="Rectangle 28"/>
          <p:cNvSpPr/>
          <p:nvPr/>
        </p:nvSpPr>
        <p:spPr>
          <a:xfrm>
            <a:off x="545321" y="2519749"/>
            <a:ext cx="1270505" cy="264903"/>
          </a:xfrm>
          <a:prstGeom prst="rect">
            <a:avLst/>
          </a:prstGeom>
        </p:spPr>
        <p:txBody>
          <a:bodyPr wrap="square">
            <a:spAutoFit/>
          </a:bodyPr>
          <a:lstStyle/>
          <a:p>
            <a:pPr defTabSz="896203">
              <a:defRPr/>
            </a:pPr>
            <a:r>
              <a:rPr lang="en-US" sz="1100" kern="0" dirty="0">
                <a:solidFill>
                  <a:schemeClr val="accent2">
                    <a:lumMod val="75000"/>
                  </a:schemeClr>
                </a:solidFill>
                <a:cs typeface="Segoe UI Semilight" panose="020B0402040204020203" pitchFamily="34" charset="0"/>
              </a:rPr>
              <a:t>Data Factory </a:t>
            </a:r>
            <a:endParaRPr lang="en-US" sz="1100" kern="0" dirty="0">
              <a:solidFill>
                <a:schemeClr val="accent2">
                  <a:lumMod val="75000"/>
                </a:schemeClr>
              </a:solidFill>
            </a:endParaRPr>
          </a:p>
        </p:txBody>
      </p:sp>
      <p:sp>
        <p:nvSpPr>
          <p:cNvPr id="30" name="Freeform 29"/>
          <p:cNvSpPr/>
          <p:nvPr/>
        </p:nvSpPr>
        <p:spPr bwMode="auto">
          <a:xfrm>
            <a:off x="226535" y="2458510"/>
            <a:ext cx="286345" cy="300909"/>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defRPr/>
            </a:pPr>
            <a:endParaRPr lang="en-US" sz="2399" kern="0">
              <a:solidFill>
                <a:schemeClr val="tx1"/>
              </a:solidFill>
              <a:ea typeface="Segoe UI" pitchFamily="34" charset="0"/>
              <a:cs typeface="Segoe UI" pitchFamily="34" charset="0"/>
            </a:endParaRPr>
          </a:p>
        </p:txBody>
      </p:sp>
      <p:sp>
        <p:nvSpPr>
          <p:cNvPr id="31" name="Freeform 30"/>
          <p:cNvSpPr/>
          <p:nvPr/>
        </p:nvSpPr>
        <p:spPr bwMode="auto">
          <a:xfrm>
            <a:off x="246848" y="4152678"/>
            <a:ext cx="231481" cy="242237"/>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defRPr/>
            </a:pPr>
            <a:endParaRPr lang="en-US" sz="2399" kern="0" dirty="0">
              <a:solidFill>
                <a:schemeClr val="tx1"/>
              </a:solidFill>
              <a:ea typeface="Segoe UI" pitchFamily="34" charset="0"/>
              <a:cs typeface="Segoe UI" pitchFamily="34" charset="0"/>
            </a:endParaRPr>
          </a:p>
        </p:txBody>
      </p:sp>
      <p:grpSp>
        <p:nvGrpSpPr>
          <p:cNvPr id="5" name="Group 4"/>
          <p:cNvGrpSpPr/>
          <p:nvPr/>
        </p:nvGrpSpPr>
        <p:grpSpPr>
          <a:xfrm>
            <a:off x="2151214" y="5204817"/>
            <a:ext cx="10185190" cy="1254855"/>
            <a:chOff x="2194921" y="5397960"/>
            <a:chExt cx="10392131" cy="1280351"/>
          </a:xfrm>
        </p:grpSpPr>
        <p:sp>
          <p:nvSpPr>
            <p:cNvPr id="36" name="TextBox 35"/>
            <p:cNvSpPr txBox="1"/>
            <p:nvPr/>
          </p:nvSpPr>
          <p:spPr>
            <a:xfrm>
              <a:off x="2194921" y="5397960"/>
              <a:ext cx="5454426" cy="1280351"/>
            </a:xfrm>
            <a:prstGeom prst="rect">
              <a:avLst/>
            </a:prstGeom>
            <a:noFill/>
          </p:spPr>
          <p:txBody>
            <a:bodyPr wrap="square" lIns="179238" tIns="143391" rIns="179238" bIns="143391" rtlCol="0">
              <a:spAutoFit/>
            </a:bodyPr>
            <a:lstStyle/>
            <a:p>
              <a:pPr marL="174262" indent="-174262" defTabSz="896203">
                <a:lnSpc>
                  <a:spcPct val="90000"/>
                </a:lnSpc>
                <a:spcAft>
                  <a:spcPts val="588"/>
                </a:spcAft>
                <a:buClr>
                  <a:schemeClr val="accent1"/>
                </a:buClr>
                <a:buFont typeface="Arial" panose="020B0604020202020204" pitchFamily="34" charset="0"/>
                <a:buChar char="•"/>
              </a:pPr>
              <a:r>
                <a:rPr lang="en-US" sz="1176" kern="0" dirty="0">
                  <a:solidFill>
                    <a:schemeClr val="bg1"/>
                  </a:solidFill>
                </a:rPr>
                <a:t>Spend less time looking for data, and more time getting value from it</a:t>
              </a:r>
            </a:p>
            <a:p>
              <a:pPr marL="174262" indent="-174262" defTabSz="896203">
                <a:lnSpc>
                  <a:spcPct val="90000"/>
                </a:lnSpc>
                <a:spcAft>
                  <a:spcPts val="588"/>
                </a:spcAft>
                <a:buClr>
                  <a:schemeClr val="accent1"/>
                </a:buClr>
                <a:buFont typeface="Arial" panose="020B0604020202020204" pitchFamily="34" charset="0"/>
                <a:buChar char="•"/>
              </a:pPr>
              <a:r>
                <a:rPr lang="en-US" sz="1176" kern="0" dirty="0">
                  <a:solidFill>
                    <a:schemeClr val="bg1"/>
                  </a:solidFill>
                </a:rPr>
                <a:t>Register enterprise data sources, discover data assets and unlock their potential, and capture tribal knowledge to make data understandable</a:t>
              </a:r>
            </a:p>
            <a:p>
              <a:pPr marL="174262" indent="-174262" defTabSz="896203">
                <a:lnSpc>
                  <a:spcPct val="90000"/>
                </a:lnSpc>
                <a:spcAft>
                  <a:spcPts val="588"/>
                </a:spcAft>
                <a:buClr>
                  <a:schemeClr val="accent1"/>
                </a:buClr>
                <a:buFont typeface="Arial" panose="020B0604020202020204" pitchFamily="34" charset="0"/>
                <a:buChar char="•"/>
              </a:pPr>
              <a:r>
                <a:rPr lang="en-US" sz="1176" kern="0" dirty="0">
                  <a:solidFill>
                    <a:schemeClr val="bg1"/>
                  </a:solidFill>
                </a:rPr>
                <a:t>Bridge the gap between IT and the business, allowing everyone to contribute their insights, tags, and descriptions</a:t>
              </a:r>
            </a:p>
          </p:txBody>
        </p:sp>
        <p:sp>
          <p:nvSpPr>
            <p:cNvPr id="37" name="TextBox 36"/>
            <p:cNvSpPr txBox="1"/>
            <p:nvPr/>
          </p:nvSpPr>
          <p:spPr>
            <a:xfrm>
              <a:off x="7375029" y="5397960"/>
              <a:ext cx="5212023" cy="1114151"/>
            </a:xfrm>
            <a:prstGeom prst="rect">
              <a:avLst/>
            </a:prstGeom>
            <a:noFill/>
          </p:spPr>
          <p:txBody>
            <a:bodyPr wrap="square" lIns="179238" tIns="143391" rIns="179238" bIns="143391" rtlCol="0">
              <a:spAutoFit/>
            </a:bodyPr>
            <a:lstStyle/>
            <a:p>
              <a:pPr marL="174262" indent="-174262" defTabSz="896203">
                <a:lnSpc>
                  <a:spcPct val="90000"/>
                </a:lnSpc>
                <a:spcAft>
                  <a:spcPts val="588"/>
                </a:spcAft>
                <a:buClr>
                  <a:schemeClr val="accent1"/>
                </a:buClr>
                <a:buFont typeface="Arial" panose="020B0604020202020204" pitchFamily="34" charset="0"/>
                <a:buChar char="•"/>
              </a:pPr>
              <a:r>
                <a:rPr lang="en-US" sz="1176" kern="0" dirty="0">
                  <a:solidFill>
                    <a:schemeClr val="bg1"/>
                  </a:solidFill>
                </a:rPr>
                <a:t>Intuitive search and filtering to understand the data sources and their purpose</a:t>
              </a:r>
            </a:p>
            <a:p>
              <a:pPr marL="174262" indent="-174262" defTabSz="896203">
                <a:lnSpc>
                  <a:spcPct val="90000"/>
                </a:lnSpc>
                <a:spcAft>
                  <a:spcPts val="588"/>
                </a:spcAft>
                <a:buClr>
                  <a:schemeClr val="accent1"/>
                </a:buClr>
                <a:buFont typeface="Arial" panose="020B0604020202020204" pitchFamily="34" charset="0"/>
                <a:buChar char="•"/>
              </a:pPr>
              <a:r>
                <a:rPr lang="en-US" sz="1176" kern="0" dirty="0">
                  <a:solidFill>
                    <a:schemeClr val="bg1"/>
                  </a:solidFill>
                </a:rPr>
                <a:t>Let your data live where you want; connect using tools you choose</a:t>
              </a:r>
            </a:p>
            <a:p>
              <a:pPr marL="174262" indent="-174262" defTabSz="896203">
                <a:lnSpc>
                  <a:spcPct val="90000"/>
                </a:lnSpc>
                <a:spcAft>
                  <a:spcPts val="588"/>
                </a:spcAft>
                <a:buClr>
                  <a:schemeClr val="accent1"/>
                </a:buClr>
                <a:buFont typeface="Arial" panose="020B0604020202020204" pitchFamily="34" charset="0"/>
                <a:buChar char="•"/>
              </a:pPr>
              <a:r>
                <a:rPr lang="en-US" sz="1176" kern="0" dirty="0">
                  <a:solidFill>
                    <a:schemeClr val="bg1"/>
                  </a:solidFill>
                </a:rPr>
                <a:t>Integrate into existing tools and processes with open REST APIs</a:t>
              </a:r>
            </a:p>
          </p:txBody>
        </p:sp>
      </p:grpSp>
    </p:spTree>
    <p:extLst>
      <p:ext uri="{BB962C8B-B14F-4D97-AF65-F5344CB8AC3E}">
        <p14:creationId xmlns:p14="http://schemas.microsoft.com/office/powerpoint/2010/main" val="2896478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32" name="Rectangle 131"/>
          <p:cNvSpPr/>
          <p:nvPr/>
        </p:nvSpPr>
        <p:spPr bwMode="auto">
          <a:xfrm>
            <a:off x="1" y="5171771"/>
            <a:ext cx="12188824" cy="1154529"/>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kern="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269170" y="290775"/>
            <a:ext cx="11652805" cy="899303"/>
          </a:xfrm>
        </p:spPr>
        <p:txBody>
          <a:bodyPr/>
          <a:lstStyle/>
          <a:p>
            <a:pPr defTabSz="896203">
              <a:spcBef>
                <a:spcPts val="0"/>
              </a:spcBef>
              <a:spcAft>
                <a:spcPts val="588"/>
              </a:spcAft>
              <a:defRPr/>
            </a:pPr>
            <a:r>
              <a:rPr lang="en-US" kern="0" spc="0" dirty="0">
                <a:ln>
                  <a:noFill/>
                </a:ln>
              </a:rPr>
              <a:t>Ingest events from websites, apps and devices at </a:t>
            </a:r>
            <a:r>
              <a:rPr lang="en-US" dirty="0"/>
              <a:t>cloud scale </a:t>
            </a:r>
            <a:endParaRPr lang="en-US" kern="0" spc="0" dirty="0">
              <a:ln>
                <a:noFill/>
              </a:ln>
            </a:endParaRPr>
          </a:p>
        </p:txBody>
      </p:sp>
      <p:sp>
        <p:nvSpPr>
          <p:cNvPr id="12" name="TextBox 11"/>
          <p:cNvSpPr txBox="1"/>
          <p:nvPr/>
        </p:nvSpPr>
        <p:spPr>
          <a:xfrm>
            <a:off x="2151214" y="5202529"/>
            <a:ext cx="5179093" cy="1167376"/>
          </a:xfrm>
          <a:prstGeom prst="rect">
            <a:avLst/>
          </a:prstGeom>
          <a:noFill/>
        </p:spPr>
        <p:txBody>
          <a:bodyPr wrap="square" lIns="179238" tIns="143391" rIns="179238" bIns="143391" rtlCol="0">
            <a:spAutoFit/>
          </a:bodyPr>
          <a:lstStyle/>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Log millions of events per second in near real time</a:t>
            </a:r>
          </a:p>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Connect devices using flexible authorization and throttling</a:t>
            </a:r>
          </a:p>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Use time-based event buffering</a:t>
            </a:r>
          </a:p>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Get a managed service with elastic scale</a:t>
            </a:r>
          </a:p>
        </p:txBody>
      </p:sp>
      <p:sp>
        <p:nvSpPr>
          <p:cNvPr id="10" name="TextBox 9"/>
          <p:cNvSpPr txBox="1"/>
          <p:nvPr/>
        </p:nvSpPr>
        <p:spPr>
          <a:xfrm>
            <a:off x="7232265" y="5208252"/>
            <a:ext cx="4576103" cy="929075"/>
          </a:xfrm>
          <a:prstGeom prst="rect">
            <a:avLst/>
          </a:prstGeom>
          <a:noFill/>
        </p:spPr>
        <p:txBody>
          <a:bodyPr wrap="square" lIns="179238" tIns="143391" rIns="179238" bIns="143391" rtlCol="0">
            <a:spAutoFit/>
          </a:bodyPr>
          <a:lstStyle/>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Get a managed service with elastic scale</a:t>
            </a:r>
          </a:p>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Reach a broad set of platforms using native client libraries</a:t>
            </a:r>
          </a:p>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Pluggable adapters for other cloud services</a:t>
            </a:r>
          </a:p>
        </p:txBody>
      </p:sp>
      <p:grpSp>
        <p:nvGrpSpPr>
          <p:cNvPr id="3" name="Group 2"/>
          <p:cNvGrpSpPr/>
          <p:nvPr/>
        </p:nvGrpSpPr>
        <p:grpSpPr>
          <a:xfrm>
            <a:off x="4057883" y="2803234"/>
            <a:ext cx="1594402" cy="2029428"/>
            <a:chOff x="4140330" y="2614188"/>
            <a:chExt cx="1626797" cy="2070661"/>
          </a:xfrm>
        </p:grpSpPr>
        <p:sp>
          <p:nvSpPr>
            <p:cNvPr id="252" name="Rectangle 251"/>
            <p:cNvSpPr/>
            <p:nvPr/>
          </p:nvSpPr>
          <p:spPr bwMode="auto">
            <a:xfrm>
              <a:off x="4140330" y="2614188"/>
              <a:ext cx="1626797" cy="980770"/>
            </a:xfrm>
            <a:prstGeom prst="rect">
              <a:avLst/>
            </a:prstGeom>
            <a:noFill/>
            <a:ln w="3175">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619" tIns="45708" rIns="89619" bIns="45708" numCol="1" rtlCol="0" anchor="ctr" anchorCtr="0" compatLnSpc="1">
              <a:prstTxWarp prst="textNoShape">
                <a:avLst/>
              </a:prstTxWarp>
            </a:bodyPr>
            <a:lstStyle/>
            <a:p>
              <a:pPr algn="ctr" defTabSz="913916" fontAlgn="base">
                <a:spcBef>
                  <a:spcPct val="0"/>
                </a:spcBef>
                <a:spcAft>
                  <a:spcPct val="0"/>
                </a:spcAft>
                <a:defRPr/>
              </a:pPr>
              <a:r>
                <a:rPr lang="en-US" sz="1372" kern="0" dirty="0">
                  <a:solidFill>
                    <a:srgbClr val="0078D7"/>
                  </a:solidFill>
                </a:rPr>
                <a:t>Azure</a:t>
              </a:r>
            </a:p>
            <a:p>
              <a:pPr algn="ctr" defTabSz="913916" fontAlgn="base">
                <a:spcBef>
                  <a:spcPct val="0"/>
                </a:spcBef>
                <a:spcAft>
                  <a:spcPct val="0"/>
                </a:spcAft>
                <a:defRPr/>
              </a:pPr>
              <a:r>
                <a:rPr lang="en-US" sz="1372" kern="0" dirty="0">
                  <a:solidFill>
                    <a:srgbClr val="0078D7"/>
                  </a:solidFill>
                </a:rPr>
                <a:t>API</a:t>
              </a:r>
            </a:p>
            <a:p>
              <a:pPr algn="ctr" defTabSz="913916" fontAlgn="base">
                <a:spcBef>
                  <a:spcPct val="0"/>
                </a:spcBef>
                <a:spcAft>
                  <a:spcPct val="0"/>
                </a:spcAft>
                <a:defRPr/>
              </a:pPr>
              <a:r>
                <a:rPr lang="en-US" sz="1372" kern="0" dirty="0">
                  <a:solidFill>
                    <a:srgbClr val="0078D7"/>
                  </a:solidFill>
                </a:rPr>
                <a:t>Management</a:t>
              </a:r>
            </a:p>
          </p:txBody>
        </p:sp>
        <p:sp>
          <p:nvSpPr>
            <p:cNvPr id="253" name="Rectangle 252"/>
            <p:cNvSpPr/>
            <p:nvPr/>
          </p:nvSpPr>
          <p:spPr bwMode="auto">
            <a:xfrm>
              <a:off x="4140330" y="4047540"/>
              <a:ext cx="1626797" cy="637309"/>
            </a:xfrm>
            <a:prstGeom prst="rect">
              <a:avLst/>
            </a:prstGeom>
            <a:noFill/>
            <a:ln w="3175">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619" tIns="45708" rIns="89619" bIns="45708" numCol="1" rtlCol="0" anchor="ctr" anchorCtr="0" compatLnSpc="1">
              <a:prstTxWarp prst="textNoShape">
                <a:avLst/>
              </a:prstTxWarp>
            </a:bodyPr>
            <a:lstStyle/>
            <a:p>
              <a:pPr algn="ctr" defTabSz="913916" fontAlgn="base">
                <a:spcBef>
                  <a:spcPct val="0"/>
                </a:spcBef>
                <a:spcAft>
                  <a:spcPct val="0"/>
                </a:spcAft>
                <a:defRPr/>
              </a:pPr>
              <a:r>
                <a:rPr lang="en-US" sz="1372" kern="0" dirty="0">
                  <a:solidFill>
                    <a:srgbClr val="0078D7"/>
                  </a:solidFill>
                </a:rPr>
                <a:t>Backend Services</a:t>
              </a:r>
            </a:p>
          </p:txBody>
        </p:sp>
        <p:grpSp>
          <p:nvGrpSpPr>
            <p:cNvPr id="361" name="Group 360"/>
            <p:cNvGrpSpPr/>
            <p:nvPr/>
          </p:nvGrpSpPr>
          <p:grpSpPr>
            <a:xfrm>
              <a:off x="4774153" y="3652997"/>
              <a:ext cx="359151" cy="336504"/>
              <a:chOff x="4808162" y="3748088"/>
              <a:chExt cx="1339374" cy="1254917"/>
            </a:xfrm>
            <a:solidFill>
              <a:srgbClr val="0078D7"/>
            </a:solidFill>
          </p:grpSpPr>
          <p:sp>
            <p:nvSpPr>
              <p:cNvPr id="362" name="Freeform 361"/>
              <p:cNvSpPr>
                <a:spLocks/>
              </p:cNvSpPr>
              <p:nvPr/>
            </p:nvSpPr>
            <p:spPr bwMode="auto">
              <a:xfrm rot="10800000">
                <a:off x="4808162" y="3960018"/>
                <a:ext cx="1339374" cy="1042987"/>
              </a:xfrm>
              <a:custGeom>
                <a:avLst/>
                <a:gdLst>
                  <a:gd name="connsiteX0" fmla="*/ 284256 w 431728"/>
                  <a:gd name="connsiteY0" fmla="*/ 336192 h 336192"/>
                  <a:gd name="connsiteX1" fmla="*/ 262918 w 431728"/>
                  <a:gd name="connsiteY1" fmla="*/ 336192 h 336192"/>
                  <a:gd name="connsiteX2" fmla="*/ 266799 w 431728"/>
                  <a:gd name="connsiteY2" fmla="*/ 326295 h 336192"/>
                  <a:gd name="connsiteX3" fmla="*/ 268451 w 431728"/>
                  <a:gd name="connsiteY3" fmla="*/ 322082 h 336192"/>
                  <a:gd name="connsiteX4" fmla="*/ 275609 w 431728"/>
                  <a:gd name="connsiteY4" fmla="*/ 316006 h 336192"/>
                  <a:gd name="connsiteX5" fmla="*/ 283317 w 431728"/>
                  <a:gd name="connsiteY5" fmla="*/ 313796 h 336192"/>
                  <a:gd name="connsiteX6" fmla="*/ 283868 w 431728"/>
                  <a:gd name="connsiteY6" fmla="*/ 313796 h 336192"/>
                  <a:gd name="connsiteX7" fmla="*/ 406657 w 431728"/>
                  <a:gd name="connsiteY7" fmla="*/ 180658 h 336192"/>
                  <a:gd name="connsiteX8" fmla="*/ 410512 w 431728"/>
                  <a:gd name="connsiteY8" fmla="*/ 147511 h 336192"/>
                  <a:gd name="connsiteX9" fmla="*/ 341133 w 431728"/>
                  <a:gd name="connsiteY9" fmla="*/ 147511 h 336192"/>
                  <a:gd name="connsiteX10" fmla="*/ 331222 w 431728"/>
                  <a:gd name="connsiteY10" fmla="*/ 137567 h 336192"/>
                  <a:gd name="connsiteX11" fmla="*/ 331222 w 431728"/>
                  <a:gd name="connsiteY11" fmla="*/ 25422 h 336192"/>
                  <a:gd name="connsiteX12" fmla="*/ 325716 w 431728"/>
                  <a:gd name="connsiteY12" fmla="*/ 19898 h 336192"/>
                  <a:gd name="connsiteX13" fmla="*/ 298184 w 431728"/>
                  <a:gd name="connsiteY13" fmla="*/ 19898 h 336192"/>
                  <a:gd name="connsiteX14" fmla="*/ 292678 w 431728"/>
                  <a:gd name="connsiteY14" fmla="*/ 25422 h 336192"/>
                  <a:gd name="connsiteX15" fmla="*/ 292678 w 431728"/>
                  <a:gd name="connsiteY15" fmla="*/ 137567 h 336192"/>
                  <a:gd name="connsiteX16" fmla="*/ 282767 w 431728"/>
                  <a:gd name="connsiteY16" fmla="*/ 147511 h 336192"/>
                  <a:gd name="connsiteX17" fmla="*/ 148414 w 431728"/>
                  <a:gd name="connsiteY17" fmla="*/ 147511 h 336192"/>
                  <a:gd name="connsiteX18" fmla="*/ 138503 w 431728"/>
                  <a:gd name="connsiteY18" fmla="*/ 137567 h 336192"/>
                  <a:gd name="connsiteX19" fmla="*/ 138503 w 431728"/>
                  <a:gd name="connsiteY19" fmla="*/ 25422 h 336192"/>
                  <a:gd name="connsiteX20" fmla="*/ 133547 w 431728"/>
                  <a:gd name="connsiteY20" fmla="*/ 19898 h 336192"/>
                  <a:gd name="connsiteX21" fmla="*/ 106016 w 431728"/>
                  <a:gd name="connsiteY21" fmla="*/ 19898 h 336192"/>
                  <a:gd name="connsiteX22" fmla="*/ 100510 w 431728"/>
                  <a:gd name="connsiteY22" fmla="*/ 25422 h 336192"/>
                  <a:gd name="connsiteX23" fmla="*/ 100510 w 431728"/>
                  <a:gd name="connsiteY23" fmla="*/ 137567 h 336192"/>
                  <a:gd name="connsiteX24" fmla="*/ 90599 w 431728"/>
                  <a:gd name="connsiteY24" fmla="*/ 147511 h 336192"/>
                  <a:gd name="connsiteX25" fmla="*/ 21220 w 431728"/>
                  <a:gd name="connsiteY25" fmla="*/ 147511 h 336192"/>
                  <a:gd name="connsiteX26" fmla="*/ 24524 w 431728"/>
                  <a:gd name="connsiteY26" fmla="*/ 180105 h 336192"/>
                  <a:gd name="connsiteX27" fmla="*/ 24524 w 431728"/>
                  <a:gd name="connsiteY27" fmla="*/ 181210 h 336192"/>
                  <a:gd name="connsiteX28" fmla="*/ 148414 w 431728"/>
                  <a:gd name="connsiteY28" fmla="*/ 314348 h 336192"/>
                  <a:gd name="connsiteX29" fmla="*/ 164933 w 431728"/>
                  <a:gd name="connsiteY29" fmla="*/ 318215 h 336192"/>
                  <a:gd name="connsiteX30" fmla="*/ 171541 w 431728"/>
                  <a:gd name="connsiteY30" fmla="*/ 323187 h 336192"/>
                  <a:gd name="connsiteX31" fmla="*/ 172091 w 431728"/>
                  <a:gd name="connsiteY31" fmla="*/ 331474 h 336192"/>
                  <a:gd name="connsiteX32" fmla="*/ 170394 w 431728"/>
                  <a:gd name="connsiteY32" fmla="*/ 336192 h 336192"/>
                  <a:gd name="connsiteX33" fmla="*/ 148922 w 431728"/>
                  <a:gd name="connsiteY33" fmla="*/ 336192 h 336192"/>
                  <a:gd name="connsiteX34" fmla="*/ 149469 w 431728"/>
                  <a:gd name="connsiteY34" fmla="*/ 334670 h 336192"/>
                  <a:gd name="connsiteX35" fmla="*/ 143407 w 431728"/>
                  <a:gd name="connsiteY35" fmla="*/ 333014 h 336192"/>
                  <a:gd name="connsiteX36" fmla="*/ 142305 w 431728"/>
                  <a:gd name="connsiteY36" fmla="*/ 333014 h 336192"/>
                  <a:gd name="connsiteX37" fmla="*/ 5103 w 431728"/>
                  <a:gd name="connsiteY37" fmla="*/ 184455 h 336192"/>
                  <a:gd name="connsiteX38" fmla="*/ 4552 w 431728"/>
                  <a:gd name="connsiteY38" fmla="*/ 182246 h 336192"/>
                  <a:gd name="connsiteX39" fmla="*/ 4552 w 431728"/>
                  <a:gd name="connsiteY39" fmla="*/ 181694 h 336192"/>
                  <a:gd name="connsiteX40" fmla="*/ 144 w 431728"/>
                  <a:gd name="connsiteY40" fmla="*/ 138618 h 336192"/>
                  <a:gd name="connsiteX41" fmla="*/ 2348 w 431728"/>
                  <a:gd name="connsiteY41" fmla="*/ 130886 h 336192"/>
                  <a:gd name="connsiteX42" fmla="*/ 10062 w 431728"/>
                  <a:gd name="connsiteY42" fmla="*/ 127572 h 336192"/>
                  <a:gd name="connsiteX43" fmla="*/ 80592 w 431728"/>
                  <a:gd name="connsiteY43" fmla="*/ 127572 h 336192"/>
                  <a:gd name="connsiteX44" fmla="*/ 80592 w 431728"/>
                  <a:gd name="connsiteY44" fmla="*/ 25404 h 336192"/>
                  <a:gd name="connsiteX45" fmla="*/ 105938 w 431728"/>
                  <a:gd name="connsiteY45" fmla="*/ 0 h 336192"/>
                  <a:gd name="connsiteX46" fmla="*/ 133489 w 431728"/>
                  <a:gd name="connsiteY46" fmla="*/ 0 h 336192"/>
                  <a:gd name="connsiteX47" fmla="*/ 158285 w 431728"/>
                  <a:gd name="connsiteY47" fmla="*/ 25404 h 336192"/>
                  <a:gd name="connsiteX48" fmla="*/ 158285 w 431728"/>
                  <a:gd name="connsiteY48" fmla="*/ 127572 h 336192"/>
                  <a:gd name="connsiteX49" fmla="*/ 272896 w 431728"/>
                  <a:gd name="connsiteY49" fmla="*/ 127572 h 336192"/>
                  <a:gd name="connsiteX50" fmla="*/ 272896 w 431728"/>
                  <a:gd name="connsiteY50" fmla="*/ 25404 h 336192"/>
                  <a:gd name="connsiteX51" fmla="*/ 298242 w 431728"/>
                  <a:gd name="connsiteY51" fmla="*/ 0 h 336192"/>
                  <a:gd name="connsiteX52" fmla="*/ 325793 w 431728"/>
                  <a:gd name="connsiteY52" fmla="*/ 0 h 336192"/>
                  <a:gd name="connsiteX53" fmla="*/ 351140 w 431728"/>
                  <a:gd name="connsiteY53" fmla="*/ 25404 h 336192"/>
                  <a:gd name="connsiteX54" fmla="*/ 351140 w 431728"/>
                  <a:gd name="connsiteY54" fmla="*/ 127572 h 336192"/>
                  <a:gd name="connsiteX55" fmla="*/ 421670 w 431728"/>
                  <a:gd name="connsiteY55" fmla="*/ 127572 h 336192"/>
                  <a:gd name="connsiteX56" fmla="*/ 428833 w 431728"/>
                  <a:gd name="connsiteY56" fmla="*/ 130886 h 336192"/>
                  <a:gd name="connsiteX57" fmla="*/ 431588 w 431728"/>
                  <a:gd name="connsiteY57" fmla="*/ 138618 h 336192"/>
                  <a:gd name="connsiteX58" fmla="*/ 426629 w 431728"/>
                  <a:gd name="connsiteY58" fmla="*/ 183351 h 336192"/>
                  <a:gd name="connsiteX59" fmla="*/ 426629 w 431728"/>
                  <a:gd name="connsiteY59" fmla="*/ 184455 h 336192"/>
                  <a:gd name="connsiteX60" fmla="*/ 289426 w 431728"/>
                  <a:gd name="connsiteY60" fmla="*/ 333014 h 336192"/>
                  <a:gd name="connsiteX61" fmla="*/ 287222 w 431728"/>
                  <a:gd name="connsiteY61" fmla="*/ 333566 h 336192"/>
                  <a:gd name="connsiteX62" fmla="*/ 285018 w 431728"/>
                  <a:gd name="connsiteY62" fmla="*/ 334118 h 336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431728" h="336192">
                    <a:moveTo>
                      <a:pt x="284256" y="336192"/>
                    </a:moveTo>
                    <a:lnTo>
                      <a:pt x="262918" y="336192"/>
                    </a:lnTo>
                    <a:lnTo>
                      <a:pt x="266799" y="326295"/>
                    </a:lnTo>
                    <a:cubicBezTo>
                      <a:pt x="268451" y="322082"/>
                      <a:pt x="268451" y="322082"/>
                      <a:pt x="268451" y="322082"/>
                    </a:cubicBezTo>
                    <a:cubicBezTo>
                      <a:pt x="269552" y="318768"/>
                      <a:pt x="272305" y="316558"/>
                      <a:pt x="275609" y="316006"/>
                    </a:cubicBezTo>
                    <a:cubicBezTo>
                      <a:pt x="283317" y="313796"/>
                      <a:pt x="283317" y="313796"/>
                      <a:pt x="283317" y="313796"/>
                    </a:cubicBezTo>
                    <a:cubicBezTo>
                      <a:pt x="283868" y="313796"/>
                      <a:pt x="283868" y="313796"/>
                      <a:pt x="283868" y="313796"/>
                    </a:cubicBezTo>
                    <a:cubicBezTo>
                      <a:pt x="346639" y="292251"/>
                      <a:pt x="393442" y="240874"/>
                      <a:pt x="406657" y="180658"/>
                    </a:cubicBezTo>
                    <a:cubicBezTo>
                      <a:pt x="410512" y="147511"/>
                      <a:pt x="410512" y="147511"/>
                      <a:pt x="410512" y="147511"/>
                    </a:cubicBezTo>
                    <a:cubicBezTo>
                      <a:pt x="341133" y="147511"/>
                      <a:pt x="341133" y="147511"/>
                      <a:pt x="341133" y="147511"/>
                    </a:cubicBezTo>
                    <a:cubicBezTo>
                      <a:pt x="335627" y="147511"/>
                      <a:pt x="331222" y="143092"/>
                      <a:pt x="331222" y="137567"/>
                    </a:cubicBezTo>
                    <a:cubicBezTo>
                      <a:pt x="331222" y="25422"/>
                      <a:pt x="331222" y="25422"/>
                      <a:pt x="331222" y="25422"/>
                    </a:cubicBezTo>
                    <a:cubicBezTo>
                      <a:pt x="331222" y="21555"/>
                      <a:pt x="328469" y="19898"/>
                      <a:pt x="325716" y="19898"/>
                    </a:cubicBezTo>
                    <a:cubicBezTo>
                      <a:pt x="298184" y="19898"/>
                      <a:pt x="298184" y="19898"/>
                      <a:pt x="298184" y="19898"/>
                    </a:cubicBezTo>
                    <a:cubicBezTo>
                      <a:pt x="295431" y="19898"/>
                      <a:pt x="292678" y="21555"/>
                      <a:pt x="292678" y="25422"/>
                    </a:cubicBezTo>
                    <a:cubicBezTo>
                      <a:pt x="292678" y="137567"/>
                      <a:pt x="292678" y="137567"/>
                      <a:pt x="292678" y="137567"/>
                    </a:cubicBezTo>
                    <a:cubicBezTo>
                      <a:pt x="292678" y="143092"/>
                      <a:pt x="288273" y="147511"/>
                      <a:pt x="282767" y="147511"/>
                    </a:cubicBezTo>
                    <a:cubicBezTo>
                      <a:pt x="148414" y="147511"/>
                      <a:pt x="148414" y="147511"/>
                      <a:pt x="148414" y="147511"/>
                    </a:cubicBezTo>
                    <a:cubicBezTo>
                      <a:pt x="142908" y="147511"/>
                      <a:pt x="138503" y="143092"/>
                      <a:pt x="138503" y="137567"/>
                    </a:cubicBezTo>
                    <a:cubicBezTo>
                      <a:pt x="138503" y="25422"/>
                      <a:pt x="138503" y="25422"/>
                      <a:pt x="138503" y="25422"/>
                    </a:cubicBezTo>
                    <a:cubicBezTo>
                      <a:pt x="138503" y="22107"/>
                      <a:pt x="136301" y="19898"/>
                      <a:pt x="133547" y="19898"/>
                    </a:cubicBezTo>
                    <a:cubicBezTo>
                      <a:pt x="106016" y="19898"/>
                      <a:pt x="106016" y="19898"/>
                      <a:pt x="106016" y="19898"/>
                    </a:cubicBezTo>
                    <a:cubicBezTo>
                      <a:pt x="103263" y="19898"/>
                      <a:pt x="100510" y="21555"/>
                      <a:pt x="100510" y="25422"/>
                    </a:cubicBezTo>
                    <a:cubicBezTo>
                      <a:pt x="100510" y="137567"/>
                      <a:pt x="100510" y="137567"/>
                      <a:pt x="100510" y="137567"/>
                    </a:cubicBezTo>
                    <a:cubicBezTo>
                      <a:pt x="100510" y="143092"/>
                      <a:pt x="96105" y="147511"/>
                      <a:pt x="90599" y="147511"/>
                    </a:cubicBezTo>
                    <a:cubicBezTo>
                      <a:pt x="21220" y="147511"/>
                      <a:pt x="21220" y="147511"/>
                      <a:pt x="21220" y="147511"/>
                    </a:cubicBezTo>
                    <a:cubicBezTo>
                      <a:pt x="24524" y="180105"/>
                      <a:pt x="24524" y="180105"/>
                      <a:pt x="24524" y="180105"/>
                    </a:cubicBezTo>
                    <a:cubicBezTo>
                      <a:pt x="24524" y="180658"/>
                      <a:pt x="24524" y="180658"/>
                      <a:pt x="24524" y="181210"/>
                    </a:cubicBezTo>
                    <a:cubicBezTo>
                      <a:pt x="38289" y="241426"/>
                      <a:pt x="85643" y="292803"/>
                      <a:pt x="148414" y="314348"/>
                    </a:cubicBezTo>
                    <a:cubicBezTo>
                      <a:pt x="164933" y="318215"/>
                      <a:pt x="164933" y="318215"/>
                      <a:pt x="164933" y="318215"/>
                    </a:cubicBezTo>
                    <a:cubicBezTo>
                      <a:pt x="167686" y="318768"/>
                      <a:pt x="169889" y="320425"/>
                      <a:pt x="171541" y="323187"/>
                    </a:cubicBezTo>
                    <a:cubicBezTo>
                      <a:pt x="172642" y="325397"/>
                      <a:pt x="173192" y="328712"/>
                      <a:pt x="172091" y="331474"/>
                    </a:cubicBezTo>
                    <a:lnTo>
                      <a:pt x="170394" y="336192"/>
                    </a:lnTo>
                    <a:lnTo>
                      <a:pt x="148922" y="336192"/>
                    </a:lnTo>
                    <a:lnTo>
                      <a:pt x="149469" y="334670"/>
                    </a:lnTo>
                    <a:cubicBezTo>
                      <a:pt x="143407" y="333014"/>
                      <a:pt x="143407" y="333014"/>
                      <a:pt x="143407" y="333014"/>
                    </a:cubicBezTo>
                    <a:cubicBezTo>
                      <a:pt x="142856" y="333014"/>
                      <a:pt x="142856" y="333014"/>
                      <a:pt x="142305" y="333014"/>
                    </a:cubicBezTo>
                    <a:cubicBezTo>
                      <a:pt x="72877" y="309266"/>
                      <a:pt x="19980" y="252383"/>
                      <a:pt x="5103" y="184455"/>
                    </a:cubicBezTo>
                    <a:cubicBezTo>
                      <a:pt x="4552" y="183351"/>
                      <a:pt x="4552" y="182799"/>
                      <a:pt x="4552" y="182246"/>
                    </a:cubicBezTo>
                    <a:cubicBezTo>
                      <a:pt x="4552" y="181694"/>
                      <a:pt x="4552" y="181694"/>
                      <a:pt x="4552" y="181694"/>
                    </a:cubicBezTo>
                    <a:cubicBezTo>
                      <a:pt x="144" y="138618"/>
                      <a:pt x="144" y="138618"/>
                      <a:pt x="144" y="138618"/>
                    </a:cubicBezTo>
                    <a:cubicBezTo>
                      <a:pt x="-408" y="135856"/>
                      <a:pt x="695" y="133095"/>
                      <a:pt x="2348" y="130886"/>
                    </a:cubicBezTo>
                    <a:cubicBezTo>
                      <a:pt x="4552" y="128677"/>
                      <a:pt x="7307" y="127572"/>
                      <a:pt x="10062" y="127572"/>
                    </a:cubicBezTo>
                    <a:cubicBezTo>
                      <a:pt x="80592" y="127572"/>
                      <a:pt x="80592" y="127572"/>
                      <a:pt x="80592" y="127572"/>
                    </a:cubicBezTo>
                    <a:cubicBezTo>
                      <a:pt x="80592" y="25404"/>
                      <a:pt x="80592" y="25404"/>
                      <a:pt x="80592" y="25404"/>
                    </a:cubicBezTo>
                    <a:cubicBezTo>
                      <a:pt x="80592" y="11045"/>
                      <a:pt x="91612" y="0"/>
                      <a:pt x="105938" y="0"/>
                    </a:cubicBezTo>
                    <a:cubicBezTo>
                      <a:pt x="133489" y="0"/>
                      <a:pt x="133489" y="0"/>
                      <a:pt x="133489" y="0"/>
                    </a:cubicBezTo>
                    <a:cubicBezTo>
                      <a:pt x="147265" y="0"/>
                      <a:pt x="158285" y="11045"/>
                      <a:pt x="158285" y="25404"/>
                    </a:cubicBezTo>
                    <a:cubicBezTo>
                      <a:pt x="158285" y="127572"/>
                      <a:pt x="158285" y="127572"/>
                      <a:pt x="158285" y="127572"/>
                    </a:cubicBezTo>
                    <a:cubicBezTo>
                      <a:pt x="272896" y="127572"/>
                      <a:pt x="272896" y="127572"/>
                      <a:pt x="272896" y="127572"/>
                    </a:cubicBezTo>
                    <a:cubicBezTo>
                      <a:pt x="272896" y="25404"/>
                      <a:pt x="272896" y="25404"/>
                      <a:pt x="272896" y="25404"/>
                    </a:cubicBezTo>
                    <a:cubicBezTo>
                      <a:pt x="272896" y="11045"/>
                      <a:pt x="283916" y="0"/>
                      <a:pt x="298242" y="0"/>
                    </a:cubicBezTo>
                    <a:cubicBezTo>
                      <a:pt x="325793" y="0"/>
                      <a:pt x="325793" y="0"/>
                      <a:pt x="325793" y="0"/>
                    </a:cubicBezTo>
                    <a:cubicBezTo>
                      <a:pt x="340120" y="0"/>
                      <a:pt x="351140" y="11045"/>
                      <a:pt x="351140" y="25404"/>
                    </a:cubicBezTo>
                    <a:cubicBezTo>
                      <a:pt x="351140" y="127572"/>
                      <a:pt x="351140" y="127572"/>
                      <a:pt x="351140" y="127572"/>
                    </a:cubicBezTo>
                    <a:cubicBezTo>
                      <a:pt x="421670" y="127572"/>
                      <a:pt x="421670" y="127572"/>
                      <a:pt x="421670" y="127572"/>
                    </a:cubicBezTo>
                    <a:cubicBezTo>
                      <a:pt x="424425" y="127572"/>
                      <a:pt x="427180" y="128677"/>
                      <a:pt x="428833" y="130886"/>
                    </a:cubicBezTo>
                    <a:cubicBezTo>
                      <a:pt x="431037" y="133095"/>
                      <a:pt x="432139" y="135856"/>
                      <a:pt x="431588" y="138618"/>
                    </a:cubicBezTo>
                    <a:cubicBezTo>
                      <a:pt x="426629" y="183351"/>
                      <a:pt x="426629" y="183351"/>
                      <a:pt x="426629" y="183351"/>
                    </a:cubicBezTo>
                    <a:cubicBezTo>
                      <a:pt x="426629" y="183351"/>
                      <a:pt x="426629" y="183903"/>
                      <a:pt x="426629" y="184455"/>
                    </a:cubicBezTo>
                    <a:cubicBezTo>
                      <a:pt x="411751" y="251831"/>
                      <a:pt x="359405" y="309266"/>
                      <a:pt x="289426" y="333014"/>
                    </a:cubicBezTo>
                    <a:cubicBezTo>
                      <a:pt x="288875" y="333014"/>
                      <a:pt x="287773" y="333566"/>
                      <a:pt x="287222" y="333566"/>
                    </a:cubicBezTo>
                    <a:cubicBezTo>
                      <a:pt x="285018" y="334118"/>
                      <a:pt x="285018" y="334118"/>
                      <a:pt x="285018" y="334118"/>
                    </a:cubicBezTo>
                    <a:close/>
                  </a:path>
                </a:pathLst>
              </a:custGeom>
              <a:grpFill/>
              <a:ln>
                <a:noFill/>
              </a:ln>
            </p:spPr>
            <p:txBody>
              <a:bodyPr vert="horz" wrap="square" lIns="89619" tIns="44810" rIns="89619" bIns="44810" numCol="1" anchor="t" anchorCtr="0" compatLnSpc="1">
                <a:prstTxWarp prst="textNoShape">
                  <a:avLst/>
                </a:prstTxWarp>
                <a:noAutofit/>
              </a:bodyPr>
              <a:lstStyle/>
              <a:p>
                <a:pPr defTabSz="896203">
                  <a:defRPr/>
                </a:pPr>
                <a:endParaRPr lang="en-US" sz="1764" kern="0">
                  <a:solidFill>
                    <a:sysClr val="windowText" lastClr="000000"/>
                  </a:solidFill>
                </a:endParaRPr>
              </a:p>
            </p:txBody>
          </p:sp>
          <p:sp>
            <p:nvSpPr>
              <p:cNvPr id="363" name="Rectangle 362"/>
              <p:cNvSpPr/>
              <p:nvPr/>
            </p:nvSpPr>
            <p:spPr bwMode="auto">
              <a:xfrm>
                <a:off x="5262562" y="3748088"/>
                <a:ext cx="69056" cy="20955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tx1"/>
                  </a:solidFill>
                </a:endParaRPr>
              </a:p>
            </p:txBody>
          </p:sp>
          <p:sp>
            <p:nvSpPr>
              <p:cNvPr id="364" name="Rectangle 363"/>
              <p:cNvSpPr/>
              <p:nvPr/>
            </p:nvSpPr>
            <p:spPr bwMode="auto">
              <a:xfrm>
                <a:off x="5619750" y="3748088"/>
                <a:ext cx="69056" cy="20955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tx1"/>
                  </a:solidFill>
                </a:endParaRPr>
              </a:p>
            </p:txBody>
          </p:sp>
          <p:sp>
            <p:nvSpPr>
              <p:cNvPr id="365" name="Rectangle 364"/>
              <p:cNvSpPr/>
              <p:nvPr/>
            </p:nvSpPr>
            <p:spPr bwMode="auto">
              <a:xfrm rot="5400000">
                <a:off x="5416153" y="3594498"/>
                <a:ext cx="69056" cy="376238"/>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tx1"/>
                  </a:solidFill>
                </a:endParaRPr>
              </a:p>
            </p:txBody>
          </p:sp>
        </p:grpSp>
      </p:grpSp>
      <p:sp>
        <p:nvSpPr>
          <p:cNvPr id="431" name="TextBox 430"/>
          <p:cNvSpPr txBox="1"/>
          <p:nvPr/>
        </p:nvSpPr>
        <p:spPr>
          <a:xfrm>
            <a:off x="2490885" y="4778016"/>
            <a:ext cx="465041" cy="271483"/>
          </a:xfrm>
          <a:prstGeom prst="rect">
            <a:avLst/>
          </a:prstGeom>
          <a:noFill/>
        </p:spPr>
        <p:txBody>
          <a:bodyPr wrap="none" lIns="0" tIns="0" rIns="0" bIns="0" rtlCol="0" anchor="ctr">
            <a:spAutoFit/>
          </a:bodyPr>
          <a:lstStyle>
            <a:defPPr>
              <a:defRPr lang="en-US"/>
            </a:defPPr>
            <a:lvl1pPr algn="ctr" defTabSz="932563">
              <a:spcBef>
                <a:spcPct val="0"/>
              </a:spcBef>
              <a:spcAft>
                <a:spcPts val="600"/>
              </a:spcAft>
              <a:defRPr sz="1100">
                <a:solidFill>
                  <a:schemeClr val="bg1"/>
                </a:solidFill>
                <a:latin typeface="Segoe UI Semilight" panose="020B0402040204020203" pitchFamily="34" charset="0"/>
                <a:cs typeface="Segoe UI Semilight" panose="020B0402040204020203" pitchFamily="34" charset="0"/>
              </a:defRPr>
            </a:lvl1pPr>
          </a:lstStyle>
          <a:p>
            <a:pPr defTabSz="913916" fontAlgn="base">
              <a:spcAft>
                <a:spcPct val="0"/>
              </a:spcAft>
              <a:defRPr/>
            </a:pPr>
            <a:r>
              <a:rPr lang="en-US" sz="1764" kern="0" dirty="0">
                <a:solidFill>
                  <a:schemeClr val="bg2"/>
                </a:solidFill>
                <a:latin typeface="+mn-lt"/>
              </a:rPr>
              <a:t>Data</a:t>
            </a:r>
          </a:p>
        </p:txBody>
      </p:sp>
      <p:sp>
        <p:nvSpPr>
          <p:cNvPr id="153" name="Rectangle 152"/>
          <p:cNvSpPr/>
          <p:nvPr/>
        </p:nvSpPr>
        <p:spPr bwMode="auto">
          <a:xfrm>
            <a:off x="-7529" y="1648921"/>
            <a:ext cx="1736661" cy="3781517"/>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4" tIns="91403" rIns="18274" bIns="91365" numCol="1" spcCol="1270" anchor="t" anchorCtr="0">
            <a:noAutofit/>
          </a:bodyPr>
          <a:lstStyle/>
          <a:p>
            <a:pPr algn="ctr" defTabSz="724725">
              <a:spcBef>
                <a:spcPct val="0"/>
              </a:spcBef>
              <a:spcAft>
                <a:spcPct val="35000"/>
              </a:spcAft>
              <a:defRPr/>
            </a:pPr>
            <a:r>
              <a:rPr lang="en-US" sz="1400" kern="0" dirty="0">
                <a:solidFill>
                  <a:schemeClr val="tx1"/>
                </a:solidFill>
                <a:latin typeface="Segoe UI Semibold" panose="020B0702040204020203" pitchFamily="34" charset="0"/>
                <a:cs typeface="Segoe UI Semibold" panose="020B0702040204020203" pitchFamily="34" charset="0"/>
              </a:rPr>
              <a:t>Information Management</a:t>
            </a:r>
          </a:p>
        </p:txBody>
      </p:sp>
      <p:sp>
        <p:nvSpPr>
          <p:cNvPr id="154" name="Rectangle 153"/>
          <p:cNvSpPr/>
          <p:nvPr/>
        </p:nvSpPr>
        <p:spPr>
          <a:xfrm>
            <a:off x="545321" y="4147754"/>
            <a:ext cx="1270505" cy="264903"/>
          </a:xfrm>
          <a:prstGeom prst="rect">
            <a:avLst/>
          </a:prstGeom>
        </p:spPr>
        <p:txBody>
          <a:bodyPr wrap="square">
            <a:spAutoFit/>
          </a:bodyPr>
          <a:lstStyle/>
          <a:p>
            <a:pPr defTabSz="896203">
              <a:defRPr/>
            </a:pPr>
            <a:r>
              <a:rPr lang="en-US" sz="1100" kern="0" dirty="0">
                <a:solidFill>
                  <a:sysClr val="windowText" lastClr="000000"/>
                </a:solidFill>
                <a:cs typeface="Segoe UI Semilight" panose="020B0402040204020203" pitchFamily="34" charset="0"/>
              </a:rPr>
              <a:t>Event Hubs</a:t>
            </a:r>
            <a:endParaRPr lang="en-US" sz="1100" kern="0" dirty="0">
              <a:solidFill>
                <a:sysClr val="windowText" lastClr="000000"/>
              </a:solidFill>
            </a:endParaRPr>
          </a:p>
        </p:txBody>
      </p:sp>
      <p:sp>
        <p:nvSpPr>
          <p:cNvPr id="155" name="Rectangle 154"/>
          <p:cNvSpPr/>
          <p:nvPr/>
        </p:nvSpPr>
        <p:spPr>
          <a:xfrm>
            <a:off x="545321" y="3354951"/>
            <a:ext cx="1270505" cy="264903"/>
          </a:xfrm>
          <a:prstGeom prst="rect">
            <a:avLst/>
          </a:prstGeom>
        </p:spPr>
        <p:txBody>
          <a:bodyPr wrap="square">
            <a:spAutoFit/>
          </a:bodyPr>
          <a:lstStyle/>
          <a:p>
            <a:pPr defTabSz="896203">
              <a:defRPr/>
            </a:pPr>
            <a:r>
              <a:rPr lang="en-US" sz="1100" kern="0" dirty="0">
                <a:solidFill>
                  <a:schemeClr val="accent2">
                    <a:lumMod val="75000"/>
                  </a:schemeClr>
                </a:solidFill>
                <a:cs typeface="Segoe UI Semilight" panose="020B0402040204020203" pitchFamily="34" charset="0"/>
              </a:rPr>
              <a:t>Data Catalog</a:t>
            </a:r>
          </a:p>
        </p:txBody>
      </p:sp>
      <p:grpSp>
        <p:nvGrpSpPr>
          <p:cNvPr id="156" name="Group 155"/>
          <p:cNvGrpSpPr/>
          <p:nvPr/>
        </p:nvGrpSpPr>
        <p:grpSpPr>
          <a:xfrm>
            <a:off x="230540" y="3312523"/>
            <a:ext cx="274886" cy="292409"/>
            <a:chOff x="3232150" y="382588"/>
            <a:chExt cx="5727700" cy="6092825"/>
          </a:xfrm>
          <a:solidFill>
            <a:schemeClr val="accent2">
              <a:lumMod val="75000"/>
            </a:schemeClr>
          </a:solidFill>
        </p:grpSpPr>
        <p:sp>
          <p:nvSpPr>
            <p:cNvPr id="157"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defRPr/>
              </a:pPr>
              <a:endParaRPr lang="en-US" sz="1799" kern="0">
                <a:solidFill>
                  <a:sysClr val="windowText" lastClr="000000"/>
                </a:solidFill>
              </a:endParaRPr>
            </a:p>
          </p:txBody>
        </p:sp>
        <p:sp>
          <p:nvSpPr>
            <p:cNvPr id="158"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defRPr/>
              </a:pPr>
              <a:endParaRPr lang="en-US" sz="1799" kern="0">
                <a:solidFill>
                  <a:sysClr val="windowText" lastClr="000000"/>
                </a:solidFill>
              </a:endParaRPr>
            </a:p>
          </p:txBody>
        </p:sp>
        <p:sp>
          <p:nvSpPr>
            <p:cNvPr id="159"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defRPr/>
              </a:pPr>
              <a:endParaRPr lang="en-US" sz="1799" kern="0">
                <a:solidFill>
                  <a:sysClr val="windowText" lastClr="000000"/>
                </a:solidFill>
              </a:endParaRPr>
            </a:p>
          </p:txBody>
        </p:sp>
      </p:grpSp>
      <p:sp>
        <p:nvSpPr>
          <p:cNvPr id="160" name="Rectangle 159"/>
          <p:cNvSpPr/>
          <p:nvPr/>
        </p:nvSpPr>
        <p:spPr>
          <a:xfrm>
            <a:off x="545321" y="2519749"/>
            <a:ext cx="1270505" cy="264903"/>
          </a:xfrm>
          <a:prstGeom prst="rect">
            <a:avLst/>
          </a:prstGeom>
        </p:spPr>
        <p:txBody>
          <a:bodyPr wrap="square">
            <a:spAutoFit/>
          </a:bodyPr>
          <a:lstStyle/>
          <a:p>
            <a:pPr defTabSz="896203">
              <a:defRPr/>
            </a:pPr>
            <a:r>
              <a:rPr lang="en-US" sz="1100" kern="0" dirty="0">
                <a:solidFill>
                  <a:schemeClr val="accent2">
                    <a:lumMod val="75000"/>
                  </a:schemeClr>
                </a:solidFill>
                <a:cs typeface="Segoe UI Semilight" panose="020B0402040204020203" pitchFamily="34" charset="0"/>
              </a:rPr>
              <a:t>Data Factory </a:t>
            </a:r>
            <a:endParaRPr lang="en-US" sz="1100" kern="0" dirty="0">
              <a:solidFill>
                <a:schemeClr val="accent2">
                  <a:lumMod val="75000"/>
                </a:schemeClr>
              </a:solidFill>
            </a:endParaRPr>
          </a:p>
        </p:txBody>
      </p:sp>
      <p:sp>
        <p:nvSpPr>
          <p:cNvPr id="161" name="Freeform 160"/>
          <p:cNvSpPr/>
          <p:nvPr/>
        </p:nvSpPr>
        <p:spPr bwMode="auto">
          <a:xfrm>
            <a:off x="226535" y="2458510"/>
            <a:ext cx="286345" cy="300909"/>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defRPr/>
            </a:pPr>
            <a:endParaRPr lang="en-US" sz="2399" kern="0">
              <a:solidFill>
                <a:schemeClr val="tx1"/>
              </a:solidFill>
              <a:ea typeface="Segoe UI" pitchFamily="34" charset="0"/>
              <a:cs typeface="Segoe UI" pitchFamily="34" charset="0"/>
            </a:endParaRPr>
          </a:p>
        </p:txBody>
      </p:sp>
      <p:sp>
        <p:nvSpPr>
          <p:cNvPr id="162" name="Freeform 161"/>
          <p:cNvSpPr/>
          <p:nvPr/>
        </p:nvSpPr>
        <p:spPr bwMode="auto">
          <a:xfrm>
            <a:off x="246848" y="4152678"/>
            <a:ext cx="231481" cy="242237"/>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defRPr/>
            </a:pPr>
            <a:endParaRPr lang="en-US" sz="2399" kern="0" dirty="0">
              <a:solidFill>
                <a:schemeClr val="tx1"/>
              </a:solidFill>
              <a:ea typeface="Segoe UI" pitchFamily="34" charset="0"/>
              <a:cs typeface="Segoe UI" pitchFamily="34" charset="0"/>
            </a:endParaRPr>
          </a:p>
        </p:txBody>
      </p:sp>
      <p:sp>
        <p:nvSpPr>
          <p:cNvPr id="166" name="Freeform 165"/>
          <p:cNvSpPr>
            <a:spLocks noChangeAspect="1"/>
          </p:cNvSpPr>
          <p:nvPr/>
        </p:nvSpPr>
        <p:spPr bwMode="auto">
          <a:xfrm>
            <a:off x="6377925" y="2690847"/>
            <a:ext cx="1084406" cy="1134798"/>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defRPr/>
            </a:pPr>
            <a:endParaRPr lang="en-US" sz="2399" kern="0" dirty="0">
              <a:solidFill>
                <a:schemeClr val="tx1"/>
              </a:solidFill>
              <a:ea typeface="Segoe UI" pitchFamily="34" charset="0"/>
              <a:cs typeface="Segoe UI" pitchFamily="34" charset="0"/>
            </a:endParaRPr>
          </a:p>
        </p:txBody>
      </p:sp>
      <p:sp>
        <p:nvSpPr>
          <p:cNvPr id="151" name="TextBox 150"/>
          <p:cNvSpPr txBox="1"/>
          <p:nvPr/>
        </p:nvSpPr>
        <p:spPr>
          <a:xfrm>
            <a:off x="2577343" y="1635689"/>
            <a:ext cx="740634" cy="682947"/>
          </a:xfrm>
          <a:prstGeom prst="rect">
            <a:avLst/>
          </a:prstGeom>
          <a:noFill/>
        </p:spPr>
        <p:txBody>
          <a:bodyPr wrap="square" lIns="0" tIns="146224" rIns="182780" bIns="146224" rtlCol="0">
            <a:noAutofit/>
          </a:bodyPr>
          <a:lstStyle/>
          <a:p>
            <a:pPr defTabSz="932194">
              <a:lnSpc>
                <a:spcPct val="90000"/>
              </a:lnSpc>
              <a:spcAft>
                <a:spcPts val="600"/>
              </a:spcAft>
            </a:pPr>
            <a:r>
              <a:rPr lang="en-US" sz="1176" kern="0" spc="-30" dirty="0">
                <a:solidFill>
                  <a:schemeClr val="accent1"/>
                </a:solidFill>
                <a:cs typeface="Segoe UI Semilight" panose="020B0402040204020203" pitchFamily="34" charset="0"/>
              </a:rPr>
              <a:t>Data sources</a:t>
            </a:r>
          </a:p>
        </p:txBody>
      </p:sp>
      <p:sp>
        <p:nvSpPr>
          <p:cNvPr id="152" name="TextBox 151"/>
          <p:cNvSpPr txBox="1"/>
          <p:nvPr/>
        </p:nvSpPr>
        <p:spPr>
          <a:xfrm>
            <a:off x="2577344" y="2895185"/>
            <a:ext cx="636195" cy="682947"/>
          </a:xfrm>
          <a:prstGeom prst="rect">
            <a:avLst/>
          </a:prstGeom>
          <a:noFill/>
        </p:spPr>
        <p:txBody>
          <a:bodyPr wrap="square" lIns="0" tIns="146224" rIns="182780" bIns="146224" rtlCol="0">
            <a:noAutofit/>
          </a:bodyPr>
          <a:lstStyle/>
          <a:p>
            <a:pPr defTabSz="932194">
              <a:lnSpc>
                <a:spcPct val="90000"/>
              </a:lnSpc>
              <a:spcBef>
                <a:spcPct val="0"/>
              </a:spcBef>
              <a:spcAft>
                <a:spcPts val="600"/>
              </a:spcAft>
            </a:pPr>
            <a:r>
              <a:rPr lang="en-US" sz="1176" kern="0" spc="-30" dirty="0">
                <a:solidFill>
                  <a:schemeClr val="accent1"/>
                </a:solidFill>
                <a:cs typeface="Segoe UI Semilight" panose="020B0402040204020203" pitchFamily="34" charset="0"/>
              </a:rPr>
              <a:t>Apps</a:t>
            </a:r>
          </a:p>
        </p:txBody>
      </p:sp>
      <p:sp>
        <p:nvSpPr>
          <p:cNvPr id="163" name="TextBox 162"/>
          <p:cNvSpPr txBox="1"/>
          <p:nvPr/>
        </p:nvSpPr>
        <p:spPr>
          <a:xfrm>
            <a:off x="2577344" y="3911817"/>
            <a:ext cx="819161" cy="876768"/>
          </a:xfrm>
          <a:prstGeom prst="rect">
            <a:avLst/>
          </a:prstGeom>
          <a:noFill/>
        </p:spPr>
        <p:txBody>
          <a:bodyPr wrap="square" lIns="0" tIns="146224" rIns="182780" bIns="146224" rtlCol="0">
            <a:noAutofit/>
          </a:bodyPr>
          <a:lstStyle/>
          <a:p>
            <a:pPr defTabSz="932194">
              <a:lnSpc>
                <a:spcPct val="90000"/>
              </a:lnSpc>
              <a:spcBef>
                <a:spcPct val="0"/>
              </a:spcBef>
              <a:spcAft>
                <a:spcPts val="600"/>
              </a:spcAft>
            </a:pPr>
            <a:r>
              <a:rPr lang="en-US" sz="1176" kern="0" spc="-30" dirty="0">
                <a:solidFill>
                  <a:schemeClr val="accent1"/>
                </a:solidFill>
                <a:cs typeface="Segoe UI Semilight" panose="020B0402040204020203" pitchFamily="34" charset="0"/>
              </a:rPr>
              <a:t>Sensors </a:t>
            </a:r>
            <a:br>
              <a:rPr lang="en-US" sz="1176" kern="0" spc="-30" dirty="0">
                <a:solidFill>
                  <a:schemeClr val="accent1"/>
                </a:solidFill>
                <a:cs typeface="Segoe UI Semilight" panose="020B0402040204020203" pitchFamily="34" charset="0"/>
              </a:rPr>
            </a:br>
            <a:r>
              <a:rPr lang="en-US" sz="1176" kern="0" spc="-30" dirty="0">
                <a:solidFill>
                  <a:schemeClr val="accent1"/>
                </a:solidFill>
                <a:cs typeface="Segoe UI Semilight" panose="020B0402040204020203" pitchFamily="34" charset="0"/>
              </a:rPr>
              <a:t>and </a:t>
            </a:r>
            <a:br>
              <a:rPr lang="en-US" sz="1176" kern="0" spc="-30" dirty="0">
                <a:solidFill>
                  <a:schemeClr val="accent1"/>
                </a:solidFill>
                <a:cs typeface="Segoe UI Semilight" panose="020B0402040204020203" pitchFamily="34" charset="0"/>
              </a:rPr>
            </a:br>
            <a:r>
              <a:rPr lang="en-US" sz="1176" kern="0" spc="-30" dirty="0">
                <a:solidFill>
                  <a:schemeClr val="accent1"/>
                </a:solidFill>
                <a:cs typeface="Segoe UI Semilight" panose="020B0402040204020203" pitchFamily="34" charset="0"/>
              </a:rPr>
              <a:t>devices</a:t>
            </a:r>
          </a:p>
        </p:txBody>
      </p:sp>
      <p:pic>
        <p:nvPicPr>
          <p:cNvPr id="165" name="Picture 16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928747" y="2786773"/>
            <a:ext cx="566135" cy="662416"/>
          </a:xfrm>
          <a:prstGeom prst="rect">
            <a:avLst/>
          </a:prstGeom>
        </p:spPr>
      </p:pic>
      <p:pic>
        <p:nvPicPr>
          <p:cNvPr id="167" name="Picture 16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980039" y="4019373"/>
            <a:ext cx="548030" cy="641233"/>
          </a:xfrm>
          <a:prstGeom prst="rect">
            <a:avLst/>
          </a:prstGeom>
        </p:spPr>
      </p:pic>
      <p:pic>
        <p:nvPicPr>
          <p:cNvPr id="168" name="Picture 16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980039" y="1611980"/>
            <a:ext cx="500210" cy="585279"/>
          </a:xfrm>
          <a:prstGeom prst="rect">
            <a:avLst/>
          </a:prstGeom>
        </p:spPr>
      </p:pic>
      <p:sp>
        <p:nvSpPr>
          <p:cNvPr id="4" name="Rectangle 3"/>
          <p:cNvSpPr/>
          <p:nvPr/>
        </p:nvSpPr>
        <p:spPr>
          <a:xfrm>
            <a:off x="6089112" y="3913037"/>
            <a:ext cx="1595161" cy="361977"/>
          </a:xfrm>
          <a:prstGeom prst="rect">
            <a:avLst/>
          </a:prstGeom>
        </p:spPr>
        <p:txBody>
          <a:bodyPr wrap="square">
            <a:spAutoFit/>
          </a:bodyPr>
          <a:lstStyle/>
          <a:p>
            <a:pPr algn="ctr" defTabSz="913916" fontAlgn="base">
              <a:spcBef>
                <a:spcPct val="0"/>
              </a:spcBef>
              <a:spcAft>
                <a:spcPct val="0"/>
              </a:spcAft>
              <a:defRPr/>
            </a:pPr>
            <a:r>
              <a:rPr lang="en-US" sz="1764" kern="0" dirty="0">
                <a:solidFill>
                  <a:srgbClr val="0078D7"/>
                </a:solidFill>
              </a:rPr>
              <a:t>Event Hubs</a:t>
            </a:r>
          </a:p>
        </p:txBody>
      </p:sp>
      <p:cxnSp>
        <p:nvCxnSpPr>
          <p:cNvPr id="14" name="Straight Arrow Connector 13"/>
          <p:cNvCxnSpPr/>
          <p:nvPr/>
        </p:nvCxnSpPr>
        <p:spPr>
          <a:xfrm>
            <a:off x="7533015" y="3133175"/>
            <a:ext cx="1409946" cy="0"/>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45" name="Group 144"/>
          <p:cNvGrpSpPr>
            <a:grpSpLocks noChangeAspect="1"/>
          </p:cNvGrpSpPr>
          <p:nvPr/>
        </p:nvGrpSpPr>
        <p:grpSpPr>
          <a:xfrm>
            <a:off x="10808980" y="4067899"/>
            <a:ext cx="701081" cy="448096"/>
            <a:chOff x="7884058" y="5368509"/>
            <a:chExt cx="324905" cy="207663"/>
          </a:xfrm>
          <a:solidFill>
            <a:schemeClr val="accent1"/>
          </a:solidFill>
        </p:grpSpPr>
        <p:sp>
          <p:nvSpPr>
            <p:cNvPr id="146"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grpFill/>
            <a:ln>
              <a:noFill/>
            </a:ln>
          </p:spPr>
          <p:txBody>
            <a:bodyPr vert="horz" wrap="square" lIns="89606" tIns="44803" rIns="89606" bIns="44803" numCol="1" anchor="t" anchorCtr="0" compatLnSpc="1">
              <a:prstTxWarp prst="textNoShape">
                <a:avLst/>
              </a:prstTxWarp>
            </a:bodyPr>
            <a:lstStyle/>
            <a:p>
              <a:pPr defTabSz="896203"/>
              <a:endParaRPr lang="en-US" sz="1764" kern="0">
                <a:solidFill>
                  <a:srgbClr val="FFFFFF"/>
                </a:solidFill>
              </a:endParaRPr>
            </a:p>
          </p:txBody>
        </p:sp>
        <p:sp>
          <p:nvSpPr>
            <p:cNvPr id="147"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grpFill/>
            <a:ln>
              <a:noFill/>
            </a:ln>
          </p:spPr>
          <p:txBody>
            <a:bodyPr vert="horz" wrap="square" lIns="89606" tIns="44803" rIns="89606" bIns="44803" numCol="1" anchor="t" anchorCtr="0" compatLnSpc="1">
              <a:prstTxWarp prst="textNoShape">
                <a:avLst/>
              </a:prstTxWarp>
            </a:bodyPr>
            <a:lstStyle/>
            <a:p>
              <a:pPr defTabSz="896203"/>
              <a:endParaRPr lang="en-US" sz="1764" kern="0">
                <a:solidFill>
                  <a:srgbClr val="FFFFFF"/>
                </a:solidFill>
              </a:endParaRPr>
            </a:p>
          </p:txBody>
        </p:sp>
        <p:sp>
          <p:nvSpPr>
            <p:cNvPr id="148"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grpFill/>
            <a:ln>
              <a:noFill/>
            </a:ln>
          </p:spPr>
          <p:txBody>
            <a:bodyPr vert="horz" wrap="square" lIns="89606" tIns="44803" rIns="89606" bIns="44803" numCol="1" anchor="t" anchorCtr="0" compatLnSpc="1">
              <a:prstTxWarp prst="textNoShape">
                <a:avLst/>
              </a:prstTxWarp>
            </a:bodyPr>
            <a:lstStyle/>
            <a:p>
              <a:pPr defTabSz="896203"/>
              <a:endParaRPr lang="en-US" sz="1764" kern="0">
                <a:solidFill>
                  <a:srgbClr val="FFFFFF"/>
                </a:solidFill>
              </a:endParaRPr>
            </a:p>
          </p:txBody>
        </p:sp>
        <p:sp>
          <p:nvSpPr>
            <p:cNvPr id="149"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grpFill/>
            <a:ln>
              <a:noFill/>
            </a:ln>
          </p:spPr>
          <p:txBody>
            <a:bodyPr vert="horz" wrap="square" lIns="89606" tIns="44803" rIns="89606" bIns="44803" numCol="1" anchor="t" anchorCtr="0" compatLnSpc="1">
              <a:prstTxWarp prst="textNoShape">
                <a:avLst/>
              </a:prstTxWarp>
            </a:bodyPr>
            <a:lstStyle/>
            <a:p>
              <a:pPr defTabSz="896203"/>
              <a:endParaRPr lang="en-US" sz="1764" kern="0">
                <a:solidFill>
                  <a:srgbClr val="FFFFFF"/>
                </a:solidFill>
              </a:endParaRPr>
            </a:p>
          </p:txBody>
        </p:sp>
        <p:sp>
          <p:nvSpPr>
            <p:cNvPr id="150"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grpFill/>
            <a:ln>
              <a:noFill/>
            </a:ln>
          </p:spPr>
          <p:txBody>
            <a:bodyPr vert="horz" wrap="square" lIns="89606" tIns="44803" rIns="89606" bIns="44803" numCol="1" anchor="t" anchorCtr="0" compatLnSpc="1">
              <a:prstTxWarp prst="textNoShape">
                <a:avLst/>
              </a:prstTxWarp>
            </a:bodyPr>
            <a:lstStyle/>
            <a:p>
              <a:pPr defTabSz="896203"/>
              <a:endParaRPr lang="en-US" sz="1764" kern="0">
                <a:solidFill>
                  <a:srgbClr val="FFFFFF"/>
                </a:solidFill>
              </a:endParaRPr>
            </a:p>
          </p:txBody>
        </p:sp>
      </p:grpSp>
      <p:grpSp>
        <p:nvGrpSpPr>
          <p:cNvPr id="164" name="Group 163"/>
          <p:cNvGrpSpPr>
            <a:grpSpLocks noChangeAspect="1"/>
          </p:cNvGrpSpPr>
          <p:nvPr/>
        </p:nvGrpSpPr>
        <p:grpSpPr>
          <a:xfrm>
            <a:off x="9113195" y="4045736"/>
            <a:ext cx="583313" cy="448096"/>
            <a:chOff x="1260022" y="5196402"/>
            <a:chExt cx="3273425" cy="2514600"/>
          </a:xfrm>
          <a:solidFill>
            <a:schemeClr val="accent1"/>
          </a:solidFill>
        </p:grpSpPr>
        <p:sp>
          <p:nvSpPr>
            <p:cNvPr id="169" name="Freeform 168"/>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endParaRPr lang="en-US" sz="1799" dirty="0"/>
            </a:p>
          </p:txBody>
        </p:sp>
        <p:sp>
          <p:nvSpPr>
            <p:cNvPr id="170" name="Freeform 169"/>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endParaRPr lang="en-US" sz="1799" dirty="0"/>
            </a:p>
          </p:txBody>
        </p:sp>
        <p:sp>
          <p:nvSpPr>
            <p:cNvPr id="171" name="Freeform 170"/>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endParaRPr lang="en-US" sz="1799" dirty="0"/>
            </a:p>
          </p:txBody>
        </p:sp>
        <p:sp>
          <p:nvSpPr>
            <p:cNvPr id="172" name="Freeform 171"/>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endParaRPr lang="en-US" sz="1799" dirty="0"/>
            </a:p>
          </p:txBody>
        </p:sp>
      </p:grpSp>
      <p:sp>
        <p:nvSpPr>
          <p:cNvPr id="173" name="Freeform 172"/>
          <p:cNvSpPr>
            <a:spLocks noChangeAspect="1"/>
          </p:cNvSpPr>
          <p:nvPr/>
        </p:nvSpPr>
        <p:spPr bwMode="auto">
          <a:xfrm>
            <a:off x="10851923" y="2937833"/>
            <a:ext cx="592134" cy="448096"/>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1"/>
          </a:solidFill>
          <a:ln w="6350">
            <a:noFill/>
          </a:ln>
        </p:spPr>
        <p:txBody>
          <a:bodyPr vert="horz" wrap="square" lIns="91403" tIns="45701" rIns="91403" bIns="45701" numCol="1" anchor="t" anchorCtr="0" compatLnSpc="1">
            <a:prstTxWarp prst="textNoShape">
              <a:avLst/>
            </a:prstTxWarp>
          </a:bodyPr>
          <a:lstStyle/>
          <a:p>
            <a:pPr defTabSz="896203"/>
            <a:endParaRPr lang="en-US" sz="1600" kern="0" dirty="0">
              <a:solidFill>
                <a:sysClr val="windowText" lastClr="000000"/>
              </a:solidFill>
            </a:endParaRPr>
          </a:p>
        </p:txBody>
      </p:sp>
      <p:sp>
        <p:nvSpPr>
          <p:cNvPr id="174" name="Freeform 173"/>
          <p:cNvSpPr>
            <a:spLocks noChangeAspect="1"/>
          </p:cNvSpPr>
          <p:nvPr/>
        </p:nvSpPr>
        <p:spPr bwMode="auto">
          <a:xfrm flipH="1">
            <a:off x="10930173" y="1735028"/>
            <a:ext cx="423432" cy="448096"/>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pPr>
            <a:endParaRPr lang="en-US" sz="2399" kern="0">
              <a:solidFill>
                <a:schemeClr val="tx1"/>
              </a:solidFill>
              <a:ea typeface="Segoe UI" pitchFamily="34" charset="0"/>
              <a:cs typeface="Segoe UI" pitchFamily="34" charset="0"/>
            </a:endParaRPr>
          </a:p>
        </p:txBody>
      </p:sp>
      <p:grpSp>
        <p:nvGrpSpPr>
          <p:cNvPr id="175" name="Group 174"/>
          <p:cNvGrpSpPr>
            <a:grpSpLocks noChangeAspect="1"/>
          </p:cNvGrpSpPr>
          <p:nvPr/>
        </p:nvGrpSpPr>
        <p:grpSpPr>
          <a:xfrm>
            <a:off x="9193374" y="1721001"/>
            <a:ext cx="365862" cy="448096"/>
            <a:chOff x="-3084513" y="3390510"/>
            <a:chExt cx="2716213" cy="3363913"/>
          </a:xfrm>
          <a:solidFill>
            <a:schemeClr val="accent1"/>
          </a:solidFill>
        </p:grpSpPr>
        <p:sp>
          <p:nvSpPr>
            <p:cNvPr id="176"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177"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grpSp>
      <p:sp>
        <p:nvSpPr>
          <p:cNvPr id="179" name="TextBox 178"/>
          <p:cNvSpPr txBox="1"/>
          <p:nvPr/>
        </p:nvSpPr>
        <p:spPr>
          <a:xfrm>
            <a:off x="8834806" y="2120288"/>
            <a:ext cx="1292424" cy="389620"/>
          </a:xfrm>
          <a:prstGeom prst="rect">
            <a:avLst/>
          </a:prstGeom>
          <a:noFill/>
        </p:spPr>
        <p:txBody>
          <a:bodyPr wrap="square" lIns="0" tIns="146224" rIns="182780" bIns="146224" rtlCol="0">
            <a:noAutofit/>
          </a:bodyPr>
          <a:lstStyle/>
          <a:p>
            <a:pPr algn="ctr" defTabSz="932194">
              <a:lnSpc>
                <a:spcPct val="90000"/>
              </a:lnSpc>
              <a:spcAft>
                <a:spcPts val="600"/>
              </a:spcAft>
            </a:pPr>
            <a:r>
              <a:rPr lang="en-US" sz="1176" kern="0" spc="-30" dirty="0">
                <a:solidFill>
                  <a:schemeClr val="accent1"/>
                </a:solidFill>
                <a:cs typeface="Segoe UI Semilight" panose="020B0402040204020203" pitchFamily="34" charset="0"/>
              </a:rPr>
              <a:t>SQL Database</a:t>
            </a:r>
          </a:p>
        </p:txBody>
      </p:sp>
      <p:sp>
        <p:nvSpPr>
          <p:cNvPr id="180" name="TextBox 179"/>
          <p:cNvSpPr txBox="1"/>
          <p:nvPr/>
        </p:nvSpPr>
        <p:spPr>
          <a:xfrm>
            <a:off x="10570567" y="2120288"/>
            <a:ext cx="1342626" cy="682947"/>
          </a:xfrm>
          <a:prstGeom prst="rect">
            <a:avLst/>
          </a:prstGeom>
          <a:noFill/>
        </p:spPr>
        <p:txBody>
          <a:bodyPr wrap="square" lIns="0" tIns="146224" rIns="182780" bIns="146224" rtlCol="0">
            <a:noAutofit/>
          </a:bodyPr>
          <a:lstStyle/>
          <a:p>
            <a:pPr algn="ctr" defTabSz="932194">
              <a:lnSpc>
                <a:spcPct val="90000"/>
              </a:lnSpc>
              <a:spcAft>
                <a:spcPts val="600"/>
              </a:spcAft>
            </a:pPr>
            <a:r>
              <a:rPr lang="en-US" sz="1176" kern="0" spc="-30" dirty="0">
                <a:solidFill>
                  <a:schemeClr val="accent1"/>
                </a:solidFill>
                <a:cs typeface="Segoe UI Semilight" panose="020B0402040204020203" pitchFamily="34" charset="0"/>
              </a:rPr>
              <a:t>Machine Learning</a:t>
            </a:r>
          </a:p>
        </p:txBody>
      </p:sp>
      <p:cxnSp>
        <p:nvCxnSpPr>
          <p:cNvPr id="181" name="Straight Arrow Connector 180"/>
          <p:cNvCxnSpPr/>
          <p:nvPr/>
        </p:nvCxnSpPr>
        <p:spPr>
          <a:xfrm rot="5400000" flipV="1">
            <a:off x="10254325" y="1544215"/>
            <a:ext cx="0" cy="896191"/>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82" name="TextBox 181"/>
          <p:cNvSpPr txBox="1"/>
          <p:nvPr/>
        </p:nvSpPr>
        <p:spPr>
          <a:xfrm>
            <a:off x="10553971" y="3343449"/>
            <a:ext cx="1342626" cy="389612"/>
          </a:xfrm>
          <a:prstGeom prst="rect">
            <a:avLst/>
          </a:prstGeom>
          <a:noFill/>
        </p:spPr>
        <p:txBody>
          <a:bodyPr wrap="square" lIns="0" tIns="146224" rIns="182780" bIns="146224" rtlCol="0">
            <a:noAutofit/>
          </a:bodyPr>
          <a:lstStyle/>
          <a:p>
            <a:pPr algn="ctr" defTabSz="932194">
              <a:lnSpc>
                <a:spcPct val="90000"/>
              </a:lnSpc>
              <a:spcAft>
                <a:spcPts val="600"/>
              </a:spcAft>
            </a:pPr>
            <a:r>
              <a:rPr lang="en-US" sz="1176" kern="0" spc="-30" dirty="0">
                <a:solidFill>
                  <a:schemeClr val="accent1"/>
                </a:solidFill>
                <a:cs typeface="Segoe UI Semilight" panose="020B0402040204020203" pitchFamily="34" charset="0"/>
              </a:rPr>
              <a:t>HDInsight</a:t>
            </a:r>
          </a:p>
        </p:txBody>
      </p:sp>
      <p:sp>
        <p:nvSpPr>
          <p:cNvPr id="184" name="TextBox 183"/>
          <p:cNvSpPr txBox="1"/>
          <p:nvPr/>
        </p:nvSpPr>
        <p:spPr>
          <a:xfrm>
            <a:off x="8834806" y="3276677"/>
            <a:ext cx="1342626" cy="389612"/>
          </a:xfrm>
          <a:prstGeom prst="rect">
            <a:avLst/>
          </a:prstGeom>
          <a:noFill/>
        </p:spPr>
        <p:txBody>
          <a:bodyPr wrap="square" lIns="0" tIns="146224" rIns="182780" bIns="146224" rtlCol="0">
            <a:noAutofit/>
          </a:bodyPr>
          <a:lstStyle/>
          <a:p>
            <a:pPr algn="ctr" defTabSz="932194">
              <a:lnSpc>
                <a:spcPct val="90000"/>
              </a:lnSpc>
              <a:spcAft>
                <a:spcPts val="600"/>
              </a:spcAft>
            </a:pPr>
            <a:r>
              <a:rPr lang="en-US" sz="1176" kern="0" spc="-30" dirty="0">
                <a:solidFill>
                  <a:schemeClr val="accent1"/>
                </a:solidFill>
                <a:cs typeface="Segoe UI Semilight" panose="020B0402040204020203" pitchFamily="34" charset="0"/>
              </a:rPr>
              <a:t>Storage</a:t>
            </a:r>
          </a:p>
        </p:txBody>
      </p:sp>
      <p:sp>
        <p:nvSpPr>
          <p:cNvPr id="185" name="Oval 88"/>
          <p:cNvSpPr/>
          <p:nvPr/>
        </p:nvSpPr>
        <p:spPr>
          <a:xfrm>
            <a:off x="9244863" y="3007319"/>
            <a:ext cx="299563" cy="311778"/>
          </a:xfrm>
          <a:custGeom>
            <a:avLst/>
            <a:gdLst/>
            <a:ahLst/>
            <a:cxnLst/>
            <a:rect l="l" t="t" r="r" b="b"/>
            <a:pathLst>
              <a:path w="1255211" h="1656051">
                <a:moveTo>
                  <a:pt x="638840" y="98404"/>
                </a:moveTo>
                <a:cubicBezTo>
                  <a:pt x="356498" y="98404"/>
                  <a:pt x="127615" y="169347"/>
                  <a:pt x="127615" y="256860"/>
                </a:cubicBezTo>
                <a:cubicBezTo>
                  <a:pt x="127615" y="344373"/>
                  <a:pt x="356498" y="415316"/>
                  <a:pt x="638840" y="415316"/>
                </a:cubicBezTo>
                <a:cubicBezTo>
                  <a:pt x="921182" y="415316"/>
                  <a:pt x="1150065" y="344373"/>
                  <a:pt x="1150065" y="256860"/>
                </a:cubicBezTo>
                <a:cubicBezTo>
                  <a:pt x="1150065" y="169347"/>
                  <a:pt x="921182" y="98404"/>
                  <a:pt x="638840" y="98404"/>
                </a:cubicBezTo>
                <a:close/>
                <a:moveTo>
                  <a:pt x="627606" y="7"/>
                </a:moveTo>
                <a:cubicBezTo>
                  <a:pt x="834366" y="-787"/>
                  <a:pt x="1214415" y="70042"/>
                  <a:pt x="1247888" y="228376"/>
                </a:cubicBezTo>
                <a:lnTo>
                  <a:pt x="1255211" y="223614"/>
                </a:lnTo>
                <a:lnTo>
                  <a:pt x="1255211" y="317516"/>
                </a:lnTo>
                <a:lnTo>
                  <a:pt x="1255211" y="1338542"/>
                </a:lnTo>
                <a:lnTo>
                  <a:pt x="1255211" y="1404562"/>
                </a:lnTo>
                <a:lnTo>
                  <a:pt x="1241216" y="1404562"/>
                </a:lnTo>
                <a:cubicBezTo>
                  <a:pt x="1181427" y="1548293"/>
                  <a:pt x="929392" y="1656051"/>
                  <a:pt x="627606" y="1656051"/>
                </a:cubicBezTo>
                <a:cubicBezTo>
                  <a:pt x="325821" y="1656051"/>
                  <a:pt x="73786" y="1548293"/>
                  <a:pt x="13998" y="1404562"/>
                </a:cubicBezTo>
                <a:lnTo>
                  <a:pt x="0" y="1404562"/>
                </a:lnTo>
                <a:lnTo>
                  <a:pt x="0" y="1338542"/>
                </a:lnTo>
                <a:lnTo>
                  <a:pt x="0" y="317516"/>
                </a:lnTo>
                <a:lnTo>
                  <a:pt x="0" y="280764"/>
                </a:lnTo>
                <a:cubicBezTo>
                  <a:pt x="2442" y="280764"/>
                  <a:pt x="4882" y="233138"/>
                  <a:pt x="7323" y="233138"/>
                </a:cubicBezTo>
                <a:cubicBezTo>
                  <a:pt x="40799" y="74804"/>
                  <a:pt x="420845" y="801"/>
                  <a:pt x="627606" y="7"/>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80"/>
            <a:endParaRPr lang="en-US" sz="1323">
              <a:gradFill>
                <a:gsLst>
                  <a:gs pos="1250">
                    <a:srgbClr val="505050"/>
                  </a:gs>
                  <a:gs pos="74000">
                    <a:srgbClr val="505050"/>
                  </a:gs>
                </a:gsLst>
                <a:lin ang="5400000" scaled="0"/>
              </a:gradFill>
            </a:endParaRPr>
          </a:p>
        </p:txBody>
      </p:sp>
      <p:sp>
        <p:nvSpPr>
          <p:cNvPr id="187" name="TextBox 186"/>
          <p:cNvSpPr txBox="1"/>
          <p:nvPr/>
        </p:nvSpPr>
        <p:spPr>
          <a:xfrm>
            <a:off x="10504181" y="4491980"/>
            <a:ext cx="1505030" cy="389612"/>
          </a:xfrm>
          <a:prstGeom prst="rect">
            <a:avLst/>
          </a:prstGeom>
          <a:noFill/>
        </p:spPr>
        <p:txBody>
          <a:bodyPr wrap="square" lIns="0" tIns="146224" rIns="182780" bIns="146224" rtlCol="0">
            <a:noAutofit/>
          </a:bodyPr>
          <a:lstStyle/>
          <a:p>
            <a:pPr algn="ctr" defTabSz="932194">
              <a:lnSpc>
                <a:spcPct val="90000"/>
              </a:lnSpc>
              <a:spcAft>
                <a:spcPts val="600"/>
              </a:spcAft>
            </a:pPr>
            <a:r>
              <a:rPr lang="en-US" sz="1176" kern="0" spc="-30" dirty="0">
                <a:solidFill>
                  <a:schemeClr val="accent1"/>
                </a:solidFill>
                <a:cs typeface="Segoe UI Semilight" panose="020B0402040204020203" pitchFamily="34" charset="0"/>
              </a:rPr>
              <a:t>Power BI</a:t>
            </a:r>
          </a:p>
        </p:txBody>
      </p:sp>
      <p:sp>
        <p:nvSpPr>
          <p:cNvPr id="188" name="TextBox 187"/>
          <p:cNvSpPr txBox="1"/>
          <p:nvPr/>
        </p:nvSpPr>
        <p:spPr>
          <a:xfrm>
            <a:off x="8834806" y="4473309"/>
            <a:ext cx="1475024" cy="389612"/>
          </a:xfrm>
          <a:prstGeom prst="rect">
            <a:avLst/>
          </a:prstGeom>
          <a:noFill/>
        </p:spPr>
        <p:txBody>
          <a:bodyPr wrap="square" lIns="0" tIns="146224" rIns="182780" bIns="146224" rtlCol="0">
            <a:noAutofit/>
          </a:bodyPr>
          <a:lstStyle/>
          <a:p>
            <a:pPr algn="ctr" defTabSz="932194">
              <a:lnSpc>
                <a:spcPct val="90000"/>
              </a:lnSpc>
              <a:spcAft>
                <a:spcPts val="600"/>
              </a:spcAft>
            </a:pPr>
            <a:r>
              <a:rPr lang="en-US" sz="1176" kern="0" spc="-30" dirty="0">
                <a:solidFill>
                  <a:schemeClr val="accent1"/>
                </a:solidFill>
                <a:cs typeface="Segoe UI Semilight" panose="020B0402040204020203" pitchFamily="34" charset="0"/>
              </a:rPr>
              <a:t>Stream Analytics</a:t>
            </a:r>
          </a:p>
        </p:txBody>
      </p:sp>
      <p:cxnSp>
        <p:nvCxnSpPr>
          <p:cNvPr id="193" name="Straight Arrow Connector 192"/>
          <p:cNvCxnSpPr/>
          <p:nvPr/>
        </p:nvCxnSpPr>
        <p:spPr>
          <a:xfrm rot="5400000" flipV="1">
            <a:off x="10254325" y="2682171"/>
            <a:ext cx="0" cy="896191"/>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4" name="Straight Arrow Connector 193"/>
          <p:cNvCxnSpPr/>
          <p:nvPr/>
        </p:nvCxnSpPr>
        <p:spPr>
          <a:xfrm rot="5400000" flipV="1">
            <a:off x="10254325" y="3820128"/>
            <a:ext cx="0" cy="896191"/>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5" name="Straight Arrow Connector 194"/>
          <p:cNvCxnSpPr/>
          <p:nvPr/>
        </p:nvCxnSpPr>
        <p:spPr>
          <a:xfrm rot="5400000" flipV="1">
            <a:off x="3629916" y="2819508"/>
            <a:ext cx="0" cy="627334"/>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6" name="Straight Arrow Connector 195"/>
          <p:cNvCxnSpPr/>
          <p:nvPr/>
        </p:nvCxnSpPr>
        <p:spPr>
          <a:xfrm rot="5400000" flipV="1">
            <a:off x="6044622" y="2864317"/>
            <a:ext cx="0" cy="537715"/>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71"/>
          <p:cNvCxnSpPr/>
          <p:nvPr/>
        </p:nvCxnSpPr>
        <p:spPr>
          <a:xfrm>
            <a:off x="8249835" y="4284734"/>
            <a:ext cx="693126" cy="2707"/>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p:cNvCxnSpPr/>
          <p:nvPr/>
        </p:nvCxnSpPr>
        <p:spPr>
          <a:xfrm>
            <a:off x="8249835" y="1978909"/>
            <a:ext cx="693126" cy="2707"/>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4" name="Freeform 73"/>
          <p:cNvSpPr/>
          <p:nvPr/>
        </p:nvSpPr>
        <p:spPr bwMode="auto">
          <a:xfrm rot="10800000">
            <a:off x="3161863" y="1978909"/>
            <a:ext cx="156113" cy="2305826"/>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203"/>
            <a:endParaRPr lang="en-US" sz="1764" kern="0" dirty="0">
              <a:solidFill>
                <a:sysClr val="windowText" lastClr="000000"/>
              </a:solidFill>
            </a:endParaRPr>
          </a:p>
        </p:txBody>
      </p:sp>
      <p:cxnSp>
        <p:nvCxnSpPr>
          <p:cNvPr id="19" name="Straight Connector 18"/>
          <p:cNvCxnSpPr/>
          <p:nvPr/>
        </p:nvCxnSpPr>
        <p:spPr>
          <a:xfrm>
            <a:off x="8248066" y="1978909"/>
            <a:ext cx="0" cy="2296105"/>
          </a:xfrm>
          <a:prstGeom prst="line">
            <a:avLst/>
          </a:prstGeom>
          <a:ln>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23382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p:txBody>
          <a:bodyPr/>
          <a:lstStyle/>
          <a:p>
            <a:r>
              <a:rPr lang="en-US" dirty="0">
                <a:solidFill>
                  <a:schemeClr val="bg1"/>
                </a:solidFill>
              </a:rPr>
              <a:t>Big Data Stores</a:t>
            </a:r>
          </a:p>
        </p:txBody>
      </p:sp>
      <p:grpSp>
        <p:nvGrpSpPr>
          <p:cNvPr id="4" name="Group 3"/>
          <p:cNvGrpSpPr/>
          <p:nvPr/>
        </p:nvGrpSpPr>
        <p:grpSpPr>
          <a:xfrm>
            <a:off x="244441" y="1618082"/>
            <a:ext cx="5581117" cy="4207152"/>
            <a:chOff x="249407" y="1649550"/>
            <a:chExt cx="5694513" cy="4292632"/>
          </a:xfrm>
        </p:grpSpPr>
        <p:sp>
          <p:nvSpPr>
            <p:cNvPr id="84" name="Rectangle 83"/>
            <p:cNvSpPr/>
            <p:nvPr/>
          </p:nvSpPr>
          <p:spPr bwMode="auto">
            <a:xfrm>
              <a:off x="4152200" y="1649550"/>
              <a:ext cx="1771946" cy="385834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4" tIns="91403" rIns="18274" bIns="91365" numCol="1" spcCol="1270" anchor="t" anchorCtr="0">
              <a:noAutofit/>
            </a:bodyPr>
            <a:lstStyle/>
            <a:p>
              <a:pPr algn="ctr" defTabSz="724725">
                <a:spcBef>
                  <a:spcPct val="0"/>
                </a:spcBef>
                <a:spcAft>
                  <a:spcPct val="35000"/>
                </a:spcAft>
              </a:pPr>
              <a:r>
                <a:rPr lang="en-US" sz="1400" kern="0" dirty="0">
                  <a:solidFill>
                    <a:schemeClr val="tx1"/>
                  </a:solidFill>
                  <a:latin typeface="Segoe UI Semibold" panose="020B0702040204020203" pitchFamily="34" charset="0"/>
                  <a:cs typeface="Segoe UI Semibold" panose="020B0702040204020203" pitchFamily="34" charset="0"/>
                </a:rPr>
                <a:t>Big Data Stores</a:t>
              </a:r>
            </a:p>
          </p:txBody>
        </p:sp>
        <p:sp>
          <p:nvSpPr>
            <p:cNvPr id="123" name="Rectangle 122"/>
            <p:cNvSpPr/>
            <p:nvPr/>
          </p:nvSpPr>
          <p:spPr>
            <a:xfrm>
              <a:off x="4647601" y="3269842"/>
              <a:ext cx="1296319" cy="446397"/>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SQL Data </a:t>
              </a:r>
            </a:p>
            <a:p>
              <a:pPr defTabSz="896203"/>
              <a:r>
                <a:rPr lang="en-US" sz="1100" kern="0" dirty="0">
                  <a:solidFill>
                    <a:sysClr val="windowText" lastClr="000000"/>
                  </a:solidFill>
                  <a:cs typeface="Segoe UI Semilight" panose="020B0402040204020203" pitchFamily="34" charset="0"/>
                </a:rPr>
                <a:t>Warehouse</a:t>
              </a:r>
            </a:p>
          </p:txBody>
        </p:sp>
        <p:sp>
          <p:nvSpPr>
            <p:cNvPr id="124" name="Rectangle 123"/>
            <p:cNvSpPr/>
            <p:nvPr/>
          </p:nvSpPr>
          <p:spPr>
            <a:xfrm>
              <a:off x="4633509" y="2538073"/>
              <a:ext cx="1296319" cy="270285"/>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Data Lake Store</a:t>
              </a:r>
            </a:p>
          </p:txBody>
        </p:sp>
        <p:grpSp>
          <p:nvGrpSpPr>
            <p:cNvPr id="125" name="Group 124"/>
            <p:cNvGrpSpPr/>
            <p:nvPr/>
          </p:nvGrpSpPr>
          <p:grpSpPr>
            <a:xfrm>
              <a:off x="4318834" y="2530939"/>
              <a:ext cx="256193" cy="256193"/>
              <a:chOff x="4042591" y="3594124"/>
              <a:chExt cx="324957" cy="324958"/>
            </a:xfrm>
          </p:grpSpPr>
          <p:sp>
            <p:nvSpPr>
              <p:cNvPr id="155" name="Rounded Rectangle 154"/>
              <p:cNvSpPr/>
              <p:nvPr/>
            </p:nvSpPr>
            <p:spPr bwMode="auto">
              <a:xfrm>
                <a:off x="4042591" y="3594124"/>
                <a:ext cx="324957" cy="324958"/>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56" name="Rectangle 155"/>
              <p:cNvSpPr/>
              <p:nvPr/>
            </p:nvSpPr>
            <p:spPr bwMode="auto">
              <a:xfrm>
                <a:off x="4080951" y="3631475"/>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57" name="Rectangle 156"/>
              <p:cNvSpPr/>
              <p:nvPr/>
            </p:nvSpPr>
            <p:spPr bwMode="auto">
              <a:xfrm>
                <a:off x="4220302" y="3631475"/>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58" name="Oval 157"/>
              <p:cNvSpPr/>
              <p:nvPr/>
            </p:nvSpPr>
            <p:spPr bwMode="auto">
              <a:xfrm>
                <a:off x="4149026" y="3631863"/>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59" name="Oval 158"/>
              <p:cNvSpPr/>
              <p:nvPr/>
            </p:nvSpPr>
            <p:spPr bwMode="auto">
              <a:xfrm>
                <a:off x="4288377" y="3631863"/>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0" name="Rectangle 159"/>
              <p:cNvSpPr/>
              <p:nvPr/>
            </p:nvSpPr>
            <p:spPr bwMode="auto">
              <a:xfrm>
                <a:off x="4080951" y="3780652"/>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1" name="Rectangle 160"/>
              <p:cNvSpPr/>
              <p:nvPr/>
            </p:nvSpPr>
            <p:spPr bwMode="auto">
              <a:xfrm>
                <a:off x="4220302" y="3780652"/>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2" name="Oval 161"/>
              <p:cNvSpPr/>
              <p:nvPr/>
            </p:nvSpPr>
            <p:spPr bwMode="auto">
              <a:xfrm>
                <a:off x="4149026" y="3781040"/>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3" name="Oval 162"/>
              <p:cNvSpPr/>
              <p:nvPr/>
            </p:nvSpPr>
            <p:spPr bwMode="auto">
              <a:xfrm>
                <a:off x="4288377" y="3781040"/>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4" name="Rectangle 163"/>
              <p:cNvSpPr/>
              <p:nvPr/>
            </p:nvSpPr>
            <p:spPr bwMode="auto">
              <a:xfrm>
                <a:off x="4152616" y="3851970"/>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5" name="Rectangle 164"/>
              <p:cNvSpPr/>
              <p:nvPr/>
            </p:nvSpPr>
            <p:spPr bwMode="auto">
              <a:xfrm>
                <a:off x="4291969" y="3851969"/>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6" name="Oval 165"/>
              <p:cNvSpPr/>
              <p:nvPr/>
            </p:nvSpPr>
            <p:spPr bwMode="auto">
              <a:xfrm>
                <a:off x="4081340" y="3852359"/>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7" name="Oval 166"/>
              <p:cNvSpPr/>
              <p:nvPr/>
            </p:nvSpPr>
            <p:spPr bwMode="auto">
              <a:xfrm>
                <a:off x="4220692" y="3852359"/>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8" name="Rectangle 167"/>
              <p:cNvSpPr/>
              <p:nvPr/>
            </p:nvSpPr>
            <p:spPr bwMode="auto">
              <a:xfrm>
                <a:off x="4152616" y="3696279"/>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70" name="Rectangle 169"/>
              <p:cNvSpPr/>
              <p:nvPr/>
            </p:nvSpPr>
            <p:spPr bwMode="auto">
              <a:xfrm>
                <a:off x="4291971" y="3696279"/>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71" name="Oval 170"/>
              <p:cNvSpPr/>
              <p:nvPr/>
            </p:nvSpPr>
            <p:spPr bwMode="auto">
              <a:xfrm>
                <a:off x="4081340" y="3696669"/>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72" name="Oval 171"/>
              <p:cNvSpPr/>
              <p:nvPr/>
            </p:nvSpPr>
            <p:spPr bwMode="auto">
              <a:xfrm>
                <a:off x="4220691" y="3696669"/>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73" name="Group 172"/>
            <p:cNvGrpSpPr/>
            <p:nvPr/>
          </p:nvGrpSpPr>
          <p:grpSpPr>
            <a:xfrm>
              <a:off x="4319493" y="3334520"/>
              <a:ext cx="253198" cy="310108"/>
              <a:chOff x="-3301039" y="5360349"/>
              <a:chExt cx="2716213" cy="3363914"/>
            </a:xfrm>
            <a:solidFill>
              <a:schemeClr val="tx1"/>
            </a:solidFill>
          </p:grpSpPr>
          <p:sp>
            <p:nvSpPr>
              <p:cNvPr id="174" name="Freeform 40"/>
              <p:cNvSpPr>
                <a:spLocks noEditPoints="1"/>
              </p:cNvSpPr>
              <p:nvPr/>
            </p:nvSpPr>
            <p:spPr bwMode="auto">
              <a:xfrm>
                <a:off x="-3301039" y="5360349"/>
                <a:ext cx="2716213" cy="3363914"/>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175" name="Freeform 41"/>
              <p:cNvSpPr>
                <a:spLocks/>
              </p:cNvSpPr>
              <p:nvPr/>
            </p:nvSpPr>
            <p:spPr bwMode="auto">
              <a:xfrm>
                <a:off x="-2104061" y="6885938"/>
                <a:ext cx="373064" cy="511180"/>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grpSp>
        <p:sp>
          <p:nvSpPr>
            <p:cNvPr id="77" name="TextBox 76"/>
            <p:cNvSpPr txBox="1"/>
            <p:nvPr/>
          </p:nvSpPr>
          <p:spPr>
            <a:xfrm>
              <a:off x="1164202" y="1958379"/>
              <a:ext cx="528754" cy="323165"/>
            </a:xfrm>
            <a:prstGeom prst="rect">
              <a:avLst/>
            </a:prstGeom>
            <a:noFill/>
          </p:spPr>
          <p:txBody>
            <a:bodyPr wrap="square" lIns="0" tIns="0" rIns="0" bIns="0" rtlCol="0" anchor="ctr" anchorCtr="0">
              <a:spAutoFit/>
            </a:bodyPr>
            <a:lstStyle/>
            <a:p>
              <a:pPr defTabSz="914005">
                <a:spcAft>
                  <a:spcPts val="588"/>
                </a:spcAft>
              </a:pPr>
              <a:r>
                <a:rPr lang="en-US" sz="1029" kern="0" dirty="0">
                  <a:solidFill>
                    <a:schemeClr val="bg2"/>
                  </a:solidFill>
                  <a:cs typeface="Segoe UI Semilight" panose="020B0402040204020203" pitchFamily="34" charset="0"/>
                </a:rPr>
                <a:t>Data Sources</a:t>
              </a:r>
            </a:p>
          </p:txBody>
        </p:sp>
        <p:sp>
          <p:nvSpPr>
            <p:cNvPr id="79" name="TextBox 78"/>
            <p:cNvSpPr txBox="1"/>
            <p:nvPr/>
          </p:nvSpPr>
          <p:spPr>
            <a:xfrm>
              <a:off x="1164202" y="3351045"/>
              <a:ext cx="528754" cy="161583"/>
            </a:xfrm>
            <a:prstGeom prst="rect">
              <a:avLst/>
            </a:prstGeom>
            <a:noFill/>
          </p:spPr>
          <p:txBody>
            <a:bodyPr wrap="square" lIns="0" tIns="0" rIns="0" bIns="0" rtlCol="0" anchor="ctr" anchorCtr="0">
              <a:spAutoFit/>
            </a:bodyPr>
            <a:lstStyle/>
            <a:p>
              <a:pPr defTabSz="914005">
                <a:spcBef>
                  <a:spcPct val="0"/>
                </a:spcBef>
                <a:spcAft>
                  <a:spcPts val="588"/>
                </a:spcAft>
              </a:pPr>
              <a:r>
                <a:rPr lang="en-US" sz="1029" kern="0" dirty="0">
                  <a:solidFill>
                    <a:schemeClr val="bg2"/>
                  </a:solidFill>
                  <a:cs typeface="Segoe UI Semilight" panose="020B0402040204020203" pitchFamily="34" charset="0"/>
                </a:rPr>
                <a:t>Apps</a:t>
              </a:r>
            </a:p>
          </p:txBody>
        </p:sp>
        <p:sp>
          <p:nvSpPr>
            <p:cNvPr id="85" name="TextBox 84"/>
            <p:cNvSpPr txBox="1"/>
            <p:nvPr/>
          </p:nvSpPr>
          <p:spPr>
            <a:xfrm>
              <a:off x="1164202" y="4768746"/>
              <a:ext cx="735728" cy="323165"/>
            </a:xfrm>
            <a:prstGeom prst="rect">
              <a:avLst/>
            </a:prstGeom>
            <a:noFill/>
          </p:spPr>
          <p:txBody>
            <a:bodyPr wrap="square" lIns="0" tIns="0" rIns="0" bIns="0" rtlCol="0" anchor="ctr" anchorCtr="0">
              <a:spAutoFit/>
            </a:bodyPr>
            <a:lstStyle/>
            <a:p>
              <a:pPr defTabSz="914005">
                <a:spcBef>
                  <a:spcPct val="0"/>
                </a:spcBef>
                <a:spcAft>
                  <a:spcPts val="588"/>
                </a:spcAft>
              </a:pPr>
              <a:r>
                <a:rPr lang="en-US" sz="1029" kern="0" dirty="0">
                  <a:solidFill>
                    <a:schemeClr val="bg2"/>
                  </a:solidFill>
                  <a:cs typeface="Segoe UI Semilight" panose="020B0402040204020203" pitchFamily="34" charset="0"/>
                </a:rPr>
                <a:t>Sensors </a:t>
              </a:r>
              <a:br>
                <a:rPr lang="en-US" sz="1029" kern="0" dirty="0">
                  <a:solidFill>
                    <a:schemeClr val="bg2"/>
                  </a:solidFill>
                  <a:cs typeface="Segoe UI Semilight" panose="020B0402040204020203" pitchFamily="34" charset="0"/>
                </a:rPr>
              </a:br>
              <a:r>
                <a:rPr lang="en-US" sz="1029" kern="0" dirty="0">
                  <a:solidFill>
                    <a:schemeClr val="bg2"/>
                  </a:solidFill>
                  <a:cs typeface="Segoe UI Semilight" panose="020B0402040204020203" pitchFamily="34" charset="0"/>
                </a:rPr>
                <a:t>and devices</a:t>
              </a:r>
            </a:p>
          </p:txBody>
        </p:sp>
        <p:sp>
          <p:nvSpPr>
            <p:cNvPr id="86" name="TextBox 85"/>
            <p:cNvSpPr txBox="1"/>
            <p:nvPr/>
          </p:nvSpPr>
          <p:spPr>
            <a:xfrm>
              <a:off x="806041" y="5665183"/>
              <a:ext cx="474490" cy="276999"/>
            </a:xfrm>
            <a:prstGeom prst="rect">
              <a:avLst/>
            </a:prstGeom>
            <a:noFill/>
          </p:spPr>
          <p:txBody>
            <a:bodyPr wrap="none" lIns="0" tIns="0" rIns="0" bIns="0" rtlCol="0" anchor="ctr">
              <a:spAutoFit/>
            </a:bodyPr>
            <a:lstStyle>
              <a:defPPr>
                <a:defRPr lang="en-US"/>
              </a:defPPr>
              <a:lvl1pPr algn="ctr" defTabSz="932563">
                <a:spcBef>
                  <a:spcPct val="0"/>
                </a:spcBef>
                <a:spcAft>
                  <a:spcPts val="600"/>
                </a:spcAft>
                <a:defRPr sz="1100">
                  <a:solidFill>
                    <a:schemeClr val="bg1"/>
                  </a:solidFill>
                  <a:latin typeface="Segoe UI Semilight" panose="020B0402040204020203" pitchFamily="34" charset="0"/>
                  <a:cs typeface="Segoe UI Semilight" panose="020B0402040204020203" pitchFamily="34" charset="0"/>
                </a:defRPr>
              </a:lvl1pPr>
            </a:lstStyle>
            <a:p>
              <a:pPr defTabSz="914005">
                <a:spcAft>
                  <a:spcPts val="588"/>
                </a:spcAft>
              </a:pPr>
              <a:r>
                <a:rPr lang="en-US" sz="1764" kern="0" dirty="0">
                  <a:solidFill>
                    <a:schemeClr val="bg2"/>
                  </a:solidFill>
                  <a:latin typeface="+mn-lt"/>
                </a:rPr>
                <a:t>Data</a:t>
              </a:r>
            </a:p>
          </p:txBody>
        </p:sp>
        <p:grpSp>
          <p:nvGrpSpPr>
            <p:cNvPr id="87" name="Group 86"/>
            <p:cNvGrpSpPr/>
            <p:nvPr/>
          </p:nvGrpSpPr>
          <p:grpSpPr>
            <a:xfrm>
              <a:off x="1776319" y="1668481"/>
              <a:ext cx="308472" cy="3830198"/>
              <a:chOff x="1810439" y="1858178"/>
              <a:chExt cx="308472" cy="3830198"/>
            </a:xfrm>
            <a:solidFill>
              <a:srgbClr val="0078D7"/>
            </a:solidFill>
          </p:grpSpPr>
          <p:sp>
            <p:nvSpPr>
              <p:cNvPr id="88" name="Freeform 87"/>
              <p:cNvSpPr/>
              <p:nvPr/>
            </p:nvSpPr>
            <p:spPr bwMode="auto">
              <a:xfrm>
                <a:off x="1995054" y="1858178"/>
                <a:ext cx="123857" cy="3830198"/>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203"/>
                <a:endParaRPr lang="en-US" sz="1764" kern="0">
                  <a:solidFill>
                    <a:sysClr val="windowText" lastClr="000000"/>
                  </a:solidFill>
                </a:endParaRPr>
              </a:p>
            </p:txBody>
          </p:sp>
          <p:cxnSp>
            <p:nvCxnSpPr>
              <p:cNvPr id="89" name="Straight Connector 88"/>
              <p:cNvCxnSpPr/>
              <p:nvPr/>
            </p:nvCxnSpPr>
            <p:spPr>
              <a:xfrm>
                <a:off x="1810439" y="3639239"/>
                <a:ext cx="308472" cy="0"/>
              </a:xfrm>
              <a:prstGeom prst="line">
                <a:avLst/>
              </a:prstGeom>
              <a:grpFill/>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66" name="Rectangle 65"/>
            <p:cNvSpPr/>
            <p:nvPr/>
          </p:nvSpPr>
          <p:spPr bwMode="auto">
            <a:xfrm>
              <a:off x="2269406" y="1649551"/>
              <a:ext cx="1771946" cy="385834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4" tIns="91403" rIns="18274" bIns="91365" numCol="1" spcCol="1270" anchor="t" anchorCtr="0">
              <a:noAutofit/>
            </a:bodyPr>
            <a:lstStyle/>
            <a:p>
              <a:pPr algn="ctr" defTabSz="724725">
                <a:spcBef>
                  <a:spcPct val="0"/>
                </a:spcBef>
                <a:spcAft>
                  <a:spcPct val="35000"/>
                </a:spcAft>
              </a:pPr>
              <a:r>
                <a:rPr lang="en-US" sz="1400" kern="0" dirty="0">
                  <a:solidFill>
                    <a:schemeClr val="tx1"/>
                  </a:solidFill>
                  <a:latin typeface="Segoe UI Semibold" panose="020B0702040204020203" pitchFamily="34" charset="0"/>
                  <a:cs typeface="Segoe UI Semibold" panose="020B0702040204020203" pitchFamily="34" charset="0"/>
                </a:rPr>
                <a:t>Information Management</a:t>
              </a:r>
            </a:p>
          </p:txBody>
        </p:sp>
        <p:sp>
          <p:nvSpPr>
            <p:cNvPr id="67" name="Rectangle 66"/>
            <p:cNvSpPr/>
            <p:nvPr/>
          </p:nvSpPr>
          <p:spPr>
            <a:xfrm>
              <a:off x="2833488" y="4199155"/>
              <a:ext cx="1296319" cy="270285"/>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Event Hubs</a:t>
              </a:r>
              <a:endParaRPr lang="en-US" sz="1100" kern="0" dirty="0">
                <a:solidFill>
                  <a:sysClr val="windowText" lastClr="000000"/>
                </a:solidFill>
              </a:endParaRPr>
            </a:p>
          </p:txBody>
        </p:sp>
        <p:sp>
          <p:nvSpPr>
            <p:cNvPr id="68" name="Rectangle 67"/>
            <p:cNvSpPr/>
            <p:nvPr/>
          </p:nvSpPr>
          <p:spPr>
            <a:xfrm>
              <a:off x="2833488" y="3390244"/>
              <a:ext cx="1296319" cy="270285"/>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Data Catalog</a:t>
              </a:r>
            </a:p>
          </p:txBody>
        </p:sp>
        <p:grpSp>
          <p:nvGrpSpPr>
            <p:cNvPr id="69" name="Group 68"/>
            <p:cNvGrpSpPr/>
            <p:nvPr/>
          </p:nvGrpSpPr>
          <p:grpSpPr>
            <a:xfrm>
              <a:off x="2512312" y="3346955"/>
              <a:ext cx="280471" cy="298350"/>
              <a:chOff x="3232150" y="382588"/>
              <a:chExt cx="5727700" cy="6092825"/>
            </a:xfrm>
            <a:solidFill>
              <a:schemeClr val="tx1"/>
            </a:solidFill>
          </p:grpSpPr>
          <p:sp>
            <p:nvSpPr>
              <p:cNvPr id="73"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74"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75"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grpSp>
        <p:sp>
          <p:nvSpPr>
            <p:cNvPr id="70" name="Rectangle 69"/>
            <p:cNvSpPr/>
            <p:nvPr/>
          </p:nvSpPr>
          <p:spPr>
            <a:xfrm>
              <a:off x="2833488" y="2538073"/>
              <a:ext cx="1296319" cy="270285"/>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Data Factory </a:t>
              </a:r>
              <a:endParaRPr lang="en-US" sz="1100" kern="0" dirty="0">
                <a:solidFill>
                  <a:sysClr val="windowText" lastClr="000000"/>
                </a:solidFill>
              </a:endParaRPr>
            </a:p>
          </p:txBody>
        </p:sp>
        <p:sp>
          <p:nvSpPr>
            <p:cNvPr id="71" name="Freeform 70"/>
            <p:cNvSpPr/>
            <p:nvPr/>
          </p:nvSpPr>
          <p:spPr bwMode="auto">
            <a:xfrm>
              <a:off x="2508225" y="2475589"/>
              <a:ext cx="292163" cy="307023"/>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pPr>
              <a:endParaRPr lang="en-US" sz="2399" kern="0">
                <a:solidFill>
                  <a:schemeClr val="tx1"/>
                </a:solidFill>
                <a:ea typeface="Segoe UI" pitchFamily="34" charset="0"/>
                <a:cs typeface="Segoe UI" pitchFamily="34" charset="0"/>
              </a:endParaRPr>
            </a:p>
          </p:txBody>
        </p:sp>
        <p:sp>
          <p:nvSpPr>
            <p:cNvPr id="72" name="Freeform 71"/>
            <p:cNvSpPr/>
            <p:nvPr/>
          </p:nvSpPr>
          <p:spPr bwMode="auto">
            <a:xfrm>
              <a:off x="2528952" y="4204179"/>
              <a:ext cx="236184" cy="247159"/>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pPr>
              <a:endParaRPr lang="en-US" sz="2399" kern="0" dirty="0">
                <a:solidFill>
                  <a:schemeClr val="tx1"/>
                </a:solidFill>
                <a:ea typeface="Segoe UI" pitchFamily="34" charset="0"/>
                <a:cs typeface="Segoe UI" pitchFamily="34" charset="0"/>
              </a:endParaRPr>
            </a:p>
          </p:txBody>
        </p:sp>
        <p:pic>
          <p:nvPicPr>
            <p:cNvPr id="141" name="Picture 14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49407" y="3043119"/>
              <a:ext cx="776178" cy="908180"/>
            </a:xfrm>
            <a:prstGeom prst="rect">
              <a:avLst/>
            </a:prstGeom>
          </p:spPr>
        </p:pic>
        <p:pic>
          <p:nvPicPr>
            <p:cNvPr id="142" name="Picture 14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32823" y="4489811"/>
              <a:ext cx="752976" cy="881033"/>
            </a:xfrm>
            <a:prstGeom prst="rect">
              <a:avLst/>
            </a:prstGeom>
          </p:spPr>
        </p:pic>
        <p:pic>
          <p:nvPicPr>
            <p:cNvPr id="143" name="Picture 14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32969" y="1695508"/>
              <a:ext cx="685793" cy="802425"/>
            </a:xfrm>
            <a:prstGeom prst="rect">
              <a:avLst/>
            </a:prstGeom>
          </p:spPr>
        </p:pic>
      </p:grpSp>
    </p:spTree>
    <p:extLst>
      <p:ext uri="{BB962C8B-B14F-4D97-AF65-F5344CB8AC3E}">
        <p14:creationId xmlns:p14="http://schemas.microsoft.com/office/powerpoint/2010/main" val="1777818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5" presetClass="path" presetSubtype="0" accel="50000" decel="50000" fill="hold" nodeType="clickEffect">
                                  <p:stCondLst>
                                    <p:cond delay="0"/>
                                  </p:stCondLst>
                                  <p:childTnLst>
                                    <p:animMotion origin="layout" path="M 1.47307E-6 9.12392E-7 L -0.33419 9.12392E-7 " pathEditMode="relative" rAng="0" ptsTypes="AA">
                                      <p:cBhvr>
                                        <p:cTn id="6" dur="2000" fill="hold"/>
                                        <p:tgtEl>
                                          <p:spTgt spid="4"/>
                                        </p:tgtEl>
                                        <p:attrNameLst>
                                          <p:attrName>ppt_x</p:attrName>
                                          <p:attrName>ppt_y</p:attrName>
                                        </p:attrNameLst>
                                      </p:cBhvr>
                                      <p:rCtr x="-1670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56" name="Rectangle 155"/>
          <p:cNvSpPr/>
          <p:nvPr/>
        </p:nvSpPr>
        <p:spPr bwMode="auto">
          <a:xfrm>
            <a:off x="1" y="5171771"/>
            <a:ext cx="12188824" cy="1154529"/>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kern="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pPr defTabSz="896203">
              <a:spcBef>
                <a:spcPts val="0"/>
              </a:spcBef>
              <a:spcAft>
                <a:spcPts val="588"/>
              </a:spcAft>
              <a:defRPr/>
            </a:pPr>
            <a:r>
              <a:rPr lang="en-US" kern="0" spc="0" dirty="0">
                <a:ln>
                  <a:noFill/>
                </a:ln>
              </a:rPr>
              <a:t>A hyper-scale repository for big data analytics workloads</a:t>
            </a:r>
          </a:p>
        </p:txBody>
      </p:sp>
      <p:grpSp>
        <p:nvGrpSpPr>
          <p:cNvPr id="4" name="Group 3"/>
          <p:cNvGrpSpPr/>
          <p:nvPr/>
        </p:nvGrpSpPr>
        <p:grpSpPr>
          <a:xfrm>
            <a:off x="2185184" y="5154778"/>
            <a:ext cx="9273411" cy="1167376"/>
            <a:chOff x="2229582" y="5576080"/>
            <a:chExt cx="9461826" cy="1191095"/>
          </a:xfrm>
        </p:grpSpPr>
        <p:sp>
          <p:nvSpPr>
            <p:cNvPr id="12" name="TextBox 11"/>
            <p:cNvSpPr txBox="1"/>
            <p:nvPr/>
          </p:nvSpPr>
          <p:spPr>
            <a:xfrm>
              <a:off x="2229582" y="5576080"/>
              <a:ext cx="5276572" cy="1191095"/>
            </a:xfrm>
            <a:prstGeom prst="rect">
              <a:avLst/>
            </a:prstGeom>
            <a:noFill/>
          </p:spPr>
          <p:txBody>
            <a:bodyPr wrap="square" lIns="179238" tIns="143391" rIns="179238" bIns="143391" rtlCol="0">
              <a:spAutoFit/>
            </a:bodyPr>
            <a:lstStyle/>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A Hadoop Distributed File System for the cloud</a:t>
              </a:r>
            </a:p>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No fixed limits on file size</a:t>
              </a:r>
            </a:p>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No fixed limits on account size</a:t>
              </a:r>
            </a:p>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Unstructured and structured data in their native format</a:t>
              </a:r>
            </a:p>
          </p:txBody>
        </p:sp>
        <p:sp>
          <p:nvSpPr>
            <p:cNvPr id="13" name="TextBox 12"/>
            <p:cNvSpPr txBox="1"/>
            <p:nvPr/>
          </p:nvSpPr>
          <p:spPr>
            <a:xfrm>
              <a:off x="7163449" y="5578138"/>
              <a:ext cx="4527959" cy="947952"/>
            </a:xfrm>
            <a:prstGeom prst="rect">
              <a:avLst/>
            </a:prstGeom>
            <a:noFill/>
          </p:spPr>
          <p:txBody>
            <a:bodyPr wrap="square" lIns="179238" tIns="143391" rIns="179238" bIns="143391" rtlCol="0">
              <a:spAutoFit/>
            </a:bodyPr>
            <a:lstStyle/>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Massive throughput to increase analytic performance</a:t>
              </a:r>
            </a:p>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High durability, availability, and reliability</a:t>
              </a:r>
            </a:p>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Azure Active Directory access control</a:t>
              </a:r>
            </a:p>
          </p:txBody>
        </p:sp>
      </p:grpSp>
      <p:grpSp>
        <p:nvGrpSpPr>
          <p:cNvPr id="196" name="Group 195"/>
          <p:cNvGrpSpPr/>
          <p:nvPr/>
        </p:nvGrpSpPr>
        <p:grpSpPr>
          <a:xfrm>
            <a:off x="2120698" y="2606090"/>
            <a:ext cx="981613" cy="628601"/>
            <a:chOff x="787287" y="2926584"/>
            <a:chExt cx="1070933" cy="685800"/>
          </a:xfrm>
        </p:grpSpPr>
        <p:sp>
          <p:nvSpPr>
            <p:cNvPr id="224" name="Rectangle 223"/>
            <p:cNvSpPr/>
            <p:nvPr>
              <p:custDataLst>
                <p:tags r:id="rId8"/>
              </p:custDataLst>
            </p:nvPr>
          </p:nvSpPr>
          <p:spPr bwMode="auto">
            <a:xfrm>
              <a:off x="787287" y="2926584"/>
              <a:ext cx="1070933" cy="685800"/>
            </a:xfrm>
            <a:prstGeom prst="rect">
              <a:avLst/>
            </a:prstGeom>
            <a:solidFill>
              <a:schemeClr val="tx1"/>
            </a:solidFill>
            <a:ln w="3175">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14" tIns="44810" rIns="67214" bIns="44810" numCol="1" spcCol="0" rtlCol="0" fromWordArt="0" anchor="b" anchorCtr="0" forceAA="0" compatLnSpc="1">
              <a:prstTxWarp prst="textNoShape">
                <a:avLst/>
              </a:prstTxWarp>
              <a:noAutofit/>
            </a:bodyPr>
            <a:lstStyle/>
            <a:p>
              <a:pPr algn="ctr" defTabSz="913916">
                <a:defRPr/>
              </a:pPr>
              <a:r>
                <a:rPr lang="en-US" sz="980" kern="0" dirty="0">
                  <a:solidFill>
                    <a:schemeClr val="accent1"/>
                  </a:solidFill>
                </a:rPr>
                <a:t>LOB Applications</a:t>
              </a:r>
            </a:p>
          </p:txBody>
        </p:sp>
        <p:sp>
          <p:nvSpPr>
            <p:cNvPr id="225" name="Round Diagonal Corner Rectangle 53"/>
            <p:cNvSpPr/>
            <p:nvPr/>
          </p:nvSpPr>
          <p:spPr bwMode="auto">
            <a:xfrm>
              <a:off x="1225625" y="2973815"/>
              <a:ext cx="239150" cy="272214"/>
            </a:xfrm>
            <a:custGeom>
              <a:avLst/>
              <a:gdLst/>
              <a:ahLst/>
              <a:cxnLst/>
              <a:rect l="l" t="t" r="r" b="b"/>
              <a:pathLst>
                <a:path w="3235820" h="3683194">
                  <a:moveTo>
                    <a:pt x="595560" y="650095"/>
                  </a:moveTo>
                  <a:lnTo>
                    <a:pt x="1886300" y="650095"/>
                  </a:lnTo>
                  <a:lnTo>
                    <a:pt x="1886300" y="1018395"/>
                  </a:lnTo>
                  <a:lnTo>
                    <a:pt x="595560" y="1018395"/>
                  </a:lnTo>
                  <a:close/>
                  <a:moveTo>
                    <a:pt x="2054321" y="226077"/>
                  </a:moveTo>
                  <a:lnTo>
                    <a:pt x="520579" y="233218"/>
                  </a:lnTo>
                  <a:cubicBezTo>
                    <a:pt x="362905" y="233218"/>
                    <a:pt x="242283" y="270202"/>
                    <a:pt x="235081" y="524949"/>
                  </a:cubicBezTo>
                  <a:lnTo>
                    <a:pt x="235081" y="3449976"/>
                  </a:lnTo>
                  <a:lnTo>
                    <a:pt x="2715242" y="3449976"/>
                  </a:lnTo>
                  <a:cubicBezTo>
                    <a:pt x="2937738" y="3478785"/>
                    <a:pt x="3000739" y="3319364"/>
                    <a:pt x="3000739" y="3158245"/>
                  </a:cubicBezTo>
                  <a:lnTo>
                    <a:pt x="3000739" y="1068756"/>
                  </a:lnTo>
                  <a:lnTo>
                    <a:pt x="2242421" y="1068756"/>
                  </a:lnTo>
                  <a:cubicBezTo>
                    <a:pt x="2138537" y="1068756"/>
                    <a:pt x="2054321" y="984540"/>
                    <a:pt x="2054321" y="880655"/>
                  </a:cubicBezTo>
                  <a:close/>
                  <a:moveTo>
                    <a:pt x="334033" y="0"/>
                  </a:moveTo>
                  <a:lnTo>
                    <a:pt x="2218267" y="0"/>
                  </a:lnTo>
                  <a:lnTo>
                    <a:pt x="3235820" y="939280"/>
                  </a:lnTo>
                  <a:lnTo>
                    <a:pt x="3235820" y="3349162"/>
                  </a:lnTo>
                  <a:cubicBezTo>
                    <a:pt x="3235820" y="3533642"/>
                    <a:pt x="3086268" y="3683194"/>
                    <a:pt x="2901788" y="3683194"/>
                  </a:cubicBezTo>
                  <a:lnTo>
                    <a:pt x="0" y="3683194"/>
                  </a:lnTo>
                  <a:lnTo>
                    <a:pt x="0" y="334033"/>
                  </a:lnTo>
                  <a:cubicBezTo>
                    <a:pt x="0" y="149553"/>
                    <a:pt x="149553" y="0"/>
                    <a:pt x="334033"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44810" rIns="44810" bIns="89619" numCol="1" spcCol="0" rtlCol="0" fromWordArt="0" anchor="b" anchorCtr="0" forceAA="0" compatLnSpc="1">
              <a:prstTxWarp prst="textNoShape">
                <a:avLst/>
              </a:prstTxWarp>
              <a:noAutofit/>
            </a:bodyPr>
            <a:lstStyle/>
            <a:p>
              <a:pPr algn="ctr" defTabSz="895908" fontAlgn="base">
                <a:spcBef>
                  <a:spcPct val="0"/>
                </a:spcBef>
                <a:spcAft>
                  <a:spcPct val="0"/>
                </a:spcAft>
                <a:defRPr/>
              </a:pPr>
              <a:endParaRPr lang="en-US" sz="1764" kern="0" spc="-49"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197" name="Group 196"/>
          <p:cNvGrpSpPr/>
          <p:nvPr/>
        </p:nvGrpSpPr>
        <p:grpSpPr>
          <a:xfrm>
            <a:off x="3159535" y="1935889"/>
            <a:ext cx="981613" cy="628601"/>
            <a:chOff x="1589220" y="3614946"/>
            <a:chExt cx="1070933" cy="685800"/>
          </a:xfrm>
        </p:grpSpPr>
        <p:sp>
          <p:nvSpPr>
            <p:cNvPr id="222" name="Rectangle 221"/>
            <p:cNvSpPr/>
            <p:nvPr>
              <p:custDataLst>
                <p:tags r:id="rId7"/>
              </p:custDataLst>
            </p:nvPr>
          </p:nvSpPr>
          <p:spPr bwMode="auto">
            <a:xfrm>
              <a:off x="1589220" y="3614946"/>
              <a:ext cx="1070933" cy="685800"/>
            </a:xfrm>
            <a:prstGeom prst="rect">
              <a:avLst/>
            </a:prstGeom>
            <a:solidFill>
              <a:schemeClr val="tx1"/>
            </a:solidFill>
            <a:ln w="3175">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14" tIns="44810" rIns="67214" bIns="44810" numCol="1" spcCol="0" rtlCol="0" fromWordArt="0" anchor="b" anchorCtr="0" forceAA="0" compatLnSpc="1">
              <a:prstTxWarp prst="textNoShape">
                <a:avLst/>
              </a:prstTxWarp>
              <a:noAutofit/>
            </a:bodyPr>
            <a:lstStyle/>
            <a:p>
              <a:pPr algn="ctr" defTabSz="913916">
                <a:defRPr/>
              </a:pPr>
              <a:r>
                <a:rPr lang="en-US" sz="980" kern="0" dirty="0">
                  <a:solidFill>
                    <a:schemeClr val="accent1"/>
                  </a:solidFill>
                </a:rPr>
                <a:t>Social</a:t>
              </a:r>
            </a:p>
          </p:txBody>
        </p:sp>
        <p:sp>
          <p:nvSpPr>
            <p:cNvPr id="223" name="Freeform 13"/>
            <p:cNvSpPr>
              <a:spLocks noChangeAspect="1" noEditPoints="1"/>
            </p:cNvSpPr>
            <p:nvPr/>
          </p:nvSpPr>
          <p:spPr bwMode="black">
            <a:xfrm>
              <a:off x="1907537" y="3679555"/>
              <a:ext cx="434298" cy="401077"/>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7857" tIns="87857" rIns="87857" bIns="87857" numCol="1" rtlCol="0" anchor="ctr" anchorCtr="0" compatLnSpc="1">
              <a:prstTxWarp prst="textNoShape">
                <a:avLst/>
              </a:prstTxWarp>
            </a:bodyPr>
            <a:lstStyle/>
            <a:p>
              <a:pPr defTabSz="697542">
                <a:defRPr/>
              </a:pPr>
              <a:endParaRPr lang="en-US" sz="882" kern="0" spc="-116" dirty="0">
                <a:solidFill>
                  <a:schemeClr val="bg1"/>
                </a:solidFill>
              </a:endParaRPr>
            </a:p>
          </p:txBody>
        </p:sp>
      </p:grpSp>
      <p:sp>
        <p:nvSpPr>
          <p:cNvPr id="217" name="Rectangle 216"/>
          <p:cNvSpPr/>
          <p:nvPr>
            <p:custDataLst>
              <p:tags r:id="rId1"/>
            </p:custDataLst>
          </p:nvPr>
        </p:nvSpPr>
        <p:spPr bwMode="auto">
          <a:xfrm>
            <a:off x="2120698" y="1935889"/>
            <a:ext cx="981613" cy="628601"/>
          </a:xfrm>
          <a:prstGeom prst="rect">
            <a:avLst/>
          </a:prstGeom>
          <a:solidFill>
            <a:schemeClr val="tx1"/>
          </a:solidFill>
          <a:ln w="3175">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14" tIns="44810" rIns="67214" bIns="44810" numCol="1" spcCol="0" rtlCol="0" fromWordArt="0" anchor="b" anchorCtr="0" forceAA="0" compatLnSpc="1">
            <a:prstTxWarp prst="textNoShape">
              <a:avLst/>
            </a:prstTxWarp>
            <a:noAutofit/>
          </a:bodyPr>
          <a:lstStyle/>
          <a:p>
            <a:pPr algn="ctr" defTabSz="913916">
              <a:defRPr/>
            </a:pPr>
            <a:r>
              <a:rPr lang="en-US" sz="980" kern="0" dirty="0">
                <a:solidFill>
                  <a:schemeClr val="accent1"/>
                </a:solidFill>
              </a:rPr>
              <a:t>Devices</a:t>
            </a:r>
          </a:p>
        </p:txBody>
      </p:sp>
      <p:grpSp>
        <p:nvGrpSpPr>
          <p:cNvPr id="218" name="Group 217"/>
          <p:cNvGrpSpPr/>
          <p:nvPr/>
        </p:nvGrpSpPr>
        <p:grpSpPr>
          <a:xfrm>
            <a:off x="2313757" y="2025220"/>
            <a:ext cx="595493" cy="312778"/>
            <a:chOff x="2769908" y="1409697"/>
            <a:chExt cx="1965320" cy="890690"/>
          </a:xfrm>
          <a:solidFill>
            <a:schemeClr val="accent1"/>
          </a:solidFill>
        </p:grpSpPr>
        <p:sp>
          <p:nvSpPr>
            <p:cNvPr id="219" name="Round Same Side Corner Rectangle 11"/>
            <p:cNvSpPr/>
            <p:nvPr/>
          </p:nvSpPr>
          <p:spPr>
            <a:xfrm>
              <a:off x="3138524" y="1579153"/>
              <a:ext cx="998086" cy="721234"/>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grpFill/>
            <a:ln w="25400" cap="flat" cmpd="sng" algn="ctr">
              <a:noFill/>
              <a:prstDash val="solid"/>
            </a:ln>
            <a:effectLst/>
          </p:spPr>
          <p:txBody>
            <a:bodyPr lIns="43065" rIns="0" rtlCol="0" anchor="ct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861240">
                <a:defRPr/>
              </a:pPr>
              <a:endParaRPr lang="en-US" sz="470" kern="0" dirty="0">
                <a:solidFill>
                  <a:schemeClr val="accent3"/>
                </a:solidFill>
                <a:latin typeface="Segoe"/>
              </a:endParaRPr>
            </a:p>
          </p:txBody>
        </p:sp>
        <p:sp>
          <p:nvSpPr>
            <p:cNvPr id="220" name="Rounded Rectangle 223"/>
            <p:cNvSpPr/>
            <p:nvPr/>
          </p:nvSpPr>
          <p:spPr bwMode="auto">
            <a:xfrm>
              <a:off x="2769908" y="1409697"/>
              <a:ext cx="368615" cy="648352"/>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3065" tIns="43065" rIns="0" bIns="86130" numCol="1" spcCol="0" rtlCol="0" fromWordArt="0" anchor="b"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860957">
                <a:defRPr/>
              </a:pPr>
              <a:endParaRPr lang="en-US" sz="470" spc="-47"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21" name="Rounded Rectangle 6"/>
            <p:cNvSpPr/>
            <p:nvPr/>
          </p:nvSpPr>
          <p:spPr bwMode="auto">
            <a:xfrm rot="16200000">
              <a:off x="4229657" y="1440678"/>
              <a:ext cx="404402" cy="606741"/>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grp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43065" tIns="43063" rIns="0" bIns="43063" numCol="1" rtlCol="0" anchor="ctr"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775110">
                <a:defRPr/>
              </a:pPr>
              <a:endParaRPr lang="en-US" sz="470" spc="-126" dirty="0">
                <a:gradFill>
                  <a:gsLst>
                    <a:gs pos="0">
                      <a:srgbClr val="FFFFFF"/>
                    </a:gs>
                    <a:gs pos="100000">
                      <a:srgbClr val="FFFFFF"/>
                    </a:gs>
                  </a:gsLst>
                  <a:lin ang="5400000" scaled="0"/>
                </a:gradFill>
                <a:latin typeface="Segoe Light" pitchFamily="34" charset="0"/>
              </a:endParaRPr>
            </a:p>
          </p:txBody>
        </p:sp>
      </p:grpSp>
      <p:grpSp>
        <p:nvGrpSpPr>
          <p:cNvPr id="199" name="Group 198"/>
          <p:cNvGrpSpPr/>
          <p:nvPr/>
        </p:nvGrpSpPr>
        <p:grpSpPr>
          <a:xfrm>
            <a:off x="3159535" y="3946492"/>
            <a:ext cx="981613" cy="628601"/>
            <a:chOff x="787287" y="5120138"/>
            <a:chExt cx="1070933" cy="685800"/>
          </a:xfrm>
        </p:grpSpPr>
        <p:sp>
          <p:nvSpPr>
            <p:cNvPr id="215" name="Rectangle 214"/>
            <p:cNvSpPr/>
            <p:nvPr>
              <p:custDataLst>
                <p:tags r:id="rId6"/>
              </p:custDataLst>
            </p:nvPr>
          </p:nvSpPr>
          <p:spPr bwMode="auto">
            <a:xfrm>
              <a:off x="787287" y="5120138"/>
              <a:ext cx="1070933" cy="685800"/>
            </a:xfrm>
            <a:prstGeom prst="rect">
              <a:avLst/>
            </a:prstGeom>
            <a:solidFill>
              <a:schemeClr val="tx1"/>
            </a:solidFill>
            <a:ln w="3175">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14" tIns="44810" rIns="67214" bIns="44810" numCol="1" spcCol="0" rtlCol="0" fromWordArt="0" anchor="b" anchorCtr="0" forceAA="0" compatLnSpc="1">
              <a:prstTxWarp prst="textNoShape">
                <a:avLst/>
              </a:prstTxWarp>
              <a:noAutofit/>
            </a:bodyPr>
            <a:lstStyle/>
            <a:p>
              <a:pPr algn="ctr" defTabSz="913916">
                <a:defRPr/>
              </a:pPr>
              <a:r>
                <a:rPr lang="en-US" sz="980" kern="0" dirty="0">
                  <a:solidFill>
                    <a:schemeClr val="accent1"/>
                  </a:solidFill>
                </a:rPr>
                <a:t>Clickstream</a:t>
              </a:r>
            </a:p>
          </p:txBody>
        </p:sp>
        <p:sp>
          <p:nvSpPr>
            <p:cNvPr id="216" name="Freeform 215"/>
            <p:cNvSpPr/>
            <p:nvPr/>
          </p:nvSpPr>
          <p:spPr bwMode="auto">
            <a:xfrm>
              <a:off x="1150008" y="5241702"/>
              <a:ext cx="345491" cy="345489"/>
            </a:xfrm>
            <a:custGeom>
              <a:avLst/>
              <a:gdLst/>
              <a:ahLst/>
              <a:cxnLst/>
              <a:rect l="l" t="t" r="r" b="b"/>
              <a:pathLst>
                <a:path w="3771688" h="3771678">
                  <a:moveTo>
                    <a:pt x="1170813" y="2357992"/>
                  </a:moveTo>
                  <a:cubicBezTo>
                    <a:pt x="1111992" y="2382777"/>
                    <a:pt x="1047346" y="2396330"/>
                    <a:pt x="979535" y="2396330"/>
                  </a:cubicBezTo>
                  <a:lnTo>
                    <a:pt x="966453" y="2395012"/>
                  </a:lnTo>
                  <a:cubicBezTo>
                    <a:pt x="883319" y="2612303"/>
                    <a:pt x="833420" y="2858368"/>
                    <a:pt x="826353" y="3135160"/>
                  </a:cubicBezTo>
                  <a:cubicBezTo>
                    <a:pt x="1111538" y="3378474"/>
                    <a:pt x="1481600" y="3524821"/>
                    <a:pt x="1885843" y="3524821"/>
                  </a:cubicBezTo>
                  <a:cubicBezTo>
                    <a:pt x="2339009" y="3524821"/>
                    <a:pt x="2749219" y="3340908"/>
                    <a:pt x="3045852" y="3043597"/>
                  </a:cubicBezTo>
                  <a:cubicBezTo>
                    <a:pt x="2805887" y="3038579"/>
                    <a:pt x="2587112" y="3013186"/>
                    <a:pt x="2388278" y="2969814"/>
                  </a:cubicBezTo>
                  <a:cubicBezTo>
                    <a:pt x="2331347" y="3055619"/>
                    <a:pt x="2233838" y="3112082"/>
                    <a:pt x="2123141" y="3112082"/>
                  </a:cubicBezTo>
                  <a:cubicBezTo>
                    <a:pt x="1947210" y="3112082"/>
                    <a:pt x="1804590" y="2969463"/>
                    <a:pt x="1804590" y="2793533"/>
                  </a:cubicBezTo>
                  <a:lnTo>
                    <a:pt x="1805949" y="2780055"/>
                  </a:lnTo>
                  <a:cubicBezTo>
                    <a:pt x="1549285" y="2666155"/>
                    <a:pt x="1340216" y="2518864"/>
                    <a:pt x="1170813" y="2357992"/>
                  </a:cubicBezTo>
                  <a:close/>
                  <a:moveTo>
                    <a:pt x="1917963" y="1269900"/>
                  </a:moveTo>
                  <a:cubicBezTo>
                    <a:pt x="1742858" y="1377541"/>
                    <a:pt x="1571623" y="1510227"/>
                    <a:pt x="1421807" y="1673923"/>
                  </a:cubicBezTo>
                  <a:cubicBezTo>
                    <a:pt x="1458137" y="1740622"/>
                    <a:pt x="1477533" y="1817212"/>
                    <a:pt x="1477533" y="1898333"/>
                  </a:cubicBezTo>
                  <a:cubicBezTo>
                    <a:pt x="1477533" y="1995213"/>
                    <a:pt x="1449869" y="2085631"/>
                    <a:pt x="1400834" y="2161383"/>
                  </a:cubicBezTo>
                  <a:cubicBezTo>
                    <a:pt x="1556230" y="2298906"/>
                    <a:pt x="1738753" y="2424541"/>
                    <a:pt x="1949562" y="2526931"/>
                  </a:cubicBezTo>
                  <a:cubicBezTo>
                    <a:pt x="1999298" y="2493937"/>
                    <a:pt x="2059006" y="2474984"/>
                    <a:pt x="2123141" y="2474984"/>
                  </a:cubicBezTo>
                  <a:cubicBezTo>
                    <a:pt x="2266947" y="2474984"/>
                    <a:pt x="2388496" y="2570273"/>
                    <a:pt x="2426612" y="2701602"/>
                  </a:cubicBezTo>
                  <a:cubicBezTo>
                    <a:pt x="2672548" y="2766286"/>
                    <a:pt x="2946719" y="2800378"/>
                    <a:pt x="3250025" y="2793803"/>
                  </a:cubicBezTo>
                  <a:cubicBezTo>
                    <a:pt x="3324551" y="2682855"/>
                    <a:pt x="3385478" y="2562082"/>
                    <a:pt x="3429138" y="2433348"/>
                  </a:cubicBezTo>
                  <a:cubicBezTo>
                    <a:pt x="3338857" y="2361270"/>
                    <a:pt x="3226294" y="2282273"/>
                    <a:pt x="3097462" y="2192900"/>
                  </a:cubicBezTo>
                  <a:cubicBezTo>
                    <a:pt x="3035056" y="2253619"/>
                    <a:pt x="2949762" y="2290655"/>
                    <a:pt x="2855817" y="2290655"/>
                  </a:cubicBezTo>
                  <a:cubicBezTo>
                    <a:pt x="2662639" y="2290655"/>
                    <a:pt x="2506038" y="2134055"/>
                    <a:pt x="2506038" y="1940878"/>
                  </a:cubicBezTo>
                  <a:cubicBezTo>
                    <a:pt x="2506038" y="1888016"/>
                    <a:pt x="2517765" y="1837892"/>
                    <a:pt x="2539677" y="1793396"/>
                  </a:cubicBezTo>
                  <a:cubicBezTo>
                    <a:pt x="2341462" y="1643986"/>
                    <a:pt x="2130574" y="1471504"/>
                    <a:pt x="1917963" y="1269900"/>
                  </a:cubicBezTo>
                  <a:close/>
                  <a:moveTo>
                    <a:pt x="513102" y="991965"/>
                  </a:moveTo>
                  <a:cubicBezTo>
                    <a:pt x="344394" y="1248586"/>
                    <a:pt x="246856" y="1555822"/>
                    <a:pt x="246856" y="1885839"/>
                  </a:cubicBezTo>
                  <a:cubicBezTo>
                    <a:pt x="246856" y="2228384"/>
                    <a:pt x="351940" y="2546384"/>
                    <a:pt x="531953" y="2809142"/>
                  </a:cubicBezTo>
                  <a:cubicBezTo>
                    <a:pt x="549141" y="2611547"/>
                    <a:pt x="584950" y="2428200"/>
                    <a:pt x="638399" y="2259547"/>
                  </a:cubicBezTo>
                  <a:cubicBezTo>
                    <a:pt x="541504" y="2169601"/>
                    <a:pt x="481537" y="2040970"/>
                    <a:pt x="481537" y="1898333"/>
                  </a:cubicBezTo>
                  <a:cubicBezTo>
                    <a:pt x="481537" y="1763870"/>
                    <a:pt x="534828" y="1641853"/>
                    <a:pt x="621976" y="1552767"/>
                  </a:cubicBezTo>
                  <a:cubicBezTo>
                    <a:pt x="525006" y="1308454"/>
                    <a:pt x="497710" y="1099531"/>
                    <a:pt x="513102" y="991965"/>
                  </a:cubicBezTo>
                  <a:close/>
                  <a:moveTo>
                    <a:pt x="3156081" y="850671"/>
                  </a:moveTo>
                  <a:cubicBezTo>
                    <a:pt x="2974938" y="846231"/>
                    <a:pt x="2570313" y="925816"/>
                    <a:pt x="2149056" y="1140246"/>
                  </a:cubicBezTo>
                  <a:cubicBezTo>
                    <a:pt x="2305862" y="1298314"/>
                    <a:pt x="2480556" y="1465085"/>
                    <a:pt x="2679283" y="1640508"/>
                  </a:cubicBezTo>
                  <a:cubicBezTo>
                    <a:pt x="2730538" y="1608663"/>
                    <a:pt x="2791127" y="1591101"/>
                    <a:pt x="2855817" y="1591101"/>
                  </a:cubicBezTo>
                  <a:cubicBezTo>
                    <a:pt x="3048995" y="1591101"/>
                    <a:pt x="3205596" y="1747701"/>
                    <a:pt x="3205596" y="1940878"/>
                  </a:cubicBezTo>
                  <a:cubicBezTo>
                    <a:pt x="3205596" y="1983725"/>
                    <a:pt x="3197892" y="2024773"/>
                    <a:pt x="3182681" y="2062298"/>
                  </a:cubicBezTo>
                  <a:cubicBezTo>
                    <a:pt x="3274893" y="2136338"/>
                    <a:pt x="3371714" y="2211317"/>
                    <a:pt x="3473137" y="2287690"/>
                  </a:cubicBezTo>
                  <a:cubicBezTo>
                    <a:pt x="3507571" y="2159450"/>
                    <a:pt x="3524830" y="2024660"/>
                    <a:pt x="3524830" y="1885839"/>
                  </a:cubicBezTo>
                  <a:cubicBezTo>
                    <a:pt x="3524830" y="1493128"/>
                    <a:pt x="3386712" y="1132675"/>
                    <a:pt x="3156081" y="850671"/>
                  </a:cubicBezTo>
                  <a:close/>
                  <a:moveTo>
                    <a:pt x="1167372" y="414437"/>
                  </a:moveTo>
                  <a:cubicBezTo>
                    <a:pt x="994754" y="496757"/>
                    <a:pt x="839843" y="609954"/>
                    <a:pt x="709006" y="746596"/>
                  </a:cubicBezTo>
                  <a:cubicBezTo>
                    <a:pt x="656695" y="881549"/>
                    <a:pt x="694723" y="1138245"/>
                    <a:pt x="834094" y="1424446"/>
                  </a:cubicBezTo>
                  <a:cubicBezTo>
                    <a:pt x="879599" y="1407960"/>
                    <a:pt x="928677" y="1400336"/>
                    <a:pt x="979535" y="1400336"/>
                  </a:cubicBezTo>
                  <a:cubicBezTo>
                    <a:pt x="1017560" y="1400336"/>
                    <a:pt x="1054590" y="1404598"/>
                    <a:pt x="1089967" y="1413579"/>
                  </a:cubicBezTo>
                  <a:cubicBezTo>
                    <a:pt x="1244168" y="1226717"/>
                    <a:pt x="1421621" y="1074480"/>
                    <a:pt x="1607991" y="955200"/>
                  </a:cubicBezTo>
                  <a:cubicBezTo>
                    <a:pt x="1457566" y="792176"/>
                    <a:pt x="1309542" y="612523"/>
                    <a:pt x="1167372" y="414437"/>
                  </a:cubicBezTo>
                  <a:close/>
                  <a:moveTo>
                    <a:pt x="1885843" y="246857"/>
                  </a:moveTo>
                  <a:cubicBezTo>
                    <a:pt x="1714273" y="246857"/>
                    <a:pt x="1548861" y="273219"/>
                    <a:pt x="1393510" y="322354"/>
                  </a:cubicBezTo>
                  <a:cubicBezTo>
                    <a:pt x="1529569" y="475615"/>
                    <a:pt x="1675197" y="641640"/>
                    <a:pt x="1842024" y="820292"/>
                  </a:cubicBezTo>
                  <a:cubicBezTo>
                    <a:pt x="2228189" y="624889"/>
                    <a:pt x="2625611" y="560552"/>
                    <a:pt x="2918518" y="613738"/>
                  </a:cubicBezTo>
                  <a:cubicBezTo>
                    <a:pt x="2636954" y="384188"/>
                    <a:pt x="2277437" y="246857"/>
                    <a:pt x="1885843" y="246857"/>
                  </a:cubicBezTo>
                  <a:close/>
                  <a:moveTo>
                    <a:pt x="1885844" y="0"/>
                  </a:moveTo>
                  <a:cubicBezTo>
                    <a:pt x="2927367" y="0"/>
                    <a:pt x="3771688" y="844319"/>
                    <a:pt x="3771688" y="1885839"/>
                  </a:cubicBezTo>
                  <a:cubicBezTo>
                    <a:pt x="3771688" y="2927359"/>
                    <a:pt x="2927367" y="3771678"/>
                    <a:pt x="1885844" y="3771678"/>
                  </a:cubicBezTo>
                  <a:cubicBezTo>
                    <a:pt x="844321" y="3771678"/>
                    <a:pt x="0" y="2927359"/>
                    <a:pt x="0" y="1885839"/>
                  </a:cubicBezTo>
                  <a:cubicBezTo>
                    <a:pt x="0" y="844319"/>
                    <a:pt x="844321" y="0"/>
                    <a:pt x="1885844" y="0"/>
                  </a:cubicBezTo>
                  <a:close/>
                </a:path>
              </a:pathLst>
            </a:cu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gradFill>
                  <a:gsLst>
                    <a:gs pos="0">
                      <a:srgbClr val="FFFFFF"/>
                    </a:gs>
                    <a:gs pos="100000">
                      <a:srgbClr val="FFFFFF"/>
                    </a:gs>
                  </a:gsLst>
                  <a:lin ang="5400000" scaled="0"/>
                </a:gradFill>
              </a:endParaRPr>
            </a:p>
          </p:txBody>
        </p:sp>
      </p:grpSp>
      <p:grpSp>
        <p:nvGrpSpPr>
          <p:cNvPr id="200" name="Group 199"/>
          <p:cNvGrpSpPr/>
          <p:nvPr/>
        </p:nvGrpSpPr>
        <p:grpSpPr>
          <a:xfrm>
            <a:off x="3159535" y="3276291"/>
            <a:ext cx="981613" cy="628601"/>
            <a:chOff x="787287" y="4388954"/>
            <a:chExt cx="1070933" cy="685800"/>
          </a:xfrm>
        </p:grpSpPr>
        <p:sp>
          <p:nvSpPr>
            <p:cNvPr id="213" name="Rectangle 212"/>
            <p:cNvSpPr/>
            <p:nvPr>
              <p:custDataLst>
                <p:tags r:id="rId5"/>
              </p:custDataLst>
            </p:nvPr>
          </p:nvSpPr>
          <p:spPr bwMode="auto">
            <a:xfrm>
              <a:off x="787287" y="4388954"/>
              <a:ext cx="1070933" cy="685800"/>
            </a:xfrm>
            <a:prstGeom prst="rect">
              <a:avLst/>
            </a:prstGeom>
            <a:solidFill>
              <a:schemeClr val="tx1"/>
            </a:solidFill>
            <a:ln w="3175">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14" tIns="44810" rIns="67214" bIns="44810" numCol="1" spcCol="0" rtlCol="0" fromWordArt="0" anchor="b" anchorCtr="0" forceAA="0" compatLnSpc="1">
              <a:prstTxWarp prst="textNoShape">
                <a:avLst/>
              </a:prstTxWarp>
              <a:noAutofit/>
            </a:bodyPr>
            <a:lstStyle/>
            <a:p>
              <a:pPr algn="ctr" defTabSz="913916">
                <a:defRPr/>
              </a:pPr>
              <a:r>
                <a:rPr lang="en-US" sz="980" kern="0" dirty="0">
                  <a:solidFill>
                    <a:schemeClr val="accent1"/>
                  </a:solidFill>
                </a:rPr>
                <a:t>Sensors</a:t>
              </a:r>
            </a:p>
          </p:txBody>
        </p:sp>
        <p:sp>
          <p:nvSpPr>
            <p:cNvPr id="214" name="Frame 5"/>
            <p:cNvSpPr>
              <a:spLocks noChangeAspect="1"/>
            </p:cNvSpPr>
            <p:nvPr/>
          </p:nvSpPr>
          <p:spPr bwMode="auto">
            <a:xfrm>
              <a:off x="1152892" y="4477904"/>
              <a:ext cx="339723" cy="378672"/>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accent1"/>
            </a:solidFill>
            <a:ln w="9525" cap="flat" cmpd="sng" algn="ctr">
              <a:noFill/>
              <a:prstDash val="solid"/>
              <a:headEnd type="none" w="med" len="med"/>
              <a:tailEnd type="none" w="med" len="med"/>
            </a:ln>
            <a:effectLst/>
          </p:spPr>
          <p:txBody>
            <a:bodyPr rot="0" spcFirstLastPara="0" vert="horz" wrap="square" lIns="43065" tIns="50656" rIns="0" bIns="101310" numCol="1" spcCol="0" rtlCol="0" fromWordArt="0" anchor="b"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1012601">
                <a:defRPr/>
              </a:pPr>
              <a:endParaRPr lang="en-US" sz="470" kern="0" spc="-56"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201" name="Group 200"/>
          <p:cNvGrpSpPr/>
          <p:nvPr/>
        </p:nvGrpSpPr>
        <p:grpSpPr>
          <a:xfrm>
            <a:off x="3159535" y="2606090"/>
            <a:ext cx="981613" cy="628601"/>
            <a:chOff x="1589220" y="4346130"/>
            <a:chExt cx="1070933" cy="685800"/>
          </a:xfrm>
        </p:grpSpPr>
        <p:sp>
          <p:nvSpPr>
            <p:cNvPr id="211" name="Rectangle 210"/>
            <p:cNvSpPr/>
            <p:nvPr>
              <p:custDataLst>
                <p:tags r:id="rId4"/>
              </p:custDataLst>
            </p:nvPr>
          </p:nvSpPr>
          <p:spPr bwMode="auto">
            <a:xfrm>
              <a:off x="1589220" y="4346130"/>
              <a:ext cx="1070933" cy="685800"/>
            </a:xfrm>
            <a:prstGeom prst="rect">
              <a:avLst/>
            </a:prstGeom>
            <a:solidFill>
              <a:schemeClr val="tx1"/>
            </a:solidFill>
            <a:ln w="3175">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14" tIns="44810" rIns="67214" bIns="44810" numCol="1" spcCol="0" rtlCol="0" fromWordArt="0" anchor="b" anchorCtr="0" forceAA="0" compatLnSpc="1">
              <a:prstTxWarp prst="textNoShape">
                <a:avLst/>
              </a:prstTxWarp>
              <a:noAutofit/>
            </a:bodyPr>
            <a:lstStyle/>
            <a:p>
              <a:pPr algn="ctr" defTabSz="913916">
                <a:defRPr/>
              </a:pPr>
              <a:r>
                <a:rPr lang="en-US" sz="980" kern="0" dirty="0">
                  <a:solidFill>
                    <a:schemeClr val="accent1"/>
                  </a:solidFill>
                </a:rPr>
                <a:t>Video</a:t>
              </a:r>
            </a:p>
          </p:txBody>
        </p:sp>
        <p:sp>
          <p:nvSpPr>
            <p:cNvPr id="212" name="Freeform 211"/>
            <p:cNvSpPr>
              <a:spLocks noEditPoints="1"/>
            </p:cNvSpPr>
            <p:nvPr/>
          </p:nvSpPr>
          <p:spPr bwMode="auto">
            <a:xfrm>
              <a:off x="1981136" y="4447511"/>
              <a:ext cx="287101" cy="343924"/>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43065" tIns="43063" rIns="0" bIns="43063" numCol="1" rtlCol="0" anchor="ctr"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775110">
                <a:defRPr/>
              </a:pPr>
              <a:endParaRPr lang="en-US" sz="470" spc="-126" dirty="0">
                <a:solidFill>
                  <a:schemeClr val="accent3"/>
                </a:solidFill>
                <a:latin typeface="Segoe Light" pitchFamily="34" charset="0"/>
              </a:endParaRPr>
            </a:p>
          </p:txBody>
        </p:sp>
      </p:grpSp>
      <p:sp>
        <p:nvSpPr>
          <p:cNvPr id="206" name="Rectangle 205"/>
          <p:cNvSpPr/>
          <p:nvPr>
            <p:custDataLst>
              <p:tags r:id="rId2"/>
            </p:custDataLst>
          </p:nvPr>
        </p:nvSpPr>
        <p:spPr bwMode="auto">
          <a:xfrm>
            <a:off x="2120698" y="3276291"/>
            <a:ext cx="981613" cy="628601"/>
          </a:xfrm>
          <a:prstGeom prst="rect">
            <a:avLst/>
          </a:prstGeom>
          <a:solidFill>
            <a:schemeClr val="tx1"/>
          </a:solidFill>
          <a:ln w="3175">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14" tIns="44810" rIns="67214" bIns="44810" numCol="1" spcCol="0" rtlCol="0" fromWordArt="0" anchor="b" anchorCtr="0" forceAA="0" compatLnSpc="1">
            <a:prstTxWarp prst="textNoShape">
              <a:avLst/>
            </a:prstTxWarp>
            <a:noAutofit/>
          </a:bodyPr>
          <a:lstStyle/>
          <a:p>
            <a:pPr algn="ctr" defTabSz="913916">
              <a:defRPr/>
            </a:pPr>
            <a:r>
              <a:rPr lang="en-US" sz="980" kern="0" dirty="0">
                <a:solidFill>
                  <a:schemeClr val="accent1"/>
                </a:solidFill>
              </a:rPr>
              <a:t>Web</a:t>
            </a:r>
          </a:p>
        </p:txBody>
      </p:sp>
      <p:grpSp>
        <p:nvGrpSpPr>
          <p:cNvPr id="207" name="Group 206"/>
          <p:cNvGrpSpPr/>
          <p:nvPr/>
        </p:nvGrpSpPr>
        <p:grpSpPr>
          <a:xfrm>
            <a:off x="2425396" y="3350705"/>
            <a:ext cx="372215" cy="364698"/>
            <a:chOff x="4030436" y="1511171"/>
            <a:chExt cx="4398164" cy="4309344"/>
          </a:xfrm>
          <a:solidFill>
            <a:schemeClr val="accent1"/>
          </a:solidFill>
        </p:grpSpPr>
        <p:sp>
          <p:nvSpPr>
            <p:cNvPr id="208" name="Oval 35"/>
            <p:cNvSpPr/>
            <p:nvPr/>
          </p:nvSpPr>
          <p:spPr>
            <a:xfrm>
              <a:off x="4411045" y="1909551"/>
              <a:ext cx="3592286" cy="3588790"/>
            </a:xfrm>
            <a:custGeom>
              <a:avLst/>
              <a:gdLst/>
              <a:ahLst/>
              <a:cxnLst/>
              <a:rect l="l" t="t" r="r" b="b"/>
              <a:pathLst>
                <a:path w="3592286" h="3588790">
                  <a:moveTo>
                    <a:pt x="856899" y="2807618"/>
                  </a:moveTo>
                  <a:cubicBezTo>
                    <a:pt x="1050936" y="3101840"/>
                    <a:pt x="1319084" y="3340075"/>
                    <a:pt x="1626253" y="3475527"/>
                  </a:cubicBezTo>
                  <a:cubicBezTo>
                    <a:pt x="1631223" y="3476765"/>
                    <a:pt x="1636270" y="3477223"/>
                    <a:pt x="1641325" y="3477658"/>
                  </a:cubicBezTo>
                  <a:cubicBezTo>
                    <a:pt x="1516509" y="3295597"/>
                    <a:pt x="1404916" y="3065936"/>
                    <a:pt x="1318985" y="2807618"/>
                  </a:cubicBezTo>
                  <a:close/>
                  <a:moveTo>
                    <a:pt x="442231" y="2807618"/>
                  </a:moveTo>
                  <a:cubicBezTo>
                    <a:pt x="659711" y="3099896"/>
                    <a:pt x="969924" y="3318794"/>
                    <a:pt x="1329899" y="3418883"/>
                  </a:cubicBezTo>
                  <a:cubicBezTo>
                    <a:pt x="1089904" y="3278379"/>
                    <a:pt x="880477" y="3064398"/>
                    <a:pt x="724038" y="2807618"/>
                  </a:cubicBezTo>
                  <a:close/>
                  <a:moveTo>
                    <a:pt x="2450248" y="1844143"/>
                  </a:moveTo>
                  <a:cubicBezTo>
                    <a:pt x="2439084" y="2145593"/>
                    <a:pt x="2386150" y="2439238"/>
                    <a:pt x="2304248" y="2705865"/>
                  </a:cubicBezTo>
                  <a:lnTo>
                    <a:pt x="2801418" y="2705865"/>
                  </a:lnTo>
                  <a:cubicBezTo>
                    <a:pt x="2959192" y="2445207"/>
                    <a:pt x="3059303" y="2147324"/>
                    <a:pt x="3081979" y="1844143"/>
                  </a:cubicBezTo>
                  <a:close/>
                  <a:moveTo>
                    <a:pt x="1254663" y="1844143"/>
                  </a:moveTo>
                  <a:cubicBezTo>
                    <a:pt x="1268316" y="2144192"/>
                    <a:pt x="1322349" y="2438934"/>
                    <a:pt x="1406891" y="2705865"/>
                  </a:cubicBezTo>
                  <a:lnTo>
                    <a:pt x="2185396" y="2705865"/>
                  </a:lnTo>
                  <a:cubicBezTo>
                    <a:pt x="2269937" y="2438934"/>
                    <a:pt x="2323970" y="2144192"/>
                    <a:pt x="2337624" y="1844143"/>
                  </a:cubicBezTo>
                  <a:close/>
                  <a:moveTo>
                    <a:pt x="510307" y="1844143"/>
                  </a:moveTo>
                  <a:cubicBezTo>
                    <a:pt x="532984" y="2147324"/>
                    <a:pt x="633095" y="2445207"/>
                    <a:pt x="790868" y="2705865"/>
                  </a:cubicBezTo>
                  <a:lnTo>
                    <a:pt x="1288039" y="2705865"/>
                  </a:lnTo>
                  <a:cubicBezTo>
                    <a:pt x="1206136" y="2439238"/>
                    <a:pt x="1153202" y="2145593"/>
                    <a:pt x="1142039" y="1844143"/>
                  </a:cubicBezTo>
                  <a:close/>
                  <a:moveTo>
                    <a:pt x="105056" y="1844143"/>
                  </a:moveTo>
                  <a:cubicBezTo>
                    <a:pt x="113791" y="2161330"/>
                    <a:pt x="209946" y="2456621"/>
                    <a:pt x="371868" y="2705865"/>
                  </a:cubicBezTo>
                  <a:lnTo>
                    <a:pt x="662862" y="2705865"/>
                  </a:lnTo>
                  <a:cubicBezTo>
                    <a:pt x="516487" y="2445076"/>
                    <a:pt x="423528" y="2147271"/>
                    <a:pt x="402177" y="1844143"/>
                  </a:cubicBezTo>
                  <a:close/>
                  <a:moveTo>
                    <a:pt x="2991928" y="880669"/>
                  </a:moveTo>
                  <a:cubicBezTo>
                    <a:pt x="3140148" y="1150938"/>
                    <a:pt x="3202326" y="1447530"/>
                    <a:pt x="3195093" y="1742390"/>
                  </a:cubicBezTo>
                  <a:lnTo>
                    <a:pt x="3487230" y="1742390"/>
                  </a:lnTo>
                  <a:cubicBezTo>
                    <a:pt x="3478495" y="1425203"/>
                    <a:pt x="3382340" y="1129913"/>
                    <a:pt x="3220418" y="880669"/>
                  </a:cubicBezTo>
                  <a:close/>
                  <a:moveTo>
                    <a:pt x="2335746" y="880669"/>
                  </a:moveTo>
                  <a:cubicBezTo>
                    <a:pt x="2421574" y="1162075"/>
                    <a:pt x="2456761" y="1454793"/>
                    <a:pt x="2451714" y="1742390"/>
                  </a:cubicBezTo>
                  <a:lnTo>
                    <a:pt x="3087241" y="1742390"/>
                  </a:lnTo>
                  <a:cubicBezTo>
                    <a:pt x="3094660" y="1447457"/>
                    <a:pt x="3027007" y="1150835"/>
                    <a:pt x="2866350" y="880669"/>
                  </a:cubicBezTo>
                  <a:close/>
                  <a:moveTo>
                    <a:pt x="1367135" y="880669"/>
                  </a:moveTo>
                  <a:cubicBezTo>
                    <a:pt x="1282114" y="1157161"/>
                    <a:pt x="1247328" y="1451118"/>
                    <a:pt x="1253877" y="1742390"/>
                  </a:cubicBezTo>
                  <a:lnTo>
                    <a:pt x="2338410" y="1742390"/>
                  </a:lnTo>
                  <a:cubicBezTo>
                    <a:pt x="2344959" y="1451118"/>
                    <a:pt x="2310172" y="1157161"/>
                    <a:pt x="2225152" y="880669"/>
                  </a:cubicBezTo>
                  <a:close/>
                  <a:moveTo>
                    <a:pt x="725937" y="880669"/>
                  </a:moveTo>
                  <a:cubicBezTo>
                    <a:pt x="565279" y="1150835"/>
                    <a:pt x="497627" y="1447457"/>
                    <a:pt x="505046" y="1742390"/>
                  </a:cubicBezTo>
                  <a:lnTo>
                    <a:pt x="1140573" y="1742390"/>
                  </a:lnTo>
                  <a:cubicBezTo>
                    <a:pt x="1135526" y="1454793"/>
                    <a:pt x="1170712" y="1162075"/>
                    <a:pt x="1256541" y="880669"/>
                  </a:cubicBezTo>
                  <a:close/>
                  <a:moveTo>
                    <a:pt x="2248579" y="164328"/>
                  </a:moveTo>
                  <a:cubicBezTo>
                    <a:pt x="2555388" y="331327"/>
                    <a:pt x="2778580" y="542975"/>
                    <a:pt x="2930516" y="778916"/>
                  </a:cubicBezTo>
                  <a:lnTo>
                    <a:pt x="3150056" y="778916"/>
                  </a:lnTo>
                  <a:cubicBezTo>
                    <a:pt x="2929802" y="482911"/>
                    <a:pt x="2614435" y="262169"/>
                    <a:pt x="2248579" y="164328"/>
                  </a:cubicBezTo>
                  <a:close/>
                  <a:moveTo>
                    <a:pt x="1937815" y="108552"/>
                  </a:moveTo>
                  <a:cubicBezTo>
                    <a:pt x="2102992" y="314323"/>
                    <a:pt x="2221669" y="541474"/>
                    <a:pt x="2300881" y="778916"/>
                  </a:cubicBezTo>
                  <a:lnTo>
                    <a:pt x="2799582" y="778916"/>
                  </a:lnTo>
                  <a:cubicBezTo>
                    <a:pt x="2615287" y="515202"/>
                    <a:pt x="2334724" y="282038"/>
                    <a:pt x="1938828" y="108687"/>
                  </a:cubicBezTo>
                  <a:cubicBezTo>
                    <a:pt x="1938493" y="108605"/>
                    <a:pt x="1938154" y="108578"/>
                    <a:pt x="1937815" y="108552"/>
                  </a:cubicBezTo>
                  <a:close/>
                  <a:moveTo>
                    <a:pt x="1853094" y="0"/>
                  </a:moveTo>
                  <a:cubicBezTo>
                    <a:pt x="2818755" y="28121"/>
                    <a:pt x="3592286" y="820360"/>
                    <a:pt x="3592286" y="1793267"/>
                  </a:cubicBezTo>
                  <a:cubicBezTo>
                    <a:pt x="3592286" y="2081519"/>
                    <a:pt x="3524385" y="2353911"/>
                    <a:pt x="3401976" y="2594458"/>
                  </a:cubicBezTo>
                  <a:lnTo>
                    <a:pt x="3325255" y="2517737"/>
                  </a:lnTo>
                  <a:cubicBezTo>
                    <a:pt x="3423612" y="2313010"/>
                    <a:pt x="3480601" y="2084883"/>
                    <a:pt x="3487230" y="1844143"/>
                  </a:cubicBezTo>
                  <a:lnTo>
                    <a:pt x="3190110" y="1844143"/>
                  </a:lnTo>
                  <a:cubicBezTo>
                    <a:pt x="3168759" y="2147271"/>
                    <a:pt x="3075799" y="2445076"/>
                    <a:pt x="2929425" y="2705865"/>
                  </a:cubicBezTo>
                  <a:lnTo>
                    <a:pt x="3220418" y="2705865"/>
                  </a:lnTo>
                  <a:lnTo>
                    <a:pt x="3303597" y="2556602"/>
                  </a:lnTo>
                  <a:lnTo>
                    <a:pt x="3303597" y="2767773"/>
                  </a:lnTo>
                  <a:cubicBezTo>
                    <a:pt x="3280445" y="2805980"/>
                    <a:pt x="3254809" y="2842496"/>
                    <a:pt x="3226272" y="2876756"/>
                  </a:cubicBezTo>
                  <a:lnTo>
                    <a:pt x="3094122" y="2876756"/>
                  </a:lnTo>
                  <a:cubicBezTo>
                    <a:pt x="3114010" y="2854748"/>
                    <a:pt x="3132341" y="2831426"/>
                    <a:pt x="3150056" y="2807618"/>
                  </a:cubicBezTo>
                  <a:lnTo>
                    <a:pt x="2868249" y="2807618"/>
                  </a:lnTo>
                  <a:lnTo>
                    <a:pt x="2820582" y="2876756"/>
                  </a:lnTo>
                  <a:lnTo>
                    <a:pt x="2682941" y="2876756"/>
                  </a:lnTo>
                  <a:cubicBezTo>
                    <a:pt x="2702988" y="2855609"/>
                    <a:pt x="2719438" y="2831803"/>
                    <a:pt x="2735387" y="2807618"/>
                  </a:cubicBezTo>
                  <a:lnTo>
                    <a:pt x="2273301" y="2807618"/>
                  </a:lnTo>
                  <a:lnTo>
                    <a:pt x="2247912" y="2876756"/>
                  </a:lnTo>
                  <a:lnTo>
                    <a:pt x="2126765" y="2876756"/>
                  </a:lnTo>
                  <a:cubicBezTo>
                    <a:pt x="2136798" y="2854347"/>
                    <a:pt x="2145074" y="2831106"/>
                    <a:pt x="2153121" y="2807618"/>
                  </a:cubicBezTo>
                  <a:lnTo>
                    <a:pt x="1439165" y="2807618"/>
                  </a:lnTo>
                  <a:cubicBezTo>
                    <a:pt x="1529282" y="3070629"/>
                    <a:pt x="1647990" y="3302680"/>
                    <a:pt x="1783852" y="3480422"/>
                  </a:cubicBezTo>
                  <a:lnTo>
                    <a:pt x="1783852" y="3588790"/>
                  </a:lnTo>
                  <a:cubicBezTo>
                    <a:pt x="797525" y="3582757"/>
                    <a:pt x="0" y="2781148"/>
                    <a:pt x="0" y="1793267"/>
                  </a:cubicBezTo>
                  <a:cubicBezTo>
                    <a:pt x="0" y="1473619"/>
                    <a:pt x="83499" y="1173473"/>
                    <a:pt x="230835" y="913991"/>
                  </a:cubicBezTo>
                  <a:lnTo>
                    <a:pt x="309476" y="992632"/>
                  </a:lnTo>
                  <a:cubicBezTo>
                    <a:pt x="184125" y="1215203"/>
                    <a:pt x="112536" y="1470768"/>
                    <a:pt x="105056" y="1742390"/>
                  </a:cubicBezTo>
                  <a:lnTo>
                    <a:pt x="397194" y="1742390"/>
                  </a:lnTo>
                  <a:cubicBezTo>
                    <a:pt x="389961" y="1447530"/>
                    <a:pt x="452139" y="1150938"/>
                    <a:pt x="600359" y="880669"/>
                  </a:cubicBezTo>
                  <a:lnTo>
                    <a:pt x="371868" y="880669"/>
                  </a:lnTo>
                  <a:lnTo>
                    <a:pt x="333349" y="949791"/>
                  </a:lnTo>
                  <a:lnTo>
                    <a:pt x="333349" y="753460"/>
                  </a:lnTo>
                  <a:cubicBezTo>
                    <a:pt x="360802" y="712185"/>
                    <a:pt x="391169" y="673066"/>
                    <a:pt x="423716" y="635829"/>
                  </a:cubicBezTo>
                  <a:lnTo>
                    <a:pt x="563325" y="635829"/>
                  </a:lnTo>
                  <a:cubicBezTo>
                    <a:pt x="519731" y="680610"/>
                    <a:pt x="479611" y="728679"/>
                    <a:pt x="442230" y="778916"/>
                  </a:cubicBezTo>
                  <a:lnTo>
                    <a:pt x="661771" y="778916"/>
                  </a:lnTo>
                  <a:lnTo>
                    <a:pt x="767803" y="635829"/>
                  </a:lnTo>
                  <a:lnTo>
                    <a:pt x="906577" y="635829"/>
                  </a:lnTo>
                  <a:cubicBezTo>
                    <a:pt x="864624" y="681831"/>
                    <a:pt x="826998" y="729845"/>
                    <a:pt x="792704" y="778916"/>
                  </a:cubicBezTo>
                  <a:lnTo>
                    <a:pt x="1291405" y="778916"/>
                  </a:lnTo>
                  <a:lnTo>
                    <a:pt x="1345823" y="635829"/>
                  </a:lnTo>
                  <a:lnTo>
                    <a:pt x="1459900" y="635829"/>
                  </a:lnTo>
                  <a:cubicBezTo>
                    <a:pt x="1438327" y="682375"/>
                    <a:pt x="1419944" y="730313"/>
                    <a:pt x="1403283" y="778916"/>
                  </a:cubicBezTo>
                  <a:lnTo>
                    <a:pt x="2189004" y="778916"/>
                  </a:lnTo>
                  <a:cubicBezTo>
                    <a:pt x="2114289" y="560837"/>
                    <a:pt x="2004846" y="356159"/>
                    <a:pt x="1853094" y="17797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19" tIns="44810" rIns="89619" bIns="44810" numCol="1" spcCol="0" rtlCol="0" fromWordArt="0" anchor="ctr" anchorCtr="0" forceAA="0" compatLnSpc="1">
              <a:prstTxWarp prst="textNoShape">
                <a:avLst/>
              </a:prstTxWarp>
              <a:noAutofit/>
            </a:bodyPr>
            <a:lstStyle/>
            <a:p>
              <a:pPr algn="ctr" defTabSz="896203">
                <a:defRPr/>
              </a:pPr>
              <a:endParaRPr lang="en-US" sz="1764" kern="0" dirty="0">
                <a:solidFill>
                  <a:sysClr val="windowText" lastClr="000000"/>
                </a:solidFill>
              </a:endParaRPr>
            </a:p>
          </p:txBody>
        </p:sp>
        <p:sp>
          <p:nvSpPr>
            <p:cNvPr id="209" name="Left Arrow 208"/>
            <p:cNvSpPr/>
            <p:nvPr/>
          </p:nvSpPr>
          <p:spPr>
            <a:xfrm>
              <a:off x="4030436" y="1511171"/>
              <a:ext cx="2157701" cy="1268964"/>
            </a:xfrm>
            <a:prstGeom prst="lef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19" tIns="44810" rIns="89619" bIns="44810" numCol="1" spcCol="0" rtlCol="0" fromWordArt="0" anchor="ctr" anchorCtr="0" forceAA="0" compatLnSpc="1">
              <a:prstTxWarp prst="textNoShape">
                <a:avLst/>
              </a:prstTxWarp>
              <a:noAutofit/>
            </a:bodyPr>
            <a:lstStyle/>
            <a:p>
              <a:pPr algn="ctr" defTabSz="896203">
                <a:defRPr/>
              </a:pPr>
              <a:endParaRPr lang="en-US" sz="1764" kern="0" dirty="0">
                <a:solidFill>
                  <a:sysClr val="windowText" lastClr="000000"/>
                </a:solidFill>
              </a:endParaRPr>
            </a:p>
          </p:txBody>
        </p:sp>
        <p:sp>
          <p:nvSpPr>
            <p:cNvPr id="210" name="Left Arrow 209"/>
            <p:cNvSpPr/>
            <p:nvPr/>
          </p:nvSpPr>
          <p:spPr>
            <a:xfrm flipH="1">
              <a:off x="6270899" y="4551551"/>
              <a:ext cx="2157701" cy="1268964"/>
            </a:xfrm>
            <a:prstGeom prst="lef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19" tIns="44810" rIns="89619" bIns="44810" numCol="1" spcCol="0" rtlCol="0" fromWordArt="0" anchor="ctr" anchorCtr="0" forceAA="0" compatLnSpc="1">
              <a:prstTxWarp prst="textNoShape">
                <a:avLst/>
              </a:prstTxWarp>
              <a:noAutofit/>
            </a:bodyPr>
            <a:lstStyle/>
            <a:p>
              <a:pPr algn="ctr" defTabSz="896203">
                <a:defRPr/>
              </a:pPr>
              <a:endParaRPr lang="en-US" sz="1764" kern="0" dirty="0">
                <a:solidFill>
                  <a:sysClr val="windowText" lastClr="000000"/>
                </a:solidFill>
              </a:endParaRPr>
            </a:p>
          </p:txBody>
        </p:sp>
      </p:grpSp>
      <p:grpSp>
        <p:nvGrpSpPr>
          <p:cNvPr id="203" name="Group 202"/>
          <p:cNvGrpSpPr/>
          <p:nvPr/>
        </p:nvGrpSpPr>
        <p:grpSpPr>
          <a:xfrm>
            <a:off x="2120698" y="3946492"/>
            <a:ext cx="981613" cy="628601"/>
            <a:chOff x="787287" y="3657769"/>
            <a:chExt cx="1070933" cy="685800"/>
          </a:xfrm>
        </p:grpSpPr>
        <p:sp>
          <p:nvSpPr>
            <p:cNvPr id="204" name="Rectangle 203"/>
            <p:cNvSpPr/>
            <p:nvPr>
              <p:custDataLst>
                <p:tags r:id="rId3"/>
              </p:custDataLst>
            </p:nvPr>
          </p:nvSpPr>
          <p:spPr bwMode="auto">
            <a:xfrm>
              <a:off x="787287" y="3657769"/>
              <a:ext cx="1070933" cy="685800"/>
            </a:xfrm>
            <a:prstGeom prst="rect">
              <a:avLst/>
            </a:prstGeom>
            <a:solidFill>
              <a:schemeClr val="tx1"/>
            </a:solidFill>
            <a:ln w="3175">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14" tIns="44810" rIns="67214" bIns="44810" numCol="1" spcCol="0" rtlCol="0" fromWordArt="0" anchor="b" anchorCtr="0" forceAA="0" compatLnSpc="1">
              <a:prstTxWarp prst="textNoShape">
                <a:avLst/>
              </a:prstTxWarp>
              <a:noAutofit/>
            </a:bodyPr>
            <a:lstStyle/>
            <a:p>
              <a:pPr algn="ctr" defTabSz="913916">
                <a:defRPr/>
              </a:pPr>
              <a:r>
                <a:rPr lang="en-US" sz="980" kern="0" dirty="0">
                  <a:solidFill>
                    <a:schemeClr val="accent1"/>
                  </a:solidFill>
                </a:rPr>
                <a:t>Relational</a:t>
              </a:r>
            </a:p>
          </p:txBody>
        </p:sp>
        <p:sp>
          <p:nvSpPr>
            <p:cNvPr id="205" name="Donut 18"/>
            <p:cNvSpPr/>
            <p:nvPr/>
          </p:nvSpPr>
          <p:spPr>
            <a:xfrm rot="20250901">
              <a:off x="1104429" y="3737122"/>
              <a:ext cx="474972" cy="391893"/>
            </a:xfrm>
            <a:custGeom>
              <a:avLst/>
              <a:gdLst/>
              <a:ahLst/>
              <a:cxnLst/>
              <a:rect l="l" t="t" r="r" b="b"/>
              <a:pathLst>
                <a:path w="1871663" h="1544284">
                  <a:moveTo>
                    <a:pt x="544841" y="1200434"/>
                  </a:moveTo>
                  <a:cubicBezTo>
                    <a:pt x="543042" y="1206654"/>
                    <a:pt x="542601" y="1212993"/>
                    <a:pt x="543107" y="1219347"/>
                  </a:cubicBezTo>
                  <a:close/>
                  <a:moveTo>
                    <a:pt x="275352" y="900100"/>
                  </a:moveTo>
                  <a:lnTo>
                    <a:pt x="261597" y="901547"/>
                  </a:lnTo>
                  <a:cubicBezTo>
                    <a:pt x="266283" y="902015"/>
                    <a:pt x="270885" y="901513"/>
                    <a:pt x="275352" y="900100"/>
                  </a:cubicBezTo>
                  <a:close/>
                  <a:moveTo>
                    <a:pt x="1460612" y="1146325"/>
                  </a:moveTo>
                  <a:cubicBezTo>
                    <a:pt x="1462787" y="1148843"/>
                    <a:pt x="1465229" y="1151093"/>
                    <a:pt x="1468262" y="1152682"/>
                  </a:cubicBezTo>
                  <a:close/>
                  <a:moveTo>
                    <a:pt x="517145" y="294317"/>
                  </a:moveTo>
                  <a:cubicBezTo>
                    <a:pt x="517303" y="296695"/>
                    <a:pt x="518089" y="298856"/>
                    <a:pt x="519165" y="300906"/>
                  </a:cubicBezTo>
                  <a:close/>
                  <a:moveTo>
                    <a:pt x="1670936" y="734747"/>
                  </a:moveTo>
                  <a:cubicBezTo>
                    <a:pt x="1667510" y="733888"/>
                    <a:pt x="1664036" y="733381"/>
                    <a:pt x="1660460" y="733786"/>
                  </a:cubicBezTo>
                  <a:close/>
                  <a:moveTo>
                    <a:pt x="942463" y="179722"/>
                  </a:moveTo>
                  <a:lnTo>
                    <a:pt x="942506" y="180134"/>
                  </a:lnTo>
                  <a:cubicBezTo>
                    <a:pt x="942525" y="179990"/>
                    <a:pt x="942500" y="179855"/>
                    <a:pt x="942463" y="179722"/>
                  </a:cubicBezTo>
                  <a:close/>
                  <a:moveTo>
                    <a:pt x="1564371" y="435391"/>
                  </a:moveTo>
                  <a:cubicBezTo>
                    <a:pt x="1564370" y="435395"/>
                    <a:pt x="1564369" y="435398"/>
                    <a:pt x="1564368" y="435401"/>
                  </a:cubicBezTo>
                  <a:lnTo>
                    <a:pt x="1564365" y="435407"/>
                  </a:lnTo>
                  <a:cubicBezTo>
                    <a:pt x="1564367" y="435405"/>
                    <a:pt x="1564368" y="435403"/>
                    <a:pt x="1564368" y="435401"/>
                  </a:cubicBezTo>
                  <a:close/>
                  <a:moveTo>
                    <a:pt x="1185541" y="268540"/>
                  </a:moveTo>
                  <a:cubicBezTo>
                    <a:pt x="1114425" y="246221"/>
                    <a:pt x="1036961" y="234960"/>
                    <a:pt x="956104" y="234960"/>
                  </a:cubicBezTo>
                  <a:lnTo>
                    <a:pt x="945214" y="235811"/>
                  </a:lnTo>
                  <a:cubicBezTo>
                    <a:pt x="944675" y="259402"/>
                    <a:pt x="939319" y="283081"/>
                    <a:pt x="929802" y="306075"/>
                  </a:cubicBezTo>
                  <a:cubicBezTo>
                    <a:pt x="883047" y="419035"/>
                    <a:pt x="753573" y="472705"/>
                    <a:pt x="640612" y="425950"/>
                  </a:cubicBezTo>
                  <a:cubicBezTo>
                    <a:pt x="600538" y="409363"/>
                    <a:pt x="567925" y="382365"/>
                    <a:pt x="545071" y="349062"/>
                  </a:cubicBezTo>
                  <a:cubicBezTo>
                    <a:pt x="545072" y="349063"/>
                    <a:pt x="545072" y="349064"/>
                    <a:pt x="545072" y="349064"/>
                  </a:cubicBezTo>
                  <a:cubicBezTo>
                    <a:pt x="485701" y="382929"/>
                    <a:pt x="435647" y="426353"/>
                    <a:pt x="397284" y="476398"/>
                  </a:cubicBezTo>
                  <a:cubicBezTo>
                    <a:pt x="476893" y="541622"/>
                    <a:pt x="507560" y="653613"/>
                    <a:pt x="466115" y="753745"/>
                  </a:cubicBezTo>
                  <a:cubicBezTo>
                    <a:pt x="438914" y="819461"/>
                    <a:pt x="386130" y="866839"/>
                    <a:pt x="323795" y="888325"/>
                  </a:cubicBezTo>
                  <a:cubicBezTo>
                    <a:pt x="323803" y="888325"/>
                    <a:pt x="323809" y="888322"/>
                    <a:pt x="323815" y="888320"/>
                  </a:cubicBezTo>
                  <a:cubicBezTo>
                    <a:pt x="360376" y="995422"/>
                    <a:pt x="442737" y="1087363"/>
                    <a:pt x="553687" y="1151157"/>
                  </a:cubicBezTo>
                  <a:cubicBezTo>
                    <a:pt x="555838" y="1137455"/>
                    <a:pt x="560305" y="1124202"/>
                    <a:pt x="565725" y="1111107"/>
                  </a:cubicBezTo>
                  <a:cubicBezTo>
                    <a:pt x="631895" y="951239"/>
                    <a:pt x="815137" y="875282"/>
                    <a:pt x="975006" y="941452"/>
                  </a:cubicBezTo>
                  <a:cubicBezTo>
                    <a:pt x="1095448" y="991304"/>
                    <a:pt x="1168263" y="1107604"/>
                    <a:pt x="1168398" y="1230296"/>
                  </a:cubicBezTo>
                  <a:cubicBezTo>
                    <a:pt x="1267673" y="1206553"/>
                    <a:pt x="1355859" y="1162942"/>
                    <a:pt x="1427062" y="1106198"/>
                  </a:cubicBezTo>
                  <a:cubicBezTo>
                    <a:pt x="1384456" y="1041457"/>
                    <a:pt x="1373677" y="957433"/>
                    <a:pt x="1405552" y="880423"/>
                  </a:cubicBezTo>
                  <a:cubicBezTo>
                    <a:pt x="1442194" y="791895"/>
                    <a:pt x="1525264" y="736646"/>
                    <a:pt x="1614928" y="732108"/>
                  </a:cubicBezTo>
                  <a:cubicBezTo>
                    <a:pt x="1613318" y="644779"/>
                    <a:pt x="1581876" y="562987"/>
                    <a:pt x="1526926" y="493543"/>
                  </a:cubicBezTo>
                  <a:lnTo>
                    <a:pt x="1526931" y="493536"/>
                  </a:lnTo>
                  <a:cubicBezTo>
                    <a:pt x="1470532" y="558140"/>
                    <a:pt x="1377141" y="582359"/>
                    <a:pt x="1293429" y="547710"/>
                  </a:cubicBezTo>
                  <a:cubicBezTo>
                    <a:pt x="1187599" y="503906"/>
                    <a:pt x="1137316" y="382602"/>
                    <a:pt x="1181120" y="276772"/>
                  </a:cubicBezTo>
                  <a:close/>
                  <a:moveTo>
                    <a:pt x="1221415" y="215198"/>
                  </a:moveTo>
                  <a:cubicBezTo>
                    <a:pt x="1220583" y="215820"/>
                    <a:pt x="1219878" y="216565"/>
                    <a:pt x="1219447" y="217566"/>
                  </a:cubicBezTo>
                  <a:close/>
                  <a:moveTo>
                    <a:pt x="1452058" y="164462"/>
                  </a:moveTo>
                  <a:cubicBezTo>
                    <a:pt x="1540327" y="200997"/>
                    <a:pt x="1589954" y="291445"/>
                    <a:pt x="1577690" y="381749"/>
                  </a:cubicBezTo>
                  <a:cubicBezTo>
                    <a:pt x="1577691" y="381748"/>
                    <a:pt x="1577691" y="381747"/>
                    <a:pt x="1577691" y="381746"/>
                  </a:cubicBezTo>
                  <a:cubicBezTo>
                    <a:pt x="1672266" y="483314"/>
                    <a:pt x="1727215" y="610152"/>
                    <a:pt x="1727215" y="747355"/>
                  </a:cubicBezTo>
                  <a:lnTo>
                    <a:pt x="1726932" y="751888"/>
                  </a:lnTo>
                  <a:cubicBezTo>
                    <a:pt x="1847235" y="804348"/>
                    <a:pt x="1903640" y="943811"/>
                    <a:pt x="1853189" y="1065702"/>
                  </a:cubicBezTo>
                  <a:cubicBezTo>
                    <a:pt x="1802026" y="1189313"/>
                    <a:pt x="1660343" y="1248044"/>
                    <a:pt x="1536731" y="1196880"/>
                  </a:cubicBezTo>
                  <a:lnTo>
                    <a:pt x="1507818" y="1181350"/>
                  </a:lnTo>
                  <a:cubicBezTo>
                    <a:pt x="1507818" y="1181350"/>
                    <a:pt x="1507819" y="1181351"/>
                    <a:pt x="1507819" y="1181351"/>
                  </a:cubicBezTo>
                  <a:cubicBezTo>
                    <a:pt x="1410579" y="1262953"/>
                    <a:pt x="1285739" y="1322514"/>
                    <a:pt x="1145194" y="1348960"/>
                  </a:cubicBezTo>
                  <a:lnTo>
                    <a:pt x="1145235" y="1348825"/>
                  </a:lnTo>
                  <a:cubicBezTo>
                    <a:pt x="1145165" y="1349510"/>
                    <a:pt x="1144914" y="1350121"/>
                    <a:pt x="1144661" y="1350732"/>
                  </a:cubicBezTo>
                  <a:cubicBezTo>
                    <a:pt x="1078491" y="1510600"/>
                    <a:pt x="895250" y="1586557"/>
                    <a:pt x="735381" y="1520387"/>
                  </a:cubicBezTo>
                  <a:cubicBezTo>
                    <a:pt x="628649" y="1476210"/>
                    <a:pt x="559318" y="1379852"/>
                    <a:pt x="546018" y="1272927"/>
                  </a:cubicBezTo>
                  <a:cubicBezTo>
                    <a:pt x="546017" y="1272929"/>
                    <a:pt x="546018" y="1272932"/>
                    <a:pt x="546018" y="1272934"/>
                  </a:cubicBezTo>
                  <a:cubicBezTo>
                    <a:pt x="380574" y="1190518"/>
                    <a:pt x="257944" y="1057677"/>
                    <a:pt x="211243" y="900385"/>
                  </a:cubicBezTo>
                  <a:lnTo>
                    <a:pt x="211253" y="900385"/>
                  </a:lnTo>
                  <a:cubicBezTo>
                    <a:pt x="190468" y="898691"/>
                    <a:pt x="169822" y="893269"/>
                    <a:pt x="149657" y="884922"/>
                  </a:cubicBezTo>
                  <a:cubicBezTo>
                    <a:pt x="26045" y="833759"/>
                    <a:pt x="-32686" y="692076"/>
                    <a:pt x="18478" y="568465"/>
                  </a:cubicBezTo>
                  <a:cubicBezTo>
                    <a:pt x="64692" y="456811"/>
                    <a:pt x="184761" y="398093"/>
                    <a:pt x="298454" y="426323"/>
                  </a:cubicBezTo>
                  <a:cubicBezTo>
                    <a:pt x="350193" y="353180"/>
                    <a:pt x="421361" y="291040"/>
                    <a:pt x="506025" y="243624"/>
                  </a:cubicBezTo>
                  <a:lnTo>
                    <a:pt x="506026" y="243626"/>
                  </a:lnTo>
                  <a:cubicBezTo>
                    <a:pt x="501390" y="208461"/>
                    <a:pt x="506228" y="171816"/>
                    <a:pt x="520737" y="136760"/>
                  </a:cubicBezTo>
                  <a:cubicBezTo>
                    <a:pt x="567492" y="23800"/>
                    <a:pt x="696966" y="-29869"/>
                    <a:pt x="809927" y="16885"/>
                  </a:cubicBezTo>
                  <a:cubicBezTo>
                    <a:pt x="862855" y="38793"/>
                    <a:pt x="902766" y="78861"/>
                    <a:pt x="924737" y="127208"/>
                  </a:cubicBezTo>
                  <a:cubicBezTo>
                    <a:pt x="924737" y="127208"/>
                    <a:pt x="924737" y="127208"/>
                    <a:pt x="924737" y="127208"/>
                  </a:cubicBezTo>
                  <a:cubicBezTo>
                    <a:pt x="935097" y="124825"/>
                    <a:pt x="945576" y="124655"/>
                    <a:pt x="956104" y="124655"/>
                  </a:cubicBezTo>
                  <a:cubicBezTo>
                    <a:pt x="1062572" y="124655"/>
                    <a:pt x="1164001" y="142079"/>
                    <a:pt x="1256255" y="173590"/>
                  </a:cubicBezTo>
                  <a:lnTo>
                    <a:pt x="1270314" y="179752"/>
                  </a:lnTo>
                  <a:cubicBezTo>
                    <a:pt x="1322540" y="145450"/>
                    <a:pt x="1389962" y="138760"/>
                    <a:pt x="1452058" y="16446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03">
                <a:defRPr/>
              </a:pPr>
              <a:endParaRPr lang="en-US" sz="1176" kern="0" dirty="0">
                <a:solidFill>
                  <a:schemeClr val="tx1"/>
                </a:solidFill>
              </a:endParaRPr>
            </a:p>
          </p:txBody>
        </p:sp>
      </p:grpSp>
      <p:cxnSp>
        <p:nvCxnSpPr>
          <p:cNvPr id="228" name="Straight Arrow Connector 227"/>
          <p:cNvCxnSpPr>
            <a:endCxn id="249" idx="2"/>
          </p:cNvCxnSpPr>
          <p:nvPr/>
        </p:nvCxnSpPr>
        <p:spPr>
          <a:xfrm flipH="1">
            <a:off x="5511894" y="2913088"/>
            <a:ext cx="352238" cy="277534"/>
          </a:xfrm>
          <a:prstGeom prst="straightConnector1">
            <a:avLst/>
          </a:prstGeom>
          <a:ln w="25400">
            <a:solidFill>
              <a:schemeClr val="bg1">
                <a:lumMod val="50000"/>
              </a:schemeClr>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30" name="Straight Arrow Connector 229"/>
          <p:cNvCxnSpPr/>
          <p:nvPr/>
        </p:nvCxnSpPr>
        <p:spPr>
          <a:xfrm>
            <a:off x="9111259" y="2063125"/>
            <a:ext cx="488912" cy="0"/>
          </a:xfrm>
          <a:prstGeom prst="straightConnector1">
            <a:avLst/>
          </a:prstGeom>
          <a:ln w="9525">
            <a:solidFill>
              <a:srgbClr val="0078D7"/>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31" name="Straight Arrow Connector 230"/>
          <p:cNvCxnSpPr/>
          <p:nvPr/>
        </p:nvCxnSpPr>
        <p:spPr>
          <a:xfrm>
            <a:off x="9111259" y="2659351"/>
            <a:ext cx="488912" cy="0"/>
          </a:xfrm>
          <a:prstGeom prst="straightConnector1">
            <a:avLst/>
          </a:prstGeom>
          <a:ln w="9525">
            <a:solidFill>
              <a:srgbClr val="0078D7"/>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32" name="Straight Arrow Connector 231"/>
          <p:cNvCxnSpPr/>
          <p:nvPr/>
        </p:nvCxnSpPr>
        <p:spPr>
          <a:xfrm>
            <a:off x="9127434" y="3851803"/>
            <a:ext cx="488912" cy="0"/>
          </a:xfrm>
          <a:prstGeom prst="straightConnector1">
            <a:avLst/>
          </a:prstGeom>
          <a:ln w="9525">
            <a:solidFill>
              <a:srgbClr val="0078D7"/>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33" name="Straight Arrow Connector 232"/>
          <p:cNvCxnSpPr/>
          <p:nvPr/>
        </p:nvCxnSpPr>
        <p:spPr>
          <a:xfrm>
            <a:off x="9127434" y="3255577"/>
            <a:ext cx="488912" cy="0"/>
          </a:xfrm>
          <a:prstGeom prst="straightConnector1">
            <a:avLst/>
          </a:prstGeom>
          <a:ln w="9525">
            <a:solidFill>
              <a:srgbClr val="0078D7"/>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34" name="Straight Arrow Connector 233"/>
          <p:cNvCxnSpPr/>
          <p:nvPr/>
        </p:nvCxnSpPr>
        <p:spPr>
          <a:xfrm>
            <a:off x="9143612" y="4448030"/>
            <a:ext cx="488912" cy="0"/>
          </a:xfrm>
          <a:prstGeom prst="straightConnector1">
            <a:avLst/>
          </a:prstGeom>
          <a:ln w="9525">
            <a:solidFill>
              <a:srgbClr val="0078D7"/>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35" name="Straight Connector 234"/>
          <p:cNvCxnSpPr/>
          <p:nvPr/>
        </p:nvCxnSpPr>
        <p:spPr>
          <a:xfrm>
            <a:off x="9111259" y="2071959"/>
            <a:ext cx="16175" cy="2376657"/>
          </a:xfrm>
          <a:prstGeom prst="line">
            <a:avLst/>
          </a:prstGeom>
          <a:ln w="9525">
            <a:solidFill>
              <a:srgbClr val="0078D7"/>
            </a:solidFill>
            <a:miter lim="800000"/>
            <a:headEnd type="none"/>
            <a:tailEnd type="none" w="lg" len="med"/>
          </a:ln>
        </p:spPr>
        <p:style>
          <a:lnRef idx="1">
            <a:schemeClr val="accent1"/>
          </a:lnRef>
          <a:fillRef idx="0">
            <a:schemeClr val="accent1"/>
          </a:fillRef>
          <a:effectRef idx="0">
            <a:schemeClr val="accent1"/>
          </a:effectRef>
          <a:fontRef idx="minor">
            <a:schemeClr val="tx1"/>
          </a:fontRef>
        </p:style>
      </p:cxnSp>
      <p:sp>
        <p:nvSpPr>
          <p:cNvPr id="238" name="TextBox 237"/>
          <p:cNvSpPr txBox="1"/>
          <p:nvPr/>
        </p:nvSpPr>
        <p:spPr>
          <a:xfrm>
            <a:off x="9723722" y="2523199"/>
            <a:ext cx="994495" cy="271483"/>
          </a:xfrm>
          <a:prstGeom prst="rect">
            <a:avLst/>
          </a:prstGeom>
          <a:noFill/>
        </p:spPr>
        <p:txBody>
          <a:bodyPr wrap="none" lIns="0" tIns="0" rIns="0" bIns="0" rtlCol="0">
            <a:spAutoFit/>
          </a:bodyPr>
          <a:lstStyle/>
          <a:p>
            <a:pPr defTabSz="913863">
              <a:defRPr/>
            </a:pPr>
            <a:r>
              <a:rPr lang="en-US" sz="1764" kern="0" dirty="0">
                <a:solidFill>
                  <a:schemeClr val="accent1"/>
                </a:solidFill>
              </a:rPr>
              <a:t>HDInsight</a:t>
            </a:r>
          </a:p>
        </p:txBody>
      </p:sp>
      <p:sp>
        <p:nvSpPr>
          <p:cNvPr id="239" name="TextBox 238"/>
          <p:cNvSpPr txBox="1"/>
          <p:nvPr/>
        </p:nvSpPr>
        <p:spPr>
          <a:xfrm>
            <a:off x="9723722" y="1923416"/>
            <a:ext cx="1358986" cy="271483"/>
          </a:xfrm>
          <a:prstGeom prst="rect">
            <a:avLst/>
          </a:prstGeom>
          <a:noFill/>
        </p:spPr>
        <p:txBody>
          <a:bodyPr wrap="none" lIns="0" tIns="0" rIns="0" bIns="0" rtlCol="0">
            <a:spAutoFit/>
          </a:bodyPr>
          <a:lstStyle/>
          <a:p>
            <a:pPr defTabSz="913863">
              <a:defRPr/>
            </a:pPr>
            <a:r>
              <a:rPr lang="en-US" sz="1764" kern="0" dirty="0">
                <a:solidFill>
                  <a:schemeClr val="accent1"/>
                </a:solidFill>
              </a:rPr>
              <a:t>ADL Analytics</a:t>
            </a:r>
          </a:p>
        </p:txBody>
      </p:sp>
      <p:sp>
        <p:nvSpPr>
          <p:cNvPr id="240" name="TextBox 239"/>
          <p:cNvSpPr txBox="1"/>
          <p:nvPr/>
        </p:nvSpPr>
        <p:spPr>
          <a:xfrm>
            <a:off x="9723722" y="4322553"/>
            <a:ext cx="1771741" cy="271483"/>
          </a:xfrm>
          <a:prstGeom prst="rect">
            <a:avLst/>
          </a:prstGeom>
          <a:noFill/>
        </p:spPr>
        <p:txBody>
          <a:bodyPr wrap="none" lIns="0" tIns="0" rIns="0" bIns="0" rtlCol="0">
            <a:spAutoFit/>
          </a:bodyPr>
          <a:lstStyle/>
          <a:p>
            <a:pPr defTabSz="913863">
              <a:defRPr/>
            </a:pPr>
            <a:r>
              <a:rPr lang="en-US" sz="1764" kern="0" dirty="0">
                <a:solidFill>
                  <a:schemeClr val="accent1"/>
                </a:solidFill>
              </a:rPr>
              <a:t>Machine Learning</a:t>
            </a:r>
          </a:p>
        </p:txBody>
      </p:sp>
      <p:sp>
        <p:nvSpPr>
          <p:cNvPr id="241" name="TextBox 240"/>
          <p:cNvSpPr txBox="1"/>
          <p:nvPr/>
        </p:nvSpPr>
        <p:spPr>
          <a:xfrm>
            <a:off x="9723722" y="3722767"/>
            <a:ext cx="557922" cy="271483"/>
          </a:xfrm>
          <a:prstGeom prst="rect">
            <a:avLst/>
          </a:prstGeom>
          <a:noFill/>
        </p:spPr>
        <p:txBody>
          <a:bodyPr wrap="none" lIns="0" tIns="0" rIns="0" bIns="0" rtlCol="0">
            <a:spAutoFit/>
          </a:bodyPr>
          <a:lstStyle/>
          <a:p>
            <a:pPr defTabSz="913863">
              <a:defRPr/>
            </a:pPr>
            <a:r>
              <a:rPr lang="en-US" sz="1764" kern="0" dirty="0">
                <a:solidFill>
                  <a:schemeClr val="accent1"/>
                </a:solidFill>
              </a:rPr>
              <a:t>Spark</a:t>
            </a:r>
          </a:p>
        </p:txBody>
      </p:sp>
      <p:sp>
        <p:nvSpPr>
          <p:cNvPr id="242" name="TextBox 241"/>
          <p:cNvSpPr txBox="1"/>
          <p:nvPr/>
        </p:nvSpPr>
        <p:spPr>
          <a:xfrm>
            <a:off x="9723721" y="3122983"/>
            <a:ext cx="135113" cy="271483"/>
          </a:xfrm>
          <a:prstGeom prst="rect">
            <a:avLst/>
          </a:prstGeom>
          <a:noFill/>
        </p:spPr>
        <p:txBody>
          <a:bodyPr wrap="none" lIns="0" tIns="0" rIns="0" bIns="0" rtlCol="0">
            <a:spAutoFit/>
          </a:bodyPr>
          <a:lstStyle/>
          <a:p>
            <a:pPr defTabSz="913863">
              <a:defRPr/>
            </a:pPr>
            <a:r>
              <a:rPr lang="en-US" sz="1764" kern="0" dirty="0">
                <a:solidFill>
                  <a:schemeClr val="accent1"/>
                </a:solidFill>
              </a:rPr>
              <a:t>R</a:t>
            </a:r>
          </a:p>
        </p:txBody>
      </p:sp>
      <p:pic>
        <p:nvPicPr>
          <p:cNvPr id="243" name="Picture 242"/>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11451314" y="1868038"/>
            <a:ext cx="398733" cy="398733"/>
          </a:xfrm>
          <a:prstGeom prst="rect">
            <a:avLst/>
          </a:prstGeom>
        </p:spPr>
      </p:pic>
      <p:pic>
        <p:nvPicPr>
          <p:cNvPr id="244" name="Picture 243"/>
          <p:cNvPicPr>
            <a:picLocks noChangeAspect="1"/>
          </p:cNvPicPr>
          <p:nvPr/>
        </p:nvPicPr>
        <p:blipFill rotWithShape="1">
          <a:blip r:embed="rId12" cstate="email">
            <a:extLst>
              <a:ext uri="{28A0092B-C50C-407E-A947-70E740481C1C}">
                <a14:useLocalDpi xmlns:a14="http://schemas.microsoft.com/office/drawing/2010/main"/>
              </a:ext>
            </a:extLst>
          </a:blip>
          <a:srcRect/>
          <a:stretch/>
        </p:blipFill>
        <p:spPr>
          <a:xfrm>
            <a:off x="11420328" y="3048956"/>
            <a:ext cx="484897" cy="448568"/>
          </a:xfrm>
          <a:prstGeom prst="rect">
            <a:avLst/>
          </a:prstGeom>
          <a:noFill/>
        </p:spPr>
      </p:pic>
      <p:pic>
        <p:nvPicPr>
          <p:cNvPr id="245" name="Picture 2" descr="http://www.ebaytechblog.com/wp-content/uploads/2014/05/spark_logo.png"/>
          <p:cNvPicPr>
            <a:picLocks noChangeAspect="1" noChangeArrowheads="1"/>
          </p:cNvPicPr>
          <p:nvPr/>
        </p:nvPicPr>
        <p:blipFill>
          <a:blip r:embed="rId13" cstate="email">
            <a:duotone>
              <a:schemeClr val="accent3">
                <a:shade val="45000"/>
                <a:satMod val="135000"/>
              </a:schemeClr>
              <a:prstClr val="white"/>
            </a:duotone>
            <a:extLst>
              <a:ext uri="{BEBA8EAE-BF5A-486C-A8C5-ECC9F3942E4B}">
                <a14:imgProps xmlns:a14="http://schemas.microsoft.com/office/drawing/2010/main">
                  <a14:imgLayer r:embed="rId14">
                    <a14:imgEffect>
                      <a14:brightnessContrast bright="-40000" contrast="-40000"/>
                    </a14:imgEffect>
                  </a14:imgLayer>
                </a14:imgProps>
              </a:ext>
              <a:ext uri="{28A0092B-C50C-407E-A947-70E740481C1C}">
                <a14:useLocalDpi xmlns:a14="http://schemas.microsoft.com/office/drawing/2010/main"/>
              </a:ext>
            </a:extLst>
          </a:blip>
          <a:srcRect/>
          <a:stretch>
            <a:fillRect/>
          </a:stretch>
        </p:blipFill>
        <p:spPr bwMode="auto">
          <a:xfrm>
            <a:off x="11365401" y="3670969"/>
            <a:ext cx="594751" cy="315817"/>
          </a:xfrm>
          <a:prstGeom prst="rect">
            <a:avLst/>
          </a:prstGeom>
          <a:noFill/>
          <a:ln>
            <a:noFill/>
          </a:ln>
          <a:extLst/>
        </p:spPr>
      </p:pic>
      <p:sp>
        <p:nvSpPr>
          <p:cNvPr id="247" name="Freeform 246"/>
          <p:cNvSpPr>
            <a:spLocks noChangeAspect="1"/>
          </p:cNvSpPr>
          <p:nvPr/>
        </p:nvSpPr>
        <p:spPr bwMode="auto">
          <a:xfrm>
            <a:off x="11398716" y="2485615"/>
            <a:ext cx="528121" cy="370387"/>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1"/>
          </a:solidFill>
          <a:ln>
            <a:noFill/>
          </a:ln>
        </p:spPr>
        <p:txBody>
          <a:bodyPr vert="horz" wrap="square" lIns="87808" tIns="43904" rIns="87808" bIns="43904" numCol="1" anchor="t" anchorCtr="0" compatLnSpc="1">
            <a:prstTxWarp prst="textNoShape">
              <a:avLst/>
            </a:prstTxWarp>
          </a:bodyPr>
          <a:lstStyle/>
          <a:p>
            <a:pPr defTabSz="894638" fontAlgn="base">
              <a:spcBef>
                <a:spcPct val="0"/>
              </a:spcBef>
              <a:spcAft>
                <a:spcPct val="0"/>
              </a:spcAft>
              <a:defRPr/>
            </a:pPr>
            <a:endParaRPr lang="en-IN" sz="1536" kern="0" dirty="0">
              <a:solidFill>
                <a:srgbClr val="000000"/>
              </a:solidFill>
            </a:endParaRPr>
          </a:p>
        </p:txBody>
      </p:sp>
      <p:grpSp>
        <p:nvGrpSpPr>
          <p:cNvPr id="248" name="Group 247"/>
          <p:cNvGrpSpPr/>
          <p:nvPr/>
        </p:nvGrpSpPr>
        <p:grpSpPr>
          <a:xfrm>
            <a:off x="5511894" y="1913893"/>
            <a:ext cx="2553456" cy="2553456"/>
            <a:chOff x="4378256" y="2618105"/>
            <a:chExt cx="3657600" cy="3657600"/>
          </a:xfrm>
        </p:grpSpPr>
        <p:sp>
          <p:nvSpPr>
            <p:cNvPr id="249" name="Oval 248"/>
            <p:cNvSpPr/>
            <p:nvPr/>
          </p:nvSpPr>
          <p:spPr bwMode="auto">
            <a:xfrm>
              <a:off x="4378256" y="2618105"/>
              <a:ext cx="3657600" cy="3657600"/>
            </a:xfrm>
            <a:prstGeom prst="ellipse">
              <a:avLst/>
            </a:prstGeom>
            <a:solidFill>
              <a:schemeClr val="tx1"/>
            </a:solidFill>
            <a:ln w="3175" cap="flat" cmpd="sng" algn="ctr">
              <a:solidFill>
                <a:srgbClr val="0078D7"/>
              </a:solidFill>
              <a:prstDash val="solid"/>
              <a:headEnd type="none" w="med" len="med"/>
              <a:tailEnd type="none" w="med" len="med"/>
            </a:ln>
            <a:effectLst/>
          </p:spPr>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gradFill>
                  <a:gsLst>
                    <a:gs pos="0">
                      <a:srgbClr val="FFFFFF"/>
                    </a:gs>
                    <a:gs pos="100000">
                      <a:srgbClr val="FFFFFF"/>
                    </a:gs>
                  </a:gsLst>
                  <a:lin ang="5400000" scaled="0"/>
                </a:gradFill>
                <a:latin typeface="Segoe UI"/>
              </a:endParaRPr>
            </a:p>
          </p:txBody>
        </p:sp>
        <p:grpSp>
          <p:nvGrpSpPr>
            <p:cNvPr id="250" name="Group 249"/>
            <p:cNvGrpSpPr/>
            <p:nvPr/>
          </p:nvGrpSpPr>
          <p:grpSpPr>
            <a:xfrm>
              <a:off x="4867139" y="4302842"/>
              <a:ext cx="2679835" cy="1323144"/>
              <a:chOff x="4724189" y="4328405"/>
              <a:chExt cx="3043313" cy="1502606"/>
            </a:xfrm>
            <a:solidFill>
              <a:schemeClr val="bg1">
                <a:lumMod val="95000"/>
              </a:schemeClr>
            </a:solidFill>
          </p:grpSpPr>
          <p:sp>
            <p:nvSpPr>
              <p:cNvPr id="252" name="TextBox 251"/>
              <p:cNvSpPr txBox="1"/>
              <p:nvPr/>
            </p:nvSpPr>
            <p:spPr>
              <a:xfrm>
                <a:off x="5875137" y="4328405"/>
                <a:ext cx="809241" cy="600889"/>
              </a:xfrm>
              <a:prstGeom prst="rect">
                <a:avLst/>
              </a:prstGeom>
              <a:solidFill>
                <a:schemeClr val="accent1"/>
              </a:solidFill>
              <a:ln>
                <a:noFill/>
              </a:ln>
            </p:spPr>
            <p:txBody>
              <a:bodyPr wrap="square" lIns="179238" tIns="143391" rIns="179238" bIns="143391" rtlCol="0">
                <a:spAutoFit/>
              </a:bodyPr>
              <a:lstStyle/>
              <a:p>
                <a:pPr algn="ctr" defTabSz="914180">
                  <a:lnSpc>
                    <a:spcPct val="90000"/>
                  </a:lnSpc>
                  <a:spcAft>
                    <a:spcPts val="588"/>
                  </a:spcAft>
                  <a:defRPr/>
                </a:pPr>
                <a:endParaRPr lang="en-US" sz="588" kern="0" dirty="0">
                  <a:solidFill>
                    <a:srgbClr val="505050"/>
                  </a:solidFill>
                  <a:latin typeface="Cambria" panose="02040503050406030204" pitchFamily="18" charset="0"/>
                  <a:ea typeface="Arial Unicode MS" panose="020B0604020202020204" pitchFamily="34" charset="-128"/>
                  <a:cs typeface="Arial Unicode MS" panose="020B0604020202020204" pitchFamily="34" charset="-128"/>
                </a:endParaRPr>
              </a:p>
            </p:txBody>
          </p:sp>
          <p:sp>
            <p:nvSpPr>
              <p:cNvPr id="253" name="TextBox 252"/>
              <p:cNvSpPr txBox="1"/>
              <p:nvPr/>
            </p:nvSpPr>
            <p:spPr>
              <a:xfrm>
                <a:off x="4724189" y="5230122"/>
                <a:ext cx="577788" cy="600889"/>
              </a:xfrm>
              <a:prstGeom prst="rect">
                <a:avLst/>
              </a:prstGeom>
              <a:solidFill>
                <a:schemeClr val="accent1"/>
              </a:solidFill>
              <a:ln>
                <a:noFill/>
              </a:ln>
            </p:spPr>
            <p:txBody>
              <a:bodyPr wrap="square" lIns="179238" tIns="143391" rIns="179238" bIns="143391" rtlCol="0">
                <a:spAutoFit/>
              </a:bodyPr>
              <a:lstStyle/>
              <a:p>
                <a:pPr algn="ctr" defTabSz="914180">
                  <a:lnSpc>
                    <a:spcPct val="90000"/>
                  </a:lnSpc>
                  <a:spcAft>
                    <a:spcPts val="588"/>
                  </a:spcAft>
                  <a:defRPr/>
                </a:pPr>
                <a:endParaRPr lang="en-US" sz="588" kern="0" dirty="0">
                  <a:solidFill>
                    <a:srgbClr val="505050"/>
                  </a:solidFill>
                  <a:latin typeface="Cambria" panose="02040503050406030204" pitchFamily="18" charset="0"/>
                  <a:ea typeface="Arial Unicode MS" panose="020B0604020202020204" pitchFamily="34" charset="-128"/>
                  <a:cs typeface="Arial Unicode MS" panose="020B0604020202020204" pitchFamily="34" charset="-128"/>
                </a:endParaRPr>
              </a:p>
            </p:txBody>
          </p:sp>
          <p:sp>
            <p:nvSpPr>
              <p:cNvPr id="254" name="TextBox 253"/>
              <p:cNvSpPr txBox="1"/>
              <p:nvPr/>
            </p:nvSpPr>
            <p:spPr>
              <a:xfrm>
                <a:off x="5340571" y="5230122"/>
                <a:ext cx="577788" cy="600889"/>
              </a:xfrm>
              <a:prstGeom prst="rect">
                <a:avLst/>
              </a:prstGeom>
              <a:solidFill>
                <a:schemeClr val="accent1"/>
              </a:solidFill>
              <a:ln>
                <a:noFill/>
              </a:ln>
            </p:spPr>
            <p:txBody>
              <a:bodyPr wrap="square" lIns="179238" tIns="143391" rIns="179238" bIns="143391" rtlCol="0">
                <a:spAutoFit/>
              </a:bodyPr>
              <a:lstStyle/>
              <a:p>
                <a:pPr algn="ctr" defTabSz="914180">
                  <a:lnSpc>
                    <a:spcPct val="90000"/>
                  </a:lnSpc>
                  <a:spcAft>
                    <a:spcPts val="588"/>
                  </a:spcAft>
                  <a:defRPr/>
                </a:pPr>
                <a:endParaRPr lang="en-US" sz="588" kern="0" dirty="0">
                  <a:solidFill>
                    <a:srgbClr val="505050"/>
                  </a:solidFill>
                  <a:latin typeface="Cambria" panose="02040503050406030204" pitchFamily="18" charset="0"/>
                  <a:ea typeface="Arial Unicode MS" panose="020B0604020202020204" pitchFamily="34" charset="-128"/>
                  <a:cs typeface="Arial Unicode MS" panose="020B0604020202020204" pitchFamily="34" charset="-128"/>
                </a:endParaRPr>
              </a:p>
            </p:txBody>
          </p:sp>
          <p:sp>
            <p:nvSpPr>
              <p:cNvPr id="255" name="TextBox 254"/>
              <p:cNvSpPr txBox="1"/>
              <p:nvPr/>
            </p:nvSpPr>
            <p:spPr>
              <a:xfrm>
                <a:off x="5956951" y="5230122"/>
                <a:ext cx="577788" cy="600889"/>
              </a:xfrm>
              <a:prstGeom prst="rect">
                <a:avLst/>
              </a:prstGeom>
              <a:solidFill>
                <a:schemeClr val="accent1"/>
              </a:solidFill>
              <a:ln>
                <a:noFill/>
              </a:ln>
            </p:spPr>
            <p:txBody>
              <a:bodyPr wrap="square" lIns="179238" tIns="143391" rIns="179238" bIns="143391" rtlCol="0">
                <a:spAutoFit/>
              </a:bodyPr>
              <a:lstStyle/>
              <a:p>
                <a:pPr algn="ctr" defTabSz="914180">
                  <a:lnSpc>
                    <a:spcPct val="90000"/>
                  </a:lnSpc>
                  <a:spcAft>
                    <a:spcPts val="588"/>
                  </a:spcAft>
                  <a:defRPr/>
                </a:pPr>
                <a:endParaRPr lang="en-US" sz="588" kern="0" dirty="0">
                  <a:solidFill>
                    <a:srgbClr val="505050"/>
                  </a:solidFill>
                  <a:latin typeface="Cambria" panose="02040503050406030204" pitchFamily="18" charset="0"/>
                  <a:ea typeface="Arial Unicode MS" panose="020B0604020202020204" pitchFamily="34" charset="-128"/>
                  <a:cs typeface="Arial Unicode MS" panose="020B0604020202020204" pitchFamily="34" charset="-128"/>
                </a:endParaRPr>
              </a:p>
            </p:txBody>
          </p:sp>
          <p:sp>
            <p:nvSpPr>
              <p:cNvPr id="256" name="TextBox 255"/>
              <p:cNvSpPr txBox="1"/>
              <p:nvPr/>
            </p:nvSpPr>
            <p:spPr>
              <a:xfrm>
                <a:off x="6573332" y="5230121"/>
                <a:ext cx="577788" cy="600889"/>
              </a:xfrm>
              <a:prstGeom prst="rect">
                <a:avLst/>
              </a:prstGeom>
              <a:solidFill>
                <a:schemeClr val="accent1"/>
              </a:solidFill>
              <a:ln>
                <a:noFill/>
              </a:ln>
            </p:spPr>
            <p:txBody>
              <a:bodyPr wrap="square" lIns="179238" tIns="143391" rIns="179238" bIns="143391" rtlCol="0">
                <a:spAutoFit/>
              </a:bodyPr>
              <a:lstStyle/>
              <a:p>
                <a:pPr algn="ctr" defTabSz="914180">
                  <a:lnSpc>
                    <a:spcPct val="90000"/>
                  </a:lnSpc>
                  <a:spcAft>
                    <a:spcPts val="588"/>
                  </a:spcAft>
                  <a:defRPr/>
                </a:pPr>
                <a:endParaRPr lang="en-US" sz="588" kern="0" dirty="0">
                  <a:solidFill>
                    <a:srgbClr val="505050"/>
                  </a:solidFill>
                  <a:latin typeface="Cambria" panose="02040503050406030204" pitchFamily="18" charset="0"/>
                  <a:ea typeface="Arial Unicode MS" panose="020B0604020202020204" pitchFamily="34" charset="-128"/>
                  <a:cs typeface="Arial Unicode MS" panose="020B0604020202020204" pitchFamily="34" charset="-128"/>
                </a:endParaRPr>
              </a:p>
            </p:txBody>
          </p:sp>
          <p:sp>
            <p:nvSpPr>
              <p:cNvPr id="257" name="TextBox 256"/>
              <p:cNvSpPr txBox="1"/>
              <p:nvPr/>
            </p:nvSpPr>
            <p:spPr>
              <a:xfrm>
                <a:off x="7189714" y="5230121"/>
                <a:ext cx="577788" cy="600889"/>
              </a:xfrm>
              <a:prstGeom prst="rect">
                <a:avLst/>
              </a:prstGeom>
              <a:solidFill>
                <a:schemeClr val="accent1"/>
              </a:solidFill>
              <a:ln>
                <a:noFill/>
              </a:ln>
            </p:spPr>
            <p:txBody>
              <a:bodyPr wrap="square" lIns="179238" tIns="143391" rIns="179238" bIns="143391" rtlCol="0">
                <a:spAutoFit/>
              </a:bodyPr>
              <a:lstStyle/>
              <a:p>
                <a:pPr algn="ctr" defTabSz="914180">
                  <a:lnSpc>
                    <a:spcPct val="90000"/>
                  </a:lnSpc>
                  <a:spcAft>
                    <a:spcPts val="588"/>
                  </a:spcAft>
                  <a:defRPr/>
                </a:pPr>
                <a:endParaRPr lang="en-US" sz="588" kern="0" dirty="0">
                  <a:solidFill>
                    <a:srgbClr val="505050"/>
                  </a:solidFill>
                  <a:latin typeface="Cambria" panose="02040503050406030204" pitchFamily="18" charset="0"/>
                  <a:ea typeface="Arial Unicode MS" panose="020B0604020202020204" pitchFamily="34" charset="-128"/>
                  <a:cs typeface="Arial Unicode MS" panose="020B0604020202020204" pitchFamily="34" charset="-128"/>
                </a:endParaRPr>
              </a:p>
            </p:txBody>
          </p:sp>
          <p:cxnSp>
            <p:nvCxnSpPr>
              <p:cNvPr id="258" name="Straight Connector 257"/>
              <p:cNvCxnSpPr/>
              <p:nvPr/>
            </p:nvCxnSpPr>
            <p:spPr>
              <a:xfrm>
                <a:off x="4992236" y="4917731"/>
                <a:ext cx="2518252" cy="0"/>
              </a:xfrm>
              <a:prstGeom prst="line">
                <a:avLst/>
              </a:prstGeom>
              <a:grpFill/>
              <a:ln w="38100">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59" name="Straight Connector 258"/>
              <p:cNvCxnSpPr/>
              <p:nvPr/>
            </p:nvCxnSpPr>
            <p:spPr>
              <a:xfrm>
                <a:off x="5014649" y="4917731"/>
                <a:ext cx="2" cy="276106"/>
              </a:xfrm>
              <a:prstGeom prst="line">
                <a:avLst/>
              </a:prstGeom>
              <a:grpFill/>
              <a:ln w="38100">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60" name="Straight Connector 259"/>
              <p:cNvCxnSpPr/>
              <p:nvPr/>
            </p:nvCxnSpPr>
            <p:spPr>
              <a:xfrm>
                <a:off x="5615864" y="4917731"/>
                <a:ext cx="2" cy="276106"/>
              </a:xfrm>
              <a:prstGeom prst="line">
                <a:avLst/>
              </a:prstGeom>
              <a:grpFill/>
              <a:ln w="38100">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61" name="Straight Connector 260"/>
              <p:cNvCxnSpPr/>
              <p:nvPr/>
            </p:nvCxnSpPr>
            <p:spPr>
              <a:xfrm>
                <a:off x="6281187" y="4917731"/>
                <a:ext cx="2" cy="276106"/>
              </a:xfrm>
              <a:prstGeom prst="line">
                <a:avLst/>
              </a:prstGeom>
              <a:grpFill/>
              <a:ln w="38100">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62" name="Straight Connector 261"/>
              <p:cNvCxnSpPr/>
              <p:nvPr/>
            </p:nvCxnSpPr>
            <p:spPr>
              <a:xfrm>
                <a:off x="7492655" y="4917731"/>
                <a:ext cx="2" cy="276106"/>
              </a:xfrm>
              <a:prstGeom prst="line">
                <a:avLst/>
              </a:prstGeom>
              <a:grpFill/>
              <a:ln w="38100">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63" name="Straight Connector 262"/>
              <p:cNvCxnSpPr/>
              <p:nvPr/>
            </p:nvCxnSpPr>
            <p:spPr>
              <a:xfrm>
                <a:off x="6862359" y="4917731"/>
                <a:ext cx="2" cy="276106"/>
              </a:xfrm>
              <a:prstGeom prst="line">
                <a:avLst/>
              </a:prstGeom>
              <a:grpFill/>
              <a:ln w="38100">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64" name="Straight Connector 263"/>
              <p:cNvCxnSpPr/>
              <p:nvPr/>
            </p:nvCxnSpPr>
            <p:spPr>
              <a:xfrm>
                <a:off x="6281187" y="4701643"/>
                <a:ext cx="2" cy="276106"/>
              </a:xfrm>
              <a:prstGeom prst="line">
                <a:avLst/>
              </a:prstGeom>
              <a:grpFill/>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51" name="TextBox 250"/>
            <p:cNvSpPr txBox="1"/>
            <p:nvPr/>
          </p:nvSpPr>
          <p:spPr>
            <a:xfrm>
              <a:off x="4882806" y="3706505"/>
              <a:ext cx="2635549" cy="490560"/>
            </a:xfrm>
            <a:prstGeom prst="rect">
              <a:avLst/>
            </a:prstGeom>
            <a:noFill/>
          </p:spPr>
          <p:txBody>
            <a:bodyPr wrap="square" lIns="0" tIns="0" rIns="0" bIns="0" rtlCol="0">
              <a:noAutofit/>
            </a:bodyPr>
            <a:lstStyle/>
            <a:p>
              <a:pPr algn="ctr" defTabSz="896203">
                <a:defRPr/>
              </a:pPr>
              <a:r>
                <a:rPr lang="en-US" sz="2352" kern="0" dirty="0">
                  <a:solidFill>
                    <a:schemeClr val="accent1"/>
                  </a:solidFill>
                </a:rPr>
                <a:t>ADL Store</a:t>
              </a:r>
            </a:p>
          </p:txBody>
        </p:sp>
      </p:grpSp>
      <p:cxnSp>
        <p:nvCxnSpPr>
          <p:cNvPr id="267" name="Elbow Connector 266"/>
          <p:cNvCxnSpPr/>
          <p:nvPr/>
        </p:nvCxnSpPr>
        <p:spPr>
          <a:xfrm>
            <a:off x="4211361" y="2063125"/>
            <a:ext cx="10474" cy="2384905"/>
          </a:xfrm>
          <a:prstGeom prst="bentConnector3">
            <a:avLst>
              <a:gd name="adj1" fmla="val 1800000"/>
            </a:avLst>
          </a:prstGeom>
          <a:ln w="9525">
            <a:solidFill>
              <a:srgbClr val="0078D7"/>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68" name="Straight Arrow Connector 267"/>
          <p:cNvCxnSpPr/>
          <p:nvPr/>
        </p:nvCxnSpPr>
        <p:spPr>
          <a:xfrm>
            <a:off x="4391668" y="3255578"/>
            <a:ext cx="832218" cy="1"/>
          </a:xfrm>
          <a:prstGeom prst="straightConnector1">
            <a:avLst/>
          </a:prstGeom>
          <a:ln w="9525">
            <a:solidFill>
              <a:srgbClr val="0078D7"/>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grpSp>
        <p:nvGrpSpPr>
          <p:cNvPr id="272" name="Group 271"/>
          <p:cNvGrpSpPr/>
          <p:nvPr/>
        </p:nvGrpSpPr>
        <p:grpSpPr>
          <a:xfrm>
            <a:off x="6570568" y="2122456"/>
            <a:ext cx="477802" cy="477802"/>
            <a:chOff x="4068192" y="3363795"/>
            <a:chExt cx="324957" cy="324957"/>
          </a:xfrm>
        </p:grpSpPr>
        <p:sp>
          <p:nvSpPr>
            <p:cNvPr id="273" name="Rounded Rectangle 272"/>
            <p:cNvSpPr/>
            <p:nvPr/>
          </p:nvSpPr>
          <p:spPr bwMode="auto">
            <a:xfrm>
              <a:off x="4068192" y="3363795"/>
              <a:ext cx="324957" cy="324957"/>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911" fontAlgn="base">
                <a:lnSpc>
                  <a:spcPct val="90000"/>
                </a:lnSpc>
                <a:spcBef>
                  <a:spcPct val="0"/>
                </a:spcBef>
                <a:spcAft>
                  <a:spcPct val="0"/>
                </a:spcAft>
                <a:defRPr/>
              </a:pPr>
              <a:endParaRPr lang="en-US" sz="2306"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74" name="Rectangle 273"/>
            <p:cNvSpPr/>
            <p:nvPr/>
          </p:nvSpPr>
          <p:spPr bwMode="auto">
            <a:xfrm>
              <a:off x="4106551" y="3401141"/>
              <a:ext cx="43611" cy="4361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911" fontAlgn="base">
                <a:lnSpc>
                  <a:spcPct val="90000"/>
                </a:lnSpc>
                <a:spcBef>
                  <a:spcPct val="0"/>
                </a:spcBef>
                <a:spcAft>
                  <a:spcPct val="0"/>
                </a:spcAft>
                <a:defRPr/>
              </a:pPr>
              <a:endParaRPr lang="en-US" sz="2306"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75" name="Rectangle 274"/>
            <p:cNvSpPr/>
            <p:nvPr/>
          </p:nvSpPr>
          <p:spPr bwMode="auto">
            <a:xfrm>
              <a:off x="4245904" y="3401141"/>
              <a:ext cx="43611" cy="4361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911" fontAlgn="base">
                <a:lnSpc>
                  <a:spcPct val="90000"/>
                </a:lnSpc>
                <a:spcBef>
                  <a:spcPct val="0"/>
                </a:spcBef>
                <a:spcAft>
                  <a:spcPct val="0"/>
                </a:spcAft>
                <a:defRPr/>
              </a:pPr>
              <a:endParaRPr lang="en-US" sz="2306"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76" name="Oval 275"/>
            <p:cNvSpPr/>
            <p:nvPr/>
          </p:nvSpPr>
          <p:spPr bwMode="auto">
            <a:xfrm>
              <a:off x="4174625" y="3401529"/>
              <a:ext cx="46815" cy="46816"/>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911" fontAlgn="base">
                <a:lnSpc>
                  <a:spcPct val="90000"/>
                </a:lnSpc>
                <a:spcBef>
                  <a:spcPct val="0"/>
                </a:spcBef>
                <a:spcAft>
                  <a:spcPct val="0"/>
                </a:spcAft>
                <a:defRPr/>
              </a:pPr>
              <a:endParaRPr lang="en-US" sz="2306"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77" name="Oval 276"/>
            <p:cNvSpPr/>
            <p:nvPr/>
          </p:nvSpPr>
          <p:spPr bwMode="auto">
            <a:xfrm>
              <a:off x="4313978" y="3401529"/>
              <a:ext cx="46815" cy="46816"/>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911" fontAlgn="base">
                <a:lnSpc>
                  <a:spcPct val="90000"/>
                </a:lnSpc>
                <a:spcBef>
                  <a:spcPct val="0"/>
                </a:spcBef>
                <a:spcAft>
                  <a:spcPct val="0"/>
                </a:spcAft>
                <a:defRPr/>
              </a:pPr>
              <a:endParaRPr lang="en-US" sz="2306"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78" name="Rectangle 277"/>
            <p:cNvSpPr/>
            <p:nvPr/>
          </p:nvSpPr>
          <p:spPr bwMode="auto">
            <a:xfrm>
              <a:off x="4106551" y="3550317"/>
              <a:ext cx="43611" cy="4361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911" fontAlgn="base">
                <a:lnSpc>
                  <a:spcPct val="90000"/>
                </a:lnSpc>
                <a:spcBef>
                  <a:spcPct val="0"/>
                </a:spcBef>
                <a:spcAft>
                  <a:spcPct val="0"/>
                </a:spcAft>
                <a:defRPr/>
              </a:pPr>
              <a:endParaRPr lang="en-US" sz="2306"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79" name="Rectangle 278"/>
            <p:cNvSpPr/>
            <p:nvPr/>
          </p:nvSpPr>
          <p:spPr bwMode="auto">
            <a:xfrm>
              <a:off x="4245904" y="3550317"/>
              <a:ext cx="43611" cy="4361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911" fontAlgn="base">
                <a:lnSpc>
                  <a:spcPct val="90000"/>
                </a:lnSpc>
                <a:spcBef>
                  <a:spcPct val="0"/>
                </a:spcBef>
                <a:spcAft>
                  <a:spcPct val="0"/>
                </a:spcAft>
                <a:defRPr/>
              </a:pPr>
              <a:endParaRPr lang="en-US" sz="2306"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80" name="Oval 279"/>
            <p:cNvSpPr/>
            <p:nvPr/>
          </p:nvSpPr>
          <p:spPr bwMode="auto">
            <a:xfrm>
              <a:off x="4174625" y="3550705"/>
              <a:ext cx="46815" cy="46816"/>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911" fontAlgn="base">
                <a:lnSpc>
                  <a:spcPct val="90000"/>
                </a:lnSpc>
                <a:spcBef>
                  <a:spcPct val="0"/>
                </a:spcBef>
                <a:spcAft>
                  <a:spcPct val="0"/>
                </a:spcAft>
                <a:defRPr/>
              </a:pPr>
              <a:endParaRPr lang="en-US" sz="2306"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81" name="Oval 280"/>
            <p:cNvSpPr/>
            <p:nvPr/>
          </p:nvSpPr>
          <p:spPr bwMode="auto">
            <a:xfrm>
              <a:off x="4313978" y="3550705"/>
              <a:ext cx="46815" cy="46816"/>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911" fontAlgn="base">
                <a:lnSpc>
                  <a:spcPct val="90000"/>
                </a:lnSpc>
                <a:spcBef>
                  <a:spcPct val="0"/>
                </a:spcBef>
                <a:spcAft>
                  <a:spcPct val="0"/>
                </a:spcAft>
                <a:defRPr/>
              </a:pPr>
              <a:endParaRPr lang="en-US" sz="2306"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82" name="Rectangle 281"/>
            <p:cNvSpPr/>
            <p:nvPr/>
          </p:nvSpPr>
          <p:spPr bwMode="auto">
            <a:xfrm>
              <a:off x="4178218" y="3621636"/>
              <a:ext cx="43611" cy="4361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911" fontAlgn="base">
                <a:lnSpc>
                  <a:spcPct val="90000"/>
                </a:lnSpc>
                <a:spcBef>
                  <a:spcPct val="0"/>
                </a:spcBef>
                <a:spcAft>
                  <a:spcPct val="0"/>
                </a:spcAft>
                <a:defRPr/>
              </a:pPr>
              <a:endParaRPr lang="en-US" sz="2306"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83" name="Rectangle 282"/>
            <p:cNvSpPr/>
            <p:nvPr/>
          </p:nvSpPr>
          <p:spPr bwMode="auto">
            <a:xfrm>
              <a:off x="4317571" y="3621636"/>
              <a:ext cx="43611" cy="4361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911" fontAlgn="base">
                <a:lnSpc>
                  <a:spcPct val="90000"/>
                </a:lnSpc>
                <a:spcBef>
                  <a:spcPct val="0"/>
                </a:spcBef>
                <a:spcAft>
                  <a:spcPct val="0"/>
                </a:spcAft>
                <a:defRPr/>
              </a:pPr>
              <a:endParaRPr lang="en-US" sz="2306"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84" name="Oval 283"/>
            <p:cNvSpPr/>
            <p:nvPr/>
          </p:nvSpPr>
          <p:spPr bwMode="auto">
            <a:xfrm>
              <a:off x="4106939" y="3622024"/>
              <a:ext cx="46815" cy="46816"/>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911" fontAlgn="base">
                <a:lnSpc>
                  <a:spcPct val="90000"/>
                </a:lnSpc>
                <a:spcBef>
                  <a:spcPct val="0"/>
                </a:spcBef>
                <a:spcAft>
                  <a:spcPct val="0"/>
                </a:spcAft>
                <a:defRPr/>
              </a:pPr>
              <a:endParaRPr lang="en-US" sz="2306"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85" name="Oval 284"/>
            <p:cNvSpPr/>
            <p:nvPr/>
          </p:nvSpPr>
          <p:spPr bwMode="auto">
            <a:xfrm>
              <a:off x="4246293" y="3622024"/>
              <a:ext cx="46815" cy="46816"/>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911" fontAlgn="base">
                <a:lnSpc>
                  <a:spcPct val="90000"/>
                </a:lnSpc>
                <a:spcBef>
                  <a:spcPct val="0"/>
                </a:spcBef>
                <a:spcAft>
                  <a:spcPct val="0"/>
                </a:spcAft>
                <a:defRPr/>
              </a:pPr>
              <a:endParaRPr lang="en-US" sz="2306"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86" name="Rectangle 285"/>
            <p:cNvSpPr/>
            <p:nvPr/>
          </p:nvSpPr>
          <p:spPr bwMode="auto">
            <a:xfrm>
              <a:off x="4178218" y="3465945"/>
              <a:ext cx="43611" cy="4361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911" fontAlgn="base">
                <a:lnSpc>
                  <a:spcPct val="90000"/>
                </a:lnSpc>
                <a:spcBef>
                  <a:spcPct val="0"/>
                </a:spcBef>
                <a:spcAft>
                  <a:spcPct val="0"/>
                </a:spcAft>
                <a:defRPr/>
              </a:pPr>
              <a:endParaRPr lang="en-US" sz="2306"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87" name="Rectangle 286"/>
            <p:cNvSpPr/>
            <p:nvPr/>
          </p:nvSpPr>
          <p:spPr bwMode="auto">
            <a:xfrm>
              <a:off x="4317571" y="3465945"/>
              <a:ext cx="43611" cy="4361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911" fontAlgn="base">
                <a:lnSpc>
                  <a:spcPct val="90000"/>
                </a:lnSpc>
                <a:spcBef>
                  <a:spcPct val="0"/>
                </a:spcBef>
                <a:spcAft>
                  <a:spcPct val="0"/>
                </a:spcAft>
                <a:defRPr/>
              </a:pPr>
              <a:endParaRPr lang="en-US" sz="2306"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88" name="Oval 287"/>
            <p:cNvSpPr/>
            <p:nvPr/>
          </p:nvSpPr>
          <p:spPr bwMode="auto">
            <a:xfrm>
              <a:off x="4106939" y="3466334"/>
              <a:ext cx="46815" cy="46816"/>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911" fontAlgn="base">
                <a:lnSpc>
                  <a:spcPct val="90000"/>
                </a:lnSpc>
                <a:spcBef>
                  <a:spcPct val="0"/>
                </a:spcBef>
                <a:spcAft>
                  <a:spcPct val="0"/>
                </a:spcAft>
                <a:defRPr/>
              </a:pPr>
              <a:endParaRPr lang="en-US" sz="2306"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89" name="Oval 288"/>
            <p:cNvSpPr/>
            <p:nvPr/>
          </p:nvSpPr>
          <p:spPr bwMode="auto">
            <a:xfrm>
              <a:off x="4246293" y="3466334"/>
              <a:ext cx="46815" cy="46816"/>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911" fontAlgn="base">
                <a:lnSpc>
                  <a:spcPct val="90000"/>
                </a:lnSpc>
                <a:spcBef>
                  <a:spcPct val="0"/>
                </a:spcBef>
                <a:spcAft>
                  <a:spcPct val="0"/>
                </a:spcAft>
                <a:defRPr/>
              </a:pPr>
              <a:endParaRPr lang="en-US" sz="2306"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30" name="Group 129"/>
          <p:cNvGrpSpPr/>
          <p:nvPr/>
        </p:nvGrpSpPr>
        <p:grpSpPr>
          <a:xfrm>
            <a:off x="-9464" y="1618083"/>
            <a:ext cx="1765329" cy="3781517"/>
            <a:chOff x="2269406" y="1649551"/>
            <a:chExt cx="1801197" cy="3858349"/>
          </a:xfrm>
        </p:grpSpPr>
        <p:sp>
          <p:nvSpPr>
            <p:cNvPr id="157" name="Rectangle 156"/>
            <p:cNvSpPr/>
            <p:nvPr/>
          </p:nvSpPr>
          <p:spPr bwMode="auto">
            <a:xfrm>
              <a:off x="2269406" y="1649551"/>
              <a:ext cx="1771946" cy="385834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4" tIns="91403" rIns="18274" bIns="91365" numCol="1" spcCol="1270" anchor="t" anchorCtr="0">
              <a:noAutofit/>
            </a:bodyPr>
            <a:lstStyle/>
            <a:p>
              <a:pPr algn="ctr" defTabSz="724725">
                <a:spcBef>
                  <a:spcPct val="0"/>
                </a:spcBef>
                <a:spcAft>
                  <a:spcPct val="35000"/>
                </a:spcAft>
                <a:defRPr/>
              </a:pPr>
              <a:r>
                <a:rPr lang="en-US" sz="1400" kern="0" dirty="0">
                  <a:solidFill>
                    <a:schemeClr val="tx1"/>
                  </a:solidFill>
                  <a:latin typeface="Segoe UI Semibold" panose="020B0702040204020203" pitchFamily="34" charset="0"/>
                  <a:cs typeface="Segoe UI Semibold" panose="020B0702040204020203" pitchFamily="34" charset="0"/>
                </a:rPr>
                <a:t>Big Data Stores</a:t>
              </a:r>
            </a:p>
          </p:txBody>
        </p:sp>
        <p:sp>
          <p:nvSpPr>
            <p:cNvPr id="132" name="Rectangle 131"/>
            <p:cNvSpPr/>
            <p:nvPr/>
          </p:nvSpPr>
          <p:spPr>
            <a:xfrm>
              <a:off x="2774284" y="3274196"/>
              <a:ext cx="1296319" cy="446397"/>
            </a:xfrm>
            <a:prstGeom prst="rect">
              <a:avLst/>
            </a:prstGeom>
          </p:spPr>
          <p:txBody>
            <a:bodyPr wrap="square">
              <a:spAutoFit/>
            </a:bodyPr>
            <a:lstStyle/>
            <a:p>
              <a:pPr defTabSz="896203">
                <a:defRPr/>
              </a:pPr>
              <a:r>
                <a:rPr lang="en-US" sz="1100" kern="0" dirty="0">
                  <a:solidFill>
                    <a:schemeClr val="accent2">
                      <a:lumMod val="75000"/>
                    </a:schemeClr>
                  </a:solidFill>
                  <a:cs typeface="Segoe UI Semilight" panose="020B0402040204020203" pitchFamily="34" charset="0"/>
                </a:rPr>
                <a:t>SQL Data </a:t>
              </a:r>
            </a:p>
            <a:p>
              <a:pPr defTabSz="896203">
                <a:defRPr/>
              </a:pPr>
              <a:r>
                <a:rPr lang="en-US" sz="1100" kern="0" dirty="0">
                  <a:solidFill>
                    <a:schemeClr val="accent2">
                      <a:lumMod val="75000"/>
                    </a:schemeClr>
                  </a:solidFill>
                  <a:cs typeface="Segoe UI Semilight" panose="020B0402040204020203" pitchFamily="34" charset="0"/>
                </a:rPr>
                <a:t>Warehouse</a:t>
              </a:r>
            </a:p>
          </p:txBody>
        </p:sp>
        <p:sp>
          <p:nvSpPr>
            <p:cNvPr id="133" name="Rectangle 132"/>
            <p:cNvSpPr/>
            <p:nvPr/>
          </p:nvSpPr>
          <p:spPr>
            <a:xfrm>
              <a:off x="2754567" y="2530491"/>
              <a:ext cx="1296319" cy="270285"/>
            </a:xfrm>
            <a:prstGeom prst="rect">
              <a:avLst/>
            </a:prstGeom>
          </p:spPr>
          <p:txBody>
            <a:bodyPr wrap="square">
              <a:spAutoFit/>
            </a:bodyPr>
            <a:lstStyle/>
            <a:p>
              <a:pPr defTabSz="896203">
                <a:defRPr/>
              </a:pPr>
              <a:r>
                <a:rPr lang="en-US" sz="1100" kern="0" dirty="0">
                  <a:solidFill>
                    <a:sysClr val="windowText" lastClr="000000"/>
                  </a:solidFill>
                  <a:cs typeface="Segoe UI Semilight" panose="020B0402040204020203" pitchFamily="34" charset="0"/>
                </a:rPr>
                <a:t>Data Lake Store</a:t>
              </a:r>
            </a:p>
          </p:txBody>
        </p:sp>
        <p:grpSp>
          <p:nvGrpSpPr>
            <p:cNvPr id="134" name="Group 133"/>
            <p:cNvGrpSpPr/>
            <p:nvPr/>
          </p:nvGrpSpPr>
          <p:grpSpPr>
            <a:xfrm>
              <a:off x="2439892" y="2526826"/>
              <a:ext cx="256193" cy="256192"/>
              <a:chOff x="4061057" y="3607548"/>
              <a:chExt cx="324957" cy="324957"/>
            </a:xfrm>
          </p:grpSpPr>
          <p:sp>
            <p:nvSpPr>
              <p:cNvPr id="138" name="Rounded Rectangle 137"/>
              <p:cNvSpPr/>
              <p:nvPr/>
            </p:nvSpPr>
            <p:spPr bwMode="auto">
              <a:xfrm>
                <a:off x="4061057" y="3607548"/>
                <a:ext cx="324957" cy="324957"/>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9" name="Rectangle 138"/>
              <p:cNvSpPr/>
              <p:nvPr/>
            </p:nvSpPr>
            <p:spPr bwMode="auto">
              <a:xfrm>
                <a:off x="4098073" y="3645565"/>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40" name="Rectangle 139"/>
              <p:cNvSpPr/>
              <p:nvPr/>
            </p:nvSpPr>
            <p:spPr bwMode="auto">
              <a:xfrm>
                <a:off x="4237426" y="3645565"/>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41" name="Oval 140"/>
              <p:cNvSpPr/>
              <p:nvPr/>
            </p:nvSpPr>
            <p:spPr bwMode="auto">
              <a:xfrm>
                <a:off x="4166147" y="3645952"/>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42" name="Oval 141"/>
              <p:cNvSpPr/>
              <p:nvPr/>
            </p:nvSpPr>
            <p:spPr bwMode="auto">
              <a:xfrm>
                <a:off x="4305501" y="3645952"/>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43" name="Rectangle 142"/>
              <p:cNvSpPr/>
              <p:nvPr/>
            </p:nvSpPr>
            <p:spPr bwMode="auto">
              <a:xfrm>
                <a:off x="4098073" y="3794740"/>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44" name="Rectangle 143"/>
              <p:cNvSpPr/>
              <p:nvPr/>
            </p:nvSpPr>
            <p:spPr bwMode="auto">
              <a:xfrm>
                <a:off x="4237426" y="3794740"/>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45" name="Oval 144"/>
              <p:cNvSpPr/>
              <p:nvPr/>
            </p:nvSpPr>
            <p:spPr bwMode="auto">
              <a:xfrm>
                <a:off x="4166147" y="3795128"/>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46" name="Oval 145"/>
              <p:cNvSpPr/>
              <p:nvPr/>
            </p:nvSpPr>
            <p:spPr bwMode="auto">
              <a:xfrm>
                <a:off x="4305501" y="3795128"/>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47" name="Rectangle 146"/>
              <p:cNvSpPr/>
              <p:nvPr/>
            </p:nvSpPr>
            <p:spPr bwMode="auto">
              <a:xfrm>
                <a:off x="4169740" y="3866061"/>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48" name="Rectangle 147"/>
              <p:cNvSpPr/>
              <p:nvPr/>
            </p:nvSpPr>
            <p:spPr bwMode="auto">
              <a:xfrm>
                <a:off x="4309093" y="3866061"/>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49" name="Oval 148"/>
              <p:cNvSpPr/>
              <p:nvPr/>
            </p:nvSpPr>
            <p:spPr bwMode="auto">
              <a:xfrm>
                <a:off x="4098461" y="3866446"/>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50" name="Oval 149"/>
              <p:cNvSpPr/>
              <p:nvPr/>
            </p:nvSpPr>
            <p:spPr bwMode="auto">
              <a:xfrm>
                <a:off x="4237815" y="3866447"/>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51" name="Rectangle 150"/>
              <p:cNvSpPr/>
              <p:nvPr/>
            </p:nvSpPr>
            <p:spPr bwMode="auto">
              <a:xfrm>
                <a:off x="4169740" y="3710368"/>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52" name="Rectangle 151"/>
              <p:cNvSpPr/>
              <p:nvPr/>
            </p:nvSpPr>
            <p:spPr bwMode="auto">
              <a:xfrm>
                <a:off x="4309093" y="3710368"/>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53" name="Oval 152"/>
              <p:cNvSpPr/>
              <p:nvPr/>
            </p:nvSpPr>
            <p:spPr bwMode="auto">
              <a:xfrm>
                <a:off x="4098461" y="3710759"/>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54" name="Oval 153"/>
              <p:cNvSpPr/>
              <p:nvPr/>
            </p:nvSpPr>
            <p:spPr bwMode="auto">
              <a:xfrm>
                <a:off x="4237815" y="3710759"/>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35" name="Group 134"/>
            <p:cNvGrpSpPr/>
            <p:nvPr/>
          </p:nvGrpSpPr>
          <p:grpSpPr>
            <a:xfrm>
              <a:off x="2446176" y="3338874"/>
              <a:ext cx="253198" cy="310108"/>
              <a:chOff x="-3084513" y="5566963"/>
              <a:chExt cx="2716213" cy="3363913"/>
            </a:xfrm>
            <a:solidFill>
              <a:schemeClr val="tx1"/>
            </a:solidFill>
          </p:grpSpPr>
          <p:sp>
            <p:nvSpPr>
              <p:cNvPr id="136" name="Freeform 40"/>
              <p:cNvSpPr>
                <a:spLocks noEditPoints="1"/>
              </p:cNvSpPr>
              <p:nvPr/>
            </p:nvSpPr>
            <p:spPr bwMode="auto">
              <a:xfrm>
                <a:off x="-3084513" y="5566963"/>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defRPr/>
                </a:pPr>
                <a:endParaRPr lang="en-US" sz="1799" kern="0">
                  <a:solidFill>
                    <a:sysClr val="windowText" lastClr="000000"/>
                  </a:solidFill>
                </a:endParaRPr>
              </a:p>
            </p:txBody>
          </p:sp>
          <p:sp>
            <p:nvSpPr>
              <p:cNvPr id="137" name="Freeform 41"/>
              <p:cNvSpPr>
                <a:spLocks/>
              </p:cNvSpPr>
              <p:nvPr/>
            </p:nvSpPr>
            <p:spPr bwMode="auto">
              <a:xfrm>
                <a:off x="-1887535" y="7092552"/>
                <a:ext cx="373064" cy="511180"/>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defRPr/>
                </a:pPr>
                <a:endParaRPr lang="en-US" sz="1799" kern="0">
                  <a:solidFill>
                    <a:sysClr val="windowText" lastClr="000000"/>
                  </a:solidFill>
                </a:endParaRPr>
              </a:p>
            </p:txBody>
          </p:sp>
        </p:grpSp>
      </p:grpSp>
      <p:cxnSp>
        <p:nvCxnSpPr>
          <p:cNvPr id="189" name="Straight Arrow Connector 188"/>
          <p:cNvCxnSpPr/>
          <p:nvPr/>
        </p:nvCxnSpPr>
        <p:spPr>
          <a:xfrm>
            <a:off x="8155630" y="3255578"/>
            <a:ext cx="716953" cy="1"/>
          </a:xfrm>
          <a:prstGeom prst="straightConnector1">
            <a:avLst/>
          </a:prstGeom>
          <a:ln w="9525">
            <a:solidFill>
              <a:srgbClr val="0078D7"/>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91" name="Freeform 190"/>
          <p:cNvSpPr/>
          <p:nvPr/>
        </p:nvSpPr>
        <p:spPr bwMode="auto">
          <a:xfrm flipH="1">
            <a:off x="11620889" y="4313900"/>
            <a:ext cx="267144" cy="282705"/>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pPr>
            <a:endParaRPr lang="en-US" sz="2399" kern="0">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1298656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40" name="Rectangle 139"/>
          <p:cNvSpPr/>
          <p:nvPr/>
        </p:nvSpPr>
        <p:spPr bwMode="auto">
          <a:xfrm>
            <a:off x="1" y="5171771"/>
            <a:ext cx="12188824" cy="1154529"/>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kern="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pPr defTabSz="896203">
              <a:spcBef>
                <a:spcPts val="0"/>
              </a:spcBef>
              <a:spcAft>
                <a:spcPts val="588"/>
              </a:spcAft>
              <a:defRPr/>
            </a:pPr>
            <a:r>
              <a:rPr lang="en-US" dirty="0"/>
              <a:t>Elastic data warehouse as a service with enterprise-class features</a:t>
            </a:r>
            <a:br>
              <a:rPr lang="en-US" dirty="0"/>
            </a:br>
            <a:endParaRPr lang="en-US" kern="0" spc="0" dirty="0">
              <a:ln>
                <a:noFill/>
              </a:ln>
            </a:endParaRPr>
          </a:p>
        </p:txBody>
      </p:sp>
      <p:grpSp>
        <p:nvGrpSpPr>
          <p:cNvPr id="3" name="Group 2"/>
          <p:cNvGrpSpPr/>
          <p:nvPr/>
        </p:nvGrpSpPr>
        <p:grpSpPr>
          <a:xfrm>
            <a:off x="2180662" y="5157069"/>
            <a:ext cx="9457349" cy="929075"/>
            <a:chOff x="2214694" y="5581573"/>
            <a:chExt cx="9649501" cy="947952"/>
          </a:xfrm>
        </p:grpSpPr>
        <p:sp>
          <p:nvSpPr>
            <p:cNvPr id="6" name="TextBox 5"/>
            <p:cNvSpPr txBox="1"/>
            <p:nvPr/>
          </p:nvSpPr>
          <p:spPr>
            <a:xfrm>
              <a:off x="2214694" y="5581573"/>
              <a:ext cx="5114992" cy="947952"/>
            </a:xfrm>
            <a:prstGeom prst="rect">
              <a:avLst/>
            </a:prstGeom>
            <a:noFill/>
          </p:spPr>
          <p:txBody>
            <a:bodyPr wrap="square" lIns="179238" tIns="143391" rIns="179238" bIns="143391" rtlCol="0">
              <a:spAutoFit/>
            </a:bodyPr>
            <a:lstStyle/>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Petabyte scale with massively parallel processing</a:t>
              </a:r>
            </a:p>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Independent scaling of compute and storage—in seconds</a:t>
              </a:r>
            </a:p>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Transact-SQL queries across relational and non-relational data</a:t>
              </a:r>
            </a:p>
          </p:txBody>
        </p:sp>
        <p:sp>
          <p:nvSpPr>
            <p:cNvPr id="7" name="TextBox 6"/>
            <p:cNvSpPr txBox="1"/>
            <p:nvPr/>
          </p:nvSpPr>
          <p:spPr>
            <a:xfrm>
              <a:off x="7151925" y="5590585"/>
              <a:ext cx="4712270" cy="871008"/>
            </a:xfrm>
            <a:prstGeom prst="rect">
              <a:avLst/>
            </a:prstGeom>
            <a:noFill/>
          </p:spPr>
          <p:txBody>
            <a:bodyPr wrap="square" lIns="179238" tIns="143391" rIns="179238" bIns="143391" rtlCol="0">
              <a:spAutoFit/>
            </a:bodyPr>
            <a:lstStyle/>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Full enterprise-class SQL Server experience</a:t>
              </a:r>
            </a:p>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Works seamlessly with Power BI, Machine Learning, HDInsight, and Data Factory</a:t>
              </a:r>
            </a:p>
          </p:txBody>
        </p:sp>
      </p:grpSp>
      <p:grpSp>
        <p:nvGrpSpPr>
          <p:cNvPr id="52" name="Group 51"/>
          <p:cNvGrpSpPr/>
          <p:nvPr/>
        </p:nvGrpSpPr>
        <p:grpSpPr>
          <a:xfrm>
            <a:off x="2062662" y="2616918"/>
            <a:ext cx="2005761" cy="1243064"/>
            <a:chOff x="2104571" y="2668680"/>
            <a:chExt cx="2046514" cy="1268320"/>
          </a:xfrm>
          <a:solidFill>
            <a:schemeClr val="accent1"/>
          </a:solidFill>
        </p:grpSpPr>
        <p:pic>
          <p:nvPicPr>
            <p:cNvPr id="53" name="Picture 52"/>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2184400" y="2755900"/>
              <a:ext cx="1870075" cy="1030814"/>
            </a:xfrm>
            <a:prstGeom prst="rect">
              <a:avLst/>
            </a:prstGeom>
            <a:grpFill/>
            <a:ln>
              <a:solidFill>
                <a:schemeClr val="accent1"/>
              </a:solidFill>
            </a:ln>
          </p:spPr>
        </p:pic>
        <p:grpSp>
          <p:nvGrpSpPr>
            <p:cNvPr id="54" name="Group 53"/>
            <p:cNvGrpSpPr/>
            <p:nvPr/>
          </p:nvGrpSpPr>
          <p:grpSpPr>
            <a:xfrm>
              <a:off x="2104571" y="2668680"/>
              <a:ext cx="2046514" cy="1268320"/>
              <a:chOff x="2104571" y="2668680"/>
              <a:chExt cx="2046514" cy="1268320"/>
            </a:xfrm>
            <a:grpFill/>
          </p:grpSpPr>
          <p:sp>
            <p:nvSpPr>
              <p:cNvPr id="55" name="Freeform 54"/>
              <p:cNvSpPr/>
              <p:nvPr/>
            </p:nvSpPr>
            <p:spPr bwMode="auto">
              <a:xfrm>
                <a:off x="2104571" y="2668680"/>
                <a:ext cx="2046514" cy="1268320"/>
              </a:xfrm>
              <a:custGeom>
                <a:avLst/>
                <a:gdLst>
                  <a:gd name="connsiteX0" fmla="*/ 88225 w 2046514"/>
                  <a:gd name="connsiteY0" fmla="*/ 27078 h 1140006"/>
                  <a:gd name="connsiteX1" fmla="*/ 31240 w 2046514"/>
                  <a:gd name="connsiteY1" fmla="*/ 84063 h 1140006"/>
                  <a:gd name="connsiteX2" fmla="*/ 31240 w 2046514"/>
                  <a:gd name="connsiteY2" fmla="*/ 1055943 h 1140006"/>
                  <a:gd name="connsiteX3" fmla="*/ 88225 w 2046514"/>
                  <a:gd name="connsiteY3" fmla="*/ 1112928 h 1140006"/>
                  <a:gd name="connsiteX4" fmla="*/ 1958290 w 2046514"/>
                  <a:gd name="connsiteY4" fmla="*/ 1112928 h 1140006"/>
                  <a:gd name="connsiteX5" fmla="*/ 2015275 w 2046514"/>
                  <a:gd name="connsiteY5" fmla="*/ 1055943 h 1140006"/>
                  <a:gd name="connsiteX6" fmla="*/ 2015275 w 2046514"/>
                  <a:gd name="connsiteY6" fmla="*/ 84063 h 1140006"/>
                  <a:gd name="connsiteX7" fmla="*/ 1958290 w 2046514"/>
                  <a:gd name="connsiteY7" fmla="*/ 27078 h 1140006"/>
                  <a:gd name="connsiteX8" fmla="*/ 59828 w 2046514"/>
                  <a:gd name="connsiteY8" fmla="*/ 0 h 1140006"/>
                  <a:gd name="connsiteX9" fmla="*/ 1986686 w 2046514"/>
                  <a:gd name="connsiteY9" fmla="*/ 0 h 1140006"/>
                  <a:gd name="connsiteX10" fmla="*/ 2046514 w 2046514"/>
                  <a:gd name="connsiteY10" fmla="*/ 59828 h 1140006"/>
                  <a:gd name="connsiteX11" fmla="*/ 2046514 w 2046514"/>
                  <a:gd name="connsiteY11" fmla="*/ 1080178 h 1140006"/>
                  <a:gd name="connsiteX12" fmla="*/ 1986686 w 2046514"/>
                  <a:gd name="connsiteY12" fmla="*/ 1140006 h 1140006"/>
                  <a:gd name="connsiteX13" fmla="*/ 59828 w 2046514"/>
                  <a:gd name="connsiteY13" fmla="*/ 1140006 h 1140006"/>
                  <a:gd name="connsiteX14" fmla="*/ 0 w 2046514"/>
                  <a:gd name="connsiteY14" fmla="*/ 1080178 h 1140006"/>
                  <a:gd name="connsiteX15" fmla="*/ 0 w 2046514"/>
                  <a:gd name="connsiteY15" fmla="*/ 59828 h 1140006"/>
                  <a:gd name="connsiteX16" fmla="*/ 59828 w 2046514"/>
                  <a:gd name="connsiteY16" fmla="*/ 0 h 1140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46514" h="1140006">
                    <a:moveTo>
                      <a:pt x="88225" y="27078"/>
                    </a:moveTo>
                    <a:cubicBezTo>
                      <a:pt x="56753" y="27078"/>
                      <a:pt x="31240" y="52591"/>
                      <a:pt x="31240" y="84063"/>
                    </a:cubicBezTo>
                    <a:lnTo>
                      <a:pt x="31240" y="1055943"/>
                    </a:lnTo>
                    <a:cubicBezTo>
                      <a:pt x="31240" y="1087415"/>
                      <a:pt x="56753" y="1112928"/>
                      <a:pt x="88225" y="1112928"/>
                    </a:cubicBezTo>
                    <a:lnTo>
                      <a:pt x="1958290" y="1112928"/>
                    </a:lnTo>
                    <a:cubicBezTo>
                      <a:pt x="1989762" y="1112928"/>
                      <a:pt x="2015275" y="1087415"/>
                      <a:pt x="2015275" y="1055943"/>
                    </a:cubicBezTo>
                    <a:lnTo>
                      <a:pt x="2015275" y="84063"/>
                    </a:lnTo>
                    <a:cubicBezTo>
                      <a:pt x="2015275" y="52591"/>
                      <a:pt x="1989762" y="27078"/>
                      <a:pt x="1958290" y="27078"/>
                    </a:cubicBezTo>
                    <a:close/>
                    <a:moveTo>
                      <a:pt x="59828" y="0"/>
                    </a:moveTo>
                    <a:lnTo>
                      <a:pt x="1986686" y="0"/>
                    </a:lnTo>
                    <a:cubicBezTo>
                      <a:pt x="2019728" y="0"/>
                      <a:pt x="2046514" y="26786"/>
                      <a:pt x="2046514" y="59828"/>
                    </a:cubicBezTo>
                    <a:lnTo>
                      <a:pt x="2046514" y="1080178"/>
                    </a:lnTo>
                    <a:cubicBezTo>
                      <a:pt x="2046514" y="1113220"/>
                      <a:pt x="2019728" y="1140006"/>
                      <a:pt x="1986686" y="1140006"/>
                    </a:cubicBezTo>
                    <a:lnTo>
                      <a:pt x="59828" y="1140006"/>
                    </a:lnTo>
                    <a:cubicBezTo>
                      <a:pt x="26786" y="1140006"/>
                      <a:pt x="0" y="1113220"/>
                      <a:pt x="0" y="1080178"/>
                    </a:cubicBezTo>
                    <a:lnTo>
                      <a:pt x="0" y="59828"/>
                    </a:lnTo>
                    <a:cubicBezTo>
                      <a:pt x="0" y="26786"/>
                      <a:pt x="26786" y="0"/>
                      <a:pt x="59828" y="0"/>
                    </a:cubicBezTo>
                    <a:close/>
                  </a:path>
                </a:pathLst>
              </a:custGeom>
              <a:grpFill/>
              <a:ln w="31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tx1"/>
                  </a:solidFill>
                </a:endParaRPr>
              </a:p>
            </p:txBody>
          </p:sp>
          <p:sp>
            <p:nvSpPr>
              <p:cNvPr id="56" name="Freeform 55"/>
              <p:cNvSpPr/>
              <p:nvPr/>
            </p:nvSpPr>
            <p:spPr bwMode="auto">
              <a:xfrm>
                <a:off x="2176463" y="2733675"/>
                <a:ext cx="1900237" cy="1060450"/>
              </a:xfrm>
              <a:custGeom>
                <a:avLst/>
                <a:gdLst>
                  <a:gd name="connsiteX0" fmla="*/ 33337 w 1900237"/>
                  <a:gd name="connsiteY0" fmla="*/ 26193 h 926306"/>
                  <a:gd name="connsiteX1" fmla="*/ 33337 w 1900237"/>
                  <a:gd name="connsiteY1" fmla="*/ 900113 h 926306"/>
                  <a:gd name="connsiteX2" fmla="*/ 1866901 w 1900237"/>
                  <a:gd name="connsiteY2" fmla="*/ 900113 h 926306"/>
                  <a:gd name="connsiteX3" fmla="*/ 1866901 w 1900237"/>
                  <a:gd name="connsiteY3" fmla="*/ 26193 h 926306"/>
                  <a:gd name="connsiteX4" fmla="*/ 0 w 1900237"/>
                  <a:gd name="connsiteY4" fmla="*/ 0 h 926306"/>
                  <a:gd name="connsiteX5" fmla="*/ 1900237 w 1900237"/>
                  <a:gd name="connsiteY5" fmla="*/ 0 h 926306"/>
                  <a:gd name="connsiteX6" fmla="*/ 1900237 w 1900237"/>
                  <a:gd name="connsiteY6" fmla="*/ 926306 h 926306"/>
                  <a:gd name="connsiteX7" fmla="*/ 0 w 1900237"/>
                  <a:gd name="connsiteY7" fmla="*/ 926306 h 926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0237" h="926306">
                    <a:moveTo>
                      <a:pt x="33337" y="26193"/>
                    </a:moveTo>
                    <a:lnTo>
                      <a:pt x="33337" y="900113"/>
                    </a:lnTo>
                    <a:lnTo>
                      <a:pt x="1866901" y="900113"/>
                    </a:lnTo>
                    <a:lnTo>
                      <a:pt x="1866901" y="26193"/>
                    </a:lnTo>
                    <a:close/>
                    <a:moveTo>
                      <a:pt x="0" y="0"/>
                    </a:moveTo>
                    <a:lnTo>
                      <a:pt x="1900237" y="0"/>
                    </a:lnTo>
                    <a:lnTo>
                      <a:pt x="1900237" y="926306"/>
                    </a:lnTo>
                    <a:lnTo>
                      <a:pt x="0" y="926306"/>
                    </a:lnTo>
                    <a:close/>
                  </a:path>
                </a:pathLst>
              </a:custGeom>
              <a:grpFill/>
              <a:ln w="31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tx1"/>
                  </a:solidFill>
                </a:endParaRPr>
              </a:p>
            </p:txBody>
          </p:sp>
          <p:sp>
            <p:nvSpPr>
              <p:cNvPr id="57" name="Oval 56"/>
              <p:cNvSpPr/>
              <p:nvPr/>
            </p:nvSpPr>
            <p:spPr bwMode="auto">
              <a:xfrm>
                <a:off x="3088594" y="3809537"/>
                <a:ext cx="78470" cy="78468"/>
              </a:xfrm>
              <a:prstGeom prst="ellipse">
                <a:avLst/>
              </a:prstGeom>
              <a:grpFill/>
              <a:ln w="31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tx1"/>
                  </a:solidFill>
                </a:endParaRPr>
              </a:p>
            </p:txBody>
          </p:sp>
        </p:grpSp>
      </p:grpSp>
      <p:grpSp>
        <p:nvGrpSpPr>
          <p:cNvPr id="58" name="Group 57"/>
          <p:cNvGrpSpPr/>
          <p:nvPr/>
        </p:nvGrpSpPr>
        <p:grpSpPr>
          <a:xfrm>
            <a:off x="5191452" y="2691601"/>
            <a:ext cx="1534106" cy="1124996"/>
            <a:chOff x="4921249" y="2668680"/>
            <a:chExt cx="1565276" cy="1147853"/>
          </a:xfrm>
          <a:solidFill>
            <a:schemeClr val="accent1"/>
          </a:solidFill>
        </p:grpSpPr>
        <p:sp>
          <p:nvSpPr>
            <p:cNvPr id="59" name="Freeform 58"/>
            <p:cNvSpPr>
              <a:spLocks/>
            </p:cNvSpPr>
            <p:nvPr/>
          </p:nvSpPr>
          <p:spPr bwMode="auto">
            <a:xfrm>
              <a:off x="5257530" y="2981926"/>
              <a:ext cx="900424" cy="538914"/>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grpFill/>
            <a:ln>
              <a:noFill/>
            </a:ln>
          </p:spPr>
          <p:txBody>
            <a:bodyPr vert="horz" wrap="square" lIns="89619" tIns="44810" rIns="89619" bIns="44810" numCol="1" anchor="t" anchorCtr="0" compatLnSpc="1">
              <a:prstTxWarp prst="textNoShape">
                <a:avLst/>
              </a:prstTxWarp>
              <a:noAutofit/>
            </a:bodyPr>
            <a:lstStyle/>
            <a:p>
              <a:pPr defTabSz="896203">
                <a:defRPr/>
              </a:pPr>
              <a:endParaRPr lang="en-US" sz="1764" kern="0">
                <a:solidFill>
                  <a:sysClr val="windowText" lastClr="000000"/>
                </a:solidFill>
              </a:endParaRPr>
            </a:p>
          </p:txBody>
        </p:sp>
        <p:sp>
          <p:nvSpPr>
            <p:cNvPr id="60" name="Freeform 59"/>
            <p:cNvSpPr/>
            <p:nvPr/>
          </p:nvSpPr>
          <p:spPr bwMode="auto">
            <a:xfrm>
              <a:off x="4921249" y="2668680"/>
              <a:ext cx="774701" cy="570003"/>
            </a:xfrm>
            <a:custGeom>
              <a:avLst/>
              <a:gdLst>
                <a:gd name="connsiteX0" fmla="*/ 95002 w 774701"/>
                <a:gd name="connsiteY0" fmla="*/ 0 h 570003"/>
                <a:gd name="connsiteX1" fmla="*/ 679699 w 774701"/>
                <a:gd name="connsiteY1" fmla="*/ 0 h 570003"/>
                <a:gd name="connsiteX2" fmla="*/ 774701 w 774701"/>
                <a:gd name="connsiteY2" fmla="*/ 95002 h 570003"/>
                <a:gd name="connsiteX3" fmla="*/ 774701 w 774701"/>
                <a:gd name="connsiteY3" fmla="*/ 281548 h 570003"/>
                <a:gd name="connsiteX4" fmla="*/ 762719 w 774701"/>
                <a:gd name="connsiteY4" fmla="*/ 283662 h 570003"/>
                <a:gd name="connsiteX5" fmla="*/ 762719 w 774701"/>
                <a:gd name="connsiteY5" fmla="*/ 105707 h 570003"/>
                <a:gd name="connsiteX6" fmla="*/ 673069 w 774701"/>
                <a:gd name="connsiteY6" fmla="*/ 16057 h 570003"/>
                <a:gd name="connsiteX7" fmla="*/ 101631 w 774701"/>
                <a:gd name="connsiteY7" fmla="*/ 16057 h 570003"/>
                <a:gd name="connsiteX8" fmla="*/ 11981 w 774701"/>
                <a:gd name="connsiteY8" fmla="*/ 105707 h 570003"/>
                <a:gd name="connsiteX9" fmla="*/ 11981 w 774701"/>
                <a:gd name="connsiteY9" fmla="*/ 464295 h 570003"/>
                <a:gd name="connsiteX10" fmla="*/ 101631 w 774701"/>
                <a:gd name="connsiteY10" fmla="*/ 553945 h 570003"/>
                <a:gd name="connsiteX11" fmla="*/ 367763 w 774701"/>
                <a:gd name="connsiteY11" fmla="*/ 553945 h 570003"/>
                <a:gd name="connsiteX12" fmla="*/ 349312 w 774701"/>
                <a:gd name="connsiteY12" fmla="*/ 566385 h 570003"/>
                <a:gd name="connsiteX13" fmla="*/ 346873 w 774701"/>
                <a:gd name="connsiteY13" fmla="*/ 570003 h 570003"/>
                <a:gd name="connsiteX14" fmla="*/ 95002 w 774701"/>
                <a:gd name="connsiteY14" fmla="*/ 570003 h 570003"/>
                <a:gd name="connsiteX15" fmla="*/ 0 w 774701"/>
                <a:gd name="connsiteY15" fmla="*/ 475001 h 570003"/>
                <a:gd name="connsiteX16" fmla="*/ 0 w 774701"/>
                <a:gd name="connsiteY16" fmla="*/ 95002 h 570003"/>
                <a:gd name="connsiteX17" fmla="*/ 95002 w 774701"/>
                <a:gd name="connsiteY17" fmla="*/ 0 h 570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74701" h="570003">
                  <a:moveTo>
                    <a:pt x="95002" y="0"/>
                  </a:moveTo>
                  <a:lnTo>
                    <a:pt x="679699" y="0"/>
                  </a:lnTo>
                  <a:cubicBezTo>
                    <a:pt x="732167" y="0"/>
                    <a:pt x="774701" y="42534"/>
                    <a:pt x="774701" y="95002"/>
                  </a:cubicBezTo>
                  <a:lnTo>
                    <a:pt x="774701" y="281548"/>
                  </a:lnTo>
                  <a:lnTo>
                    <a:pt x="762719" y="283662"/>
                  </a:lnTo>
                  <a:lnTo>
                    <a:pt x="762719" y="105707"/>
                  </a:lnTo>
                  <a:cubicBezTo>
                    <a:pt x="762719" y="56195"/>
                    <a:pt x="722581" y="16057"/>
                    <a:pt x="673069" y="16057"/>
                  </a:cubicBezTo>
                  <a:lnTo>
                    <a:pt x="101631" y="16057"/>
                  </a:lnTo>
                  <a:cubicBezTo>
                    <a:pt x="52119" y="16057"/>
                    <a:pt x="11981" y="56195"/>
                    <a:pt x="11981" y="105707"/>
                  </a:cubicBezTo>
                  <a:lnTo>
                    <a:pt x="11981" y="464295"/>
                  </a:lnTo>
                  <a:cubicBezTo>
                    <a:pt x="11981" y="513807"/>
                    <a:pt x="52119" y="553945"/>
                    <a:pt x="101631" y="553945"/>
                  </a:cubicBezTo>
                  <a:lnTo>
                    <a:pt x="367763" y="553945"/>
                  </a:lnTo>
                  <a:lnTo>
                    <a:pt x="349312" y="566385"/>
                  </a:lnTo>
                  <a:lnTo>
                    <a:pt x="346873" y="570003"/>
                  </a:lnTo>
                  <a:lnTo>
                    <a:pt x="95002" y="570003"/>
                  </a:lnTo>
                  <a:cubicBezTo>
                    <a:pt x="42534" y="570003"/>
                    <a:pt x="0" y="527469"/>
                    <a:pt x="0" y="475001"/>
                  </a:cubicBezTo>
                  <a:lnTo>
                    <a:pt x="0" y="95002"/>
                  </a:lnTo>
                  <a:cubicBezTo>
                    <a:pt x="0" y="42534"/>
                    <a:pt x="42534" y="0"/>
                    <a:pt x="95002" y="0"/>
                  </a:cubicBez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tx1"/>
                </a:solidFill>
              </a:endParaRPr>
            </a:p>
          </p:txBody>
        </p:sp>
        <p:sp>
          <p:nvSpPr>
            <p:cNvPr id="61" name="Freeform 60"/>
            <p:cNvSpPr/>
            <p:nvPr/>
          </p:nvSpPr>
          <p:spPr bwMode="auto">
            <a:xfrm>
              <a:off x="4921249" y="3246530"/>
              <a:ext cx="774701" cy="570003"/>
            </a:xfrm>
            <a:custGeom>
              <a:avLst/>
              <a:gdLst>
                <a:gd name="connsiteX0" fmla="*/ 95002 w 774701"/>
                <a:gd name="connsiteY0" fmla="*/ 0 h 570003"/>
                <a:gd name="connsiteX1" fmla="*/ 341582 w 774701"/>
                <a:gd name="connsiteY1" fmla="*/ 0 h 570003"/>
                <a:gd name="connsiteX2" fmla="*/ 330756 w 774701"/>
                <a:gd name="connsiteY2" fmla="*/ 16057 h 570003"/>
                <a:gd name="connsiteX3" fmla="*/ 101631 w 774701"/>
                <a:gd name="connsiteY3" fmla="*/ 16057 h 570003"/>
                <a:gd name="connsiteX4" fmla="*/ 11981 w 774701"/>
                <a:gd name="connsiteY4" fmla="*/ 105707 h 570003"/>
                <a:gd name="connsiteX5" fmla="*/ 11981 w 774701"/>
                <a:gd name="connsiteY5" fmla="*/ 464295 h 570003"/>
                <a:gd name="connsiteX6" fmla="*/ 101631 w 774701"/>
                <a:gd name="connsiteY6" fmla="*/ 553945 h 570003"/>
                <a:gd name="connsiteX7" fmla="*/ 673069 w 774701"/>
                <a:gd name="connsiteY7" fmla="*/ 553945 h 570003"/>
                <a:gd name="connsiteX8" fmla="*/ 762719 w 774701"/>
                <a:gd name="connsiteY8" fmla="*/ 464295 h 570003"/>
                <a:gd name="connsiteX9" fmla="*/ 762719 w 774701"/>
                <a:gd name="connsiteY9" fmla="*/ 296770 h 570003"/>
                <a:gd name="connsiteX10" fmla="*/ 774701 w 774701"/>
                <a:gd name="connsiteY10" fmla="*/ 296770 h 570003"/>
                <a:gd name="connsiteX11" fmla="*/ 774701 w 774701"/>
                <a:gd name="connsiteY11" fmla="*/ 475001 h 570003"/>
                <a:gd name="connsiteX12" fmla="*/ 679699 w 774701"/>
                <a:gd name="connsiteY12" fmla="*/ 570003 h 570003"/>
                <a:gd name="connsiteX13" fmla="*/ 95002 w 774701"/>
                <a:gd name="connsiteY13" fmla="*/ 570003 h 570003"/>
                <a:gd name="connsiteX14" fmla="*/ 0 w 774701"/>
                <a:gd name="connsiteY14" fmla="*/ 475001 h 570003"/>
                <a:gd name="connsiteX15" fmla="*/ 0 w 774701"/>
                <a:gd name="connsiteY15" fmla="*/ 95002 h 570003"/>
                <a:gd name="connsiteX16" fmla="*/ 95002 w 774701"/>
                <a:gd name="connsiteY16" fmla="*/ 0 h 570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74701" h="570003">
                  <a:moveTo>
                    <a:pt x="95002" y="0"/>
                  </a:moveTo>
                  <a:lnTo>
                    <a:pt x="341582" y="0"/>
                  </a:lnTo>
                  <a:lnTo>
                    <a:pt x="330756" y="16057"/>
                  </a:lnTo>
                  <a:lnTo>
                    <a:pt x="101631" y="16057"/>
                  </a:lnTo>
                  <a:cubicBezTo>
                    <a:pt x="52119" y="16057"/>
                    <a:pt x="11981" y="56195"/>
                    <a:pt x="11981" y="105707"/>
                  </a:cubicBezTo>
                  <a:lnTo>
                    <a:pt x="11981" y="464295"/>
                  </a:lnTo>
                  <a:cubicBezTo>
                    <a:pt x="11981" y="513807"/>
                    <a:pt x="52119" y="553945"/>
                    <a:pt x="101631" y="553945"/>
                  </a:cubicBezTo>
                  <a:lnTo>
                    <a:pt x="673069" y="553945"/>
                  </a:lnTo>
                  <a:cubicBezTo>
                    <a:pt x="722581" y="553945"/>
                    <a:pt x="762719" y="513807"/>
                    <a:pt x="762719" y="464295"/>
                  </a:cubicBezTo>
                  <a:lnTo>
                    <a:pt x="762719" y="296770"/>
                  </a:lnTo>
                  <a:lnTo>
                    <a:pt x="774701" y="296770"/>
                  </a:lnTo>
                  <a:lnTo>
                    <a:pt x="774701" y="475001"/>
                  </a:lnTo>
                  <a:cubicBezTo>
                    <a:pt x="774701" y="527469"/>
                    <a:pt x="732167" y="570003"/>
                    <a:pt x="679699" y="570003"/>
                  </a:cubicBezTo>
                  <a:lnTo>
                    <a:pt x="95002" y="570003"/>
                  </a:lnTo>
                  <a:cubicBezTo>
                    <a:pt x="42534" y="570003"/>
                    <a:pt x="0" y="527469"/>
                    <a:pt x="0" y="475001"/>
                  </a:cubicBezTo>
                  <a:lnTo>
                    <a:pt x="0" y="95002"/>
                  </a:lnTo>
                  <a:cubicBezTo>
                    <a:pt x="0" y="42534"/>
                    <a:pt x="42534" y="0"/>
                    <a:pt x="95002" y="0"/>
                  </a:cubicBez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tx1"/>
                </a:solidFill>
              </a:endParaRPr>
            </a:p>
          </p:txBody>
        </p:sp>
        <p:grpSp>
          <p:nvGrpSpPr>
            <p:cNvPr id="62" name="Group 61"/>
            <p:cNvGrpSpPr/>
            <p:nvPr/>
          </p:nvGrpSpPr>
          <p:grpSpPr>
            <a:xfrm flipH="1">
              <a:off x="5711824" y="2668680"/>
              <a:ext cx="774701" cy="1147853"/>
              <a:chOff x="4804567" y="2668680"/>
              <a:chExt cx="774701" cy="1147853"/>
            </a:xfrm>
            <a:grpFill/>
          </p:grpSpPr>
          <p:sp>
            <p:nvSpPr>
              <p:cNvPr id="63" name="Freeform 62"/>
              <p:cNvSpPr/>
              <p:nvPr/>
            </p:nvSpPr>
            <p:spPr bwMode="auto">
              <a:xfrm>
                <a:off x="4804567" y="2668680"/>
                <a:ext cx="774701" cy="570003"/>
              </a:xfrm>
              <a:custGeom>
                <a:avLst/>
                <a:gdLst>
                  <a:gd name="connsiteX0" fmla="*/ 95002 w 774701"/>
                  <a:gd name="connsiteY0" fmla="*/ 0 h 570003"/>
                  <a:gd name="connsiteX1" fmla="*/ 679699 w 774701"/>
                  <a:gd name="connsiteY1" fmla="*/ 0 h 570003"/>
                  <a:gd name="connsiteX2" fmla="*/ 774701 w 774701"/>
                  <a:gd name="connsiteY2" fmla="*/ 95002 h 570003"/>
                  <a:gd name="connsiteX3" fmla="*/ 774701 w 774701"/>
                  <a:gd name="connsiteY3" fmla="*/ 281548 h 570003"/>
                  <a:gd name="connsiteX4" fmla="*/ 762719 w 774701"/>
                  <a:gd name="connsiteY4" fmla="*/ 283662 h 570003"/>
                  <a:gd name="connsiteX5" fmla="*/ 762719 w 774701"/>
                  <a:gd name="connsiteY5" fmla="*/ 105707 h 570003"/>
                  <a:gd name="connsiteX6" fmla="*/ 673069 w 774701"/>
                  <a:gd name="connsiteY6" fmla="*/ 16057 h 570003"/>
                  <a:gd name="connsiteX7" fmla="*/ 101631 w 774701"/>
                  <a:gd name="connsiteY7" fmla="*/ 16057 h 570003"/>
                  <a:gd name="connsiteX8" fmla="*/ 11981 w 774701"/>
                  <a:gd name="connsiteY8" fmla="*/ 105707 h 570003"/>
                  <a:gd name="connsiteX9" fmla="*/ 11981 w 774701"/>
                  <a:gd name="connsiteY9" fmla="*/ 464295 h 570003"/>
                  <a:gd name="connsiteX10" fmla="*/ 101631 w 774701"/>
                  <a:gd name="connsiteY10" fmla="*/ 553945 h 570003"/>
                  <a:gd name="connsiteX11" fmla="*/ 367763 w 774701"/>
                  <a:gd name="connsiteY11" fmla="*/ 553945 h 570003"/>
                  <a:gd name="connsiteX12" fmla="*/ 349312 w 774701"/>
                  <a:gd name="connsiteY12" fmla="*/ 566385 h 570003"/>
                  <a:gd name="connsiteX13" fmla="*/ 346873 w 774701"/>
                  <a:gd name="connsiteY13" fmla="*/ 570003 h 570003"/>
                  <a:gd name="connsiteX14" fmla="*/ 95002 w 774701"/>
                  <a:gd name="connsiteY14" fmla="*/ 570003 h 570003"/>
                  <a:gd name="connsiteX15" fmla="*/ 0 w 774701"/>
                  <a:gd name="connsiteY15" fmla="*/ 475001 h 570003"/>
                  <a:gd name="connsiteX16" fmla="*/ 0 w 774701"/>
                  <a:gd name="connsiteY16" fmla="*/ 95002 h 570003"/>
                  <a:gd name="connsiteX17" fmla="*/ 95002 w 774701"/>
                  <a:gd name="connsiteY17" fmla="*/ 0 h 570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74701" h="570003">
                    <a:moveTo>
                      <a:pt x="95002" y="0"/>
                    </a:moveTo>
                    <a:lnTo>
                      <a:pt x="679699" y="0"/>
                    </a:lnTo>
                    <a:cubicBezTo>
                      <a:pt x="732167" y="0"/>
                      <a:pt x="774701" y="42534"/>
                      <a:pt x="774701" y="95002"/>
                    </a:cubicBezTo>
                    <a:lnTo>
                      <a:pt x="774701" y="281548"/>
                    </a:lnTo>
                    <a:lnTo>
                      <a:pt x="762719" y="283662"/>
                    </a:lnTo>
                    <a:lnTo>
                      <a:pt x="762719" y="105707"/>
                    </a:lnTo>
                    <a:cubicBezTo>
                      <a:pt x="762719" y="56195"/>
                      <a:pt x="722581" y="16057"/>
                      <a:pt x="673069" y="16057"/>
                    </a:cubicBezTo>
                    <a:lnTo>
                      <a:pt x="101631" y="16057"/>
                    </a:lnTo>
                    <a:cubicBezTo>
                      <a:pt x="52119" y="16057"/>
                      <a:pt x="11981" y="56195"/>
                      <a:pt x="11981" y="105707"/>
                    </a:cubicBezTo>
                    <a:lnTo>
                      <a:pt x="11981" y="464295"/>
                    </a:lnTo>
                    <a:cubicBezTo>
                      <a:pt x="11981" y="513807"/>
                      <a:pt x="52119" y="553945"/>
                      <a:pt x="101631" y="553945"/>
                    </a:cubicBezTo>
                    <a:lnTo>
                      <a:pt x="367763" y="553945"/>
                    </a:lnTo>
                    <a:lnTo>
                      <a:pt x="349312" y="566385"/>
                    </a:lnTo>
                    <a:lnTo>
                      <a:pt x="346873" y="570003"/>
                    </a:lnTo>
                    <a:lnTo>
                      <a:pt x="95002" y="570003"/>
                    </a:lnTo>
                    <a:cubicBezTo>
                      <a:pt x="42534" y="570003"/>
                      <a:pt x="0" y="527469"/>
                      <a:pt x="0" y="475001"/>
                    </a:cubicBezTo>
                    <a:lnTo>
                      <a:pt x="0" y="95002"/>
                    </a:lnTo>
                    <a:cubicBezTo>
                      <a:pt x="0" y="42534"/>
                      <a:pt x="42534" y="0"/>
                      <a:pt x="95002" y="0"/>
                    </a:cubicBez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tx1"/>
                  </a:solidFill>
                </a:endParaRPr>
              </a:p>
            </p:txBody>
          </p:sp>
          <p:sp>
            <p:nvSpPr>
              <p:cNvPr id="64" name="Freeform 63"/>
              <p:cNvSpPr/>
              <p:nvPr/>
            </p:nvSpPr>
            <p:spPr bwMode="auto">
              <a:xfrm>
                <a:off x="4804567" y="3246530"/>
                <a:ext cx="774701" cy="570003"/>
              </a:xfrm>
              <a:custGeom>
                <a:avLst/>
                <a:gdLst>
                  <a:gd name="connsiteX0" fmla="*/ 95002 w 774701"/>
                  <a:gd name="connsiteY0" fmla="*/ 0 h 570003"/>
                  <a:gd name="connsiteX1" fmla="*/ 341582 w 774701"/>
                  <a:gd name="connsiteY1" fmla="*/ 0 h 570003"/>
                  <a:gd name="connsiteX2" fmla="*/ 330756 w 774701"/>
                  <a:gd name="connsiteY2" fmla="*/ 16057 h 570003"/>
                  <a:gd name="connsiteX3" fmla="*/ 101631 w 774701"/>
                  <a:gd name="connsiteY3" fmla="*/ 16057 h 570003"/>
                  <a:gd name="connsiteX4" fmla="*/ 11981 w 774701"/>
                  <a:gd name="connsiteY4" fmla="*/ 105707 h 570003"/>
                  <a:gd name="connsiteX5" fmla="*/ 11981 w 774701"/>
                  <a:gd name="connsiteY5" fmla="*/ 464295 h 570003"/>
                  <a:gd name="connsiteX6" fmla="*/ 101631 w 774701"/>
                  <a:gd name="connsiteY6" fmla="*/ 553945 h 570003"/>
                  <a:gd name="connsiteX7" fmla="*/ 673069 w 774701"/>
                  <a:gd name="connsiteY7" fmla="*/ 553945 h 570003"/>
                  <a:gd name="connsiteX8" fmla="*/ 762719 w 774701"/>
                  <a:gd name="connsiteY8" fmla="*/ 464295 h 570003"/>
                  <a:gd name="connsiteX9" fmla="*/ 762719 w 774701"/>
                  <a:gd name="connsiteY9" fmla="*/ 296770 h 570003"/>
                  <a:gd name="connsiteX10" fmla="*/ 774701 w 774701"/>
                  <a:gd name="connsiteY10" fmla="*/ 296770 h 570003"/>
                  <a:gd name="connsiteX11" fmla="*/ 774701 w 774701"/>
                  <a:gd name="connsiteY11" fmla="*/ 475001 h 570003"/>
                  <a:gd name="connsiteX12" fmla="*/ 679699 w 774701"/>
                  <a:gd name="connsiteY12" fmla="*/ 570003 h 570003"/>
                  <a:gd name="connsiteX13" fmla="*/ 95002 w 774701"/>
                  <a:gd name="connsiteY13" fmla="*/ 570003 h 570003"/>
                  <a:gd name="connsiteX14" fmla="*/ 0 w 774701"/>
                  <a:gd name="connsiteY14" fmla="*/ 475001 h 570003"/>
                  <a:gd name="connsiteX15" fmla="*/ 0 w 774701"/>
                  <a:gd name="connsiteY15" fmla="*/ 95002 h 570003"/>
                  <a:gd name="connsiteX16" fmla="*/ 95002 w 774701"/>
                  <a:gd name="connsiteY16" fmla="*/ 0 h 570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74701" h="570003">
                    <a:moveTo>
                      <a:pt x="95002" y="0"/>
                    </a:moveTo>
                    <a:lnTo>
                      <a:pt x="341582" y="0"/>
                    </a:lnTo>
                    <a:lnTo>
                      <a:pt x="330756" y="16057"/>
                    </a:lnTo>
                    <a:lnTo>
                      <a:pt x="101631" y="16057"/>
                    </a:lnTo>
                    <a:cubicBezTo>
                      <a:pt x="52119" y="16057"/>
                      <a:pt x="11981" y="56195"/>
                      <a:pt x="11981" y="105707"/>
                    </a:cubicBezTo>
                    <a:lnTo>
                      <a:pt x="11981" y="464295"/>
                    </a:lnTo>
                    <a:cubicBezTo>
                      <a:pt x="11981" y="513807"/>
                      <a:pt x="52119" y="553945"/>
                      <a:pt x="101631" y="553945"/>
                    </a:cubicBezTo>
                    <a:lnTo>
                      <a:pt x="673069" y="553945"/>
                    </a:lnTo>
                    <a:cubicBezTo>
                      <a:pt x="722581" y="553945"/>
                      <a:pt x="762719" y="513807"/>
                      <a:pt x="762719" y="464295"/>
                    </a:cubicBezTo>
                    <a:lnTo>
                      <a:pt x="762719" y="296770"/>
                    </a:lnTo>
                    <a:lnTo>
                      <a:pt x="774701" y="296770"/>
                    </a:lnTo>
                    <a:lnTo>
                      <a:pt x="774701" y="475001"/>
                    </a:lnTo>
                    <a:cubicBezTo>
                      <a:pt x="774701" y="527469"/>
                      <a:pt x="732167" y="570003"/>
                      <a:pt x="679699" y="570003"/>
                    </a:cubicBezTo>
                    <a:lnTo>
                      <a:pt x="95002" y="570003"/>
                    </a:lnTo>
                    <a:cubicBezTo>
                      <a:pt x="42534" y="570003"/>
                      <a:pt x="0" y="527469"/>
                      <a:pt x="0" y="475001"/>
                    </a:cubicBezTo>
                    <a:lnTo>
                      <a:pt x="0" y="95002"/>
                    </a:lnTo>
                    <a:cubicBezTo>
                      <a:pt x="0" y="42534"/>
                      <a:pt x="42534" y="0"/>
                      <a:pt x="95002" y="0"/>
                    </a:cubicBez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solidFill>
                    <a:schemeClr val="tx1"/>
                  </a:solidFill>
                </a:endParaRPr>
              </a:p>
            </p:txBody>
          </p:sp>
        </p:grpSp>
      </p:grpSp>
      <p:sp>
        <p:nvSpPr>
          <p:cNvPr id="67" name="Freeform 66"/>
          <p:cNvSpPr>
            <a:spLocks/>
          </p:cNvSpPr>
          <p:nvPr/>
        </p:nvSpPr>
        <p:spPr bwMode="auto">
          <a:xfrm>
            <a:off x="9966620" y="2688014"/>
            <a:ext cx="1027618" cy="1108176"/>
          </a:xfrm>
          <a:custGeom>
            <a:avLst/>
            <a:gdLst>
              <a:gd name="connsiteX0" fmla="*/ 623808 w 1048497"/>
              <a:gd name="connsiteY0" fmla="*/ 0 h 1130692"/>
              <a:gd name="connsiteX1" fmla="*/ 637293 w 1048497"/>
              <a:gd name="connsiteY1" fmla="*/ 5465 h 1130692"/>
              <a:gd name="connsiteX2" fmla="*/ 986311 w 1048497"/>
              <a:gd name="connsiteY2" fmla="*/ 320195 h 1130692"/>
              <a:gd name="connsiteX3" fmla="*/ 993661 w 1048497"/>
              <a:gd name="connsiteY3" fmla="*/ 326823 h 1130692"/>
              <a:gd name="connsiteX4" fmla="*/ 960731 w 1048497"/>
              <a:gd name="connsiteY4" fmla="*/ 342017 h 1130692"/>
              <a:gd name="connsiteX5" fmla="*/ 954333 w 1048497"/>
              <a:gd name="connsiteY5" fmla="*/ 346505 h 1130692"/>
              <a:gd name="connsiteX6" fmla="*/ 918802 w 1048497"/>
              <a:gd name="connsiteY6" fmla="*/ 314433 h 1130692"/>
              <a:gd name="connsiteX7" fmla="*/ 623833 w 1048497"/>
              <a:gd name="connsiteY7" fmla="*/ 48174 h 1130692"/>
              <a:gd name="connsiteX8" fmla="*/ 74942 w 1048497"/>
              <a:gd name="connsiteY8" fmla="*/ 544576 h 1130692"/>
              <a:gd name="connsiteX9" fmla="*/ 141348 w 1048497"/>
              <a:gd name="connsiteY9" fmla="*/ 544576 h 1130692"/>
              <a:gd name="connsiteX10" fmla="*/ 162101 w 1048497"/>
              <a:gd name="connsiteY10" fmla="*/ 565389 h 1130692"/>
              <a:gd name="connsiteX11" fmla="*/ 162101 w 1048497"/>
              <a:gd name="connsiteY11" fmla="*/ 1049303 h 1130692"/>
              <a:gd name="connsiteX12" fmla="*/ 201529 w 1048497"/>
              <a:gd name="connsiteY12" fmla="*/ 1088848 h 1130692"/>
              <a:gd name="connsiteX13" fmla="*/ 482719 w 1048497"/>
              <a:gd name="connsiteY13" fmla="*/ 1088848 h 1130692"/>
              <a:gd name="connsiteX14" fmla="*/ 482719 w 1048497"/>
              <a:gd name="connsiteY14" fmla="*/ 686107 h 1130692"/>
              <a:gd name="connsiteX15" fmla="*/ 503471 w 1048497"/>
              <a:gd name="connsiteY15" fmla="*/ 665294 h 1130692"/>
              <a:gd name="connsiteX16" fmla="*/ 744195 w 1048497"/>
              <a:gd name="connsiteY16" fmla="*/ 665294 h 1130692"/>
              <a:gd name="connsiteX17" fmla="*/ 764946 w 1048497"/>
              <a:gd name="connsiteY17" fmla="*/ 686107 h 1130692"/>
              <a:gd name="connsiteX18" fmla="*/ 764946 w 1048497"/>
              <a:gd name="connsiteY18" fmla="*/ 1088848 h 1130692"/>
              <a:gd name="connsiteX19" fmla="*/ 927509 w 1048497"/>
              <a:gd name="connsiteY19" fmla="*/ 1088848 h 1130692"/>
              <a:gd name="connsiteX20" fmla="*/ 947670 w 1048497"/>
              <a:gd name="connsiteY20" fmla="*/ 1088848 h 1130692"/>
              <a:gd name="connsiteX21" fmla="*/ 960731 w 1048497"/>
              <a:gd name="connsiteY21" fmla="*/ 1098009 h 1130692"/>
              <a:gd name="connsiteX22" fmla="*/ 1008113 w 1048497"/>
              <a:gd name="connsiteY22" fmla="*/ 1119872 h 1130692"/>
              <a:gd name="connsiteX23" fmla="*/ 1048497 w 1048497"/>
              <a:gd name="connsiteY23" fmla="*/ 1130236 h 1130692"/>
              <a:gd name="connsiteX24" fmla="*/ 1045988 w 1048497"/>
              <a:gd name="connsiteY24" fmla="*/ 1130692 h 1130692"/>
              <a:gd name="connsiteX25" fmla="*/ 744134 w 1048497"/>
              <a:gd name="connsiteY25" fmla="*/ 1130692 h 1130692"/>
              <a:gd name="connsiteX26" fmla="*/ 723388 w 1048497"/>
              <a:gd name="connsiteY26" fmla="*/ 1109874 h 1130692"/>
              <a:gd name="connsiteX27" fmla="*/ 723388 w 1048497"/>
              <a:gd name="connsiteY27" fmla="*/ 707041 h 1130692"/>
              <a:gd name="connsiteX28" fmla="*/ 524227 w 1048497"/>
              <a:gd name="connsiteY28" fmla="*/ 707041 h 1130692"/>
              <a:gd name="connsiteX29" fmla="*/ 524227 w 1048497"/>
              <a:gd name="connsiteY29" fmla="*/ 1109874 h 1130692"/>
              <a:gd name="connsiteX30" fmla="*/ 503482 w 1048497"/>
              <a:gd name="connsiteY30" fmla="*/ 1130692 h 1130692"/>
              <a:gd name="connsiteX31" fmla="*/ 201628 w 1048497"/>
              <a:gd name="connsiteY31" fmla="*/ 1130692 h 1130692"/>
              <a:gd name="connsiteX32" fmla="*/ 120719 w 1048497"/>
              <a:gd name="connsiteY32" fmla="*/ 1049501 h 1130692"/>
              <a:gd name="connsiteX33" fmla="*/ 120719 w 1048497"/>
              <a:gd name="connsiteY33" fmla="*/ 586295 h 1130692"/>
              <a:gd name="connsiteX34" fmla="*/ 20101 w 1048497"/>
              <a:gd name="connsiteY34" fmla="*/ 586295 h 1130692"/>
              <a:gd name="connsiteX35" fmla="*/ 1430 w 1048497"/>
              <a:gd name="connsiteY35" fmla="*/ 572763 h 1130692"/>
              <a:gd name="connsiteX36" fmla="*/ 6616 w 1048497"/>
              <a:gd name="connsiteY36" fmla="*/ 549863 h 1130692"/>
              <a:gd name="connsiteX37" fmla="*/ 610323 w 1048497"/>
              <a:gd name="connsiteY37" fmla="*/ 5465 h 1130692"/>
              <a:gd name="connsiteX38" fmla="*/ 623808 w 1048497"/>
              <a:gd name="connsiteY38" fmla="*/ 0 h 1130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048497" h="1130692">
                <a:moveTo>
                  <a:pt x="623808" y="0"/>
                </a:moveTo>
                <a:cubicBezTo>
                  <a:pt x="628735" y="0"/>
                  <a:pt x="633662" y="1822"/>
                  <a:pt x="637293" y="5465"/>
                </a:cubicBezTo>
                <a:cubicBezTo>
                  <a:pt x="788220" y="141564"/>
                  <a:pt x="901415" y="243639"/>
                  <a:pt x="986311" y="320195"/>
                </a:cubicBezTo>
                <a:lnTo>
                  <a:pt x="993661" y="326823"/>
                </a:lnTo>
                <a:lnTo>
                  <a:pt x="960731" y="342017"/>
                </a:lnTo>
                <a:lnTo>
                  <a:pt x="954333" y="346505"/>
                </a:lnTo>
                <a:lnTo>
                  <a:pt x="918802" y="314433"/>
                </a:lnTo>
                <a:cubicBezTo>
                  <a:pt x="623833" y="48174"/>
                  <a:pt x="623833" y="48174"/>
                  <a:pt x="623833" y="48174"/>
                </a:cubicBezTo>
                <a:cubicBezTo>
                  <a:pt x="74942" y="544576"/>
                  <a:pt x="74942" y="544576"/>
                  <a:pt x="74942" y="544576"/>
                </a:cubicBezTo>
                <a:cubicBezTo>
                  <a:pt x="141348" y="544576"/>
                  <a:pt x="141348" y="544576"/>
                  <a:pt x="141348" y="544576"/>
                </a:cubicBezTo>
                <a:cubicBezTo>
                  <a:pt x="152762" y="544576"/>
                  <a:pt x="162101" y="553942"/>
                  <a:pt x="162101" y="565389"/>
                </a:cubicBezTo>
                <a:cubicBezTo>
                  <a:pt x="162101" y="1049303"/>
                  <a:pt x="162101" y="1049303"/>
                  <a:pt x="162101" y="1049303"/>
                </a:cubicBezTo>
                <a:cubicBezTo>
                  <a:pt x="162101" y="1074279"/>
                  <a:pt x="176627" y="1088848"/>
                  <a:pt x="201529" y="1088848"/>
                </a:cubicBezTo>
                <a:cubicBezTo>
                  <a:pt x="482719" y="1088848"/>
                  <a:pt x="482719" y="1088848"/>
                  <a:pt x="482719" y="1088848"/>
                </a:cubicBezTo>
                <a:cubicBezTo>
                  <a:pt x="482719" y="686107"/>
                  <a:pt x="482719" y="686107"/>
                  <a:pt x="482719" y="686107"/>
                </a:cubicBezTo>
                <a:cubicBezTo>
                  <a:pt x="482719" y="674660"/>
                  <a:pt x="492058" y="665294"/>
                  <a:pt x="503471" y="665294"/>
                </a:cubicBezTo>
                <a:cubicBezTo>
                  <a:pt x="744195" y="665294"/>
                  <a:pt x="744195" y="665294"/>
                  <a:pt x="744195" y="665294"/>
                </a:cubicBezTo>
                <a:cubicBezTo>
                  <a:pt x="755608" y="665294"/>
                  <a:pt x="764946" y="674660"/>
                  <a:pt x="764946" y="686107"/>
                </a:cubicBezTo>
                <a:lnTo>
                  <a:pt x="764946" y="1088848"/>
                </a:lnTo>
                <a:cubicBezTo>
                  <a:pt x="835244" y="1088848"/>
                  <a:pt x="887967" y="1088848"/>
                  <a:pt x="927509" y="1088848"/>
                </a:cubicBezTo>
                <a:lnTo>
                  <a:pt x="947670" y="1088848"/>
                </a:lnTo>
                <a:lnTo>
                  <a:pt x="960731" y="1098009"/>
                </a:lnTo>
                <a:cubicBezTo>
                  <a:pt x="974677" y="1105868"/>
                  <a:pt x="990558" y="1113189"/>
                  <a:pt x="1008113" y="1119872"/>
                </a:cubicBezTo>
                <a:lnTo>
                  <a:pt x="1048497" y="1130236"/>
                </a:lnTo>
                <a:lnTo>
                  <a:pt x="1045988" y="1130692"/>
                </a:lnTo>
                <a:cubicBezTo>
                  <a:pt x="744134" y="1130692"/>
                  <a:pt x="744134" y="1130692"/>
                  <a:pt x="744134" y="1130692"/>
                </a:cubicBezTo>
                <a:cubicBezTo>
                  <a:pt x="732724" y="1130692"/>
                  <a:pt x="723388" y="1121324"/>
                  <a:pt x="723388" y="1109874"/>
                </a:cubicBezTo>
                <a:cubicBezTo>
                  <a:pt x="723388" y="707041"/>
                  <a:pt x="723388" y="707041"/>
                  <a:pt x="723388" y="707041"/>
                </a:cubicBezTo>
                <a:cubicBezTo>
                  <a:pt x="524227" y="707041"/>
                  <a:pt x="524227" y="707041"/>
                  <a:pt x="524227" y="707041"/>
                </a:cubicBezTo>
                <a:cubicBezTo>
                  <a:pt x="524227" y="1109874"/>
                  <a:pt x="524227" y="1109874"/>
                  <a:pt x="524227" y="1109874"/>
                </a:cubicBezTo>
                <a:cubicBezTo>
                  <a:pt x="524227" y="1121324"/>
                  <a:pt x="514892" y="1130692"/>
                  <a:pt x="503482" y="1130692"/>
                </a:cubicBezTo>
                <a:cubicBezTo>
                  <a:pt x="201628" y="1130692"/>
                  <a:pt x="201628" y="1130692"/>
                  <a:pt x="201628" y="1130692"/>
                </a:cubicBezTo>
                <a:cubicBezTo>
                  <a:pt x="153913" y="1130692"/>
                  <a:pt x="120719" y="1097383"/>
                  <a:pt x="120719" y="1049501"/>
                </a:cubicBezTo>
                <a:cubicBezTo>
                  <a:pt x="120719" y="586295"/>
                  <a:pt x="120719" y="586295"/>
                  <a:pt x="120719" y="586295"/>
                </a:cubicBezTo>
                <a:cubicBezTo>
                  <a:pt x="20101" y="586295"/>
                  <a:pt x="20101" y="586295"/>
                  <a:pt x="20101" y="586295"/>
                </a:cubicBezTo>
                <a:cubicBezTo>
                  <a:pt x="11803" y="586295"/>
                  <a:pt x="4542" y="581090"/>
                  <a:pt x="1430" y="572763"/>
                </a:cubicBezTo>
                <a:cubicBezTo>
                  <a:pt x="-1682" y="564435"/>
                  <a:pt x="393" y="556108"/>
                  <a:pt x="6616" y="549863"/>
                </a:cubicBezTo>
                <a:cubicBezTo>
                  <a:pt x="610323" y="5465"/>
                  <a:pt x="610323" y="5465"/>
                  <a:pt x="610323" y="5465"/>
                </a:cubicBezTo>
                <a:cubicBezTo>
                  <a:pt x="613954" y="1822"/>
                  <a:pt x="618881" y="0"/>
                  <a:pt x="623808" y="0"/>
                </a:cubicBezTo>
                <a:close/>
              </a:path>
            </a:pathLst>
          </a:custGeom>
          <a:solidFill>
            <a:schemeClr val="accent1"/>
          </a:solidFill>
          <a:ln>
            <a:solidFill>
              <a:schemeClr val="accent1"/>
            </a:solidFill>
          </a:ln>
        </p:spPr>
        <p:txBody>
          <a:bodyPr vert="horz" wrap="square" lIns="89619" tIns="44810" rIns="89619" bIns="44810" numCol="1" anchor="t" anchorCtr="0" compatLnSpc="1">
            <a:prstTxWarp prst="textNoShape">
              <a:avLst/>
            </a:prstTxWarp>
            <a:noAutofit/>
          </a:bodyPr>
          <a:lstStyle/>
          <a:p>
            <a:pPr defTabSz="896203">
              <a:defRPr/>
            </a:pPr>
            <a:endParaRPr lang="en-US" sz="1764" kern="0">
              <a:solidFill>
                <a:sysClr val="windowText" lastClr="000000"/>
              </a:solidFill>
            </a:endParaRPr>
          </a:p>
        </p:txBody>
      </p:sp>
      <p:cxnSp>
        <p:nvCxnSpPr>
          <p:cNvPr id="69" name="Straight Arrow Connector 68"/>
          <p:cNvCxnSpPr/>
          <p:nvPr/>
        </p:nvCxnSpPr>
        <p:spPr>
          <a:xfrm>
            <a:off x="4119991" y="3237626"/>
            <a:ext cx="995768" cy="0"/>
          </a:xfrm>
          <a:prstGeom prst="straightConnector1">
            <a:avLst/>
          </a:prstGeom>
          <a:ln w="12700">
            <a:solidFill>
              <a:srgbClr val="0078D7"/>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70" name="Straight Arrow Connector 69"/>
          <p:cNvCxnSpPr/>
          <p:nvPr/>
        </p:nvCxnSpPr>
        <p:spPr>
          <a:xfrm>
            <a:off x="6771224" y="3237626"/>
            <a:ext cx="1116356" cy="0"/>
          </a:xfrm>
          <a:prstGeom prst="straightConnector1">
            <a:avLst/>
          </a:prstGeom>
          <a:ln w="12700">
            <a:solidFill>
              <a:srgbClr val="0078D7"/>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flipV="1">
            <a:off x="8782957" y="3237626"/>
            <a:ext cx="1033783" cy="10034"/>
          </a:xfrm>
          <a:prstGeom prst="straightConnector1">
            <a:avLst/>
          </a:prstGeom>
          <a:ln w="12700">
            <a:solidFill>
              <a:srgbClr val="0078D7"/>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74" name="Elbow Connector 73"/>
          <p:cNvCxnSpPr/>
          <p:nvPr/>
        </p:nvCxnSpPr>
        <p:spPr>
          <a:xfrm>
            <a:off x="6004795" y="4101455"/>
            <a:ext cx="4212053" cy="422278"/>
          </a:xfrm>
          <a:prstGeom prst="bentConnector3">
            <a:avLst>
              <a:gd name="adj1" fmla="val 12"/>
            </a:avLst>
          </a:prstGeom>
          <a:ln w="12700">
            <a:solidFill>
              <a:srgbClr val="0078D7"/>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75" name="Elbow Connector 74"/>
          <p:cNvCxnSpPr/>
          <p:nvPr/>
        </p:nvCxnSpPr>
        <p:spPr>
          <a:xfrm>
            <a:off x="8815350" y="1995110"/>
            <a:ext cx="1761339" cy="576340"/>
          </a:xfrm>
          <a:prstGeom prst="bentConnector3">
            <a:avLst>
              <a:gd name="adj1" fmla="val 100033"/>
            </a:avLst>
          </a:prstGeom>
          <a:ln w="12700">
            <a:solidFill>
              <a:srgbClr val="0078D7"/>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76" name="TextBox 75"/>
          <p:cNvSpPr txBox="1"/>
          <p:nvPr/>
        </p:nvSpPr>
        <p:spPr>
          <a:xfrm>
            <a:off x="2741474" y="2381889"/>
            <a:ext cx="581891" cy="162865"/>
          </a:xfrm>
          <a:prstGeom prst="rect">
            <a:avLst/>
          </a:prstGeom>
          <a:noFill/>
        </p:spPr>
        <p:txBody>
          <a:bodyPr wrap="none" lIns="0" tIns="0" rIns="0" bIns="0" rtlCol="0">
            <a:spAutoFit/>
          </a:bodyPr>
          <a:lstStyle/>
          <a:p>
            <a:pPr defTabSz="896203">
              <a:lnSpc>
                <a:spcPct val="90000"/>
              </a:lnSpc>
              <a:spcAft>
                <a:spcPts val="588"/>
              </a:spcAft>
              <a:defRPr/>
            </a:pPr>
            <a:r>
              <a:rPr lang="en-US" sz="1176" kern="0" dirty="0">
                <a:solidFill>
                  <a:srgbClr val="0078D7"/>
                </a:solidFill>
              </a:rPr>
              <a:t>Power BI</a:t>
            </a:r>
          </a:p>
        </p:txBody>
      </p:sp>
      <p:sp>
        <p:nvSpPr>
          <p:cNvPr id="77" name="TextBox 76"/>
          <p:cNvSpPr txBox="1"/>
          <p:nvPr/>
        </p:nvSpPr>
        <p:spPr>
          <a:xfrm>
            <a:off x="5551052" y="3872429"/>
            <a:ext cx="786860" cy="162889"/>
          </a:xfrm>
          <a:prstGeom prst="rect">
            <a:avLst/>
          </a:prstGeom>
          <a:noFill/>
        </p:spPr>
        <p:txBody>
          <a:bodyPr wrap="none" lIns="0" tIns="0" rIns="0" bIns="0" rtlCol="0">
            <a:spAutoFit/>
          </a:bodyPr>
          <a:lstStyle/>
          <a:p>
            <a:pPr algn="ctr" defTabSz="896203">
              <a:lnSpc>
                <a:spcPct val="90000"/>
              </a:lnSpc>
              <a:spcAft>
                <a:spcPts val="588"/>
              </a:spcAft>
              <a:defRPr/>
            </a:pPr>
            <a:r>
              <a:rPr lang="en-US" sz="1176" kern="0" dirty="0">
                <a:solidFill>
                  <a:srgbClr val="0078D7"/>
                </a:solidFill>
              </a:rPr>
              <a:t>App Service</a:t>
            </a:r>
          </a:p>
        </p:txBody>
      </p:sp>
      <p:sp>
        <p:nvSpPr>
          <p:cNvPr id="78" name="TextBox 77"/>
          <p:cNvSpPr txBox="1"/>
          <p:nvPr/>
        </p:nvSpPr>
        <p:spPr>
          <a:xfrm>
            <a:off x="7887580" y="3747615"/>
            <a:ext cx="923796" cy="162889"/>
          </a:xfrm>
          <a:prstGeom prst="rect">
            <a:avLst/>
          </a:prstGeom>
          <a:noFill/>
        </p:spPr>
        <p:txBody>
          <a:bodyPr wrap="none" lIns="0" tIns="0" rIns="0" bIns="0" rtlCol="0">
            <a:spAutoFit/>
          </a:bodyPr>
          <a:lstStyle/>
          <a:p>
            <a:pPr algn="ctr" defTabSz="896203">
              <a:lnSpc>
                <a:spcPct val="90000"/>
              </a:lnSpc>
              <a:spcAft>
                <a:spcPts val="588"/>
              </a:spcAft>
              <a:defRPr/>
            </a:pPr>
            <a:r>
              <a:rPr lang="en-US" sz="1176" kern="0" dirty="0">
                <a:solidFill>
                  <a:srgbClr val="0078D7"/>
                </a:solidFill>
              </a:rPr>
              <a:t>SQL Database</a:t>
            </a:r>
          </a:p>
        </p:txBody>
      </p:sp>
      <p:sp>
        <p:nvSpPr>
          <p:cNvPr id="79" name="TextBox 78"/>
          <p:cNvSpPr txBox="1"/>
          <p:nvPr/>
        </p:nvSpPr>
        <p:spPr>
          <a:xfrm>
            <a:off x="9845159" y="3896298"/>
            <a:ext cx="1782925" cy="162889"/>
          </a:xfrm>
          <a:prstGeom prst="rect">
            <a:avLst/>
          </a:prstGeom>
          <a:noFill/>
        </p:spPr>
        <p:txBody>
          <a:bodyPr wrap="square" lIns="0" tIns="0" rIns="0" bIns="0" rtlCol="0">
            <a:spAutoFit/>
          </a:bodyPr>
          <a:lstStyle/>
          <a:p>
            <a:pPr algn="ctr" defTabSz="896203">
              <a:lnSpc>
                <a:spcPct val="90000"/>
              </a:lnSpc>
              <a:spcAft>
                <a:spcPts val="588"/>
              </a:spcAft>
              <a:defRPr/>
            </a:pPr>
            <a:r>
              <a:rPr lang="en-US" sz="1176" kern="0" dirty="0">
                <a:solidFill>
                  <a:srgbClr val="0078D7"/>
                </a:solidFill>
              </a:rPr>
              <a:t>SQL Data Warehouse</a:t>
            </a:r>
          </a:p>
        </p:txBody>
      </p:sp>
      <p:sp>
        <p:nvSpPr>
          <p:cNvPr id="80" name="TextBox 79"/>
          <p:cNvSpPr txBox="1"/>
          <p:nvPr/>
        </p:nvSpPr>
        <p:spPr>
          <a:xfrm>
            <a:off x="9554193" y="4778343"/>
            <a:ext cx="2044990" cy="162889"/>
          </a:xfrm>
          <a:prstGeom prst="rect">
            <a:avLst/>
          </a:prstGeom>
          <a:noFill/>
        </p:spPr>
        <p:txBody>
          <a:bodyPr wrap="square" lIns="0" tIns="0" rIns="0" bIns="0" rtlCol="0">
            <a:spAutoFit/>
          </a:bodyPr>
          <a:lstStyle/>
          <a:p>
            <a:pPr algn="ctr" defTabSz="896203">
              <a:lnSpc>
                <a:spcPct val="90000"/>
              </a:lnSpc>
              <a:spcAft>
                <a:spcPts val="588"/>
              </a:spcAft>
              <a:defRPr/>
            </a:pPr>
            <a:r>
              <a:rPr lang="en-US" sz="1176" kern="0" dirty="0">
                <a:solidFill>
                  <a:srgbClr val="0078D7"/>
                </a:solidFill>
              </a:rPr>
              <a:t>Machine Learning</a:t>
            </a:r>
          </a:p>
        </p:txBody>
      </p:sp>
      <p:sp>
        <p:nvSpPr>
          <p:cNvPr id="81" name="TextBox 80"/>
          <p:cNvSpPr txBox="1"/>
          <p:nvPr/>
        </p:nvSpPr>
        <p:spPr>
          <a:xfrm>
            <a:off x="8050632" y="2353583"/>
            <a:ext cx="597692" cy="162889"/>
          </a:xfrm>
          <a:prstGeom prst="rect">
            <a:avLst/>
          </a:prstGeom>
          <a:noFill/>
        </p:spPr>
        <p:txBody>
          <a:bodyPr wrap="square" lIns="0" tIns="0" rIns="0" bIns="0" rtlCol="0">
            <a:spAutoFit/>
          </a:bodyPr>
          <a:lstStyle/>
          <a:p>
            <a:pPr algn="ctr" defTabSz="896203">
              <a:lnSpc>
                <a:spcPct val="90000"/>
              </a:lnSpc>
              <a:spcAft>
                <a:spcPts val="588"/>
              </a:spcAft>
              <a:defRPr/>
            </a:pPr>
            <a:r>
              <a:rPr lang="en-US" sz="1176" kern="0" dirty="0">
                <a:solidFill>
                  <a:srgbClr val="0078D7"/>
                </a:solidFill>
              </a:rPr>
              <a:t>Hadoop</a:t>
            </a:r>
          </a:p>
        </p:txBody>
      </p:sp>
      <p:sp>
        <p:nvSpPr>
          <p:cNvPr id="82" name="TextBox 81"/>
          <p:cNvSpPr txBox="1"/>
          <p:nvPr/>
        </p:nvSpPr>
        <p:spPr>
          <a:xfrm>
            <a:off x="7582594" y="4610384"/>
            <a:ext cx="1533769" cy="162889"/>
          </a:xfrm>
          <a:prstGeom prst="rect">
            <a:avLst/>
          </a:prstGeom>
          <a:noFill/>
        </p:spPr>
        <p:txBody>
          <a:bodyPr wrap="square" lIns="0" tIns="0" rIns="0" bIns="0" rtlCol="0">
            <a:spAutoFit/>
          </a:bodyPr>
          <a:lstStyle/>
          <a:p>
            <a:pPr algn="ctr" defTabSz="896203">
              <a:lnSpc>
                <a:spcPct val="90000"/>
              </a:lnSpc>
              <a:spcAft>
                <a:spcPts val="588"/>
              </a:spcAft>
              <a:defRPr/>
            </a:pPr>
            <a:r>
              <a:rPr lang="en-US" sz="1176" kern="0" dirty="0">
                <a:solidFill>
                  <a:srgbClr val="0078D7"/>
                </a:solidFill>
              </a:rPr>
              <a:t>Intelligent App</a:t>
            </a:r>
          </a:p>
        </p:txBody>
      </p:sp>
      <p:grpSp>
        <p:nvGrpSpPr>
          <p:cNvPr id="143" name="Group 142"/>
          <p:cNvGrpSpPr>
            <a:grpSpLocks noChangeAspect="1"/>
          </p:cNvGrpSpPr>
          <p:nvPr/>
        </p:nvGrpSpPr>
        <p:grpSpPr>
          <a:xfrm>
            <a:off x="10762890" y="3027837"/>
            <a:ext cx="629934" cy="771523"/>
            <a:chOff x="-3084513" y="3390510"/>
            <a:chExt cx="2716213" cy="3363913"/>
          </a:xfrm>
          <a:solidFill>
            <a:schemeClr val="accent2"/>
          </a:solidFill>
        </p:grpSpPr>
        <p:sp>
          <p:nvSpPr>
            <p:cNvPr id="144"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145"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grpSp>
      <p:sp>
        <p:nvSpPr>
          <p:cNvPr id="146" name="Freeform 145"/>
          <p:cNvSpPr>
            <a:spLocks noChangeAspect="1"/>
          </p:cNvSpPr>
          <p:nvPr/>
        </p:nvSpPr>
        <p:spPr bwMode="auto">
          <a:xfrm flipH="1">
            <a:off x="10364973" y="4245792"/>
            <a:ext cx="423432" cy="448096"/>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pPr>
            <a:endParaRPr lang="en-US" sz="2399" kern="0">
              <a:solidFill>
                <a:schemeClr val="tx1"/>
              </a:solidFill>
              <a:ea typeface="Segoe UI" pitchFamily="34" charset="0"/>
              <a:cs typeface="Segoe UI" pitchFamily="34" charset="0"/>
            </a:endParaRPr>
          </a:p>
        </p:txBody>
      </p:sp>
      <p:sp>
        <p:nvSpPr>
          <p:cNvPr id="147" name="Freeform 146"/>
          <p:cNvSpPr>
            <a:spLocks noChangeAspect="1"/>
          </p:cNvSpPr>
          <p:nvPr/>
        </p:nvSpPr>
        <p:spPr bwMode="auto">
          <a:xfrm>
            <a:off x="8118682" y="1813989"/>
            <a:ext cx="592134" cy="448096"/>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1"/>
          </a:solidFill>
          <a:ln w="6350">
            <a:noFill/>
          </a:ln>
        </p:spPr>
        <p:txBody>
          <a:bodyPr vert="horz" wrap="square" lIns="91403" tIns="45701" rIns="91403" bIns="45701" numCol="1" anchor="t" anchorCtr="0" compatLnSpc="1">
            <a:prstTxWarp prst="textNoShape">
              <a:avLst/>
            </a:prstTxWarp>
          </a:bodyPr>
          <a:lstStyle/>
          <a:p>
            <a:pPr defTabSz="896203"/>
            <a:endParaRPr lang="en-US" sz="1600" kern="0" dirty="0">
              <a:solidFill>
                <a:sysClr val="windowText" lastClr="000000"/>
              </a:solidFill>
            </a:endParaRPr>
          </a:p>
        </p:txBody>
      </p:sp>
      <p:grpSp>
        <p:nvGrpSpPr>
          <p:cNvPr id="148" name="Group 147"/>
          <p:cNvGrpSpPr>
            <a:grpSpLocks noChangeAspect="1"/>
          </p:cNvGrpSpPr>
          <p:nvPr/>
        </p:nvGrpSpPr>
        <p:grpSpPr>
          <a:xfrm>
            <a:off x="8050632" y="2897763"/>
            <a:ext cx="629934" cy="771523"/>
            <a:chOff x="-3084513" y="3390510"/>
            <a:chExt cx="2716213" cy="3363913"/>
          </a:xfrm>
          <a:solidFill>
            <a:schemeClr val="accent2"/>
          </a:solidFill>
        </p:grpSpPr>
        <p:sp>
          <p:nvSpPr>
            <p:cNvPr id="149"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150"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grpSp>
      <p:grpSp>
        <p:nvGrpSpPr>
          <p:cNvPr id="66" name="Group 65"/>
          <p:cNvGrpSpPr/>
          <p:nvPr/>
        </p:nvGrpSpPr>
        <p:grpSpPr>
          <a:xfrm>
            <a:off x="-9464" y="1618083"/>
            <a:ext cx="1765329" cy="3781517"/>
            <a:chOff x="2269406" y="1649551"/>
            <a:chExt cx="1801197" cy="3858349"/>
          </a:xfrm>
        </p:grpSpPr>
        <p:sp>
          <p:nvSpPr>
            <p:cNvPr id="68" name="Rectangle 67"/>
            <p:cNvSpPr/>
            <p:nvPr/>
          </p:nvSpPr>
          <p:spPr bwMode="auto">
            <a:xfrm>
              <a:off x="2269406" y="1649551"/>
              <a:ext cx="1771946" cy="385834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4" tIns="91403" rIns="18274" bIns="91365" numCol="1" spcCol="1270" anchor="t" anchorCtr="0">
              <a:noAutofit/>
            </a:bodyPr>
            <a:lstStyle/>
            <a:p>
              <a:pPr algn="ctr" defTabSz="724725">
                <a:spcBef>
                  <a:spcPct val="0"/>
                </a:spcBef>
                <a:spcAft>
                  <a:spcPct val="35000"/>
                </a:spcAft>
                <a:defRPr/>
              </a:pPr>
              <a:r>
                <a:rPr lang="en-US" sz="1400" kern="0" dirty="0">
                  <a:solidFill>
                    <a:schemeClr val="tx1"/>
                  </a:solidFill>
                  <a:latin typeface="Segoe UI Semibold" panose="020B0702040204020203" pitchFamily="34" charset="0"/>
                  <a:cs typeface="Segoe UI Semibold" panose="020B0702040204020203" pitchFamily="34" charset="0"/>
                </a:rPr>
                <a:t>Big Data Stores</a:t>
              </a:r>
            </a:p>
          </p:txBody>
        </p:sp>
        <p:sp>
          <p:nvSpPr>
            <p:cNvPr id="72" name="Rectangle 71"/>
            <p:cNvSpPr/>
            <p:nvPr/>
          </p:nvSpPr>
          <p:spPr>
            <a:xfrm>
              <a:off x="2774284" y="3274196"/>
              <a:ext cx="1296319" cy="446397"/>
            </a:xfrm>
            <a:prstGeom prst="rect">
              <a:avLst/>
            </a:prstGeom>
          </p:spPr>
          <p:txBody>
            <a:bodyPr wrap="square">
              <a:spAutoFit/>
            </a:bodyPr>
            <a:lstStyle/>
            <a:p>
              <a:pPr defTabSz="896203">
                <a:defRPr/>
              </a:pPr>
              <a:r>
                <a:rPr lang="en-US" sz="1100" kern="0" dirty="0">
                  <a:solidFill>
                    <a:sysClr val="windowText" lastClr="000000"/>
                  </a:solidFill>
                  <a:cs typeface="Segoe UI Semilight" panose="020B0402040204020203" pitchFamily="34" charset="0"/>
                </a:rPr>
                <a:t>SQL Data </a:t>
              </a:r>
            </a:p>
            <a:p>
              <a:pPr defTabSz="896203">
                <a:defRPr/>
              </a:pPr>
              <a:r>
                <a:rPr lang="en-US" sz="1100" kern="0" dirty="0">
                  <a:solidFill>
                    <a:sysClr val="windowText" lastClr="000000"/>
                  </a:solidFill>
                  <a:cs typeface="Segoe UI Semilight" panose="020B0402040204020203" pitchFamily="34" charset="0"/>
                </a:rPr>
                <a:t>Warehouse</a:t>
              </a:r>
            </a:p>
          </p:txBody>
        </p:sp>
        <p:sp>
          <p:nvSpPr>
            <p:cNvPr id="73" name="Rectangle 72"/>
            <p:cNvSpPr/>
            <p:nvPr/>
          </p:nvSpPr>
          <p:spPr>
            <a:xfrm>
              <a:off x="2754567" y="2530491"/>
              <a:ext cx="1296319" cy="270285"/>
            </a:xfrm>
            <a:prstGeom prst="rect">
              <a:avLst/>
            </a:prstGeom>
          </p:spPr>
          <p:txBody>
            <a:bodyPr wrap="square">
              <a:spAutoFit/>
            </a:bodyPr>
            <a:lstStyle/>
            <a:p>
              <a:pPr defTabSz="896203">
                <a:defRPr/>
              </a:pPr>
              <a:r>
                <a:rPr lang="en-US" sz="1100" kern="0" dirty="0">
                  <a:solidFill>
                    <a:schemeClr val="accent2">
                      <a:lumMod val="75000"/>
                    </a:schemeClr>
                  </a:solidFill>
                  <a:cs typeface="Segoe UI Semilight" panose="020B0402040204020203" pitchFamily="34" charset="0"/>
                </a:rPr>
                <a:t>Data Lake Store</a:t>
              </a:r>
            </a:p>
          </p:txBody>
        </p:sp>
        <p:grpSp>
          <p:nvGrpSpPr>
            <p:cNvPr id="84" name="Group 83"/>
            <p:cNvGrpSpPr/>
            <p:nvPr/>
          </p:nvGrpSpPr>
          <p:grpSpPr>
            <a:xfrm>
              <a:off x="2439892" y="2526826"/>
              <a:ext cx="256193" cy="256192"/>
              <a:chOff x="4061057" y="3607548"/>
              <a:chExt cx="324957" cy="324957"/>
            </a:xfrm>
          </p:grpSpPr>
          <p:sp>
            <p:nvSpPr>
              <p:cNvPr id="112" name="Rounded Rectangle 111"/>
              <p:cNvSpPr/>
              <p:nvPr/>
            </p:nvSpPr>
            <p:spPr bwMode="auto">
              <a:xfrm>
                <a:off x="4061057" y="3607548"/>
                <a:ext cx="324957" cy="324957"/>
              </a:xfrm>
              <a:prstGeom prst="round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13" name="Rectangle 112"/>
              <p:cNvSpPr/>
              <p:nvPr/>
            </p:nvSpPr>
            <p:spPr bwMode="auto">
              <a:xfrm>
                <a:off x="4098073" y="3645565"/>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14" name="Rectangle 113"/>
              <p:cNvSpPr/>
              <p:nvPr/>
            </p:nvSpPr>
            <p:spPr bwMode="auto">
              <a:xfrm>
                <a:off x="4237426" y="3645565"/>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15" name="Oval 114"/>
              <p:cNvSpPr/>
              <p:nvPr/>
            </p:nvSpPr>
            <p:spPr bwMode="auto">
              <a:xfrm>
                <a:off x="4166147" y="3645952"/>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16" name="Oval 115"/>
              <p:cNvSpPr/>
              <p:nvPr/>
            </p:nvSpPr>
            <p:spPr bwMode="auto">
              <a:xfrm>
                <a:off x="4305501" y="3645952"/>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17" name="Rectangle 116"/>
              <p:cNvSpPr/>
              <p:nvPr/>
            </p:nvSpPr>
            <p:spPr bwMode="auto">
              <a:xfrm>
                <a:off x="4098073" y="3794740"/>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18" name="Rectangle 117"/>
              <p:cNvSpPr/>
              <p:nvPr/>
            </p:nvSpPr>
            <p:spPr bwMode="auto">
              <a:xfrm>
                <a:off x="4237426" y="3794740"/>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19" name="Oval 118"/>
              <p:cNvSpPr/>
              <p:nvPr/>
            </p:nvSpPr>
            <p:spPr bwMode="auto">
              <a:xfrm>
                <a:off x="4166147" y="3795128"/>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0" name="Oval 119"/>
              <p:cNvSpPr/>
              <p:nvPr/>
            </p:nvSpPr>
            <p:spPr bwMode="auto">
              <a:xfrm>
                <a:off x="4305501" y="3795128"/>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1" name="Rectangle 120"/>
              <p:cNvSpPr/>
              <p:nvPr/>
            </p:nvSpPr>
            <p:spPr bwMode="auto">
              <a:xfrm>
                <a:off x="4169740" y="3866061"/>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2" name="Rectangle 121"/>
              <p:cNvSpPr/>
              <p:nvPr/>
            </p:nvSpPr>
            <p:spPr bwMode="auto">
              <a:xfrm>
                <a:off x="4309093" y="3866061"/>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3" name="Oval 122"/>
              <p:cNvSpPr/>
              <p:nvPr/>
            </p:nvSpPr>
            <p:spPr bwMode="auto">
              <a:xfrm>
                <a:off x="4098461" y="3866446"/>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4" name="Oval 123"/>
              <p:cNvSpPr/>
              <p:nvPr/>
            </p:nvSpPr>
            <p:spPr bwMode="auto">
              <a:xfrm>
                <a:off x="4237815" y="3866447"/>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5" name="Rectangle 124"/>
              <p:cNvSpPr/>
              <p:nvPr/>
            </p:nvSpPr>
            <p:spPr bwMode="auto">
              <a:xfrm>
                <a:off x="4169740" y="3710368"/>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6" name="Rectangle 125"/>
              <p:cNvSpPr/>
              <p:nvPr/>
            </p:nvSpPr>
            <p:spPr bwMode="auto">
              <a:xfrm>
                <a:off x="4309093" y="3710368"/>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7" name="Oval 126"/>
              <p:cNvSpPr/>
              <p:nvPr/>
            </p:nvSpPr>
            <p:spPr bwMode="auto">
              <a:xfrm>
                <a:off x="4098461" y="3710759"/>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8" name="Oval 127"/>
              <p:cNvSpPr/>
              <p:nvPr/>
            </p:nvSpPr>
            <p:spPr bwMode="auto">
              <a:xfrm>
                <a:off x="4237815" y="3710759"/>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08" name="Group 107"/>
            <p:cNvGrpSpPr/>
            <p:nvPr/>
          </p:nvGrpSpPr>
          <p:grpSpPr>
            <a:xfrm>
              <a:off x="2446176" y="3338874"/>
              <a:ext cx="253198" cy="310108"/>
              <a:chOff x="-3084513" y="5566963"/>
              <a:chExt cx="2716213" cy="3363913"/>
            </a:xfrm>
            <a:solidFill>
              <a:schemeClr val="tx1"/>
            </a:solidFill>
          </p:grpSpPr>
          <p:sp>
            <p:nvSpPr>
              <p:cNvPr id="109" name="Freeform 40"/>
              <p:cNvSpPr>
                <a:spLocks noEditPoints="1"/>
              </p:cNvSpPr>
              <p:nvPr/>
            </p:nvSpPr>
            <p:spPr bwMode="auto">
              <a:xfrm>
                <a:off x="-3084513" y="5566963"/>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defRPr/>
                </a:pPr>
                <a:endParaRPr lang="en-US" sz="1799" kern="0">
                  <a:solidFill>
                    <a:sysClr val="windowText" lastClr="000000"/>
                  </a:solidFill>
                </a:endParaRPr>
              </a:p>
            </p:txBody>
          </p:sp>
          <p:sp>
            <p:nvSpPr>
              <p:cNvPr id="111" name="Freeform 41"/>
              <p:cNvSpPr>
                <a:spLocks/>
              </p:cNvSpPr>
              <p:nvPr/>
            </p:nvSpPr>
            <p:spPr bwMode="auto">
              <a:xfrm>
                <a:off x="-1887535" y="7092552"/>
                <a:ext cx="373064" cy="511180"/>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defRPr/>
                </a:pPr>
                <a:endParaRPr lang="en-US" sz="1799" kern="0">
                  <a:solidFill>
                    <a:sysClr val="windowText" lastClr="000000"/>
                  </a:solidFill>
                </a:endParaRPr>
              </a:p>
            </p:txBody>
          </p:sp>
        </p:grpSp>
      </p:grpSp>
    </p:spTree>
    <p:extLst>
      <p:ext uri="{BB962C8B-B14F-4D97-AF65-F5344CB8AC3E}">
        <p14:creationId xmlns:p14="http://schemas.microsoft.com/office/powerpoint/2010/main" val="1033067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19" name="Title 1"/>
          <p:cNvSpPr txBox="1">
            <a:spLocks/>
          </p:cNvSpPr>
          <p:nvPr/>
        </p:nvSpPr>
        <p:spPr>
          <a:xfrm>
            <a:off x="418533" y="3135005"/>
            <a:ext cx="11202392" cy="899303"/>
          </a:xfrm>
          <a:prstGeom prst="rect">
            <a:avLst/>
          </a:prstGeom>
        </p:spPr>
        <p:txBody>
          <a:bodyPr vert="horz" wrap="square" lIns="143391" tIns="89619" rIns="143391" bIns="89619"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80">
              <a:defRPr/>
            </a:pPr>
            <a:r>
              <a:rPr lang="en-US" sz="4901" spc="-100" dirty="0">
                <a:solidFill>
                  <a:srgbClr val="FFFFFF"/>
                </a:solidFill>
                <a:latin typeface="Segoe UI Light"/>
              </a:rPr>
              <a:t>Journey to the Cloud</a:t>
            </a:r>
          </a:p>
        </p:txBody>
      </p:sp>
      <p:sp>
        <p:nvSpPr>
          <p:cNvPr id="9" name="Title 1"/>
          <p:cNvSpPr txBox="1">
            <a:spLocks/>
          </p:cNvSpPr>
          <p:nvPr/>
        </p:nvSpPr>
        <p:spPr>
          <a:xfrm>
            <a:off x="7637619" y="2308761"/>
            <a:ext cx="3502203" cy="2459766"/>
          </a:xfrm>
          <a:prstGeom prst="rect">
            <a:avLst/>
          </a:prstGeom>
        </p:spPr>
        <p:txBody>
          <a:bodyPr vert="horz" wrap="square" lIns="143391" tIns="89619" rIns="143391" bIns="89619"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80">
              <a:lnSpc>
                <a:spcPct val="150000"/>
              </a:lnSpc>
              <a:defRPr/>
            </a:pPr>
            <a:r>
              <a:rPr lang="en-US" sz="2352" cap="all" spc="-29" dirty="0">
                <a:solidFill>
                  <a:srgbClr val="FFFFFF"/>
                </a:solidFill>
                <a:latin typeface="Segoe UI Semibold" panose="020B0702040204020203" pitchFamily="34" charset="0"/>
                <a:cs typeface="Segoe UI Semibold" panose="020B0702040204020203" pitchFamily="34" charset="0"/>
              </a:rPr>
              <a:t>Differentiation</a:t>
            </a:r>
          </a:p>
          <a:p>
            <a:pPr defTabSz="914180">
              <a:lnSpc>
                <a:spcPct val="150000"/>
              </a:lnSpc>
              <a:defRPr/>
            </a:pPr>
            <a:r>
              <a:rPr lang="en-US" sz="2352" cap="all" spc="-29" dirty="0">
                <a:solidFill>
                  <a:srgbClr val="FFFFFF"/>
                </a:solidFill>
                <a:latin typeface="Segoe UI Semibold" panose="020B0702040204020203" pitchFamily="34" charset="0"/>
                <a:cs typeface="Segoe UI Semibold" panose="020B0702040204020203" pitchFamily="34" charset="0"/>
              </a:rPr>
              <a:t>Agility</a:t>
            </a:r>
          </a:p>
          <a:p>
            <a:pPr defTabSz="914180">
              <a:lnSpc>
                <a:spcPct val="150000"/>
              </a:lnSpc>
              <a:defRPr/>
            </a:pPr>
            <a:r>
              <a:rPr lang="en-US" sz="2352" cap="all" spc="-29" dirty="0">
                <a:solidFill>
                  <a:srgbClr val="FFFFFF"/>
                </a:solidFill>
                <a:latin typeface="Segoe UI Semibold" panose="020B0702040204020203" pitchFamily="34" charset="0"/>
                <a:cs typeface="Segoe UI Semibold" panose="020B0702040204020203" pitchFamily="34" charset="0"/>
              </a:rPr>
              <a:t>Cost</a:t>
            </a:r>
          </a:p>
        </p:txBody>
      </p:sp>
      <p:sp>
        <p:nvSpPr>
          <p:cNvPr id="2" name="Rectangle 1"/>
          <p:cNvSpPr/>
          <p:nvPr/>
        </p:nvSpPr>
        <p:spPr bwMode="auto">
          <a:xfrm>
            <a:off x="567899" y="1862672"/>
            <a:ext cx="5377148" cy="1024299"/>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bold" panose="020B0702040204020203" pitchFamily="34" charset="0"/>
                <a:ea typeface="Segoe UI" pitchFamily="34" charset="0"/>
                <a:cs typeface="Segoe UI Semibold" panose="020B0702040204020203" pitchFamily="34" charset="0"/>
              </a:rPr>
              <a:t>SaaS Solutions</a:t>
            </a:r>
          </a:p>
        </p:txBody>
      </p:sp>
      <p:sp>
        <p:nvSpPr>
          <p:cNvPr id="10" name="Rectangle 9"/>
          <p:cNvSpPr/>
          <p:nvPr/>
        </p:nvSpPr>
        <p:spPr bwMode="auto">
          <a:xfrm>
            <a:off x="567899" y="4286509"/>
            <a:ext cx="5377148" cy="1024299"/>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bold" panose="020B0702040204020203" pitchFamily="34" charset="0"/>
                <a:ea typeface="Segoe UI" pitchFamily="34" charset="0"/>
                <a:cs typeface="Segoe UI Semibold" panose="020B0702040204020203" pitchFamily="34" charset="0"/>
              </a:rPr>
              <a:t>Higher-level services</a:t>
            </a:r>
          </a:p>
        </p:txBody>
      </p:sp>
      <p:sp>
        <p:nvSpPr>
          <p:cNvPr id="11" name="Rectangle 10"/>
          <p:cNvSpPr/>
          <p:nvPr/>
        </p:nvSpPr>
        <p:spPr bwMode="auto">
          <a:xfrm>
            <a:off x="567899" y="3082047"/>
            <a:ext cx="5377148" cy="1024299"/>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bold" panose="020B0702040204020203" pitchFamily="34" charset="0"/>
                <a:ea typeface="Segoe UI" pitchFamily="34" charset="0"/>
                <a:cs typeface="Segoe UI Semibold" panose="020B0702040204020203" pitchFamily="34" charset="0"/>
              </a:rPr>
              <a:t>Cloud Infrastructure</a:t>
            </a:r>
          </a:p>
        </p:txBody>
      </p:sp>
      <p:sp>
        <p:nvSpPr>
          <p:cNvPr id="18" name="Right Brace 17"/>
          <p:cNvSpPr/>
          <p:nvPr/>
        </p:nvSpPr>
        <p:spPr>
          <a:xfrm>
            <a:off x="6309786" y="1561935"/>
            <a:ext cx="963094" cy="3988421"/>
          </a:xfrm>
          <a:prstGeom prst="rightBrace">
            <a:avLst>
              <a:gd name="adj1" fmla="val 0"/>
              <a:gd name="adj2" fmla="val 50000"/>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180">
              <a:defRPr/>
            </a:pPr>
            <a:endParaRPr lang="en-US" sz="1764">
              <a:solidFill>
                <a:srgbClr val="FFFFFF"/>
              </a:solidFill>
              <a:latin typeface="Segoe UI Semilight"/>
            </a:endParaRPr>
          </a:p>
        </p:txBody>
      </p:sp>
      <p:grpSp>
        <p:nvGrpSpPr>
          <p:cNvPr id="6" name="Group 5"/>
          <p:cNvGrpSpPr/>
          <p:nvPr/>
        </p:nvGrpSpPr>
        <p:grpSpPr>
          <a:xfrm>
            <a:off x="2942604" y="2649343"/>
            <a:ext cx="627738" cy="627738"/>
            <a:chOff x="3946524" y="2353372"/>
            <a:chExt cx="823783" cy="823783"/>
          </a:xfrm>
          <a:solidFill>
            <a:schemeClr val="bg2">
              <a:lumMod val="75000"/>
            </a:schemeClr>
          </a:solidFill>
        </p:grpSpPr>
        <p:sp>
          <p:nvSpPr>
            <p:cNvPr id="5" name="Oval 4"/>
            <p:cNvSpPr/>
            <p:nvPr/>
          </p:nvSpPr>
          <p:spPr bwMode="auto">
            <a:xfrm>
              <a:off x="3946524" y="2353372"/>
              <a:ext cx="823783" cy="82378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 name="Plus 16"/>
            <p:cNvSpPr/>
            <p:nvPr/>
          </p:nvSpPr>
          <p:spPr bwMode="auto">
            <a:xfrm>
              <a:off x="4099812" y="2506660"/>
              <a:ext cx="517207" cy="517207"/>
            </a:xfrm>
            <a:prstGeom prst="mathPlus">
              <a:avLst>
                <a:gd name="adj1" fmla="val 4770"/>
              </a:avLst>
            </a:pr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25" name="Group 24"/>
          <p:cNvGrpSpPr/>
          <p:nvPr/>
        </p:nvGrpSpPr>
        <p:grpSpPr>
          <a:xfrm>
            <a:off x="2942604" y="3902849"/>
            <a:ext cx="627738" cy="627738"/>
            <a:chOff x="3946524" y="2353372"/>
            <a:chExt cx="823783" cy="823783"/>
          </a:xfrm>
          <a:solidFill>
            <a:schemeClr val="bg2">
              <a:lumMod val="75000"/>
            </a:schemeClr>
          </a:solidFill>
        </p:grpSpPr>
        <p:sp>
          <p:nvSpPr>
            <p:cNvPr id="26" name="Oval 25"/>
            <p:cNvSpPr/>
            <p:nvPr/>
          </p:nvSpPr>
          <p:spPr bwMode="auto">
            <a:xfrm>
              <a:off x="3946524" y="2353372"/>
              <a:ext cx="823783" cy="82378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7" name="Plus 26"/>
            <p:cNvSpPr/>
            <p:nvPr/>
          </p:nvSpPr>
          <p:spPr bwMode="auto">
            <a:xfrm>
              <a:off x="4099812" y="2506660"/>
              <a:ext cx="517207" cy="517207"/>
            </a:xfrm>
            <a:prstGeom prst="mathPlus">
              <a:avLst>
                <a:gd name="adj1" fmla="val 4770"/>
              </a:avLst>
            </a:pr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Tree>
    <p:extLst>
      <p:ext uri="{BB962C8B-B14F-4D97-AF65-F5344CB8AC3E}">
        <p14:creationId xmlns:p14="http://schemas.microsoft.com/office/powerpoint/2010/main" val="1506370324"/>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1000"/>
                                        <p:tgtEl>
                                          <p:spTgt spid="19"/>
                                        </p:tgtEl>
                                      </p:cBhvr>
                                    </p:animEffect>
                                  </p:childTnLst>
                                </p:cTn>
                              </p:par>
                            </p:childTnLst>
                          </p:cTn>
                        </p:par>
                      </p:childTnLst>
                    </p:cTn>
                  </p:par>
                  <p:par>
                    <p:cTn id="8" fill="hold">
                      <p:stCondLst>
                        <p:cond delay="indefinite"/>
                      </p:stCondLst>
                      <p:childTnLst>
                        <p:par>
                          <p:cTn id="9" fill="hold">
                            <p:stCondLst>
                              <p:cond delay="0"/>
                            </p:stCondLst>
                            <p:childTnLst>
                              <p:par>
                                <p:cTn id="10" presetID="42" presetClass="path" presetSubtype="0" accel="50000" decel="50000" fill="hold" grpId="1" nodeType="clickEffect">
                                  <p:stCondLst>
                                    <p:cond delay="0"/>
                                  </p:stCondLst>
                                  <p:childTnLst>
                                    <p:animMotion origin="layout" path="M -2.86188E-6 3.6768E-6 L -2.86188E-6 -0.38925 " pathEditMode="relative" rAng="0" ptsTypes="AA">
                                      <p:cBhvr>
                                        <p:cTn id="11" dur="1250" fill="hold"/>
                                        <p:tgtEl>
                                          <p:spTgt spid="19"/>
                                        </p:tgtEl>
                                        <p:attrNameLst>
                                          <p:attrName>ppt_x</p:attrName>
                                          <p:attrName>ppt_y</p:attrName>
                                        </p:attrNameLst>
                                      </p:cBhvr>
                                      <p:rCtr x="0" y="-19473"/>
                                    </p:animMotion>
                                  </p:childTnLst>
                                </p:cTn>
                              </p:par>
                              <p:par>
                                <p:cTn id="12" presetID="10" presetClass="entr" presetSubtype="0" fill="hold" grpId="0" nodeType="withEffect">
                                  <p:stCondLst>
                                    <p:cond delay="1000"/>
                                  </p:stCondLst>
                                  <p:childTnLst>
                                    <p:set>
                                      <p:cBhvr>
                                        <p:cTn id="13" dur="1" fill="hold">
                                          <p:stCondLst>
                                            <p:cond delay="0"/>
                                          </p:stCondLst>
                                        </p:cTn>
                                        <p:tgtEl>
                                          <p:spTgt spid="2"/>
                                        </p:tgtEl>
                                        <p:attrNameLst>
                                          <p:attrName>style.visibility</p:attrName>
                                        </p:attrNameLst>
                                      </p:cBhvr>
                                      <p:to>
                                        <p:strVal val="visible"/>
                                      </p:to>
                                    </p:set>
                                    <p:animEffect transition="in" filter="fade">
                                      <p:cBhvr>
                                        <p:cTn id="14" dur="500"/>
                                        <p:tgtEl>
                                          <p:spTgt spid="2"/>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500"/>
                                        <p:tgtEl>
                                          <p:spTgt spid="6"/>
                                        </p:tgtEl>
                                      </p:cBhvr>
                                    </p:animEffect>
                                  </p:childTnLst>
                                </p:cTn>
                              </p:par>
                            </p:childTnLst>
                          </p:cTn>
                        </p:par>
                        <p:par>
                          <p:cTn id="20" fill="hold">
                            <p:stCondLst>
                              <p:cond delay="500"/>
                            </p:stCondLst>
                            <p:childTnLst>
                              <p:par>
                                <p:cTn id="21" presetID="10" presetClass="entr" presetSubtype="0" fill="hold" grpId="0" nodeType="after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fade">
                                      <p:cBhvr>
                                        <p:cTn id="23" dur="500"/>
                                        <p:tgtEl>
                                          <p:spTgt spid="11"/>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25"/>
                                        </p:tgtEl>
                                        <p:attrNameLst>
                                          <p:attrName>style.visibility</p:attrName>
                                        </p:attrNameLst>
                                      </p:cBhvr>
                                      <p:to>
                                        <p:strVal val="visible"/>
                                      </p:to>
                                    </p:set>
                                    <p:animEffect transition="in" filter="fade">
                                      <p:cBhvr>
                                        <p:cTn id="28" dur="500"/>
                                        <p:tgtEl>
                                          <p:spTgt spid="25"/>
                                        </p:tgtEl>
                                      </p:cBhvr>
                                    </p:animEffect>
                                  </p:childTnLst>
                                </p:cTn>
                              </p:par>
                            </p:childTnLst>
                          </p:cTn>
                        </p:par>
                        <p:par>
                          <p:cTn id="29" fill="hold">
                            <p:stCondLst>
                              <p:cond delay="500"/>
                            </p:stCondLst>
                            <p:childTnLst>
                              <p:par>
                                <p:cTn id="30" presetID="10" presetClass="entr" presetSubtype="0" fill="hold" grpId="0" nodeType="after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fade">
                                      <p:cBhvr>
                                        <p:cTn id="32" dur="500"/>
                                        <p:tgtEl>
                                          <p:spTgt spid="10"/>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8" fill="hold" grpId="0" nodeType="clickEffect">
                                  <p:stCondLst>
                                    <p:cond delay="0"/>
                                  </p:stCondLst>
                                  <p:childTnLst>
                                    <p:set>
                                      <p:cBhvr>
                                        <p:cTn id="36" dur="1" fill="hold">
                                          <p:stCondLst>
                                            <p:cond delay="0"/>
                                          </p:stCondLst>
                                        </p:cTn>
                                        <p:tgtEl>
                                          <p:spTgt spid="18"/>
                                        </p:tgtEl>
                                        <p:attrNameLst>
                                          <p:attrName>style.visibility</p:attrName>
                                        </p:attrNameLst>
                                      </p:cBhvr>
                                      <p:to>
                                        <p:strVal val="visible"/>
                                      </p:to>
                                    </p:set>
                                    <p:animEffect transition="in" filter="wipe(left)">
                                      <p:cBhvr>
                                        <p:cTn id="37" dur="500"/>
                                        <p:tgtEl>
                                          <p:spTgt spid="18"/>
                                        </p:tgtEl>
                                      </p:cBhvr>
                                    </p:animEffect>
                                  </p:childTnLst>
                                </p:cTn>
                              </p:par>
                            </p:childTnLst>
                          </p:cTn>
                        </p:par>
                        <p:par>
                          <p:cTn id="38" fill="hold">
                            <p:stCondLst>
                              <p:cond delay="500"/>
                            </p:stCondLst>
                            <p:childTnLst>
                              <p:par>
                                <p:cTn id="39" presetID="10" presetClass="entr" presetSubtype="0" fill="hold" grpId="0" nodeType="afterEffect">
                                  <p:stCondLst>
                                    <p:cond delay="0"/>
                                  </p:stCondLst>
                                  <p:childTnLst>
                                    <p:set>
                                      <p:cBhvr>
                                        <p:cTn id="40" dur="1" fill="hold">
                                          <p:stCondLst>
                                            <p:cond delay="0"/>
                                          </p:stCondLst>
                                        </p:cTn>
                                        <p:tgtEl>
                                          <p:spTgt spid="9"/>
                                        </p:tgtEl>
                                        <p:attrNameLst>
                                          <p:attrName>style.visibility</p:attrName>
                                        </p:attrNameLst>
                                      </p:cBhvr>
                                      <p:to>
                                        <p:strVal val="visible"/>
                                      </p:to>
                                    </p:set>
                                    <p:animEffect transition="in" filter="fade">
                                      <p:cBhvr>
                                        <p:cTn id="41"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9" grpId="1"/>
      <p:bldP spid="9" grpId="0"/>
      <p:bldP spid="2" grpId="0" animBg="1"/>
      <p:bldP spid="10" grpId="0" animBg="1"/>
      <p:bldP spid="11" grpId="0" animBg="1"/>
      <p:bldP spid="18" grpId="0" animBg="1"/>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p:txBody>
          <a:bodyPr/>
          <a:lstStyle/>
          <a:p>
            <a:r>
              <a:rPr lang="en-US" dirty="0">
                <a:solidFill>
                  <a:schemeClr val="bg1"/>
                </a:solidFill>
              </a:rPr>
              <a:t>Machine Learning and Analytics</a:t>
            </a:r>
          </a:p>
        </p:txBody>
      </p:sp>
      <p:grpSp>
        <p:nvGrpSpPr>
          <p:cNvPr id="6" name="Group 5"/>
          <p:cNvGrpSpPr/>
          <p:nvPr/>
        </p:nvGrpSpPr>
        <p:grpSpPr>
          <a:xfrm>
            <a:off x="244440" y="1618082"/>
            <a:ext cx="7593950" cy="4207152"/>
            <a:chOff x="249407" y="1649550"/>
            <a:chExt cx="7748242" cy="4292632"/>
          </a:xfrm>
        </p:grpSpPr>
        <p:sp>
          <p:nvSpPr>
            <p:cNvPr id="153" name="Rectangle 152"/>
            <p:cNvSpPr/>
            <p:nvPr/>
          </p:nvSpPr>
          <p:spPr bwMode="auto">
            <a:xfrm>
              <a:off x="4152200" y="1649550"/>
              <a:ext cx="1771946" cy="385834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4" tIns="91403" rIns="18274" bIns="91365" numCol="1" spcCol="1270" anchor="t" anchorCtr="0">
              <a:noAutofit/>
            </a:bodyPr>
            <a:lstStyle/>
            <a:p>
              <a:pPr algn="ctr" defTabSz="724725">
                <a:spcBef>
                  <a:spcPct val="0"/>
                </a:spcBef>
                <a:spcAft>
                  <a:spcPct val="35000"/>
                </a:spcAft>
              </a:pPr>
              <a:r>
                <a:rPr lang="en-US" sz="1400" kern="0" dirty="0">
                  <a:solidFill>
                    <a:schemeClr val="tx1"/>
                  </a:solidFill>
                  <a:latin typeface="Segoe UI Semibold" panose="020B0702040204020203" pitchFamily="34" charset="0"/>
                  <a:cs typeface="Segoe UI Semibold" panose="020B0702040204020203" pitchFamily="34" charset="0"/>
                </a:rPr>
                <a:t>Big Data Stores</a:t>
              </a:r>
            </a:p>
          </p:txBody>
        </p:sp>
        <p:sp>
          <p:nvSpPr>
            <p:cNvPr id="154" name="Rectangle 153"/>
            <p:cNvSpPr/>
            <p:nvPr/>
          </p:nvSpPr>
          <p:spPr>
            <a:xfrm>
              <a:off x="4667785" y="3088249"/>
              <a:ext cx="1296319" cy="446397"/>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SQL Data </a:t>
              </a:r>
            </a:p>
            <a:p>
              <a:pPr defTabSz="896203"/>
              <a:r>
                <a:rPr lang="en-US" sz="1100" kern="0" dirty="0">
                  <a:solidFill>
                    <a:sysClr val="windowText" lastClr="000000"/>
                  </a:solidFill>
                  <a:cs typeface="Segoe UI Semilight" panose="020B0402040204020203" pitchFamily="34" charset="0"/>
                </a:rPr>
                <a:t>Warehouse</a:t>
              </a:r>
            </a:p>
          </p:txBody>
        </p:sp>
        <p:sp>
          <p:nvSpPr>
            <p:cNvPr id="155" name="Rectangle 154"/>
            <p:cNvSpPr/>
            <p:nvPr/>
          </p:nvSpPr>
          <p:spPr>
            <a:xfrm>
              <a:off x="4653693" y="2344046"/>
              <a:ext cx="1296319" cy="270285"/>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Data Lake Store</a:t>
              </a:r>
            </a:p>
          </p:txBody>
        </p:sp>
        <p:grpSp>
          <p:nvGrpSpPr>
            <p:cNvPr id="169" name="Group 168"/>
            <p:cNvGrpSpPr/>
            <p:nvPr/>
          </p:nvGrpSpPr>
          <p:grpSpPr>
            <a:xfrm>
              <a:off x="4339018" y="2349358"/>
              <a:ext cx="256193" cy="256193"/>
              <a:chOff x="4068192" y="3363795"/>
              <a:chExt cx="324957" cy="324957"/>
            </a:xfrm>
          </p:grpSpPr>
          <p:sp>
            <p:nvSpPr>
              <p:cNvPr id="218" name="Rounded Rectangle 217"/>
              <p:cNvSpPr/>
              <p:nvPr/>
            </p:nvSpPr>
            <p:spPr bwMode="auto">
              <a:xfrm>
                <a:off x="4068192" y="3363795"/>
                <a:ext cx="324957" cy="324957"/>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19" name="Rectangle 218"/>
              <p:cNvSpPr/>
              <p:nvPr/>
            </p:nvSpPr>
            <p:spPr bwMode="auto">
              <a:xfrm>
                <a:off x="4106551"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20" name="Rectangle 219"/>
              <p:cNvSpPr/>
              <p:nvPr/>
            </p:nvSpPr>
            <p:spPr bwMode="auto">
              <a:xfrm>
                <a:off x="4245904"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21" name="Oval 220"/>
              <p:cNvSpPr/>
              <p:nvPr/>
            </p:nvSpPr>
            <p:spPr bwMode="auto">
              <a:xfrm>
                <a:off x="4174625"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22" name="Oval 221"/>
              <p:cNvSpPr/>
              <p:nvPr/>
            </p:nvSpPr>
            <p:spPr bwMode="auto">
              <a:xfrm>
                <a:off x="4313978"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23" name="Rectangle 222"/>
              <p:cNvSpPr/>
              <p:nvPr/>
            </p:nvSpPr>
            <p:spPr bwMode="auto">
              <a:xfrm>
                <a:off x="4106551"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24" name="Rectangle 223"/>
              <p:cNvSpPr/>
              <p:nvPr/>
            </p:nvSpPr>
            <p:spPr bwMode="auto">
              <a:xfrm>
                <a:off x="4245904"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25" name="Oval 224"/>
              <p:cNvSpPr/>
              <p:nvPr/>
            </p:nvSpPr>
            <p:spPr bwMode="auto">
              <a:xfrm>
                <a:off x="4174625"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26" name="Oval 225"/>
              <p:cNvSpPr/>
              <p:nvPr/>
            </p:nvSpPr>
            <p:spPr bwMode="auto">
              <a:xfrm>
                <a:off x="4313978"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27" name="Rectangle 226"/>
              <p:cNvSpPr/>
              <p:nvPr/>
            </p:nvSpPr>
            <p:spPr bwMode="auto">
              <a:xfrm>
                <a:off x="4178218"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28" name="Rectangle 227"/>
              <p:cNvSpPr/>
              <p:nvPr/>
            </p:nvSpPr>
            <p:spPr bwMode="auto">
              <a:xfrm>
                <a:off x="4317571"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29" name="Oval 228"/>
              <p:cNvSpPr/>
              <p:nvPr/>
            </p:nvSpPr>
            <p:spPr bwMode="auto">
              <a:xfrm>
                <a:off x="4106939"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30" name="Oval 229"/>
              <p:cNvSpPr/>
              <p:nvPr/>
            </p:nvSpPr>
            <p:spPr bwMode="auto">
              <a:xfrm>
                <a:off x="4246293"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31" name="Rectangle 230"/>
              <p:cNvSpPr/>
              <p:nvPr/>
            </p:nvSpPr>
            <p:spPr bwMode="auto">
              <a:xfrm>
                <a:off x="4178218"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32" name="Rectangle 231"/>
              <p:cNvSpPr/>
              <p:nvPr/>
            </p:nvSpPr>
            <p:spPr bwMode="auto">
              <a:xfrm>
                <a:off x="4317571"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33" name="Oval 232"/>
              <p:cNvSpPr/>
              <p:nvPr/>
            </p:nvSpPr>
            <p:spPr bwMode="auto">
              <a:xfrm>
                <a:off x="4106939"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34" name="Oval 233"/>
              <p:cNvSpPr/>
              <p:nvPr/>
            </p:nvSpPr>
            <p:spPr bwMode="auto">
              <a:xfrm>
                <a:off x="4246293"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73" name="Group 172"/>
            <p:cNvGrpSpPr/>
            <p:nvPr/>
          </p:nvGrpSpPr>
          <p:grpSpPr>
            <a:xfrm>
              <a:off x="4339677" y="3152927"/>
              <a:ext cx="253198" cy="310108"/>
              <a:chOff x="-3084513" y="3390510"/>
              <a:chExt cx="2716213" cy="3363913"/>
            </a:xfrm>
            <a:solidFill>
              <a:schemeClr val="tx1"/>
            </a:solidFill>
          </p:grpSpPr>
          <p:sp>
            <p:nvSpPr>
              <p:cNvPr id="216"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217"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grpSp>
        <p:sp>
          <p:nvSpPr>
            <p:cNvPr id="188" name="TextBox 187"/>
            <p:cNvSpPr txBox="1"/>
            <p:nvPr/>
          </p:nvSpPr>
          <p:spPr>
            <a:xfrm>
              <a:off x="1164202" y="1958379"/>
              <a:ext cx="528754" cy="323165"/>
            </a:xfrm>
            <a:prstGeom prst="rect">
              <a:avLst/>
            </a:prstGeom>
            <a:noFill/>
          </p:spPr>
          <p:txBody>
            <a:bodyPr wrap="square" lIns="0" tIns="0" rIns="0" bIns="0" rtlCol="0" anchor="ctr" anchorCtr="0">
              <a:spAutoFit/>
            </a:bodyPr>
            <a:lstStyle/>
            <a:p>
              <a:pPr defTabSz="914005">
                <a:spcAft>
                  <a:spcPts val="588"/>
                </a:spcAft>
              </a:pPr>
              <a:r>
                <a:rPr lang="en-US" sz="1029" kern="0" dirty="0">
                  <a:solidFill>
                    <a:schemeClr val="bg2"/>
                  </a:solidFill>
                  <a:cs typeface="Segoe UI Semilight" panose="020B0402040204020203" pitchFamily="34" charset="0"/>
                </a:rPr>
                <a:t>Data Sources</a:t>
              </a:r>
            </a:p>
          </p:txBody>
        </p:sp>
        <p:sp>
          <p:nvSpPr>
            <p:cNvPr id="190" name="TextBox 189"/>
            <p:cNvSpPr txBox="1"/>
            <p:nvPr/>
          </p:nvSpPr>
          <p:spPr>
            <a:xfrm>
              <a:off x="1164202" y="3351045"/>
              <a:ext cx="528754" cy="161583"/>
            </a:xfrm>
            <a:prstGeom prst="rect">
              <a:avLst/>
            </a:prstGeom>
            <a:noFill/>
          </p:spPr>
          <p:txBody>
            <a:bodyPr wrap="square" lIns="0" tIns="0" rIns="0" bIns="0" rtlCol="0" anchor="ctr" anchorCtr="0">
              <a:spAutoFit/>
            </a:bodyPr>
            <a:lstStyle/>
            <a:p>
              <a:pPr defTabSz="914005">
                <a:spcBef>
                  <a:spcPct val="0"/>
                </a:spcBef>
                <a:spcAft>
                  <a:spcPts val="588"/>
                </a:spcAft>
              </a:pPr>
              <a:r>
                <a:rPr lang="en-US" sz="1029" kern="0" dirty="0">
                  <a:solidFill>
                    <a:schemeClr val="bg2"/>
                  </a:solidFill>
                  <a:cs typeface="Segoe UI Semilight" panose="020B0402040204020203" pitchFamily="34" charset="0"/>
                </a:rPr>
                <a:t>Apps</a:t>
              </a:r>
            </a:p>
          </p:txBody>
        </p:sp>
        <p:sp>
          <p:nvSpPr>
            <p:cNvPr id="192" name="TextBox 191"/>
            <p:cNvSpPr txBox="1"/>
            <p:nvPr/>
          </p:nvSpPr>
          <p:spPr>
            <a:xfrm>
              <a:off x="1164202" y="4768746"/>
              <a:ext cx="735728" cy="323165"/>
            </a:xfrm>
            <a:prstGeom prst="rect">
              <a:avLst/>
            </a:prstGeom>
            <a:noFill/>
          </p:spPr>
          <p:txBody>
            <a:bodyPr wrap="square" lIns="0" tIns="0" rIns="0" bIns="0" rtlCol="0" anchor="ctr" anchorCtr="0">
              <a:spAutoFit/>
            </a:bodyPr>
            <a:lstStyle/>
            <a:p>
              <a:pPr defTabSz="914005">
                <a:spcBef>
                  <a:spcPct val="0"/>
                </a:spcBef>
                <a:spcAft>
                  <a:spcPts val="588"/>
                </a:spcAft>
              </a:pPr>
              <a:r>
                <a:rPr lang="en-US" sz="1029" kern="0" dirty="0">
                  <a:solidFill>
                    <a:schemeClr val="bg2"/>
                  </a:solidFill>
                  <a:cs typeface="Segoe UI Semilight" panose="020B0402040204020203" pitchFamily="34" charset="0"/>
                </a:rPr>
                <a:t>Sensors </a:t>
              </a:r>
              <a:br>
                <a:rPr lang="en-US" sz="1029" kern="0" dirty="0">
                  <a:solidFill>
                    <a:schemeClr val="bg2"/>
                  </a:solidFill>
                  <a:cs typeface="Segoe UI Semilight" panose="020B0402040204020203" pitchFamily="34" charset="0"/>
                </a:rPr>
              </a:br>
              <a:r>
                <a:rPr lang="en-US" sz="1029" kern="0" dirty="0">
                  <a:solidFill>
                    <a:schemeClr val="bg2"/>
                  </a:solidFill>
                  <a:cs typeface="Segoe UI Semilight" panose="020B0402040204020203" pitchFamily="34" charset="0"/>
                </a:rPr>
                <a:t>and devices</a:t>
              </a:r>
            </a:p>
          </p:txBody>
        </p:sp>
        <p:sp>
          <p:nvSpPr>
            <p:cNvPr id="193" name="TextBox 192"/>
            <p:cNvSpPr txBox="1"/>
            <p:nvPr/>
          </p:nvSpPr>
          <p:spPr>
            <a:xfrm>
              <a:off x="806041" y="5665183"/>
              <a:ext cx="474490" cy="276999"/>
            </a:xfrm>
            <a:prstGeom prst="rect">
              <a:avLst/>
            </a:prstGeom>
            <a:noFill/>
          </p:spPr>
          <p:txBody>
            <a:bodyPr wrap="none" lIns="0" tIns="0" rIns="0" bIns="0" rtlCol="0" anchor="ctr">
              <a:spAutoFit/>
            </a:bodyPr>
            <a:lstStyle>
              <a:defPPr>
                <a:defRPr lang="en-US"/>
              </a:defPPr>
              <a:lvl1pPr algn="ctr" defTabSz="932563">
                <a:spcBef>
                  <a:spcPct val="0"/>
                </a:spcBef>
                <a:spcAft>
                  <a:spcPts val="600"/>
                </a:spcAft>
                <a:defRPr sz="1100">
                  <a:solidFill>
                    <a:schemeClr val="bg1"/>
                  </a:solidFill>
                  <a:latin typeface="Segoe UI Semilight" panose="020B0402040204020203" pitchFamily="34" charset="0"/>
                  <a:cs typeface="Segoe UI Semilight" panose="020B0402040204020203" pitchFamily="34" charset="0"/>
                </a:defRPr>
              </a:lvl1pPr>
            </a:lstStyle>
            <a:p>
              <a:pPr defTabSz="914005">
                <a:spcAft>
                  <a:spcPts val="588"/>
                </a:spcAft>
              </a:pPr>
              <a:r>
                <a:rPr lang="en-US" sz="1764" kern="0" dirty="0">
                  <a:solidFill>
                    <a:schemeClr val="bg2"/>
                  </a:solidFill>
                  <a:latin typeface="+mn-lt"/>
                </a:rPr>
                <a:t>Data</a:t>
              </a:r>
            </a:p>
          </p:txBody>
        </p:sp>
        <p:grpSp>
          <p:nvGrpSpPr>
            <p:cNvPr id="194" name="Group 193"/>
            <p:cNvGrpSpPr/>
            <p:nvPr/>
          </p:nvGrpSpPr>
          <p:grpSpPr>
            <a:xfrm>
              <a:off x="1776319" y="1668481"/>
              <a:ext cx="308472" cy="3830198"/>
              <a:chOff x="1810439" y="1858178"/>
              <a:chExt cx="308472" cy="3830198"/>
            </a:xfrm>
            <a:solidFill>
              <a:srgbClr val="0078D7"/>
            </a:solidFill>
          </p:grpSpPr>
          <p:sp>
            <p:nvSpPr>
              <p:cNvPr id="195" name="Freeform 194"/>
              <p:cNvSpPr/>
              <p:nvPr/>
            </p:nvSpPr>
            <p:spPr bwMode="auto">
              <a:xfrm>
                <a:off x="1995054" y="1858178"/>
                <a:ext cx="123857" cy="3830198"/>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203"/>
                <a:endParaRPr lang="en-US" sz="1764" kern="0">
                  <a:solidFill>
                    <a:sysClr val="windowText" lastClr="000000"/>
                  </a:solidFill>
                </a:endParaRPr>
              </a:p>
            </p:txBody>
          </p:sp>
          <p:cxnSp>
            <p:nvCxnSpPr>
              <p:cNvPr id="196" name="Straight Connector 195"/>
              <p:cNvCxnSpPr/>
              <p:nvPr/>
            </p:nvCxnSpPr>
            <p:spPr>
              <a:xfrm>
                <a:off x="1810439" y="3639239"/>
                <a:ext cx="308472" cy="0"/>
              </a:xfrm>
              <a:prstGeom prst="line">
                <a:avLst/>
              </a:prstGeom>
              <a:grpFill/>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76" name="TextBox 175"/>
            <p:cNvSpPr txBox="1"/>
            <p:nvPr/>
          </p:nvSpPr>
          <p:spPr>
            <a:xfrm>
              <a:off x="5327363" y="5665183"/>
              <a:ext cx="1165191" cy="276999"/>
            </a:xfrm>
            <a:prstGeom prst="rect">
              <a:avLst/>
            </a:prstGeom>
            <a:noFill/>
          </p:spPr>
          <p:txBody>
            <a:bodyPr wrap="none" lIns="0" tIns="0" rIns="0" bIns="0" rtlCol="0" anchor="ctr">
              <a:spAutoFit/>
            </a:bodyPr>
            <a:lstStyle/>
            <a:p>
              <a:pPr algn="ctr" defTabSz="914005">
                <a:spcBef>
                  <a:spcPct val="0"/>
                </a:spcBef>
                <a:spcAft>
                  <a:spcPts val="588"/>
                </a:spcAft>
              </a:pPr>
              <a:r>
                <a:rPr lang="en-US" sz="1764" kern="0" dirty="0">
                  <a:solidFill>
                    <a:schemeClr val="bg2"/>
                  </a:solidFill>
                  <a:cs typeface="Segoe UI Semilight" panose="020B0402040204020203" pitchFamily="34" charset="0"/>
                </a:rPr>
                <a:t>Intelligence</a:t>
              </a:r>
            </a:p>
          </p:txBody>
        </p:sp>
        <p:sp>
          <p:nvSpPr>
            <p:cNvPr id="177" name="Rectangle 176"/>
            <p:cNvSpPr/>
            <p:nvPr/>
          </p:nvSpPr>
          <p:spPr bwMode="auto">
            <a:xfrm>
              <a:off x="2269406" y="1649551"/>
              <a:ext cx="1771946" cy="385834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4" tIns="91403" rIns="18274" bIns="91365" numCol="1" spcCol="1270" anchor="t" anchorCtr="0">
              <a:noAutofit/>
            </a:bodyPr>
            <a:lstStyle/>
            <a:p>
              <a:pPr algn="ctr" defTabSz="724725">
                <a:spcBef>
                  <a:spcPct val="0"/>
                </a:spcBef>
                <a:spcAft>
                  <a:spcPct val="35000"/>
                </a:spcAft>
              </a:pPr>
              <a:r>
                <a:rPr lang="en-US" sz="1400" kern="0" dirty="0">
                  <a:solidFill>
                    <a:schemeClr val="tx1"/>
                  </a:solidFill>
                  <a:latin typeface="Segoe UI Semibold" panose="020B0702040204020203" pitchFamily="34" charset="0"/>
                  <a:cs typeface="Segoe UI Semibold" panose="020B0702040204020203" pitchFamily="34" charset="0"/>
                </a:rPr>
                <a:t>Information Management</a:t>
              </a:r>
            </a:p>
          </p:txBody>
        </p:sp>
        <p:sp>
          <p:nvSpPr>
            <p:cNvPr id="178" name="Rectangle 177"/>
            <p:cNvSpPr/>
            <p:nvPr/>
          </p:nvSpPr>
          <p:spPr>
            <a:xfrm>
              <a:off x="2833488" y="4199155"/>
              <a:ext cx="1296319" cy="270285"/>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Event Hubs</a:t>
              </a:r>
              <a:endParaRPr lang="en-US" sz="1100" kern="0" dirty="0">
                <a:solidFill>
                  <a:sysClr val="windowText" lastClr="000000"/>
                </a:solidFill>
              </a:endParaRPr>
            </a:p>
          </p:txBody>
        </p:sp>
        <p:sp>
          <p:nvSpPr>
            <p:cNvPr id="179" name="Rectangle 178"/>
            <p:cNvSpPr/>
            <p:nvPr/>
          </p:nvSpPr>
          <p:spPr>
            <a:xfrm>
              <a:off x="2833488" y="3390244"/>
              <a:ext cx="1296319" cy="270285"/>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Data Catalog</a:t>
              </a:r>
            </a:p>
          </p:txBody>
        </p:sp>
        <p:grpSp>
          <p:nvGrpSpPr>
            <p:cNvPr id="180" name="Group 179"/>
            <p:cNvGrpSpPr/>
            <p:nvPr/>
          </p:nvGrpSpPr>
          <p:grpSpPr>
            <a:xfrm>
              <a:off x="2512312" y="3346955"/>
              <a:ext cx="280471" cy="298350"/>
              <a:chOff x="3232150" y="382588"/>
              <a:chExt cx="5727700" cy="6092825"/>
            </a:xfrm>
            <a:solidFill>
              <a:schemeClr val="tx1"/>
            </a:solidFill>
          </p:grpSpPr>
          <p:sp>
            <p:nvSpPr>
              <p:cNvPr id="184"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185"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186"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grpSp>
        <p:sp>
          <p:nvSpPr>
            <p:cNvPr id="181" name="Rectangle 180"/>
            <p:cNvSpPr/>
            <p:nvPr/>
          </p:nvSpPr>
          <p:spPr>
            <a:xfrm>
              <a:off x="2833488" y="2538073"/>
              <a:ext cx="1296319" cy="270285"/>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Data Factory </a:t>
              </a:r>
              <a:endParaRPr lang="en-US" sz="1100" kern="0" dirty="0">
                <a:solidFill>
                  <a:sysClr val="windowText" lastClr="000000"/>
                </a:solidFill>
              </a:endParaRPr>
            </a:p>
          </p:txBody>
        </p:sp>
        <p:sp>
          <p:nvSpPr>
            <p:cNvPr id="182" name="Freeform 181"/>
            <p:cNvSpPr/>
            <p:nvPr/>
          </p:nvSpPr>
          <p:spPr bwMode="auto">
            <a:xfrm>
              <a:off x="2508225" y="2475589"/>
              <a:ext cx="292163" cy="307023"/>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pPr>
              <a:endParaRPr lang="en-US" sz="2399" kern="0">
                <a:solidFill>
                  <a:schemeClr val="tx1"/>
                </a:solidFill>
                <a:ea typeface="Segoe UI" pitchFamily="34" charset="0"/>
                <a:cs typeface="Segoe UI" pitchFamily="34" charset="0"/>
              </a:endParaRPr>
            </a:p>
          </p:txBody>
        </p:sp>
        <p:sp>
          <p:nvSpPr>
            <p:cNvPr id="183" name="Freeform 182"/>
            <p:cNvSpPr/>
            <p:nvPr/>
          </p:nvSpPr>
          <p:spPr bwMode="auto">
            <a:xfrm>
              <a:off x="2528952" y="4204179"/>
              <a:ext cx="236184" cy="247159"/>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pPr>
              <a:endParaRPr lang="en-US" sz="2399" kern="0" dirty="0">
                <a:solidFill>
                  <a:schemeClr val="tx1"/>
                </a:solidFill>
                <a:ea typeface="Segoe UI" pitchFamily="34" charset="0"/>
                <a:cs typeface="Segoe UI" pitchFamily="34" charset="0"/>
              </a:endParaRPr>
            </a:p>
          </p:txBody>
        </p:sp>
        <p:sp>
          <p:nvSpPr>
            <p:cNvPr id="235" name="Rectangle 234"/>
            <p:cNvSpPr/>
            <p:nvPr/>
          </p:nvSpPr>
          <p:spPr bwMode="auto">
            <a:xfrm>
              <a:off x="6030180" y="1649550"/>
              <a:ext cx="1771946" cy="385834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4" tIns="91403" rIns="18274" bIns="91365" numCol="1" spcCol="1270" anchor="t" anchorCtr="0">
              <a:noAutofit/>
            </a:bodyPr>
            <a:lstStyle/>
            <a:p>
              <a:pPr algn="ctr" defTabSz="724725">
                <a:spcBef>
                  <a:spcPct val="0"/>
                </a:spcBef>
                <a:spcAft>
                  <a:spcPct val="35000"/>
                </a:spcAft>
              </a:pPr>
              <a:r>
                <a:rPr lang="en-US" sz="1400" kern="0" dirty="0">
                  <a:solidFill>
                    <a:schemeClr val="tx1"/>
                  </a:solidFill>
                  <a:latin typeface="Segoe UI Semibold" panose="020B0702040204020203" pitchFamily="34" charset="0"/>
                  <a:cs typeface="Segoe UI Semibold" panose="020B0702040204020203" pitchFamily="34" charset="0"/>
                </a:rPr>
                <a:t>Machine Learning and Analytics</a:t>
              </a:r>
            </a:p>
          </p:txBody>
        </p:sp>
        <p:sp>
          <p:nvSpPr>
            <p:cNvPr id="236" name="Rectangle 235"/>
            <p:cNvSpPr/>
            <p:nvPr/>
          </p:nvSpPr>
          <p:spPr>
            <a:xfrm>
              <a:off x="6689366" y="3871325"/>
              <a:ext cx="1294130" cy="622511"/>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HDInsight </a:t>
              </a:r>
            </a:p>
            <a:p>
              <a:pPr defTabSz="896203"/>
              <a:r>
                <a:rPr lang="en-US" sz="1100" kern="0" dirty="0">
                  <a:solidFill>
                    <a:sysClr val="windowText" lastClr="000000"/>
                  </a:solidFill>
                  <a:cs typeface="Segoe UI Semilight" panose="020B0402040204020203" pitchFamily="34" charset="0"/>
                </a:rPr>
                <a:t>(Hadoop and Spark)</a:t>
              </a:r>
            </a:p>
          </p:txBody>
        </p:sp>
        <p:sp>
          <p:nvSpPr>
            <p:cNvPr id="237" name="Rectangle 236"/>
            <p:cNvSpPr/>
            <p:nvPr/>
          </p:nvSpPr>
          <p:spPr>
            <a:xfrm>
              <a:off x="6689366" y="4888358"/>
              <a:ext cx="925088" cy="437684"/>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Stream Analytics</a:t>
              </a:r>
            </a:p>
          </p:txBody>
        </p:sp>
        <p:sp>
          <p:nvSpPr>
            <p:cNvPr id="238" name="Rectangle 237"/>
            <p:cNvSpPr/>
            <p:nvPr/>
          </p:nvSpPr>
          <p:spPr>
            <a:xfrm>
              <a:off x="6689366" y="3131506"/>
              <a:ext cx="1294130" cy="446397"/>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Data Lake Analytics</a:t>
              </a:r>
            </a:p>
          </p:txBody>
        </p:sp>
        <p:grpSp>
          <p:nvGrpSpPr>
            <p:cNvPr id="239" name="Group 238"/>
            <p:cNvGrpSpPr/>
            <p:nvPr/>
          </p:nvGrpSpPr>
          <p:grpSpPr>
            <a:xfrm>
              <a:off x="6331026" y="3216207"/>
              <a:ext cx="225034" cy="284903"/>
              <a:chOff x="3763925" y="4579938"/>
              <a:chExt cx="1741488" cy="2204799"/>
            </a:xfrm>
            <a:solidFill>
              <a:schemeClr val="tx1"/>
            </a:solidFill>
          </p:grpSpPr>
          <p:sp>
            <p:nvSpPr>
              <p:cNvPr id="240" name="Freeform 16"/>
              <p:cNvSpPr>
                <a:spLocks/>
              </p:cNvSpPr>
              <p:nvPr/>
            </p:nvSpPr>
            <p:spPr bwMode="auto">
              <a:xfrm>
                <a:off x="3896296" y="4579938"/>
                <a:ext cx="1493839" cy="403229"/>
              </a:xfrm>
              <a:custGeom>
                <a:avLst/>
                <a:gdLst>
                  <a:gd name="T0" fmla="*/ 2 w 1883"/>
                  <a:gd name="T1" fmla="*/ 263 h 508"/>
                  <a:gd name="T2" fmla="*/ 17 w 1883"/>
                  <a:gd name="T3" fmla="*/ 290 h 508"/>
                  <a:gd name="T4" fmla="*/ 51 w 1883"/>
                  <a:gd name="T5" fmla="*/ 321 h 508"/>
                  <a:gd name="T6" fmla="*/ 101 w 1883"/>
                  <a:gd name="T7" fmla="*/ 352 h 508"/>
                  <a:gd name="T8" fmla="*/ 169 w 1883"/>
                  <a:gd name="T9" fmla="*/ 384 h 508"/>
                  <a:gd name="T10" fmla="*/ 253 w 1883"/>
                  <a:gd name="T11" fmla="*/ 414 h 508"/>
                  <a:gd name="T12" fmla="*/ 351 w 1883"/>
                  <a:gd name="T13" fmla="*/ 442 h 508"/>
                  <a:gd name="T14" fmla="*/ 465 w 1883"/>
                  <a:gd name="T15" fmla="*/ 467 h 508"/>
                  <a:gd name="T16" fmla="*/ 592 w 1883"/>
                  <a:gd name="T17" fmla="*/ 486 h 508"/>
                  <a:gd name="T18" fmla="*/ 733 w 1883"/>
                  <a:gd name="T19" fmla="*/ 500 h 508"/>
                  <a:gd name="T20" fmla="*/ 887 w 1883"/>
                  <a:gd name="T21" fmla="*/ 508 h 508"/>
                  <a:gd name="T22" fmla="*/ 996 w 1883"/>
                  <a:gd name="T23" fmla="*/ 508 h 508"/>
                  <a:gd name="T24" fmla="*/ 1150 w 1883"/>
                  <a:gd name="T25" fmla="*/ 500 h 508"/>
                  <a:gd name="T26" fmla="*/ 1291 w 1883"/>
                  <a:gd name="T27" fmla="*/ 486 h 508"/>
                  <a:gd name="T28" fmla="*/ 1419 w 1883"/>
                  <a:gd name="T29" fmla="*/ 467 h 508"/>
                  <a:gd name="T30" fmla="*/ 1532 w 1883"/>
                  <a:gd name="T31" fmla="*/ 442 h 508"/>
                  <a:gd name="T32" fmla="*/ 1632 w 1883"/>
                  <a:gd name="T33" fmla="*/ 414 h 508"/>
                  <a:gd name="T34" fmla="*/ 1715 w 1883"/>
                  <a:gd name="T35" fmla="*/ 384 h 508"/>
                  <a:gd name="T36" fmla="*/ 1782 w 1883"/>
                  <a:gd name="T37" fmla="*/ 352 h 508"/>
                  <a:gd name="T38" fmla="*/ 1834 w 1883"/>
                  <a:gd name="T39" fmla="*/ 321 h 508"/>
                  <a:gd name="T40" fmla="*/ 1866 w 1883"/>
                  <a:gd name="T41" fmla="*/ 290 h 508"/>
                  <a:gd name="T42" fmla="*/ 1882 w 1883"/>
                  <a:gd name="T43" fmla="*/ 263 h 508"/>
                  <a:gd name="T44" fmla="*/ 1882 w 1883"/>
                  <a:gd name="T45" fmla="*/ 245 h 508"/>
                  <a:gd name="T46" fmla="*/ 1866 w 1883"/>
                  <a:gd name="T47" fmla="*/ 217 h 508"/>
                  <a:gd name="T48" fmla="*/ 1834 w 1883"/>
                  <a:gd name="T49" fmla="*/ 187 h 508"/>
                  <a:gd name="T50" fmla="*/ 1782 w 1883"/>
                  <a:gd name="T51" fmla="*/ 155 h 508"/>
                  <a:gd name="T52" fmla="*/ 1715 w 1883"/>
                  <a:gd name="T53" fmla="*/ 124 h 508"/>
                  <a:gd name="T54" fmla="*/ 1632 w 1883"/>
                  <a:gd name="T55" fmla="*/ 93 h 508"/>
                  <a:gd name="T56" fmla="*/ 1532 w 1883"/>
                  <a:gd name="T57" fmla="*/ 64 h 508"/>
                  <a:gd name="T58" fmla="*/ 1419 w 1883"/>
                  <a:gd name="T59" fmla="*/ 40 h 508"/>
                  <a:gd name="T60" fmla="*/ 1291 w 1883"/>
                  <a:gd name="T61" fmla="*/ 20 h 508"/>
                  <a:gd name="T62" fmla="*/ 1150 w 1883"/>
                  <a:gd name="T63" fmla="*/ 6 h 508"/>
                  <a:gd name="T64" fmla="*/ 996 w 1883"/>
                  <a:gd name="T65" fmla="*/ 0 h 508"/>
                  <a:gd name="T66" fmla="*/ 887 w 1883"/>
                  <a:gd name="T67" fmla="*/ 0 h 508"/>
                  <a:gd name="T68" fmla="*/ 733 w 1883"/>
                  <a:gd name="T69" fmla="*/ 6 h 508"/>
                  <a:gd name="T70" fmla="*/ 592 w 1883"/>
                  <a:gd name="T71" fmla="*/ 20 h 508"/>
                  <a:gd name="T72" fmla="*/ 465 w 1883"/>
                  <a:gd name="T73" fmla="*/ 40 h 508"/>
                  <a:gd name="T74" fmla="*/ 351 w 1883"/>
                  <a:gd name="T75" fmla="*/ 64 h 508"/>
                  <a:gd name="T76" fmla="*/ 253 w 1883"/>
                  <a:gd name="T77" fmla="*/ 93 h 508"/>
                  <a:gd name="T78" fmla="*/ 169 w 1883"/>
                  <a:gd name="T79" fmla="*/ 124 h 508"/>
                  <a:gd name="T80" fmla="*/ 101 w 1883"/>
                  <a:gd name="T81" fmla="*/ 155 h 508"/>
                  <a:gd name="T82" fmla="*/ 51 w 1883"/>
                  <a:gd name="T83" fmla="*/ 187 h 508"/>
                  <a:gd name="T84" fmla="*/ 17 w 1883"/>
                  <a:gd name="T85" fmla="*/ 217 h 508"/>
                  <a:gd name="T86" fmla="*/ 2 w 1883"/>
                  <a:gd name="T87" fmla="*/ 245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3" h="508">
                    <a:moveTo>
                      <a:pt x="0" y="254"/>
                    </a:moveTo>
                    <a:lnTo>
                      <a:pt x="0" y="254"/>
                    </a:lnTo>
                    <a:lnTo>
                      <a:pt x="2" y="263"/>
                    </a:lnTo>
                    <a:lnTo>
                      <a:pt x="5" y="271"/>
                    </a:lnTo>
                    <a:lnTo>
                      <a:pt x="11" y="280"/>
                    </a:lnTo>
                    <a:lnTo>
                      <a:pt x="17" y="290"/>
                    </a:lnTo>
                    <a:lnTo>
                      <a:pt x="27" y="301"/>
                    </a:lnTo>
                    <a:lnTo>
                      <a:pt x="37" y="311"/>
                    </a:lnTo>
                    <a:lnTo>
                      <a:pt x="51" y="321"/>
                    </a:lnTo>
                    <a:lnTo>
                      <a:pt x="66" y="331"/>
                    </a:lnTo>
                    <a:lnTo>
                      <a:pt x="82" y="342"/>
                    </a:lnTo>
                    <a:lnTo>
                      <a:pt x="101" y="352"/>
                    </a:lnTo>
                    <a:lnTo>
                      <a:pt x="122" y="362"/>
                    </a:lnTo>
                    <a:lnTo>
                      <a:pt x="144" y="374"/>
                    </a:lnTo>
                    <a:lnTo>
                      <a:pt x="169" y="384"/>
                    </a:lnTo>
                    <a:lnTo>
                      <a:pt x="195" y="394"/>
                    </a:lnTo>
                    <a:lnTo>
                      <a:pt x="222" y="404"/>
                    </a:lnTo>
                    <a:lnTo>
                      <a:pt x="253" y="414"/>
                    </a:lnTo>
                    <a:lnTo>
                      <a:pt x="284" y="424"/>
                    </a:lnTo>
                    <a:lnTo>
                      <a:pt x="317" y="433"/>
                    </a:lnTo>
                    <a:lnTo>
                      <a:pt x="351" y="442"/>
                    </a:lnTo>
                    <a:lnTo>
                      <a:pt x="388" y="451"/>
                    </a:lnTo>
                    <a:lnTo>
                      <a:pt x="426" y="460"/>
                    </a:lnTo>
                    <a:lnTo>
                      <a:pt x="465" y="467"/>
                    </a:lnTo>
                    <a:lnTo>
                      <a:pt x="506" y="473"/>
                    </a:lnTo>
                    <a:lnTo>
                      <a:pt x="549" y="481"/>
                    </a:lnTo>
                    <a:lnTo>
                      <a:pt x="592" y="486"/>
                    </a:lnTo>
                    <a:lnTo>
                      <a:pt x="639" y="492"/>
                    </a:lnTo>
                    <a:lnTo>
                      <a:pt x="685" y="496"/>
                    </a:lnTo>
                    <a:lnTo>
                      <a:pt x="733" y="500"/>
                    </a:lnTo>
                    <a:lnTo>
                      <a:pt x="784" y="504"/>
                    </a:lnTo>
                    <a:lnTo>
                      <a:pt x="836" y="506"/>
                    </a:lnTo>
                    <a:lnTo>
                      <a:pt x="887" y="508"/>
                    </a:lnTo>
                    <a:lnTo>
                      <a:pt x="942" y="508"/>
                    </a:lnTo>
                    <a:lnTo>
                      <a:pt x="942" y="508"/>
                    </a:lnTo>
                    <a:lnTo>
                      <a:pt x="996" y="508"/>
                    </a:lnTo>
                    <a:lnTo>
                      <a:pt x="1049" y="506"/>
                    </a:lnTo>
                    <a:lnTo>
                      <a:pt x="1101" y="504"/>
                    </a:lnTo>
                    <a:lnTo>
                      <a:pt x="1150" y="500"/>
                    </a:lnTo>
                    <a:lnTo>
                      <a:pt x="1199" y="496"/>
                    </a:lnTo>
                    <a:lnTo>
                      <a:pt x="1246" y="492"/>
                    </a:lnTo>
                    <a:lnTo>
                      <a:pt x="1291" y="486"/>
                    </a:lnTo>
                    <a:lnTo>
                      <a:pt x="1335" y="481"/>
                    </a:lnTo>
                    <a:lnTo>
                      <a:pt x="1378" y="473"/>
                    </a:lnTo>
                    <a:lnTo>
                      <a:pt x="1419" y="467"/>
                    </a:lnTo>
                    <a:lnTo>
                      <a:pt x="1459" y="460"/>
                    </a:lnTo>
                    <a:lnTo>
                      <a:pt x="1497" y="451"/>
                    </a:lnTo>
                    <a:lnTo>
                      <a:pt x="1532" y="442"/>
                    </a:lnTo>
                    <a:lnTo>
                      <a:pt x="1567" y="433"/>
                    </a:lnTo>
                    <a:lnTo>
                      <a:pt x="1600" y="424"/>
                    </a:lnTo>
                    <a:lnTo>
                      <a:pt x="1632" y="414"/>
                    </a:lnTo>
                    <a:lnTo>
                      <a:pt x="1661" y="404"/>
                    </a:lnTo>
                    <a:lnTo>
                      <a:pt x="1689" y="394"/>
                    </a:lnTo>
                    <a:lnTo>
                      <a:pt x="1715" y="384"/>
                    </a:lnTo>
                    <a:lnTo>
                      <a:pt x="1739" y="374"/>
                    </a:lnTo>
                    <a:lnTo>
                      <a:pt x="1762" y="362"/>
                    </a:lnTo>
                    <a:lnTo>
                      <a:pt x="1782" y="352"/>
                    </a:lnTo>
                    <a:lnTo>
                      <a:pt x="1801" y="342"/>
                    </a:lnTo>
                    <a:lnTo>
                      <a:pt x="1818" y="331"/>
                    </a:lnTo>
                    <a:lnTo>
                      <a:pt x="1834" y="321"/>
                    </a:lnTo>
                    <a:lnTo>
                      <a:pt x="1846" y="311"/>
                    </a:lnTo>
                    <a:lnTo>
                      <a:pt x="1858" y="301"/>
                    </a:lnTo>
                    <a:lnTo>
                      <a:pt x="1866" y="290"/>
                    </a:lnTo>
                    <a:lnTo>
                      <a:pt x="1874" y="280"/>
                    </a:lnTo>
                    <a:lnTo>
                      <a:pt x="1879" y="271"/>
                    </a:lnTo>
                    <a:lnTo>
                      <a:pt x="1882" y="263"/>
                    </a:lnTo>
                    <a:lnTo>
                      <a:pt x="1883" y="254"/>
                    </a:lnTo>
                    <a:lnTo>
                      <a:pt x="1883" y="254"/>
                    </a:lnTo>
                    <a:lnTo>
                      <a:pt x="1882" y="245"/>
                    </a:lnTo>
                    <a:lnTo>
                      <a:pt x="1879" y="236"/>
                    </a:lnTo>
                    <a:lnTo>
                      <a:pt x="1874" y="226"/>
                    </a:lnTo>
                    <a:lnTo>
                      <a:pt x="1866" y="217"/>
                    </a:lnTo>
                    <a:lnTo>
                      <a:pt x="1858" y="207"/>
                    </a:lnTo>
                    <a:lnTo>
                      <a:pt x="1846" y="197"/>
                    </a:lnTo>
                    <a:lnTo>
                      <a:pt x="1834" y="187"/>
                    </a:lnTo>
                    <a:lnTo>
                      <a:pt x="1818" y="176"/>
                    </a:lnTo>
                    <a:lnTo>
                      <a:pt x="1801" y="165"/>
                    </a:lnTo>
                    <a:lnTo>
                      <a:pt x="1782" y="155"/>
                    </a:lnTo>
                    <a:lnTo>
                      <a:pt x="1762" y="144"/>
                    </a:lnTo>
                    <a:lnTo>
                      <a:pt x="1739" y="134"/>
                    </a:lnTo>
                    <a:lnTo>
                      <a:pt x="1715" y="124"/>
                    </a:lnTo>
                    <a:lnTo>
                      <a:pt x="1689" y="114"/>
                    </a:lnTo>
                    <a:lnTo>
                      <a:pt x="1661" y="102"/>
                    </a:lnTo>
                    <a:lnTo>
                      <a:pt x="1632" y="93"/>
                    </a:lnTo>
                    <a:lnTo>
                      <a:pt x="1600" y="83"/>
                    </a:lnTo>
                    <a:lnTo>
                      <a:pt x="1567" y="74"/>
                    </a:lnTo>
                    <a:lnTo>
                      <a:pt x="1532" y="64"/>
                    </a:lnTo>
                    <a:lnTo>
                      <a:pt x="1497" y="57"/>
                    </a:lnTo>
                    <a:lnTo>
                      <a:pt x="1459" y="48"/>
                    </a:lnTo>
                    <a:lnTo>
                      <a:pt x="1419" y="40"/>
                    </a:lnTo>
                    <a:lnTo>
                      <a:pt x="1378" y="33"/>
                    </a:lnTo>
                    <a:lnTo>
                      <a:pt x="1335" y="27"/>
                    </a:lnTo>
                    <a:lnTo>
                      <a:pt x="1291" y="20"/>
                    </a:lnTo>
                    <a:lnTo>
                      <a:pt x="1246" y="15"/>
                    </a:lnTo>
                    <a:lnTo>
                      <a:pt x="1199" y="10"/>
                    </a:lnTo>
                    <a:lnTo>
                      <a:pt x="1150" y="6"/>
                    </a:lnTo>
                    <a:lnTo>
                      <a:pt x="1101" y="4"/>
                    </a:lnTo>
                    <a:lnTo>
                      <a:pt x="1049" y="1"/>
                    </a:lnTo>
                    <a:lnTo>
                      <a:pt x="996" y="0"/>
                    </a:lnTo>
                    <a:lnTo>
                      <a:pt x="942" y="0"/>
                    </a:lnTo>
                    <a:lnTo>
                      <a:pt x="942" y="0"/>
                    </a:lnTo>
                    <a:lnTo>
                      <a:pt x="887" y="0"/>
                    </a:lnTo>
                    <a:lnTo>
                      <a:pt x="836" y="1"/>
                    </a:lnTo>
                    <a:lnTo>
                      <a:pt x="784" y="4"/>
                    </a:lnTo>
                    <a:lnTo>
                      <a:pt x="733" y="6"/>
                    </a:lnTo>
                    <a:lnTo>
                      <a:pt x="685" y="10"/>
                    </a:lnTo>
                    <a:lnTo>
                      <a:pt x="639" y="15"/>
                    </a:lnTo>
                    <a:lnTo>
                      <a:pt x="592" y="20"/>
                    </a:lnTo>
                    <a:lnTo>
                      <a:pt x="549" y="27"/>
                    </a:lnTo>
                    <a:lnTo>
                      <a:pt x="506" y="33"/>
                    </a:lnTo>
                    <a:lnTo>
                      <a:pt x="465" y="40"/>
                    </a:lnTo>
                    <a:lnTo>
                      <a:pt x="426" y="48"/>
                    </a:lnTo>
                    <a:lnTo>
                      <a:pt x="388" y="57"/>
                    </a:lnTo>
                    <a:lnTo>
                      <a:pt x="351" y="64"/>
                    </a:lnTo>
                    <a:lnTo>
                      <a:pt x="317" y="74"/>
                    </a:lnTo>
                    <a:lnTo>
                      <a:pt x="284" y="83"/>
                    </a:lnTo>
                    <a:lnTo>
                      <a:pt x="253" y="93"/>
                    </a:lnTo>
                    <a:lnTo>
                      <a:pt x="222" y="102"/>
                    </a:lnTo>
                    <a:lnTo>
                      <a:pt x="195" y="114"/>
                    </a:lnTo>
                    <a:lnTo>
                      <a:pt x="169" y="124"/>
                    </a:lnTo>
                    <a:lnTo>
                      <a:pt x="144" y="134"/>
                    </a:lnTo>
                    <a:lnTo>
                      <a:pt x="122" y="144"/>
                    </a:lnTo>
                    <a:lnTo>
                      <a:pt x="101" y="155"/>
                    </a:lnTo>
                    <a:lnTo>
                      <a:pt x="82" y="165"/>
                    </a:lnTo>
                    <a:lnTo>
                      <a:pt x="66" y="176"/>
                    </a:lnTo>
                    <a:lnTo>
                      <a:pt x="51" y="187"/>
                    </a:lnTo>
                    <a:lnTo>
                      <a:pt x="37" y="197"/>
                    </a:lnTo>
                    <a:lnTo>
                      <a:pt x="27" y="207"/>
                    </a:lnTo>
                    <a:lnTo>
                      <a:pt x="17" y="217"/>
                    </a:lnTo>
                    <a:lnTo>
                      <a:pt x="11" y="226"/>
                    </a:lnTo>
                    <a:lnTo>
                      <a:pt x="5" y="236"/>
                    </a:lnTo>
                    <a:lnTo>
                      <a:pt x="2" y="245"/>
                    </a:lnTo>
                    <a:lnTo>
                      <a:pt x="0" y="254"/>
                    </a:lnTo>
                    <a:lnTo>
                      <a:pt x="0" y="2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241" name="Freeform 17"/>
              <p:cNvSpPr>
                <a:spLocks/>
              </p:cNvSpPr>
              <p:nvPr/>
            </p:nvSpPr>
            <p:spPr bwMode="auto">
              <a:xfrm>
                <a:off x="3763925" y="4708286"/>
                <a:ext cx="1741488" cy="1411289"/>
              </a:xfrm>
              <a:custGeom>
                <a:avLst/>
                <a:gdLst>
                  <a:gd name="T0" fmla="*/ 280 w 2194"/>
                  <a:gd name="T1" fmla="*/ 1778 h 1779"/>
                  <a:gd name="T2" fmla="*/ 363 w 2194"/>
                  <a:gd name="T3" fmla="*/ 1764 h 1779"/>
                  <a:gd name="T4" fmla="*/ 440 w 2194"/>
                  <a:gd name="T5" fmla="*/ 1736 h 1779"/>
                  <a:gd name="T6" fmla="*/ 511 w 2194"/>
                  <a:gd name="T7" fmla="*/ 1693 h 1779"/>
                  <a:gd name="T8" fmla="*/ 573 w 2194"/>
                  <a:gd name="T9" fmla="*/ 1637 h 1779"/>
                  <a:gd name="T10" fmla="*/ 625 w 2194"/>
                  <a:gd name="T11" fmla="*/ 1569 h 1779"/>
                  <a:gd name="T12" fmla="*/ 633 w 2194"/>
                  <a:gd name="T13" fmla="*/ 1558 h 1779"/>
                  <a:gd name="T14" fmla="*/ 652 w 2194"/>
                  <a:gd name="T15" fmla="*/ 1547 h 1779"/>
                  <a:gd name="T16" fmla="*/ 675 w 2194"/>
                  <a:gd name="T17" fmla="*/ 1543 h 1779"/>
                  <a:gd name="T18" fmla="*/ 696 w 2194"/>
                  <a:gd name="T19" fmla="*/ 1547 h 1779"/>
                  <a:gd name="T20" fmla="*/ 715 w 2194"/>
                  <a:gd name="T21" fmla="*/ 1558 h 1779"/>
                  <a:gd name="T22" fmla="*/ 725 w 2194"/>
                  <a:gd name="T23" fmla="*/ 1569 h 1779"/>
                  <a:gd name="T24" fmla="*/ 776 w 2194"/>
                  <a:gd name="T25" fmla="*/ 1637 h 1779"/>
                  <a:gd name="T26" fmla="*/ 838 w 2194"/>
                  <a:gd name="T27" fmla="*/ 1693 h 1779"/>
                  <a:gd name="T28" fmla="*/ 908 w 2194"/>
                  <a:gd name="T29" fmla="*/ 1736 h 1779"/>
                  <a:gd name="T30" fmla="*/ 985 w 2194"/>
                  <a:gd name="T31" fmla="*/ 1764 h 1779"/>
                  <a:gd name="T32" fmla="*/ 1069 w 2194"/>
                  <a:gd name="T33" fmla="*/ 1778 h 1779"/>
                  <a:gd name="T34" fmla="*/ 1125 w 2194"/>
                  <a:gd name="T35" fmla="*/ 1778 h 1779"/>
                  <a:gd name="T36" fmla="*/ 1209 w 2194"/>
                  <a:gd name="T37" fmla="*/ 1764 h 1779"/>
                  <a:gd name="T38" fmla="*/ 1286 w 2194"/>
                  <a:gd name="T39" fmla="*/ 1736 h 1779"/>
                  <a:gd name="T40" fmla="*/ 1356 w 2194"/>
                  <a:gd name="T41" fmla="*/ 1693 h 1779"/>
                  <a:gd name="T42" fmla="*/ 1418 w 2194"/>
                  <a:gd name="T43" fmla="*/ 1637 h 1779"/>
                  <a:gd name="T44" fmla="*/ 1470 w 2194"/>
                  <a:gd name="T45" fmla="*/ 1569 h 1779"/>
                  <a:gd name="T46" fmla="*/ 1479 w 2194"/>
                  <a:gd name="T47" fmla="*/ 1558 h 1779"/>
                  <a:gd name="T48" fmla="*/ 1498 w 2194"/>
                  <a:gd name="T49" fmla="*/ 1547 h 1779"/>
                  <a:gd name="T50" fmla="*/ 1519 w 2194"/>
                  <a:gd name="T51" fmla="*/ 1543 h 1779"/>
                  <a:gd name="T52" fmla="*/ 1542 w 2194"/>
                  <a:gd name="T53" fmla="*/ 1547 h 1779"/>
                  <a:gd name="T54" fmla="*/ 1561 w 2194"/>
                  <a:gd name="T55" fmla="*/ 1558 h 1779"/>
                  <a:gd name="T56" fmla="*/ 1569 w 2194"/>
                  <a:gd name="T57" fmla="*/ 1569 h 1779"/>
                  <a:gd name="T58" fmla="*/ 1621 w 2194"/>
                  <a:gd name="T59" fmla="*/ 1637 h 1779"/>
                  <a:gd name="T60" fmla="*/ 1683 w 2194"/>
                  <a:gd name="T61" fmla="*/ 1693 h 1779"/>
                  <a:gd name="T62" fmla="*/ 1754 w 2194"/>
                  <a:gd name="T63" fmla="*/ 1736 h 1779"/>
                  <a:gd name="T64" fmla="*/ 1831 w 2194"/>
                  <a:gd name="T65" fmla="*/ 1764 h 1779"/>
                  <a:gd name="T66" fmla="*/ 1914 w 2194"/>
                  <a:gd name="T67" fmla="*/ 1778 h 1779"/>
                  <a:gd name="T68" fmla="*/ 1977 w 2194"/>
                  <a:gd name="T69" fmla="*/ 1778 h 1779"/>
                  <a:gd name="T70" fmla="*/ 2077 w 2194"/>
                  <a:gd name="T71" fmla="*/ 1757 h 1779"/>
                  <a:gd name="T72" fmla="*/ 2166 w 2194"/>
                  <a:gd name="T73" fmla="*/ 1716 h 1779"/>
                  <a:gd name="T74" fmla="*/ 2194 w 2194"/>
                  <a:gd name="T75" fmla="*/ 0 h 1779"/>
                  <a:gd name="T76" fmla="*/ 2190 w 2194"/>
                  <a:gd name="T77" fmla="*/ 39 h 1779"/>
                  <a:gd name="T78" fmla="*/ 2179 w 2194"/>
                  <a:gd name="T79" fmla="*/ 77 h 1779"/>
                  <a:gd name="T80" fmla="*/ 2154 w 2194"/>
                  <a:gd name="T81" fmla="*/ 125 h 1779"/>
                  <a:gd name="T82" fmla="*/ 2097 w 2194"/>
                  <a:gd name="T83" fmla="*/ 189 h 1779"/>
                  <a:gd name="T84" fmla="*/ 2016 w 2194"/>
                  <a:gd name="T85" fmla="*/ 247 h 1779"/>
                  <a:gd name="T86" fmla="*/ 1916 w 2194"/>
                  <a:gd name="T87" fmla="*/ 297 h 1779"/>
                  <a:gd name="T88" fmla="*/ 1800 w 2194"/>
                  <a:gd name="T89" fmla="*/ 339 h 1779"/>
                  <a:gd name="T90" fmla="*/ 1670 w 2194"/>
                  <a:gd name="T91" fmla="*/ 375 h 1779"/>
                  <a:gd name="T92" fmla="*/ 1529 w 2194"/>
                  <a:gd name="T93" fmla="*/ 401 h 1779"/>
                  <a:gd name="T94" fmla="*/ 1380 w 2194"/>
                  <a:gd name="T95" fmla="*/ 422 h 1779"/>
                  <a:gd name="T96" fmla="*/ 1226 w 2194"/>
                  <a:gd name="T97" fmla="*/ 433 h 1779"/>
                  <a:gd name="T98" fmla="*/ 1069 w 2194"/>
                  <a:gd name="T99" fmla="*/ 437 h 1779"/>
                  <a:gd name="T100" fmla="*/ 900 w 2194"/>
                  <a:gd name="T101" fmla="*/ 433 h 1779"/>
                  <a:gd name="T102" fmla="*/ 651 w 2194"/>
                  <a:gd name="T103" fmla="*/ 409 h 1779"/>
                  <a:gd name="T104" fmla="*/ 423 w 2194"/>
                  <a:gd name="T105" fmla="*/ 363 h 1779"/>
                  <a:gd name="T106" fmla="*/ 320 w 2194"/>
                  <a:gd name="T107" fmla="*/ 334 h 1779"/>
                  <a:gd name="T108" fmla="*/ 226 w 2194"/>
                  <a:gd name="T109" fmla="*/ 299 h 1779"/>
                  <a:gd name="T110" fmla="*/ 144 w 2194"/>
                  <a:gd name="T111" fmla="*/ 259 h 1779"/>
                  <a:gd name="T112" fmla="*/ 73 w 2194"/>
                  <a:gd name="T113" fmla="*/ 214 h 1779"/>
                  <a:gd name="T114" fmla="*/ 16 w 2194"/>
                  <a:gd name="T115" fmla="*/ 165 h 1779"/>
                  <a:gd name="T116" fmla="*/ 0 w 2194"/>
                  <a:gd name="T117" fmla="*/ 1698 h 1779"/>
                  <a:gd name="T118" fmla="*/ 87 w 2194"/>
                  <a:gd name="T119" fmla="*/ 1746 h 1779"/>
                  <a:gd name="T120" fmla="*/ 183 w 2194"/>
                  <a:gd name="T121" fmla="*/ 1773 h 1779"/>
                  <a:gd name="T122" fmla="*/ 252 w 2194"/>
                  <a:gd name="T123" fmla="*/ 1779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94" h="1779">
                    <a:moveTo>
                      <a:pt x="252" y="1779"/>
                    </a:moveTo>
                    <a:lnTo>
                      <a:pt x="252" y="1779"/>
                    </a:lnTo>
                    <a:lnTo>
                      <a:pt x="280" y="1778"/>
                    </a:lnTo>
                    <a:lnTo>
                      <a:pt x="308" y="1775"/>
                    </a:lnTo>
                    <a:lnTo>
                      <a:pt x="336" y="1770"/>
                    </a:lnTo>
                    <a:lnTo>
                      <a:pt x="363" y="1764"/>
                    </a:lnTo>
                    <a:lnTo>
                      <a:pt x="390" y="1756"/>
                    </a:lnTo>
                    <a:lnTo>
                      <a:pt x="415" y="1747"/>
                    </a:lnTo>
                    <a:lnTo>
                      <a:pt x="440" y="1736"/>
                    </a:lnTo>
                    <a:lnTo>
                      <a:pt x="466" y="1723"/>
                    </a:lnTo>
                    <a:lnTo>
                      <a:pt x="488" y="1709"/>
                    </a:lnTo>
                    <a:lnTo>
                      <a:pt x="511" y="1693"/>
                    </a:lnTo>
                    <a:lnTo>
                      <a:pt x="532" y="1675"/>
                    </a:lnTo>
                    <a:lnTo>
                      <a:pt x="554" y="1658"/>
                    </a:lnTo>
                    <a:lnTo>
                      <a:pt x="573" y="1637"/>
                    </a:lnTo>
                    <a:lnTo>
                      <a:pt x="592" y="1616"/>
                    </a:lnTo>
                    <a:lnTo>
                      <a:pt x="608" y="1593"/>
                    </a:lnTo>
                    <a:lnTo>
                      <a:pt x="625" y="1569"/>
                    </a:lnTo>
                    <a:lnTo>
                      <a:pt x="625" y="1569"/>
                    </a:lnTo>
                    <a:lnTo>
                      <a:pt x="628" y="1563"/>
                    </a:lnTo>
                    <a:lnTo>
                      <a:pt x="633" y="1558"/>
                    </a:lnTo>
                    <a:lnTo>
                      <a:pt x="640" y="1554"/>
                    </a:lnTo>
                    <a:lnTo>
                      <a:pt x="646" y="1550"/>
                    </a:lnTo>
                    <a:lnTo>
                      <a:pt x="652" y="1547"/>
                    </a:lnTo>
                    <a:lnTo>
                      <a:pt x="660" y="1545"/>
                    </a:lnTo>
                    <a:lnTo>
                      <a:pt x="667" y="1544"/>
                    </a:lnTo>
                    <a:lnTo>
                      <a:pt x="675" y="1543"/>
                    </a:lnTo>
                    <a:lnTo>
                      <a:pt x="681" y="1544"/>
                    </a:lnTo>
                    <a:lnTo>
                      <a:pt x="689" y="1545"/>
                    </a:lnTo>
                    <a:lnTo>
                      <a:pt x="696" y="1547"/>
                    </a:lnTo>
                    <a:lnTo>
                      <a:pt x="703" y="1550"/>
                    </a:lnTo>
                    <a:lnTo>
                      <a:pt x="709" y="1554"/>
                    </a:lnTo>
                    <a:lnTo>
                      <a:pt x="715" y="1558"/>
                    </a:lnTo>
                    <a:lnTo>
                      <a:pt x="720" y="1563"/>
                    </a:lnTo>
                    <a:lnTo>
                      <a:pt x="725" y="1569"/>
                    </a:lnTo>
                    <a:lnTo>
                      <a:pt x="725" y="1569"/>
                    </a:lnTo>
                    <a:lnTo>
                      <a:pt x="741" y="1593"/>
                    </a:lnTo>
                    <a:lnTo>
                      <a:pt x="758" y="1616"/>
                    </a:lnTo>
                    <a:lnTo>
                      <a:pt x="776" y="1637"/>
                    </a:lnTo>
                    <a:lnTo>
                      <a:pt x="796" y="1658"/>
                    </a:lnTo>
                    <a:lnTo>
                      <a:pt x="816" y="1675"/>
                    </a:lnTo>
                    <a:lnTo>
                      <a:pt x="838" y="1693"/>
                    </a:lnTo>
                    <a:lnTo>
                      <a:pt x="860" y="1709"/>
                    </a:lnTo>
                    <a:lnTo>
                      <a:pt x="884" y="1723"/>
                    </a:lnTo>
                    <a:lnTo>
                      <a:pt x="908" y="1736"/>
                    </a:lnTo>
                    <a:lnTo>
                      <a:pt x="934" y="1747"/>
                    </a:lnTo>
                    <a:lnTo>
                      <a:pt x="959" y="1756"/>
                    </a:lnTo>
                    <a:lnTo>
                      <a:pt x="985" y="1764"/>
                    </a:lnTo>
                    <a:lnTo>
                      <a:pt x="1013" y="1770"/>
                    </a:lnTo>
                    <a:lnTo>
                      <a:pt x="1041" y="1775"/>
                    </a:lnTo>
                    <a:lnTo>
                      <a:pt x="1069" y="1778"/>
                    </a:lnTo>
                    <a:lnTo>
                      <a:pt x="1098" y="1779"/>
                    </a:lnTo>
                    <a:lnTo>
                      <a:pt x="1098" y="1779"/>
                    </a:lnTo>
                    <a:lnTo>
                      <a:pt x="1125" y="1778"/>
                    </a:lnTo>
                    <a:lnTo>
                      <a:pt x="1153" y="1775"/>
                    </a:lnTo>
                    <a:lnTo>
                      <a:pt x="1181" y="1770"/>
                    </a:lnTo>
                    <a:lnTo>
                      <a:pt x="1209" y="1764"/>
                    </a:lnTo>
                    <a:lnTo>
                      <a:pt x="1235" y="1756"/>
                    </a:lnTo>
                    <a:lnTo>
                      <a:pt x="1260" y="1747"/>
                    </a:lnTo>
                    <a:lnTo>
                      <a:pt x="1286" y="1736"/>
                    </a:lnTo>
                    <a:lnTo>
                      <a:pt x="1310" y="1723"/>
                    </a:lnTo>
                    <a:lnTo>
                      <a:pt x="1334" y="1709"/>
                    </a:lnTo>
                    <a:lnTo>
                      <a:pt x="1356" y="1693"/>
                    </a:lnTo>
                    <a:lnTo>
                      <a:pt x="1378" y="1675"/>
                    </a:lnTo>
                    <a:lnTo>
                      <a:pt x="1399" y="1658"/>
                    </a:lnTo>
                    <a:lnTo>
                      <a:pt x="1418" y="1637"/>
                    </a:lnTo>
                    <a:lnTo>
                      <a:pt x="1436" y="1616"/>
                    </a:lnTo>
                    <a:lnTo>
                      <a:pt x="1453" y="1593"/>
                    </a:lnTo>
                    <a:lnTo>
                      <a:pt x="1470" y="1569"/>
                    </a:lnTo>
                    <a:lnTo>
                      <a:pt x="1470" y="1569"/>
                    </a:lnTo>
                    <a:lnTo>
                      <a:pt x="1474" y="1563"/>
                    </a:lnTo>
                    <a:lnTo>
                      <a:pt x="1479" y="1558"/>
                    </a:lnTo>
                    <a:lnTo>
                      <a:pt x="1485" y="1554"/>
                    </a:lnTo>
                    <a:lnTo>
                      <a:pt x="1491" y="1550"/>
                    </a:lnTo>
                    <a:lnTo>
                      <a:pt x="1498" y="1547"/>
                    </a:lnTo>
                    <a:lnTo>
                      <a:pt x="1505" y="1545"/>
                    </a:lnTo>
                    <a:lnTo>
                      <a:pt x="1513" y="1544"/>
                    </a:lnTo>
                    <a:lnTo>
                      <a:pt x="1519" y="1543"/>
                    </a:lnTo>
                    <a:lnTo>
                      <a:pt x="1527" y="1544"/>
                    </a:lnTo>
                    <a:lnTo>
                      <a:pt x="1534" y="1545"/>
                    </a:lnTo>
                    <a:lnTo>
                      <a:pt x="1542" y="1547"/>
                    </a:lnTo>
                    <a:lnTo>
                      <a:pt x="1548" y="1550"/>
                    </a:lnTo>
                    <a:lnTo>
                      <a:pt x="1554" y="1554"/>
                    </a:lnTo>
                    <a:lnTo>
                      <a:pt x="1561" y="1558"/>
                    </a:lnTo>
                    <a:lnTo>
                      <a:pt x="1566" y="1563"/>
                    </a:lnTo>
                    <a:lnTo>
                      <a:pt x="1569" y="1569"/>
                    </a:lnTo>
                    <a:lnTo>
                      <a:pt x="1569" y="1569"/>
                    </a:lnTo>
                    <a:lnTo>
                      <a:pt x="1586" y="1593"/>
                    </a:lnTo>
                    <a:lnTo>
                      <a:pt x="1602" y="1616"/>
                    </a:lnTo>
                    <a:lnTo>
                      <a:pt x="1621" y="1637"/>
                    </a:lnTo>
                    <a:lnTo>
                      <a:pt x="1640" y="1658"/>
                    </a:lnTo>
                    <a:lnTo>
                      <a:pt x="1662" y="1675"/>
                    </a:lnTo>
                    <a:lnTo>
                      <a:pt x="1683" y="1693"/>
                    </a:lnTo>
                    <a:lnTo>
                      <a:pt x="1706" y="1709"/>
                    </a:lnTo>
                    <a:lnTo>
                      <a:pt x="1728" y="1723"/>
                    </a:lnTo>
                    <a:lnTo>
                      <a:pt x="1754" y="1736"/>
                    </a:lnTo>
                    <a:lnTo>
                      <a:pt x="1779" y="1747"/>
                    </a:lnTo>
                    <a:lnTo>
                      <a:pt x="1804" y="1756"/>
                    </a:lnTo>
                    <a:lnTo>
                      <a:pt x="1831" y="1764"/>
                    </a:lnTo>
                    <a:lnTo>
                      <a:pt x="1858" y="1770"/>
                    </a:lnTo>
                    <a:lnTo>
                      <a:pt x="1886" y="1775"/>
                    </a:lnTo>
                    <a:lnTo>
                      <a:pt x="1914" y="1778"/>
                    </a:lnTo>
                    <a:lnTo>
                      <a:pt x="1942" y="1779"/>
                    </a:lnTo>
                    <a:lnTo>
                      <a:pt x="1942" y="1779"/>
                    </a:lnTo>
                    <a:lnTo>
                      <a:pt x="1977" y="1778"/>
                    </a:lnTo>
                    <a:lnTo>
                      <a:pt x="2011" y="1773"/>
                    </a:lnTo>
                    <a:lnTo>
                      <a:pt x="2044" y="1766"/>
                    </a:lnTo>
                    <a:lnTo>
                      <a:pt x="2077" y="1757"/>
                    </a:lnTo>
                    <a:lnTo>
                      <a:pt x="2107" y="1746"/>
                    </a:lnTo>
                    <a:lnTo>
                      <a:pt x="2137" y="1732"/>
                    </a:lnTo>
                    <a:lnTo>
                      <a:pt x="2166" y="1716"/>
                    </a:lnTo>
                    <a:lnTo>
                      <a:pt x="2194" y="1698"/>
                    </a:lnTo>
                    <a:lnTo>
                      <a:pt x="2194" y="0"/>
                    </a:lnTo>
                    <a:lnTo>
                      <a:pt x="2194" y="0"/>
                    </a:lnTo>
                    <a:lnTo>
                      <a:pt x="2193" y="12"/>
                    </a:lnTo>
                    <a:lnTo>
                      <a:pt x="2191" y="26"/>
                    </a:lnTo>
                    <a:lnTo>
                      <a:pt x="2190" y="39"/>
                    </a:lnTo>
                    <a:lnTo>
                      <a:pt x="2186" y="52"/>
                    </a:lnTo>
                    <a:lnTo>
                      <a:pt x="2184" y="64"/>
                    </a:lnTo>
                    <a:lnTo>
                      <a:pt x="2179" y="77"/>
                    </a:lnTo>
                    <a:lnTo>
                      <a:pt x="2174" y="89"/>
                    </a:lnTo>
                    <a:lnTo>
                      <a:pt x="2168" y="101"/>
                    </a:lnTo>
                    <a:lnTo>
                      <a:pt x="2154" y="125"/>
                    </a:lnTo>
                    <a:lnTo>
                      <a:pt x="2137" y="146"/>
                    </a:lnTo>
                    <a:lnTo>
                      <a:pt x="2118" y="169"/>
                    </a:lnTo>
                    <a:lnTo>
                      <a:pt x="2097" y="189"/>
                    </a:lnTo>
                    <a:lnTo>
                      <a:pt x="2072" y="209"/>
                    </a:lnTo>
                    <a:lnTo>
                      <a:pt x="2045" y="228"/>
                    </a:lnTo>
                    <a:lnTo>
                      <a:pt x="2016" y="247"/>
                    </a:lnTo>
                    <a:lnTo>
                      <a:pt x="1985" y="265"/>
                    </a:lnTo>
                    <a:lnTo>
                      <a:pt x="1952" y="281"/>
                    </a:lnTo>
                    <a:lnTo>
                      <a:pt x="1916" y="297"/>
                    </a:lnTo>
                    <a:lnTo>
                      <a:pt x="1880" y="312"/>
                    </a:lnTo>
                    <a:lnTo>
                      <a:pt x="1841" y="327"/>
                    </a:lnTo>
                    <a:lnTo>
                      <a:pt x="1800" y="339"/>
                    </a:lnTo>
                    <a:lnTo>
                      <a:pt x="1759" y="352"/>
                    </a:lnTo>
                    <a:lnTo>
                      <a:pt x="1715" y="363"/>
                    </a:lnTo>
                    <a:lnTo>
                      <a:pt x="1670" y="375"/>
                    </a:lnTo>
                    <a:lnTo>
                      <a:pt x="1625" y="385"/>
                    </a:lnTo>
                    <a:lnTo>
                      <a:pt x="1577" y="394"/>
                    </a:lnTo>
                    <a:lnTo>
                      <a:pt x="1529" y="401"/>
                    </a:lnTo>
                    <a:lnTo>
                      <a:pt x="1480" y="409"/>
                    </a:lnTo>
                    <a:lnTo>
                      <a:pt x="1431" y="415"/>
                    </a:lnTo>
                    <a:lnTo>
                      <a:pt x="1380" y="422"/>
                    </a:lnTo>
                    <a:lnTo>
                      <a:pt x="1330" y="427"/>
                    </a:lnTo>
                    <a:lnTo>
                      <a:pt x="1278" y="430"/>
                    </a:lnTo>
                    <a:lnTo>
                      <a:pt x="1226" y="433"/>
                    </a:lnTo>
                    <a:lnTo>
                      <a:pt x="1173" y="435"/>
                    </a:lnTo>
                    <a:lnTo>
                      <a:pt x="1122" y="437"/>
                    </a:lnTo>
                    <a:lnTo>
                      <a:pt x="1069" y="437"/>
                    </a:lnTo>
                    <a:lnTo>
                      <a:pt x="1069" y="437"/>
                    </a:lnTo>
                    <a:lnTo>
                      <a:pt x="984" y="437"/>
                    </a:lnTo>
                    <a:lnTo>
                      <a:pt x="900" y="433"/>
                    </a:lnTo>
                    <a:lnTo>
                      <a:pt x="815" y="427"/>
                    </a:lnTo>
                    <a:lnTo>
                      <a:pt x="733" y="419"/>
                    </a:lnTo>
                    <a:lnTo>
                      <a:pt x="651" y="409"/>
                    </a:lnTo>
                    <a:lnTo>
                      <a:pt x="573" y="396"/>
                    </a:lnTo>
                    <a:lnTo>
                      <a:pt x="496" y="381"/>
                    </a:lnTo>
                    <a:lnTo>
                      <a:pt x="423" y="363"/>
                    </a:lnTo>
                    <a:lnTo>
                      <a:pt x="387" y="355"/>
                    </a:lnTo>
                    <a:lnTo>
                      <a:pt x="353" y="344"/>
                    </a:lnTo>
                    <a:lnTo>
                      <a:pt x="320" y="334"/>
                    </a:lnTo>
                    <a:lnTo>
                      <a:pt x="288" y="323"/>
                    </a:lnTo>
                    <a:lnTo>
                      <a:pt x="256" y="312"/>
                    </a:lnTo>
                    <a:lnTo>
                      <a:pt x="226" y="299"/>
                    </a:lnTo>
                    <a:lnTo>
                      <a:pt x="197" y="286"/>
                    </a:lnTo>
                    <a:lnTo>
                      <a:pt x="169" y="273"/>
                    </a:lnTo>
                    <a:lnTo>
                      <a:pt x="144" y="259"/>
                    </a:lnTo>
                    <a:lnTo>
                      <a:pt x="119" y="245"/>
                    </a:lnTo>
                    <a:lnTo>
                      <a:pt x="95" y="230"/>
                    </a:lnTo>
                    <a:lnTo>
                      <a:pt x="73" y="214"/>
                    </a:lnTo>
                    <a:lnTo>
                      <a:pt x="52" y="198"/>
                    </a:lnTo>
                    <a:lnTo>
                      <a:pt x="33" y="182"/>
                    </a:lnTo>
                    <a:lnTo>
                      <a:pt x="16" y="165"/>
                    </a:lnTo>
                    <a:lnTo>
                      <a:pt x="0" y="148"/>
                    </a:lnTo>
                    <a:lnTo>
                      <a:pt x="0" y="1698"/>
                    </a:lnTo>
                    <a:lnTo>
                      <a:pt x="0" y="1698"/>
                    </a:lnTo>
                    <a:lnTo>
                      <a:pt x="28" y="1716"/>
                    </a:lnTo>
                    <a:lnTo>
                      <a:pt x="57" y="1732"/>
                    </a:lnTo>
                    <a:lnTo>
                      <a:pt x="87" y="1746"/>
                    </a:lnTo>
                    <a:lnTo>
                      <a:pt x="117" y="1757"/>
                    </a:lnTo>
                    <a:lnTo>
                      <a:pt x="150" y="1766"/>
                    </a:lnTo>
                    <a:lnTo>
                      <a:pt x="183" y="1773"/>
                    </a:lnTo>
                    <a:lnTo>
                      <a:pt x="217" y="1778"/>
                    </a:lnTo>
                    <a:lnTo>
                      <a:pt x="252" y="1779"/>
                    </a:lnTo>
                    <a:lnTo>
                      <a:pt x="252" y="17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242" name="Freeform 18"/>
              <p:cNvSpPr>
                <a:spLocks/>
              </p:cNvSpPr>
              <p:nvPr/>
            </p:nvSpPr>
            <p:spPr bwMode="auto">
              <a:xfrm>
                <a:off x="3763925" y="6057664"/>
                <a:ext cx="1741488" cy="727073"/>
              </a:xfrm>
              <a:custGeom>
                <a:avLst/>
                <a:gdLst>
                  <a:gd name="T0" fmla="*/ 1911 w 2194"/>
                  <a:gd name="T1" fmla="*/ 195 h 915"/>
                  <a:gd name="T2" fmla="*/ 1821 w 2194"/>
                  <a:gd name="T3" fmla="*/ 183 h 915"/>
                  <a:gd name="T4" fmla="*/ 1736 w 2194"/>
                  <a:gd name="T5" fmla="*/ 156 h 915"/>
                  <a:gd name="T6" fmla="*/ 1655 w 2194"/>
                  <a:gd name="T7" fmla="*/ 117 h 915"/>
                  <a:gd name="T8" fmla="*/ 1583 w 2194"/>
                  <a:gd name="T9" fmla="*/ 64 h 915"/>
                  <a:gd name="T10" fmla="*/ 1519 w 2194"/>
                  <a:gd name="T11" fmla="*/ 0 h 915"/>
                  <a:gd name="T12" fmla="*/ 1479 w 2194"/>
                  <a:gd name="T13" fmla="*/ 44 h 915"/>
                  <a:gd name="T14" fmla="*/ 1408 w 2194"/>
                  <a:gd name="T15" fmla="*/ 101 h 915"/>
                  <a:gd name="T16" fmla="*/ 1331 w 2194"/>
                  <a:gd name="T17" fmla="*/ 145 h 915"/>
                  <a:gd name="T18" fmla="*/ 1247 w 2194"/>
                  <a:gd name="T19" fmla="*/ 175 h 915"/>
                  <a:gd name="T20" fmla="*/ 1158 w 2194"/>
                  <a:gd name="T21" fmla="*/ 193 h 915"/>
                  <a:gd name="T22" fmla="*/ 1098 w 2194"/>
                  <a:gd name="T23" fmla="*/ 195 h 915"/>
                  <a:gd name="T24" fmla="*/ 1006 w 2194"/>
                  <a:gd name="T25" fmla="*/ 188 h 915"/>
                  <a:gd name="T26" fmla="*/ 918 w 2194"/>
                  <a:gd name="T27" fmla="*/ 166 h 915"/>
                  <a:gd name="T28" fmla="*/ 836 w 2194"/>
                  <a:gd name="T29" fmla="*/ 131 h 915"/>
                  <a:gd name="T30" fmla="*/ 762 w 2194"/>
                  <a:gd name="T31" fmla="*/ 83 h 915"/>
                  <a:gd name="T32" fmla="*/ 695 w 2194"/>
                  <a:gd name="T33" fmla="*/ 22 h 915"/>
                  <a:gd name="T34" fmla="*/ 655 w 2194"/>
                  <a:gd name="T35" fmla="*/ 22 h 915"/>
                  <a:gd name="T36" fmla="*/ 588 w 2194"/>
                  <a:gd name="T37" fmla="*/ 83 h 915"/>
                  <a:gd name="T38" fmla="*/ 512 w 2194"/>
                  <a:gd name="T39" fmla="*/ 131 h 915"/>
                  <a:gd name="T40" fmla="*/ 430 w 2194"/>
                  <a:gd name="T41" fmla="*/ 166 h 915"/>
                  <a:gd name="T42" fmla="*/ 343 w 2194"/>
                  <a:gd name="T43" fmla="*/ 188 h 915"/>
                  <a:gd name="T44" fmla="*/ 252 w 2194"/>
                  <a:gd name="T45" fmla="*/ 195 h 915"/>
                  <a:gd name="T46" fmla="*/ 185 w 2194"/>
                  <a:gd name="T47" fmla="*/ 192 h 915"/>
                  <a:gd name="T48" fmla="*/ 90 w 2194"/>
                  <a:gd name="T49" fmla="*/ 171 h 915"/>
                  <a:gd name="T50" fmla="*/ 0 w 2194"/>
                  <a:gd name="T51" fmla="*/ 135 h 915"/>
                  <a:gd name="T52" fmla="*/ 15 w 2194"/>
                  <a:gd name="T53" fmla="*/ 703 h 915"/>
                  <a:gd name="T54" fmla="*/ 69 w 2194"/>
                  <a:gd name="T55" fmla="*/ 737 h 915"/>
                  <a:gd name="T56" fmla="*/ 136 w 2194"/>
                  <a:gd name="T57" fmla="*/ 770 h 915"/>
                  <a:gd name="T58" fmla="*/ 274 w 2194"/>
                  <a:gd name="T59" fmla="*/ 819 h 915"/>
                  <a:gd name="T60" fmla="*/ 477 w 2194"/>
                  <a:gd name="T61" fmla="*/ 866 h 915"/>
                  <a:gd name="T62" fmla="*/ 713 w 2194"/>
                  <a:gd name="T63" fmla="*/ 899 h 915"/>
                  <a:gd name="T64" fmla="*/ 975 w 2194"/>
                  <a:gd name="T65" fmla="*/ 914 h 915"/>
                  <a:gd name="T66" fmla="*/ 1125 w 2194"/>
                  <a:gd name="T67" fmla="*/ 915 h 915"/>
                  <a:gd name="T68" fmla="*/ 1294 w 2194"/>
                  <a:gd name="T69" fmla="*/ 909 h 915"/>
                  <a:gd name="T70" fmla="*/ 1455 w 2194"/>
                  <a:gd name="T71" fmla="*/ 895 h 915"/>
                  <a:gd name="T72" fmla="*/ 1604 w 2194"/>
                  <a:gd name="T73" fmla="*/ 875 h 915"/>
                  <a:gd name="T74" fmla="*/ 1741 w 2194"/>
                  <a:gd name="T75" fmla="*/ 849 h 915"/>
                  <a:gd name="T76" fmla="*/ 1863 w 2194"/>
                  <a:gd name="T77" fmla="*/ 818 h 915"/>
                  <a:gd name="T78" fmla="*/ 1969 w 2194"/>
                  <a:gd name="T79" fmla="*/ 782 h 915"/>
                  <a:gd name="T80" fmla="*/ 2058 w 2194"/>
                  <a:gd name="T81" fmla="*/ 742 h 915"/>
                  <a:gd name="T82" fmla="*/ 2125 w 2194"/>
                  <a:gd name="T83" fmla="*/ 698 h 915"/>
                  <a:gd name="T84" fmla="*/ 2170 w 2194"/>
                  <a:gd name="T85" fmla="*/ 651 h 915"/>
                  <a:gd name="T86" fmla="*/ 2191 w 2194"/>
                  <a:gd name="T87" fmla="*/ 601 h 915"/>
                  <a:gd name="T88" fmla="*/ 2194 w 2194"/>
                  <a:gd name="T89" fmla="*/ 135 h 915"/>
                  <a:gd name="T90" fmla="*/ 2104 w 2194"/>
                  <a:gd name="T91" fmla="*/ 171 h 915"/>
                  <a:gd name="T92" fmla="*/ 2009 w 2194"/>
                  <a:gd name="T93" fmla="*/ 192 h 915"/>
                  <a:gd name="T94" fmla="*/ 1942 w 2194"/>
                  <a:gd name="T95" fmla="*/ 19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94" h="915">
                    <a:moveTo>
                      <a:pt x="1942" y="195"/>
                    </a:moveTo>
                    <a:lnTo>
                      <a:pt x="1942" y="195"/>
                    </a:lnTo>
                    <a:lnTo>
                      <a:pt x="1911" y="195"/>
                    </a:lnTo>
                    <a:lnTo>
                      <a:pt x="1881" y="193"/>
                    </a:lnTo>
                    <a:lnTo>
                      <a:pt x="1851" y="188"/>
                    </a:lnTo>
                    <a:lnTo>
                      <a:pt x="1821" y="183"/>
                    </a:lnTo>
                    <a:lnTo>
                      <a:pt x="1792" y="175"/>
                    </a:lnTo>
                    <a:lnTo>
                      <a:pt x="1764" y="166"/>
                    </a:lnTo>
                    <a:lnTo>
                      <a:pt x="1736" y="156"/>
                    </a:lnTo>
                    <a:lnTo>
                      <a:pt x="1708" y="145"/>
                    </a:lnTo>
                    <a:lnTo>
                      <a:pt x="1682" y="131"/>
                    </a:lnTo>
                    <a:lnTo>
                      <a:pt x="1655" y="117"/>
                    </a:lnTo>
                    <a:lnTo>
                      <a:pt x="1631" y="101"/>
                    </a:lnTo>
                    <a:lnTo>
                      <a:pt x="1606" y="83"/>
                    </a:lnTo>
                    <a:lnTo>
                      <a:pt x="1583" y="64"/>
                    </a:lnTo>
                    <a:lnTo>
                      <a:pt x="1561" y="44"/>
                    </a:lnTo>
                    <a:lnTo>
                      <a:pt x="1539" y="22"/>
                    </a:lnTo>
                    <a:lnTo>
                      <a:pt x="1519" y="0"/>
                    </a:lnTo>
                    <a:lnTo>
                      <a:pt x="1519" y="0"/>
                    </a:lnTo>
                    <a:lnTo>
                      <a:pt x="1499" y="22"/>
                    </a:lnTo>
                    <a:lnTo>
                      <a:pt x="1479" y="44"/>
                    </a:lnTo>
                    <a:lnTo>
                      <a:pt x="1456" y="64"/>
                    </a:lnTo>
                    <a:lnTo>
                      <a:pt x="1432" y="83"/>
                    </a:lnTo>
                    <a:lnTo>
                      <a:pt x="1408" y="101"/>
                    </a:lnTo>
                    <a:lnTo>
                      <a:pt x="1383" y="117"/>
                    </a:lnTo>
                    <a:lnTo>
                      <a:pt x="1358" y="131"/>
                    </a:lnTo>
                    <a:lnTo>
                      <a:pt x="1331" y="145"/>
                    </a:lnTo>
                    <a:lnTo>
                      <a:pt x="1303" y="156"/>
                    </a:lnTo>
                    <a:lnTo>
                      <a:pt x="1276" y="166"/>
                    </a:lnTo>
                    <a:lnTo>
                      <a:pt x="1247" y="175"/>
                    </a:lnTo>
                    <a:lnTo>
                      <a:pt x="1217" y="183"/>
                    </a:lnTo>
                    <a:lnTo>
                      <a:pt x="1188" y="188"/>
                    </a:lnTo>
                    <a:lnTo>
                      <a:pt x="1158" y="193"/>
                    </a:lnTo>
                    <a:lnTo>
                      <a:pt x="1128" y="195"/>
                    </a:lnTo>
                    <a:lnTo>
                      <a:pt x="1098" y="195"/>
                    </a:lnTo>
                    <a:lnTo>
                      <a:pt x="1098" y="195"/>
                    </a:lnTo>
                    <a:lnTo>
                      <a:pt x="1066" y="195"/>
                    </a:lnTo>
                    <a:lnTo>
                      <a:pt x="1036" y="193"/>
                    </a:lnTo>
                    <a:lnTo>
                      <a:pt x="1006" y="188"/>
                    </a:lnTo>
                    <a:lnTo>
                      <a:pt x="977" y="183"/>
                    </a:lnTo>
                    <a:lnTo>
                      <a:pt x="947" y="175"/>
                    </a:lnTo>
                    <a:lnTo>
                      <a:pt x="918" y="166"/>
                    </a:lnTo>
                    <a:lnTo>
                      <a:pt x="891" y="156"/>
                    </a:lnTo>
                    <a:lnTo>
                      <a:pt x="863" y="145"/>
                    </a:lnTo>
                    <a:lnTo>
                      <a:pt x="836" y="131"/>
                    </a:lnTo>
                    <a:lnTo>
                      <a:pt x="811" y="117"/>
                    </a:lnTo>
                    <a:lnTo>
                      <a:pt x="786" y="101"/>
                    </a:lnTo>
                    <a:lnTo>
                      <a:pt x="762" y="83"/>
                    </a:lnTo>
                    <a:lnTo>
                      <a:pt x="738" y="64"/>
                    </a:lnTo>
                    <a:lnTo>
                      <a:pt x="715" y="44"/>
                    </a:lnTo>
                    <a:lnTo>
                      <a:pt x="695" y="22"/>
                    </a:lnTo>
                    <a:lnTo>
                      <a:pt x="675" y="0"/>
                    </a:lnTo>
                    <a:lnTo>
                      <a:pt x="675" y="0"/>
                    </a:lnTo>
                    <a:lnTo>
                      <a:pt x="655" y="22"/>
                    </a:lnTo>
                    <a:lnTo>
                      <a:pt x="633" y="44"/>
                    </a:lnTo>
                    <a:lnTo>
                      <a:pt x="611" y="64"/>
                    </a:lnTo>
                    <a:lnTo>
                      <a:pt x="588" y="83"/>
                    </a:lnTo>
                    <a:lnTo>
                      <a:pt x="563" y="101"/>
                    </a:lnTo>
                    <a:lnTo>
                      <a:pt x="539" y="117"/>
                    </a:lnTo>
                    <a:lnTo>
                      <a:pt x="512" y="131"/>
                    </a:lnTo>
                    <a:lnTo>
                      <a:pt x="486" y="145"/>
                    </a:lnTo>
                    <a:lnTo>
                      <a:pt x="458" y="156"/>
                    </a:lnTo>
                    <a:lnTo>
                      <a:pt x="430" y="166"/>
                    </a:lnTo>
                    <a:lnTo>
                      <a:pt x="402" y="175"/>
                    </a:lnTo>
                    <a:lnTo>
                      <a:pt x="373" y="183"/>
                    </a:lnTo>
                    <a:lnTo>
                      <a:pt x="343" y="188"/>
                    </a:lnTo>
                    <a:lnTo>
                      <a:pt x="313" y="193"/>
                    </a:lnTo>
                    <a:lnTo>
                      <a:pt x="283" y="195"/>
                    </a:lnTo>
                    <a:lnTo>
                      <a:pt x="252" y="195"/>
                    </a:lnTo>
                    <a:lnTo>
                      <a:pt x="252" y="195"/>
                    </a:lnTo>
                    <a:lnTo>
                      <a:pt x="218" y="195"/>
                    </a:lnTo>
                    <a:lnTo>
                      <a:pt x="185" y="192"/>
                    </a:lnTo>
                    <a:lnTo>
                      <a:pt x="153" y="186"/>
                    </a:lnTo>
                    <a:lnTo>
                      <a:pt x="121" y="180"/>
                    </a:lnTo>
                    <a:lnTo>
                      <a:pt x="90" y="171"/>
                    </a:lnTo>
                    <a:lnTo>
                      <a:pt x="59" y="161"/>
                    </a:lnTo>
                    <a:lnTo>
                      <a:pt x="29" y="149"/>
                    </a:lnTo>
                    <a:lnTo>
                      <a:pt x="0" y="135"/>
                    </a:lnTo>
                    <a:lnTo>
                      <a:pt x="0" y="690"/>
                    </a:lnTo>
                    <a:lnTo>
                      <a:pt x="0" y="690"/>
                    </a:lnTo>
                    <a:lnTo>
                      <a:pt x="15" y="703"/>
                    </a:lnTo>
                    <a:lnTo>
                      <a:pt x="32" y="714"/>
                    </a:lnTo>
                    <a:lnTo>
                      <a:pt x="50" y="726"/>
                    </a:lnTo>
                    <a:lnTo>
                      <a:pt x="69" y="737"/>
                    </a:lnTo>
                    <a:lnTo>
                      <a:pt x="91" y="748"/>
                    </a:lnTo>
                    <a:lnTo>
                      <a:pt x="112" y="760"/>
                    </a:lnTo>
                    <a:lnTo>
                      <a:pt x="136" y="770"/>
                    </a:lnTo>
                    <a:lnTo>
                      <a:pt x="161" y="780"/>
                    </a:lnTo>
                    <a:lnTo>
                      <a:pt x="214" y="800"/>
                    </a:lnTo>
                    <a:lnTo>
                      <a:pt x="274" y="819"/>
                    </a:lnTo>
                    <a:lnTo>
                      <a:pt x="337" y="835"/>
                    </a:lnTo>
                    <a:lnTo>
                      <a:pt x="405" y="852"/>
                    </a:lnTo>
                    <a:lnTo>
                      <a:pt x="477" y="866"/>
                    </a:lnTo>
                    <a:lnTo>
                      <a:pt x="551" y="878"/>
                    </a:lnTo>
                    <a:lnTo>
                      <a:pt x="631" y="890"/>
                    </a:lnTo>
                    <a:lnTo>
                      <a:pt x="713" y="899"/>
                    </a:lnTo>
                    <a:lnTo>
                      <a:pt x="797" y="905"/>
                    </a:lnTo>
                    <a:lnTo>
                      <a:pt x="886" y="911"/>
                    </a:lnTo>
                    <a:lnTo>
                      <a:pt x="975" y="914"/>
                    </a:lnTo>
                    <a:lnTo>
                      <a:pt x="1067" y="915"/>
                    </a:lnTo>
                    <a:lnTo>
                      <a:pt x="1067" y="915"/>
                    </a:lnTo>
                    <a:lnTo>
                      <a:pt x="1125" y="915"/>
                    </a:lnTo>
                    <a:lnTo>
                      <a:pt x="1182" y="914"/>
                    </a:lnTo>
                    <a:lnTo>
                      <a:pt x="1239" y="911"/>
                    </a:lnTo>
                    <a:lnTo>
                      <a:pt x="1294" y="909"/>
                    </a:lnTo>
                    <a:lnTo>
                      <a:pt x="1349" y="905"/>
                    </a:lnTo>
                    <a:lnTo>
                      <a:pt x="1402" y="900"/>
                    </a:lnTo>
                    <a:lnTo>
                      <a:pt x="1455" y="895"/>
                    </a:lnTo>
                    <a:lnTo>
                      <a:pt x="1505" y="888"/>
                    </a:lnTo>
                    <a:lnTo>
                      <a:pt x="1556" y="882"/>
                    </a:lnTo>
                    <a:lnTo>
                      <a:pt x="1604" y="875"/>
                    </a:lnTo>
                    <a:lnTo>
                      <a:pt x="1651" y="867"/>
                    </a:lnTo>
                    <a:lnTo>
                      <a:pt x="1697" y="858"/>
                    </a:lnTo>
                    <a:lnTo>
                      <a:pt x="1741" y="849"/>
                    </a:lnTo>
                    <a:lnTo>
                      <a:pt x="1784" y="839"/>
                    </a:lnTo>
                    <a:lnTo>
                      <a:pt x="1824" y="829"/>
                    </a:lnTo>
                    <a:lnTo>
                      <a:pt x="1863" y="818"/>
                    </a:lnTo>
                    <a:lnTo>
                      <a:pt x="1901" y="806"/>
                    </a:lnTo>
                    <a:lnTo>
                      <a:pt x="1937" y="795"/>
                    </a:lnTo>
                    <a:lnTo>
                      <a:pt x="1969" y="782"/>
                    </a:lnTo>
                    <a:lnTo>
                      <a:pt x="2001" y="769"/>
                    </a:lnTo>
                    <a:lnTo>
                      <a:pt x="2030" y="756"/>
                    </a:lnTo>
                    <a:lnTo>
                      <a:pt x="2058" y="742"/>
                    </a:lnTo>
                    <a:lnTo>
                      <a:pt x="2083" y="727"/>
                    </a:lnTo>
                    <a:lnTo>
                      <a:pt x="2104" y="713"/>
                    </a:lnTo>
                    <a:lnTo>
                      <a:pt x="2125" y="698"/>
                    </a:lnTo>
                    <a:lnTo>
                      <a:pt x="2142" y="683"/>
                    </a:lnTo>
                    <a:lnTo>
                      <a:pt x="2157" y="666"/>
                    </a:lnTo>
                    <a:lnTo>
                      <a:pt x="2170" y="651"/>
                    </a:lnTo>
                    <a:lnTo>
                      <a:pt x="2180" y="635"/>
                    </a:lnTo>
                    <a:lnTo>
                      <a:pt x="2188" y="618"/>
                    </a:lnTo>
                    <a:lnTo>
                      <a:pt x="2191" y="601"/>
                    </a:lnTo>
                    <a:lnTo>
                      <a:pt x="2194" y="584"/>
                    </a:lnTo>
                    <a:lnTo>
                      <a:pt x="2194" y="135"/>
                    </a:lnTo>
                    <a:lnTo>
                      <a:pt x="2194" y="135"/>
                    </a:lnTo>
                    <a:lnTo>
                      <a:pt x="2165" y="149"/>
                    </a:lnTo>
                    <a:lnTo>
                      <a:pt x="2135" y="161"/>
                    </a:lnTo>
                    <a:lnTo>
                      <a:pt x="2104" y="171"/>
                    </a:lnTo>
                    <a:lnTo>
                      <a:pt x="2073" y="180"/>
                    </a:lnTo>
                    <a:lnTo>
                      <a:pt x="2041" y="186"/>
                    </a:lnTo>
                    <a:lnTo>
                      <a:pt x="2009" y="192"/>
                    </a:lnTo>
                    <a:lnTo>
                      <a:pt x="1976" y="195"/>
                    </a:lnTo>
                    <a:lnTo>
                      <a:pt x="1942" y="195"/>
                    </a:lnTo>
                    <a:lnTo>
                      <a:pt x="1942"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grpSp>
        <p:sp>
          <p:nvSpPr>
            <p:cNvPr id="243" name="Rectangle 242"/>
            <p:cNvSpPr/>
            <p:nvPr/>
          </p:nvSpPr>
          <p:spPr>
            <a:xfrm>
              <a:off x="6703519" y="2295083"/>
              <a:ext cx="1294130" cy="439642"/>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Machine Learning</a:t>
              </a:r>
            </a:p>
          </p:txBody>
        </p:sp>
        <p:grpSp>
          <p:nvGrpSpPr>
            <p:cNvPr id="244" name="Group 243"/>
            <p:cNvGrpSpPr/>
            <p:nvPr/>
          </p:nvGrpSpPr>
          <p:grpSpPr>
            <a:xfrm>
              <a:off x="6246155" y="4885378"/>
              <a:ext cx="359675" cy="276298"/>
              <a:chOff x="1420702" y="6812122"/>
              <a:chExt cx="3273425" cy="2514596"/>
            </a:xfrm>
            <a:solidFill>
              <a:schemeClr val="tx1"/>
            </a:solidFill>
          </p:grpSpPr>
          <p:sp>
            <p:nvSpPr>
              <p:cNvPr id="245" name="Freeform 244"/>
              <p:cNvSpPr>
                <a:spLocks/>
              </p:cNvSpPr>
              <p:nvPr/>
            </p:nvSpPr>
            <p:spPr bwMode="auto">
              <a:xfrm>
                <a:off x="2408131" y="6812122"/>
                <a:ext cx="2285996" cy="2514596"/>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endParaRPr lang="en-US" sz="1799" dirty="0"/>
              </a:p>
            </p:txBody>
          </p:sp>
          <p:sp>
            <p:nvSpPr>
              <p:cNvPr id="246" name="Freeform 245"/>
              <p:cNvSpPr>
                <a:spLocks/>
              </p:cNvSpPr>
              <p:nvPr/>
            </p:nvSpPr>
            <p:spPr bwMode="auto">
              <a:xfrm>
                <a:off x="1781068" y="7474113"/>
                <a:ext cx="1892302" cy="604836"/>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endParaRPr lang="en-US" sz="1799" dirty="0"/>
              </a:p>
            </p:txBody>
          </p:sp>
          <p:sp>
            <p:nvSpPr>
              <p:cNvPr id="247" name="Freeform 246"/>
              <p:cNvSpPr>
                <a:spLocks/>
              </p:cNvSpPr>
              <p:nvPr/>
            </p:nvSpPr>
            <p:spPr bwMode="auto">
              <a:xfrm>
                <a:off x="1555643" y="7790028"/>
                <a:ext cx="1952624" cy="593724"/>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endParaRPr lang="en-US" sz="1799" dirty="0"/>
              </a:p>
            </p:txBody>
          </p:sp>
          <p:sp>
            <p:nvSpPr>
              <p:cNvPr id="248" name="Freeform 247"/>
              <p:cNvSpPr>
                <a:spLocks/>
              </p:cNvSpPr>
              <p:nvPr/>
            </p:nvSpPr>
            <p:spPr bwMode="auto">
              <a:xfrm>
                <a:off x="1420702" y="8109110"/>
                <a:ext cx="1930399" cy="566739"/>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endParaRPr lang="en-US" sz="1799" dirty="0"/>
              </a:p>
            </p:txBody>
          </p:sp>
        </p:grpSp>
        <p:sp>
          <p:nvSpPr>
            <p:cNvPr id="249" name="Freeform 248"/>
            <p:cNvSpPr>
              <a:spLocks/>
            </p:cNvSpPr>
            <p:nvPr/>
          </p:nvSpPr>
          <p:spPr bwMode="auto">
            <a:xfrm>
              <a:off x="6247497" y="4037357"/>
              <a:ext cx="373674" cy="282777"/>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tx1"/>
            </a:solidFill>
            <a:ln w="6350">
              <a:noFill/>
            </a:ln>
          </p:spPr>
          <p:txBody>
            <a:bodyPr vert="horz" wrap="square" lIns="91403" tIns="45701" rIns="91403" bIns="45701" numCol="1" anchor="t" anchorCtr="0" compatLnSpc="1">
              <a:prstTxWarp prst="textNoShape">
                <a:avLst/>
              </a:prstTxWarp>
            </a:bodyPr>
            <a:lstStyle/>
            <a:p>
              <a:pPr defTabSz="896203"/>
              <a:endParaRPr lang="en-US" sz="1600" kern="0" dirty="0">
                <a:solidFill>
                  <a:sysClr val="windowText" lastClr="000000"/>
                </a:solidFill>
              </a:endParaRPr>
            </a:p>
          </p:txBody>
        </p:sp>
        <p:sp>
          <p:nvSpPr>
            <p:cNvPr id="250" name="Freeform 249"/>
            <p:cNvSpPr/>
            <p:nvPr/>
          </p:nvSpPr>
          <p:spPr bwMode="auto">
            <a:xfrm flipH="1">
              <a:off x="6305760" y="2377317"/>
              <a:ext cx="272572" cy="288449"/>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pPr>
              <a:endParaRPr lang="en-US" sz="2399" kern="0">
                <a:solidFill>
                  <a:schemeClr val="tx1"/>
                </a:solidFill>
                <a:ea typeface="Segoe UI" pitchFamily="34" charset="0"/>
                <a:cs typeface="Segoe UI" pitchFamily="34" charset="0"/>
              </a:endParaRPr>
            </a:p>
          </p:txBody>
        </p:sp>
        <p:pic>
          <p:nvPicPr>
            <p:cNvPr id="251" name="Picture 25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49407" y="3043119"/>
              <a:ext cx="776178" cy="908180"/>
            </a:xfrm>
            <a:prstGeom prst="rect">
              <a:avLst/>
            </a:prstGeom>
          </p:spPr>
        </p:pic>
        <p:pic>
          <p:nvPicPr>
            <p:cNvPr id="252" name="Picture 25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32823" y="4489811"/>
              <a:ext cx="752976" cy="881033"/>
            </a:xfrm>
            <a:prstGeom prst="rect">
              <a:avLst/>
            </a:prstGeom>
          </p:spPr>
        </p:pic>
        <p:pic>
          <p:nvPicPr>
            <p:cNvPr id="253" name="Picture 25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32969" y="1695508"/>
              <a:ext cx="685793" cy="802425"/>
            </a:xfrm>
            <a:prstGeom prst="rect">
              <a:avLst/>
            </a:prstGeom>
          </p:spPr>
        </p:pic>
      </p:grpSp>
      <p:sp>
        <p:nvSpPr>
          <p:cNvPr id="2" name="Rectangle 1"/>
          <p:cNvSpPr/>
          <p:nvPr/>
        </p:nvSpPr>
        <p:spPr bwMode="auto">
          <a:xfrm>
            <a:off x="-358095" y="5490218"/>
            <a:ext cx="1499114" cy="53770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44810" rIns="89619" bIns="44810" numCol="1" spcCol="0" rtlCol="0" fromWordArt="0" anchor="ctr" anchorCtr="0" forceAA="0" compatLnSpc="1">
            <a:prstTxWarp prst="textNoShape">
              <a:avLst/>
            </a:prstTxWarp>
            <a:noAutofit/>
          </a:bodyPr>
          <a:lstStyle/>
          <a:p>
            <a:pPr algn="ctr" defTabSz="913916" fontAlgn="base">
              <a:spcBef>
                <a:spcPct val="0"/>
              </a:spcBef>
              <a:spcAft>
                <a:spcPct val="0"/>
              </a:spcAft>
            </a:pPr>
            <a:endParaRPr lang="en-US" sz="2352" kern="0">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3390531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5" presetClass="path" presetSubtype="0" accel="50000" decel="50000" fill="hold" nodeType="clickEffect">
                                  <p:stCondLst>
                                    <p:cond delay="0"/>
                                  </p:stCondLst>
                                  <p:childTnLst>
                                    <p:animMotion origin="layout" path="M 2.78529E-6 9.12392E-7 L -0.48468 9.12392E-7 " pathEditMode="relative" rAng="0" ptsTypes="AA">
                                      <p:cBhvr>
                                        <p:cTn id="6" dur="2000" fill="hold"/>
                                        <p:tgtEl>
                                          <p:spTgt spid="6"/>
                                        </p:tgtEl>
                                        <p:attrNameLst>
                                          <p:attrName>ppt_x</p:attrName>
                                          <p:attrName>ppt_y</p:attrName>
                                        </p:attrNameLst>
                                      </p:cBhvr>
                                      <p:rCtr x="-24240" y="0"/>
                                    </p:animMotion>
                                  </p:childTnLst>
                                </p:cTn>
                              </p:par>
                            </p:childTnLst>
                          </p:cTn>
                        </p:par>
                        <p:par>
                          <p:cTn id="7" fill="hold">
                            <p:stCondLst>
                              <p:cond delay="2000"/>
                            </p:stCondLst>
                            <p:childTnLst>
                              <p:par>
                                <p:cTn id="8" presetID="10" presetClass="entr" presetSubtype="0" fill="hold" grpId="0" nodeType="after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2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6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77" name="Rectangle 76"/>
          <p:cNvSpPr/>
          <p:nvPr/>
        </p:nvSpPr>
        <p:spPr bwMode="auto">
          <a:xfrm>
            <a:off x="1" y="5171771"/>
            <a:ext cx="12188824" cy="1154529"/>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kern="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pPr defTabSz="896203">
              <a:spcBef>
                <a:spcPts val="0"/>
              </a:spcBef>
              <a:spcAft>
                <a:spcPts val="588"/>
              </a:spcAft>
              <a:defRPr/>
            </a:pPr>
            <a:r>
              <a:rPr lang="en-US" kern="0" spc="0" dirty="0">
                <a:ln>
                  <a:noFill/>
                </a:ln>
              </a:rPr>
              <a:t>E</a:t>
            </a:r>
            <a:r>
              <a:rPr lang="en-US" dirty="0"/>
              <a:t>asily build, deploy, and share predictive analytics solutions</a:t>
            </a:r>
            <a:endParaRPr lang="en-US" kern="0" spc="0" dirty="0">
              <a:ln>
                <a:noFill/>
              </a:ln>
            </a:endParaRPr>
          </a:p>
        </p:txBody>
      </p:sp>
      <p:pic>
        <p:nvPicPr>
          <p:cNvPr id="9" name="Picture 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273649" y="1616437"/>
            <a:ext cx="5261424" cy="3344472"/>
          </a:xfrm>
          <a:prstGeom prst="rect">
            <a:avLst/>
          </a:prstGeom>
          <a:ln w="6350">
            <a:solidFill>
              <a:schemeClr val="accent1"/>
            </a:solidFill>
          </a:ln>
        </p:spPr>
      </p:pic>
      <p:pic>
        <p:nvPicPr>
          <p:cNvPr id="4" name="Picture 3"/>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403192" y="1616437"/>
            <a:ext cx="3658370" cy="3337329"/>
          </a:xfrm>
          <a:prstGeom prst="rect">
            <a:avLst/>
          </a:prstGeom>
          <a:ln w="6350">
            <a:solidFill>
              <a:schemeClr val="accent1"/>
            </a:solidFill>
          </a:ln>
        </p:spPr>
      </p:pic>
      <p:sp>
        <p:nvSpPr>
          <p:cNvPr id="39" name="TextBox 38"/>
          <p:cNvSpPr txBox="1"/>
          <p:nvPr/>
        </p:nvSpPr>
        <p:spPr>
          <a:xfrm>
            <a:off x="2330450" y="5171772"/>
            <a:ext cx="9830023" cy="1091965"/>
          </a:xfrm>
          <a:prstGeom prst="rect">
            <a:avLst/>
          </a:prstGeom>
          <a:noFill/>
        </p:spPr>
        <p:txBody>
          <a:bodyPr wrap="square" lIns="0" tIns="143391" rIns="179238" bIns="143391" rtlCol="0">
            <a:spAutoFit/>
          </a:bodyPr>
          <a:lstStyle/>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Simple, scalable, cutting edge. A fully managed cloud service that enables you to easily build, deploy, and share predictive analytics solutions.</a:t>
            </a:r>
          </a:p>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Deploy in minutes. Azure Machine Learning means business. You can deploy your model into production as a web service that can be called from any device, anywhere and that can use any data source. </a:t>
            </a:r>
          </a:p>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Publish, share, monetize. Share your solution with the world in the Gallery or on the Azure Marketplace.</a:t>
            </a:r>
          </a:p>
        </p:txBody>
      </p:sp>
      <p:grpSp>
        <p:nvGrpSpPr>
          <p:cNvPr id="38" name="Group 37"/>
          <p:cNvGrpSpPr/>
          <p:nvPr/>
        </p:nvGrpSpPr>
        <p:grpSpPr>
          <a:xfrm>
            <a:off x="-9456" y="1618083"/>
            <a:ext cx="1947978" cy="3781517"/>
            <a:chOff x="2269406" y="1649551"/>
            <a:chExt cx="1987557" cy="3858349"/>
          </a:xfrm>
        </p:grpSpPr>
        <p:grpSp>
          <p:nvGrpSpPr>
            <p:cNvPr id="42" name="Group 41"/>
            <p:cNvGrpSpPr/>
            <p:nvPr/>
          </p:nvGrpSpPr>
          <p:grpSpPr>
            <a:xfrm>
              <a:off x="2269406" y="1649551"/>
              <a:ext cx="1771946" cy="3858349"/>
              <a:chOff x="2269406" y="1649551"/>
              <a:chExt cx="1771946" cy="3858349"/>
            </a:xfrm>
          </p:grpSpPr>
          <p:sp>
            <p:nvSpPr>
              <p:cNvPr id="78" name="Rectangle 77"/>
              <p:cNvSpPr/>
              <p:nvPr/>
            </p:nvSpPr>
            <p:spPr bwMode="auto">
              <a:xfrm>
                <a:off x="2269406" y="1649551"/>
                <a:ext cx="1771946" cy="385834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4" tIns="91403" rIns="18274" bIns="91365" numCol="1" spcCol="1270" anchor="t" anchorCtr="0">
                <a:noAutofit/>
              </a:bodyPr>
              <a:lstStyle/>
              <a:p>
                <a:pPr algn="ctr" defTabSz="724725">
                  <a:spcBef>
                    <a:spcPct val="0"/>
                  </a:spcBef>
                  <a:spcAft>
                    <a:spcPct val="35000"/>
                  </a:spcAft>
                  <a:defRPr/>
                </a:pPr>
                <a:r>
                  <a:rPr lang="en-US" sz="1400" kern="0" dirty="0">
                    <a:solidFill>
                      <a:schemeClr val="tx1"/>
                    </a:solidFill>
                    <a:latin typeface="Segoe UI Semibold" panose="020B0702040204020203" pitchFamily="34" charset="0"/>
                    <a:cs typeface="Segoe UI Semibold" panose="020B0702040204020203" pitchFamily="34" charset="0"/>
                  </a:rPr>
                  <a:t>Machine Learning and Analytics</a:t>
                </a:r>
              </a:p>
            </p:txBody>
          </p:sp>
          <p:grpSp>
            <p:nvGrpSpPr>
              <p:cNvPr id="59" name="Group 58"/>
              <p:cNvGrpSpPr/>
              <p:nvPr/>
            </p:nvGrpSpPr>
            <p:grpSpPr>
              <a:xfrm>
                <a:off x="2475764" y="2364104"/>
                <a:ext cx="200749" cy="211051"/>
                <a:chOff x="4106551" y="3401141"/>
                <a:chExt cx="254631" cy="267699"/>
              </a:xfrm>
            </p:grpSpPr>
            <p:sp>
              <p:nvSpPr>
                <p:cNvPr id="60" name="Rectangle 59"/>
                <p:cNvSpPr/>
                <p:nvPr/>
              </p:nvSpPr>
              <p:spPr bwMode="auto">
                <a:xfrm>
                  <a:off x="4106551"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61" name="Rectangle 60"/>
                <p:cNvSpPr/>
                <p:nvPr/>
              </p:nvSpPr>
              <p:spPr bwMode="auto">
                <a:xfrm>
                  <a:off x="4245904"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62" name="Oval 61"/>
                <p:cNvSpPr/>
                <p:nvPr/>
              </p:nvSpPr>
              <p:spPr bwMode="auto">
                <a:xfrm>
                  <a:off x="4174625"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63" name="Oval 62"/>
                <p:cNvSpPr/>
                <p:nvPr/>
              </p:nvSpPr>
              <p:spPr bwMode="auto">
                <a:xfrm>
                  <a:off x="4313978"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64" name="Rectangle 63"/>
                <p:cNvSpPr/>
                <p:nvPr/>
              </p:nvSpPr>
              <p:spPr bwMode="auto">
                <a:xfrm>
                  <a:off x="4106551"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65" name="Rectangle 64"/>
                <p:cNvSpPr/>
                <p:nvPr/>
              </p:nvSpPr>
              <p:spPr bwMode="auto">
                <a:xfrm>
                  <a:off x="4245904"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66" name="Oval 65"/>
                <p:cNvSpPr/>
                <p:nvPr/>
              </p:nvSpPr>
              <p:spPr bwMode="auto">
                <a:xfrm>
                  <a:off x="4174625"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67" name="Oval 66"/>
                <p:cNvSpPr/>
                <p:nvPr/>
              </p:nvSpPr>
              <p:spPr bwMode="auto">
                <a:xfrm>
                  <a:off x="4313978"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68" name="Rectangle 67"/>
                <p:cNvSpPr/>
                <p:nvPr/>
              </p:nvSpPr>
              <p:spPr bwMode="auto">
                <a:xfrm>
                  <a:off x="4178218"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69" name="Rectangle 68"/>
                <p:cNvSpPr/>
                <p:nvPr/>
              </p:nvSpPr>
              <p:spPr bwMode="auto">
                <a:xfrm>
                  <a:off x="4317571"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0" name="Oval 69"/>
                <p:cNvSpPr/>
                <p:nvPr/>
              </p:nvSpPr>
              <p:spPr bwMode="auto">
                <a:xfrm>
                  <a:off x="4106939"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1" name="Oval 70"/>
                <p:cNvSpPr/>
                <p:nvPr/>
              </p:nvSpPr>
              <p:spPr bwMode="auto">
                <a:xfrm>
                  <a:off x="4246293"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2" name="Rectangle 71"/>
                <p:cNvSpPr/>
                <p:nvPr/>
              </p:nvSpPr>
              <p:spPr bwMode="auto">
                <a:xfrm>
                  <a:off x="4178218"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3" name="Rectangle 72"/>
                <p:cNvSpPr/>
                <p:nvPr/>
              </p:nvSpPr>
              <p:spPr bwMode="auto">
                <a:xfrm>
                  <a:off x="4317571"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4" name="Oval 73"/>
                <p:cNvSpPr/>
                <p:nvPr/>
              </p:nvSpPr>
              <p:spPr bwMode="auto">
                <a:xfrm>
                  <a:off x="4106939"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5" name="Oval 74"/>
                <p:cNvSpPr/>
                <p:nvPr/>
              </p:nvSpPr>
              <p:spPr bwMode="auto">
                <a:xfrm>
                  <a:off x="4246293"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43" name="Rectangle 42"/>
            <p:cNvSpPr/>
            <p:nvPr/>
          </p:nvSpPr>
          <p:spPr>
            <a:xfrm>
              <a:off x="2962833" y="3869841"/>
              <a:ext cx="1294130" cy="622511"/>
            </a:xfrm>
            <a:prstGeom prst="rect">
              <a:avLst/>
            </a:prstGeom>
          </p:spPr>
          <p:txBody>
            <a:bodyPr wrap="square">
              <a:spAutoFit/>
            </a:bodyPr>
            <a:lstStyle/>
            <a:p>
              <a:pPr defTabSz="896203">
                <a:defRPr/>
              </a:pPr>
              <a:r>
                <a:rPr lang="en-US" sz="1100" kern="0" dirty="0">
                  <a:solidFill>
                    <a:schemeClr val="accent2">
                      <a:lumMod val="75000"/>
                    </a:schemeClr>
                  </a:solidFill>
                  <a:cs typeface="Segoe UI Semilight" panose="020B0402040204020203" pitchFamily="34" charset="0"/>
                </a:rPr>
                <a:t>HDInsight </a:t>
              </a:r>
            </a:p>
            <a:p>
              <a:pPr defTabSz="896203">
                <a:defRPr/>
              </a:pPr>
              <a:r>
                <a:rPr lang="en-US" sz="1100" kern="0" dirty="0">
                  <a:solidFill>
                    <a:schemeClr val="accent2">
                      <a:lumMod val="75000"/>
                    </a:schemeClr>
                  </a:solidFill>
                  <a:cs typeface="Segoe UI Semilight" panose="020B0402040204020203" pitchFamily="34" charset="0"/>
                </a:rPr>
                <a:t>(Hadoop and Spark)</a:t>
              </a:r>
            </a:p>
          </p:txBody>
        </p:sp>
        <p:sp>
          <p:nvSpPr>
            <p:cNvPr id="44" name="Rectangle 43"/>
            <p:cNvSpPr/>
            <p:nvPr/>
          </p:nvSpPr>
          <p:spPr>
            <a:xfrm>
              <a:off x="2962833" y="4888358"/>
              <a:ext cx="925088" cy="437684"/>
            </a:xfrm>
            <a:prstGeom prst="rect">
              <a:avLst/>
            </a:prstGeom>
          </p:spPr>
          <p:txBody>
            <a:bodyPr wrap="square">
              <a:spAutoFit/>
            </a:bodyPr>
            <a:lstStyle/>
            <a:p>
              <a:pPr defTabSz="896203">
                <a:defRPr/>
              </a:pPr>
              <a:r>
                <a:rPr lang="en-US" sz="1100" kern="0" dirty="0">
                  <a:solidFill>
                    <a:schemeClr val="accent2">
                      <a:lumMod val="75000"/>
                    </a:schemeClr>
                  </a:solidFill>
                  <a:cs typeface="Segoe UI Semilight" panose="020B0402040204020203" pitchFamily="34" charset="0"/>
                </a:rPr>
                <a:t>Stream Analytics</a:t>
              </a:r>
            </a:p>
          </p:txBody>
        </p:sp>
        <p:sp>
          <p:nvSpPr>
            <p:cNvPr id="45" name="Rectangle 44"/>
            <p:cNvSpPr/>
            <p:nvPr/>
          </p:nvSpPr>
          <p:spPr>
            <a:xfrm>
              <a:off x="2962833" y="3125609"/>
              <a:ext cx="1294130" cy="446397"/>
            </a:xfrm>
            <a:prstGeom prst="rect">
              <a:avLst/>
            </a:prstGeom>
          </p:spPr>
          <p:txBody>
            <a:bodyPr wrap="square">
              <a:spAutoFit/>
            </a:bodyPr>
            <a:lstStyle/>
            <a:p>
              <a:pPr defTabSz="896203">
                <a:defRPr/>
              </a:pPr>
              <a:r>
                <a:rPr lang="en-US" sz="1100" kern="0" dirty="0">
                  <a:solidFill>
                    <a:schemeClr val="accent2">
                      <a:lumMod val="75000"/>
                    </a:schemeClr>
                  </a:solidFill>
                  <a:cs typeface="Segoe UI Semilight" panose="020B0402040204020203" pitchFamily="34" charset="0"/>
                </a:rPr>
                <a:t>Data Lake Analytics</a:t>
              </a:r>
            </a:p>
          </p:txBody>
        </p:sp>
        <p:grpSp>
          <p:nvGrpSpPr>
            <p:cNvPr id="46" name="Group 45"/>
            <p:cNvGrpSpPr/>
            <p:nvPr/>
          </p:nvGrpSpPr>
          <p:grpSpPr>
            <a:xfrm>
              <a:off x="2584613" y="3210310"/>
              <a:ext cx="225034" cy="294370"/>
              <a:chOff x="3473450" y="4579938"/>
              <a:chExt cx="1741488" cy="2278062"/>
            </a:xfrm>
            <a:solidFill>
              <a:schemeClr val="tx1"/>
            </a:solidFill>
          </p:grpSpPr>
          <p:sp>
            <p:nvSpPr>
              <p:cNvPr id="55" name="Freeform 16"/>
              <p:cNvSpPr>
                <a:spLocks/>
              </p:cNvSpPr>
              <p:nvPr/>
            </p:nvSpPr>
            <p:spPr bwMode="auto">
              <a:xfrm>
                <a:off x="3575050" y="4579938"/>
                <a:ext cx="1493838" cy="403225"/>
              </a:xfrm>
              <a:custGeom>
                <a:avLst/>
                <a:gdLst>
                  <a:gd name="T0" fmla="*/ 2 w 1883"/>
                  <a:gd name="T1" fmla="*/ 263 h 508"/>
                  <a:gd name="T2" fmla="*/ 17 w 1883"/>
                  <a:gd name="T3" fmla="*/ 290 h 508"/>
                  <a:gd name="T4" fmla="*/ 51 w 1883"/>
                  <a:gd name="T5" fmla="*/ 321 h 508"/>
                  <a:gd name="T6" fmla="*/ 101 w 1883"/>
                  <a:gd name="T7" fmla="*/ 352 h 508"/>
                  <a:gd name="T8" fmla="*/ 169 w 1883"/>
                  <a:gd name="T9" fmla="*/ 384 h 508"/>
                  <a:gd name="T10" fmla="*/ 253 w 1883"/>
                  <a:gd name="T11" fmla="*/ 414 h 508"/>
                  <a:gd name="T12" fmla="*/ 351 w 1883"/>
                  <a:gd name="T13" fmla="*/ 442 h 508"/>
                  <a:gd name="T14" fmla="*/ 465 w 1883"/>
                  <a:gd name="T15" fmla="*/ 467 h 508"/>
                  <a:gd name="T16" fmla="*/ 592 w 1883"/>
                  <a:gd name="T17" fmla="*/ 486 h 508"/>
                  <a:gd name="T18" fmla="*/ 733 w 1883"/>
                  <a:gd name="T19" fmla="*/ 500 h 508"/>
                  <a:gd name="T20" fmla="*/ 887 w 1883"/>
                  <a:gd name="T21" fmla="*/ 508 h 508"/>
                  <a:gd name="T22" fmla="*/ 996 w 1883"/>
                  <a:gd name="T23" fmla="*/ 508 h 508"/>
                  <a:gd name="T24" fmla="*/ 1150 w 1883"/>
                  <a:gd name="T25" fmla="*/ 500 h 508"/>
                  <a:gd name="T26" fmla="*/ 1291 w 1883"/>
                  <a:gd name="T27" fmla="*/ 486 h 508"/>
                  <a:gd name="T28" fmla="*/ 1419 w 1883"/>
                  <a:gd name="T29" fmla="*/ 467 h 508"/>
                  <a:gd name="T30" fmla="*/ 1532 w 1883"/>
                  <a:gd name="T31" fmla="*/ 442 h 508"/>
                  <a:gd name="T32" fmla="*/ 1632 w 1883"/>
                  <a:gd name="T33" fmla="*/ 414 h 508"/>
                  <a:gd name="T34" fmla="*/ 1715 w 1883"/>
                  <a:gd name="T35" fmla="*/ 384 h 508"/>
                  <a:gd name="T36" fmla="*/ 1782 w 1883"/>
                  <a:gd name="T37" fmla="*/ 352 h 508"/>
                  <a:gd name="T38" fmla="*/ 1834 w 1883"/>
                  <a:gd name="T39" fmla="*/ 321 h 508"/>
                  <a:gd name="T40" fmla="*/ 1866 w 1883"/>
                  <a:gd name="T41" fmla="*/ 290 h 508"/>
                  <a:gd name="T42" fmla="*/ 1882 w 1883"/>
                  <a:gd name="T43" fmla="*/ 263 h 508"/>
                  <a:gd name="T44" fmla="*/ 1882 w 1883"/>
                  <a:gd name="T45" fmla="*/ 245 h 508"/>
                  <a:gd name="T46" fmla="*/ 1866 w 1883"/>
                  <a:gd name="T47" fmla="*/ 217 h 508"/>
                  <a:gd name="T48" fmla="*/ 1834 w 1883"/>
                  <a:gd name="T49" fmla="*/ 187 h 508"/>
                  <a:gd name="T50" fmla="*/ 1782 w 1883"/>
                  <a:gd name="T51" fmla="*/ 155 h 508"/>
                  <a:gd name="T52" fmla="*/ 1715 w 1883"/>
                  <a:gd name="T53" fmla="*/ 124 h 508"/>
                  <a:gd name="T54" fmla="*/ 1632 w 1883"/>
                  <a:gd name="T55" fmla="*/ 93 h 508"/>
                  <a:gd name="T56" fmla="*/ 1532 w 1883"/>
                  <a:gd name="T57" fmla="*/ 64 h 508"/>
                  <a:gd name="T58" fmla="*/ 1419 w 1883"/>
                  <a:gd name="T59" fmla="*/ 40 h 508"/>
                  <a:gd name="T60" fmla="*/ 1291 w 1883"/>
                  <a:gd name="T61" fmla="*/ 20 h 508"/>
                  <a:gd name="T62" fmla="*/ 1150 w 1883"/>
                  <a:gd name="T63" fmla="*/ 6 h 508"/>
                  <a:gd name="T64" fmla="*/ 996 w 1883"/>
                  <a:gd name="T65" fmla="*/ 0 h 508"/>
                  <a:gd name="T66" fmla="*/ 887 w 1883"/>
                  <a:gd name="T67" fmla="*/ 0 h 508"/>
                  <a:gd name="T68" fmla="*/ 733 w 1883"/>
                  <a:gd name="T69" fmla="*/ 6 h 508"/>
                  <a:gd name="T70" fmla="*/ 592 w 1883"/>
                  <a:gd name="T71" fmla="*/ 20 h 508"/>
                  <a:gd name="T72" fmla="*/ 465 w 1883"/>
                  <a:gd name="T73" fmla="*/ 40 h 508"/>
                  <a:gd name="T74" fmla="*/ 351 w 1883"/>
                  <a:gd name="T75" fmla="*/ 64 h 508"/>
                  <a:gd name="T76" fmla="*/ 253 w 1883"/>
                  <a:gd name="T77" fmla="*/ 93 h 508"/>
                  <a:gd name="T78" fmla="*/ 169 w 1883"/>
                  <a:gd name="T79" fmla="*/ 124 h 508"/>
                  <a:gd name="T80" fmla="*/ 101 w 1883"/>
                  <a:gd name="T81" fmla="*/ 155 h 508"/>
                  <a:gd name="T82" fmla="*/ 51 w 1883"/>
                  <a:gd name="T83" fmla="*/ 187 h 508"/>
                  <a:gd name="T84" fmla="*/ 17 w 1883"/>
                  <a:gd name="T85" fmla="*/ 217 h 508"/>
                  <a:gd name="T86" fmla="*/ 2 w 1883"/>
                  <a:gd name="T87" fmla="*/ 245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3" h="508">
                    <a:moveTo>
                      <a:pt x="0" y="254"/>
                    </a:moveTo>
                    <a:lnTo>
                      <a:pt x="0" y="254"/>
                    </a:lnTo>
                    <a:lnTo>
                      <a:pt x="2" y="263"/>
                    </a:lnTo>
                    <a:lnTo>
                      <a:pt x="5" y="271"/>
                    </a:lnTo>
                    <a:lnTo>
                      <a:pt x="11" y="280"/>
                    </a:lnTo>
                    <a:lnTo>
                      <a:pt x="17" y="290"/>
                    </a:lnTo>
                    <a:lnTo>
                      <a:pt x="27" y="301"/>
                    </a:lnTo>
                    <a:lnTo>
                      <a:pt x="37" y="311"/>
                    </a:lnTo>
                    <a:lnTo>
                      <a:pt x="51" y="321"/>
                    </a:lnTo>
                    <a:lnTo>
                      <a:pt x="66" y="331"/>
                    </a:lnTo>
                    <a:lnTo>
                      <a:pt x="82" y="342"/>
                    </a:lnTo>
                    <a:lnTo>
                      <a:pt x="101" y="352"/>
                    </a:lnTo>
                    <a:lnTo>
                      <a:pt x="122" y="362"/>
                    </a:lnTo>
                    <a:lnTo>
                      <a:pt x="144" y="374"/>
                    </a:lnTo>
                    <a:lnTo>
                      <a:pt x="169" y="384"/>
                    </a:lnTo>
                    <a:lnTo>
                      <a:pt x="195" y="394"/>
                    </a:lnTo>
                    <a:lnTo>
                      <a:pt x="222" y="404"/>
                    </a:lnTo>
                    <a:lnTo>
                      <a:pt x="253" y="414"/>
                    </a:lnTo>
                    <a:lnTo>
                      <a:pt x="284" y="424"/>
                    </a:lnTo>
                    <a:lnTo>
                      <a:pt x="317" y="433"/>
                    </a:lnTo>
                    <a:lnTo>
                      <a:pt x="351" y="442"/>
                    </a:lnTo>
                    <a:lnTo>
                      <a:pt x="388" y="451"/>
                    </a:lnTo>
                    <a:lnTo>
                      <a:pt x="426" y="460"/>
                    </a:lnTo>
                    <a:lnTo>
                      <a:pt x="465" y="467"/>
                    </a:lnTo>
                    <a:lnTo>
                      <a:pt x="506" y="473"/>
                    </a:lnTo>
                    <a:lnTo>
                      <a:pt x="549" y="481"/>
                    </a:lnTo>
                    <a:lnTo>
                      <a:pt x="592" y="486"/>
                    </a:lnTo>
                    <a:lnTo>
                      <a:pt x="639" y="492"/>
                    </a:lnTo>
                    <a:lnTo>
                      <a:pt x="685" y="496"/>
                    </a:lnTo>
                    <a:lnTo>
                      <a:pt x="733" y="500"/>
                    </a:lnTo>
                    <a:lnTo>
                      <a:pt x="784" y="504"/>
                    </a:lnTo>
                    <a:lnTo>
                      <a:pt x="836" y="506"/>
                    </a:lnTo>
                    <a:lnTo>
                      <a:pt x="887" y="508"/>
                    </a:lnTo>
                    <a:lnTo>
                      <a:pt x="942" y="508"/>
                    </a:lnTo>
                    <a:lnTo>
                      <a:pt x="942" y="508"/>
                    </a:lnTo>
                    <a:lnTo>
                      <a:pt x="996" y="508"/>
                    </a:lnTo>
                    <a:lnTo>
                      <a:pt x="1049" y="506"/>
                    </a:lnTo>
                    <a:lnTo>
                      <a:pt x="1101" y="504"/>
                    </a:lnTo>
                    <a:lnTo>
                      <a:pt x="1150" y="500"/>
                    </a:lnTo>
                    <a:lnTo>
                      <a:pt x="1199" y="496"/>
                    </a:lnTo>
                    <a:lnTo>
                      <a:pt x="1246" y="492"/>
                    </a:lnTo>
                    <a:lnTo>
                      <a:pt x="1291" y="486"/>
                    </a:lnTo>
                    <a:lnTo>
                      <a:pt x="1335" y="481"/>
                    </a:lnTo>
                    <a:lnTo>
                      <a:pt x="1378" y="473"/>
                    </a:lnTo>
                    <a:lnTo>
                      <a:pt x="1419" y="467"/>
                    </a:lnTo>
                    <a:lnTo>
                      <a:pt x="1459" y="460"/>
                    </a:lnTo>
                    <a:lnTo>
                      <a:pt x="1497" y="451"/>
                    </a:lnTo>
                    <a:lnTo>
                      <a:pt x="1532" y="442"/>
                    </a:lnTo>
                    <a:lnTo>
                      <a:pt x="1567" y="433"/>
                    </a:lnTo>
                    <a:lnTo>
                      <a:pt x="1600" y="424"/>
                    </a:lnTo>
                    <a:lnTo>
                      <a:pt x="1632" y="414"/>
                    </a:lnTo>
                    <a:lnTo>
                      <a:pt x="1661" y="404"/>
                    </a:lnTo>
                    <a:lnTo>
                      <a:pt x="1689" y="394"/>
                    </a:lnTo>
                    <a:lnTo>
                      <a:pt x="1715" y="384"/>
                    </a:lnTo>
                    <a:lnTo>
                      <a:pt x="1739" y="374"/>
                    </a:lnTo>
                    <a:lnTo>
                      <a:pt x="1762" y="362"/>
                    </a:lnTo>
                    <a:lnTo>
                      <a:pt x="1782" y="352"/>
                    </a:lnTo>
                    <a:lnTo>
                      <a:pt x="1801" y="342"/>
                    </a:lnTo>
                    <a:lnTo>
                      <a:pt x="1818" y="331"/>
                    </a:lnTo>
                    <a:lnTo>
                      <a:pt x="1834" y="321"/>
                    </a:lnTo>
                    <a:lnTo>
                      <a:pt x="1846" y="311"/>
                    </a:lnTo>
                    <a:lnTo>
                      <a:pt x="1858" y="301"/>
                    </a:lnTo>
                    <a:lnTo>
                      <a:pt x="1866" y="290"/>
                    </a:lnTo>
                    <a:lnTo>
                      <a:pt x="1874" y="280"/>
                    </a:lnTo>
                    <a:lnTo>
                      <a:pt x="1879" y="271"/>
                    </a:lnTo>
                    <a:lnTo>
                      <a:pt x="1882" y="263"/>
                    </a:lnTo>
                    <a:lnTo>
                      <a:pt x="1883" y="254"/>
                    </a:lnTo>
                    <a:lnTo>
                      <a:pt x="1883" y="254"/>
                    </a:lnTo>
                    <a:lnTo>
                      <a:pt x="1882" y="245"/>
                    </a:lnTo>
                    <a:lnTo>
                      <a:pt x="1879" y="236"/>
                    </a:lnTo>
                    <a:lnTo>
                      <a:pt x="1874" y="226"/>
                    </a:lnTo>
                    <a:lnTo>
                      <a:pt x="1866" y="217"/>
                    </a:lnTo>
                    <a:lnTo>
                      <a:pt x="1858" y="207"/>
                    </a:lnTo>
                    <a:lnTo>
                      <a:pt x="1846" y="197"/>
                    </a:lnTo>
                    <a:lnTo>
                      <a:pt x="1834" y="187"/>
                    </a:lnTo>
                    <a:lnTo>
                      <a:pt x="1818" y="176"/>
                    </a:lnTo>
                    <a:lnTo>
                      <a:pt x="1801" y="165"/>
                    </a:lnTo>
                    <a:lnTo>
                      <a:pt x="1782" y="155"/>
                    </a:lnTo>
                    <a:lnTo>
                      <a:pt x="1762" y="144"/>
                    </a:lnTo>
                    <a:lnTo>
                      <a:pt x="1739" y="134"/>
                    </a:lnTo>
                    <a:lnTo>
                      <a:pt x="1715" y="124"/>
                    </a:lnTo>
                    <a:lnTo>
                      <a:pt x="1689" y="114"/>
                    </a:lnTo>
                    <a:lnTo>
                      <a:pt x="1661" y="102"/>
                    </a:lnTo>
                    <a:lnTo>
                      <a:pt x="1632" y="93"/>
                    </a:lnTo>
                    <a:lnTo>
                      <a:pt x="1600" y="83"/>
                    </a:lnTo>
                    <a:lnTo>
                      <a:pt x="1567" y="74"/>
                    </a:lnTo>
                    <a:lnTo>
                      <a:pt x="1532" y="64"/>
                    </a:lnTo>
                    <a:lnTo>
                      <a:pt x="1497" y="57"/>
                    </a:lnTo>
                    <a:lnTo>
                      <a:pt x="1459" y="48"/>
                    </a:lnTo>
                    <a:lnTo>
                      <a:pt x="1419" y="40"/>
                    </a:lnTo>
                    <a:lnTo>
                      <a:pt x="1378" y="33"/>
                    </a:lnTo>
                    <a:lnTo>
                      <a:pt x="1335" y="27"/>
                    </a:lnTo>
                    <a:lnTo>
                      <a:pt x="1291" y="20"/>
                    </a:lnTo>
                    <a:lnTo>
                      <a:pt x="1246" y="15"/>
                    </a:lnTo>
                    <a:lnTo>
                      <a:pt x="1199" y="10"/>
                    </a:lnTo>
                    <a:lnTo>
                      <a:pt x="1150" y="6"/>
                    </a:lnTo>
                    <a:lnTo>
                      <a:pt x="1101" y="4"/>
                    </a:lnTo>
                    <a:lnTo>
                      <a:pt x="1049" y="1"/>
                    </a:lnTo>
                    <a:lnTo>
                      <a:pt x="996" y="0"/>
                    </a:lnTo>
                    <a:lnTo>
                      <a:pt x="942" y="0"/>
                    </a:lnTo>
                    <a:lnTo>
                      <a:pt x="942" y="0"/>
                    </a:lnTo>
                    <a:lnTo>
                      <a:pt x="887" y="0"/>
                    </a:lnTo>
                    <a:lnTo>
                      <a:pt x="836" y="1"/>
                    </a:lnTo>
                    <a:lnTo>
                      <a:pt x="784" y="4"/>
                    </a:lnTo>
                    <a:lnTo>
                      <a:pt x="733" y="6"/>
                    </a:lnTo>
                    <a:lnTo>
                      <a:pt x="685" y="10"/>
                    </a:lnTo>
                    <a:lnTo>
                      <a:pt x="639" y="15"/>
                    </a:lnTo>
                    <a:lnTo>
                      <a:pt x="592" y="20"/>
                    </a:lnTo>
                    <a:lnTo>
                      <a:pt x="549" y="27"/>
                    </a:lnTo>
                    <a:lnTo>
                      <a:pt x="506" y="33"/>
                    </a:lnTo>
                    <a:lnTo>
                      <a:pt x="465" y="40"/>
                    </a:lnTo>
                    <a:lnTo>
                      <a:pt x="426" y="48"/>
                    </a:lnTo>
                    <a:lnTo>
                      <a:pt x="388" y="57"/>
                    </a:lnTo>
                    <a:lnTo>
                      <a:pt x="351" y="64"/>
                    </a:lnTo>
                    <a:lnTo>
                      <a:pt x="317" y="74"/>
                    </a:lnTo>
                    <a:lnTo>
                      <a:pt x="284" y="83"/>
                    </a:lnTo>
                    <a:lnTo>
                      <a:pt x="253" y="93"/>
                    </a:lnTo>
                    <a:lnTo>
                      <a:pt x="222" y="102"/>
                    </a:lnTo>
                    <a:lnTo>
                      <a:pt x="195" y="114"/>
                    </a:lnTo>
                    <a:lnTo>
                      <a:pt x="169" y="124"/>
                    </a:lnTo>
                    <a:lnTo>
                      <a:pt x="144" y="134"/>
                    </a:lnTo>
                    <a:lnTo>
                      <a:pt x="122" y="144"/>
                    </a:lnTo>
                    <a:lnTo>
                      <a:pt x="101" y="155"/>
                    </a:lnTo>
                    <a:lnTo>
                      <a:pt x="82" y="165"/>
                    </a:lnTo>
                    <a:lnTo>
                      <a:pt x="66" y="176"/>
                    </a:lnTo>
                    <a:lnTo>
                      <a:pt x="51" y="187"/>
                    </a:lnTo>
                    <a:lnTo>
                      <a:pt x="37" y="197"/>
                    </a:lnTo>
                    <a:lnTo>
                      <a:pt x="27" y="207"/>
                    </a:lnTo>
                    <a:lnTo>
                      <a:pt x="17" y="217"/>
                    </a:lnTo>
                    <a:lnTo>
                      <a:pt x="11" y="226"/>
                    </a:lnTo>
                    <a:lnTo>
                      <a:pt x="5" y="236"/>
                    </a:lnTo>
                    <a:lnTo>
                      <a:pt x="2" y="245"/>
                    </a:lnTo>
                    <a:lnTo>
                      <a:pt x="0" y="254"/>
                    </a:lnTo>
                    <a:lnTo>
                      <a:pt x="0" y="254"/>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defRPr/>
                </a:pPr>
                <a:endParaRPr lang="en-US" sz="1799" kern="0">
                  <a:solidFill>
                    <a:sysClr val="windowText" lastClr="000000"/>
                  </a:solidFill>
                </a:endParaRPr>
              </a:p>
            </p:txBody>
          </p:sp>
          <p:sp>
            <p:nvSpPr>
              <p:cNvPr id="56" name="Freeform 17"/>
              <p:cNvSpPr>
                <a:spLocks/>
              </p:cNvSpPr>
              <p:nvPr/>
            </p:nvSpPr>
            <p:spPr bwMode="auto">
              <a:xfrm>
                <a:off x="3473450" y="4781550"/>
                <a:ext cx="1741488" cy="1411287"/>
              </a:xfrm>
              <a:custGeom>
                <a:avLst/>
                <a:gdLst>
                  <a:gd name="T0" fmla="*/ 280 w 2194"/>
                  <a:gd name="T1" fmla="*/ 1778 h 1779"/>
                  <a:gd name="T2" fmla="*/ 363 w 2194"/>
                  <a:gd name="T3" fmla="*/ 1764 h 1779"/>
                  <a:gd name="T4" fmla="*/ 440 w 2194"/>
                  <a:gd name="T5" fmla="*/ 1736 h 1779"/>
                  <a:gd name="T6" fmla="*/ 511 w 2194"/>
                  <a:gd name="T7" fmla="*/ 1693 h 1779"/>
                  <a:gd name="T8" fmla="*/ 573 w 2194"/>
                  <a:gd name="T9" fmla="*/ 1637 h 1779"/>
                  <a:gd name="T10" fmla="*/ 625 w 2194"/>
                  <a:gd name="T11" fmla="*/ 1569 h 1779"/>
                  <a:gd name="T12" fmla="*/ 633 w 2194"/>
                  <a:gd name="T13" fmla="*/ 1558 h 1779"/>
                  <a:gd name="T14" fmla="*/ 652 w 2194"/>
                  <a:gd name="T15" fmla="*/ 1547 h 1779"/>
                  <a:gd name="T16" fmla="*/ 675 w 2194"/>
                  <a:gd name="T17" fmla="*/ 1543 h 1779"/>
                  <a:gd name="T18" fmla="*/ 696 w 2194"/>
                  <a:gd name="T19" fmla="*/ 1547 h 1779"/>
                  <a:gd name="T20" fmla="*/ 715 w 2194"/>
                  <a:gd name="T21" fmla="*/ 1558 h 1779"/>
                  <a:gd name="T22" fmla="*/ 725 w 2194"/>
                  <a:gd name="T23" fmla="*/ 1569 h 1779"/>
                  <a:gd name="T24" fmla="*/ 776 w 2194"/>
                  <a:gd name="T25" fmla="*/ 1637 h 1779"/>
                  <a:gd name="T26" fmla="*/ 838 w 2194"/>
                  <a:gd name="T27" fmla="*/ 1693 h 1779"/>
                  <a:gd name="T28" fmla="*/ 908 w 2194"/>
                  <a:gd name="T29" fmla="*/ 1736 h 1779"/>
                  <a:gd name="T30" fmla="*/ 985 w 2194"/>
                  <a:gd name="T31" fmla="*/ 1764 h 1779"/>
                  <a:gd name="T32" fmla="*/ 1069 w 2194"/>
                  <a:gd name="T33" fmla="*/ 1778 h 1779"/>
                  <a:gd name="T34" fmla="*/ 1125 w 2194"/>
                  <a:gd name="T35" fmla="*/ 1778 h 1779"/>
                  <a:gd name="T36" fmla="*/ 1209 w 2194"/>
                  <a:gd name="T37" fmla="*/ 1764 h 1779"/>
                  <a:gd name="T38" fmla="*/ 1286 w 2194"/>
                  <a:gd name="T39" fmla="*/ 1736 h 1779"/>
                  <a:gd name="T40" fmla="*/ 1356 w 2194"/>
                  <a:gd name="T41" fmla="*/ 1693 h 1779"/>
                  <a:gd name="T42" fmla="*/ 1418 w 2194"/>
                  <a:gd name="T43" fmla="*/ 1637 h 1779"/>
                  <a:gd name="T44" fmla="*/ 1470 w 2194"/>
                  <a:gd name="T45" fmla="*/ 1569 h 1779"/>
                  <a:gd name="T46" fmla="*/ 1479 w 2194"/>
                  <a:gd name="T47" fmla="*/ 1558 h 1779"/>
                  <a:gd name="T48" fmla="*/ 1498 w 2194"/>
                  <a:gd name="T49" fmla="*/ 1547 h 1779"/>
                  <a:gd name="T50" fmla="*/ 1519 w 2194"/>
                  <a:gd name="T51" fmla="*/ 1543 h 1779"/>
                  <a:gd name="T52" fmla="*/ 1542 w 2194"/>
                  <a:gd name="T53" fmla="*/ 1547 h 1779"/>
                  <a:gd name="T54" fmla="*/ 1561 w 2194"/>
                  <a:gd name="T55" fmla="*/ 1558 h 1779"/>
                  <a:gd name="T56" fmla="*/ 1569 w 2194"/>
                  <a:gd name="T57" fmla="*/ 1569 h 1779"/>
                  <a:gd name="T58" fmla="*/ 1621 w 2194"/>
                  <a:gd name="T59" fmla="*/ 1637 h 1779"/>
                  <a:gd name="T60" fmla="*/ 1683 w 2194"/>
                  <a:gd name="T61" fmla="*/ 1693 h 1779"/>
                  <a:gd name="T62" fmla="*/ 1754 w 2194"/>
                  <a:gd name="T63" fmla="*/ 1736 h 1779"/>
                  <a:gd name="T64" fmla="*/ 1831 w 2194"/>
                  <a:gd name="T65" fmla="*/ 1764 h 1779"/>
                  <a:gd name="T66" fmla="*/ 1914 w 2194"/>
                  <a:gd name="T67" fmla="*/ 1778 h 1779"/>
                  <a:gd name="T68" fmla="*/ 1977 w 2194"/>
                  <a:gd name="T69" fmla="*/ 1778 h 1779"/>
                  <a:gd name="T70" fmla="*/ 2077 w 2194"/>
                  <a:gd name="T71" fmla="*/ 1757 h 1779"/>
                  <a:gd name="T72" fmla="*/ 2166 w 2194"/>
                  <a:gd name="T73" fmla="*/ 1716 h 1779"/>
                  <a:gd name="T74" fmla="*/ 2194 w 2194"/>
                  <a:gd name="T75" fmla="*/ 0 h 1779"/>
                  <a:gd name="T76" fmla="*/ 2190 w 2194"/>
                  <a:gd name="T77" fmla="*/ 39 h 1779"/>
                  <a:gd name="T78" fmla="*/ 2179 w 2194"/>
                  <a:gd name="T79" fmla="*/ 77 h 1779"/>
                  <a:gd name="T80" fmla="*/ 2154 w 2194"/>
                  <a:gd name="T81" fmla="*/ 125 h 1779"/>
                  <a:gd name="T82" fmla="*/ 2097 w 2194"/>
                  <a:gd name="T83" fmla="*/ 189 h 1779"/>
                  <a:gd name="T84" fmla="*/ 2016 w 2194"/>
                  <a:gd name="T85" fmla="*/ 247 h 1779"/>
                  <a:gd name="T86" fmla="*/ 1916 w 2194"/>
                  <a:gd name="T87" fmla="*/ 297 h 1779"/>
                  <a:gd name="T88" fmla="*/ 1800 w 2194"/>
                  <a:gd name="T89" fmla="*/ 339 h 1779"/>
                  <a:gd name="T90" fmla="*/ 1670 w 2194"/>
                  <a:gd name="T91" fmla="*/ 375 h 1779"/>
                  <a:gd name="T92" fmla="*/ 1529 w 2194"/>
                  <a:gd name="T93" fmla="*/ 401 h 1779"/>
                  <a:gd name="T94" fmla="*/ 1380 w 2194"/>
                  <a:gd name="T95" fmla="*/ 422 h 1779"/>
                  <a:gd name="T96" fmla="*/ 1226 w 2194"/>
                  <a:gd name="T97" fmla="*/ 433 h 1779"/>
                  <a:gd name="T98" fmla="*/ 1069 w 2194"/>
                  <a:gd name="T99" fmla="*/ 437 h 1779"/>
                  <a:gd name="T100" fmla="*/ 900 w 2194"/>
                  <a:gd name="T101" fmla="*/ 433 h 1779"/>
                  <a:gd name="T102" fmla="*/ 651 w 2194"/>
                  <a:gd name="T103" fmla="*/ 409 h 1779"/>
                  <a:gd name="T104" fmla="*/ 423 w 2194"/>
                  <a:gd name="T105" fmla="*/ 363 h 1779"/>
                  <a:gd name="T106" fmla="*/ 320 w 2194"/>
                  <a:gd name="T107" fmla="*/ 334 h 1779"/>
                  <a:gd name="T108" fmla="*/ 226 w 2194"/>
                  <a:gd name="T109" fmla="*/ 299 h 1779"/>
                  <a:gd name="T110" fmla="*/ 144 w 2194"/>
                  <a:gd name="T111" fmla="*/ 259 h 1779"/>
                  <a:gd name="T112" fmla="*/ 73 w 2194"/>
                  <a:gd name="T113" fmla="*/ 214 h 1779"/>
                  <a:gd name="T114" fmla="*/ 16 w 2194"/>
                  <a:gd name="T115" fmla="*/ 165 h 1779"/>
                  <a:gd name="T116" fmla="*/ 0 w 2194"/>
                  <a:gd name="T117" fmla="*/ 1698 h 1779"/>
                  <a:gd name="T118" fmla="*/ 87 w 2194"/>
                  <a:gd name="T119" fmla="*/ 1746 h 1779"/>
                  <a:gd name="T120" fmla="*/ 183 w 2194"/>
                  <a:gd name="T121" fmla="*/ 1773 h 1779"/>
                  <a:gd name="T122" fmla="*/ 252 w 2194"/>
                  <a:gd name="T123" fmla="*/ 1779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94" h="1779">
                    <a:moveTo>
                      <a:pt x="252" y="1779"/>
                    </a:moveTo>
                    <a:lnTo>
                      <a:pt x="252" y="1779"/>
                    </a:lnTo>
                    <a:lnTo>
                      <a:pt x="280" y="1778"/>
                    </a:lnTo>
                    <a:lnTo>
                      <a:pt x="308" y="1775"/>
                    </a:lnTo>
                    <a:lnTo>
                      <a:pt x="336" y="1770"/>
                    </a:lnTo>
                    <a:lnTo>
                      <a:pt x="363" y="1764"/>
                    </a:lnTo>
                    <a:lnTo>
                      <a:pt x="390" y="1756"/>
                    </a:lnTo>
                    <a:lnTo>
                      <a:pt x="415" y="1747"/>
                    </a:lnTo>
                    <a:lnTo>
                      <a:pt x="440" y="1736"/>
                    </a:lnTo>
                    <a:lnTo>
                      <a:pt x="466" y="1723"/>
                    </a:lnTo>
                    <a:lnTo>
                      <a:pt x="488" y="1709"/>
                    </a:lnTo>
                    <a:lnTo>
                      <a:pt x="511" y="1693"/>
                    </a:lnTo>
                    <a:lnTo>
                      <a:pt x="532" y="1675"/>
                    </a:lnTo>
                    <a:lnTo>
                      <a:pt x="554" y="1658"/>
                    </a:lnTo>
                    <a:lnTo>
                      <a:pt x="573" y="1637"/>
                    </a:lnTo>
                    <a:lnTo>
                      <a:pt x="592" y="1616"/>
                    </a:lnTo>
                    <a:lnTo>
                      <a:pt x="608" y="1593"/>
                    </a:lnTo>
                    <a:lnTo>
                      <a:pt x="625" y="1569"/>
                    </a:lnTo>
                    <a:lnTo>
                      <a:pt x="625" y="1569"/>
                    </a:lnTo>
                    <a:lnTo>
                      <a:pt x="628" y="1563"/>
                    </a:lnTo>
                    <a:lnTo>
                      <a:pt x="633" y="1558"/>
                    </a:lnTo>
                    <a:lnTo>
                      <a:pt x="640" y="1554"/>
                    </a:lnTo>
                    <a:lnTo>
                      <a:pt x="646" y="1550"/>
                    </a:lnTo>
                    <a:lnTo>
                      <a:pt x="652" y="1547"/>
                    </a:lnTo>
                    <a:lnTo>
                      <a:pt x="660" y="1545"/>
                    </a:lnTo>
                    <a:lnTo>
                      <a:pt x="667" y="1544"/>
                    </a:lnTo>
                    <a:lnTo>
                      <a:pt x="675" y="1543"/>
                    </a:lnTo>
                    <a:lnTo>
                      <a:pt x="681" y="1544"/>
                    </a:lnTo>
                    <a:lnTo>
                      <a:pt x="689" y="1545"/>
                    </a:lnTo>
                    <a:lnTo>
                      <a:pt x="696" y="1547"/>
                    </a:lnTo>
                    <a:lnTo>
                      <a:pt x="703" y="1550"/>
                    </a:lnTo>
                    <a:lnTo>
                      <a:pt x="709" y="1554"/>
                    </a:lnTo>
                    <a:lnTo>
                      <a:pt x="715" y="1558"/>
                    </a:lnTo>
                    <a:lnTo>
                      <a:pt x="720" y="1563"/>
                    </a:lnTo>
                    <a:lnTo>
                      <a:pt x="725" y="1569"/>
                    </a:lnTo>
                    <a:lnTo>
                      <a:pt x="725" y="1569"/>
                    </a:lnTo>
                    <a:lnTo>
                      <a:pt x="741" y="1593"/>
                    </a:lnTo>
                    <a:lnTo>
                      <a:pt x="758" y="1616"/>
                    </a:lnTo>
                    <a:lnTo>
                      <a:pt x="776" y="1637"/>
                    </a:lnTo>
                    <a:lnTo>
                      <a:pt x="796" y="1658"/>
                    </a:lnTo>
                    <a:lnTo>
                      <a:pt x="816" y="1675"/>
                    </a:lnTo>
                    <a:lnTo>
                      <a:pt x="838" y="1693"/>
                    </a:lnTo>
                    <a:lnTo>
                      <a:pt x="860" y="1709"/>
                    </a:lnTo>
                    <a:lnTo>
                      <a:pt x="884" y="1723"/>
                    </a:lnTo>
                    <a:lnTo>
                      <a:pt x="908" y="1736"/>
                    </a:lnTo>
                    <a:lnTo>
                      <a:pt x="934" y="1747"/>
                    </a:lnTo>
                    <a:lnTo>
                      <a:pt x="959" y="1756"/>
                    </a:lnTo>
                    <a:lnTo>
                      <a:pt x="985" y="1764"/>
                    </a:lnTo>
                    <a:lnTo>
                      <a:pt x="1013" y="1770"/>
                    </a:lnTo>
                    <a:lnTo>
                      <a:pt x="1041" y="1775"/>
                    </a:lnTo>
                    <a:lnTo>
                      <a:pt x="1069" y="1778"/>
                    </a:lnTo>
                    <a:lnTo>
                      <a:pt x="1098" y="1779"/>
                    </a:lnTo>
                    <a:lnTo>
                      <a:pt x="1098" y="1779"/>
                    </a:lnTo>
                    <a:lnTo>
                      <a:pt x="1125" y="1778"/>
                    </a:lnTo>
                    <a:lnTo>
                      <a:pt x="1153" y="1775"/>
                    </a:lnTo>
                    <a:lnTo>
                      <a:pt x="1181" y="1770"/>
                    </a:lnTo>
                    <a:lnTo>
                      <a:pt x="1209" y="1764"/>
                    </a:lnTo>
                    <a:lnTo>
                      <a:pt x="1235" y="1756"/>
                    </a:lnTo>
                    <a:lnTo>
                      <a:pt x="1260" y="1747"/>
                    </a:lnTo>
                    <a:lnTo>
                      <a:pt x="1286" y="1736"/>
                    </a:lnTo>
                    <a:lnTo>
                      <a:pt x="1310" y="1723"/>
                    </a:lnTo>
                    <a:lnTo>
                      <a:pt x="1334" y="1709"/>
                    </a:lnTo>
                    <a:lnTo>
                      <a:pt x="1356" y="1693"/>
                    </a:lnTo>
                    <a:lnTo>
                      <a:pt x="1378" y="1675"/>
                    </a:lnTo>
                    <a:lnTo>
                      <a:pt x="1399" y="1658"/>
                    </a:lnTo>
                    <a:lnTo>
                      <a:pt x="1418" y="1637"/>
                    </a:lnTo>
                    <a:lnTo>
                      <a:pt x="1436" y="1616"/>
                    </a:lnTo>
                    <a:lnTo>
                      <a:pt x="1453" y="1593"/>
                    </a:lnTo>
                    <a:lnTo>
                      <a:pt x="1470" y="1569"/>
                    </a:lnTo>
                    <a:lnTo>
                      <a:pt x="1470" y="1569"/>
                    </a:lnTo>
                    <a:lnTo>
                      <a:pt x="1474" y="1563"/>
                    </a:lnTo>
                    <a:lnTo>
                      <a:pt x="1479" y="1558"/>
                    </a:lnTo>
                    <a:lnTo>
                      <a:pt x="1485" y="1554"/>
                    </a:lnTo>
                    <a:lnTo>
                      <a:pt x="1491" y="1550"/>
                    </a:lnTo>
                    <a:lnTo>
                      <a:pt x="1498" y="1547"/>
                    </a:lnTo>
                    <a:lnTo>
                      <a:pt x="1505" y="1545"/>
                    </a:lnTo>
                    <a:lnTo>
                      <a:pt x="1513" y="1544"/>
                    </a:lnTo>
                    <a:lnTo>
                      <a:pt x="1519" y="1543"/>
                    </a:lnTo>
                    <a:lnTo>
                      <a:pt x="1527" y="1544"/>
                    </a:lnTo>
                    <a:lnTo>
                      <a:pt x="1534" y="1545"/>
                    </a:lnTo>
                    <a:lnTo>
                      <a:pt x="1542" y="1547"/>
                    </a:lnTo>
                    <a:lnTo>
                      <a:pt x="1548" y="1550"/>
                    </a:lnTo>
                    <a:lnTo>
                      <a:pt x="1554" y="1554"/>
                    </a:lnTo>
                    <a:lnTo>
                      <a:pt x="1561" y="1558"/>
                    </a:lnTo>
                    <a:lnTo>
                      <a:pt x="1566" y="1563"/>
                    </a:lnTo>
                    <a:lnTo>
                      <a:pt x="1569" y="1569"/>
                    </a:lnTo>
                    <a:lnTo>
                      <a:pt x="1569" y="1569"/>
                    </a:lnTo>
                    <a:lnTo>
                      <a:pt x="1586" y="1593"/>
                    </a:lnTo>
                    <a:lnTo>
                      <a:pt x="1602" y="1616"/>
                    </a:lnTo>
                    <a:lnTo>
                      <a:pt x="1621" y="1637"/>
                    </a:lnTo>
                    <a:lnTo>
                      <a:pt x="1640" y="1658"/>
                    </a:lnTo>
                    <a:lnTo>
                      <a:pt x="1662" y="1675"/>
                    </a:lnTo>
                    <a:lnTo>
                      <a:pt x="1683" y="1693"/>
                    </a:lnTo>
                    <a:lnTo>
                      <a:pt x="1706" y="1709"/>
                    </a:lnTo>
                    <a:lnTo>
                      <a:pt x="1728" y="1723"/>
                    </a:lnTo>
                    <a:lnTo>
                      <a:pt x="1754" y="1736"/>
                    </a:lnTo>
                    <a:lnTo>
                      <a:pt x="1779" y="1747"/>
                    </a:lnTo>
                    <a:lnTo>
                      <a:pt x="1804" y="1756"/>
                    </a:lnTo>
                    <a:lnTo>
                      <a:pt x="1831" y="1764"/>
                    </a:lnTo>
                    <a:lnTo>
                      <a:pt x="1858" y="1770"/>
                    </a:lnTo>
                    <a:lnTo>
                      <a:pt x="1886" y="1775"/>
                    </a:lnTo>
                    <a:lnTo>
                      <a:pt x="1914" y="1778"/>
                    </a:lnTo>
                    <a:lnTo>
                      <a:pt x="1942" y="1779"/>
                    </a:lnTo>
                    <a:lnTo>
                      <a:pt x="1942" y="1779"/>
                    </a:lnTo>
                    <a:lnTo>
                      <a:pt x="1977" y="1778"/>
                    </a:lnTo>
                    <a:lnTo>
                      <a:pt x="2011" y="1773"/>
                    </a:lnTo>
                    <a:lnTo>
                      <a:pt x="2044" y="1766"/>
                    </a:lnTo>
                    <a:lnTo>
                      <a:pt x="2077" y="1757"/>
                    </a:lnTo>
                    <a:lnTo>
                      <a:pt x="2107" y="1746"/>
                    </a:lnTo>
                    <a:lnTo>
                      <a:pt x="2137" y="1732"/>
                    </a:lnTo>
                    <a:lnTo>
                      <a:pt x="2166" y="1716"/>
                    </a:lnTo>
                    <a:lnTo>
                      <a:pt x="2194" y="1698"/>
                    </a:lnTo>
                    <a:lnTo>
                      <a:pt x="2194" y="0"/>
                    </a:lnTo>
                    <a:lnTo>
                      <a:pt x="2194" y="0"/>
                    </a:lnTo>
                    <a:lnTo>
                      <a:pt x="2193" y="12"/>
                    </a:lnTo>
                    <a:lnTo>
                      <a:pt x="2191" y="26"/>
                    </a:lnTo>
                    <a:lnTo>
                      <a:pt x="2190" y="39"/>
                    </a:lnTo>
                    <a:lnTo>
                      <a:pt x="2186" y="52"/>
                    </a:lnTo>
                    <a:lnTo>
                      <a:pt x="2184" y="64"/>
                    </a:lnTo>
                    <a:lnTo>
                      <a:pt x="2179" y="77"/>
                    </a:lnTo>
                    <a:lnTo>
                      <a:pt x="2174" y="89"/>
                    </a:lnTo>
                    <a:lnTo>
                      <a:pt x="2168" y="101"/>
                    </a:lnTo>
                    <a:lnTo>
                      <a:pt x="2154" y="125"/>
                    </a:lnTo>
                    <a:lnTo>
                      <a:pt x="2137" y="146"/>
                    </a:lnTo>
                    <a:lnTo>
                      <a:pt x="2118" y="169"/>
                    </a:lnTo>
                    <a:lnTo>
                      <a:pt x="2097" y="189"/>
                    </a:lnTo>
                    <a:lnTo>
                      <a:pt x="2072" y="209"/>
                    </a:lnTo>
                    <a:lnTo>
                      <a:pt x="2045" y="228"/>
                    </a:lnTo>
                    <a:lnTo>
                      <a:pt x="2016" y="247"/>
                    </a:lnTo>
                    <a:lnTo>
                      <a:pt x="1985" y="265"/>
                    </a:lnTo>
                    <a:lnTo>
                      <a:pt x="1952" y="281"/>
                    </a:lnTo>
                    <a:lnTo>
                      <a:pt x="1916" y="297"/>
                    </a:lnTo>
                    <a:lnTo>
                      <a:pt x="1880" y="312"/>
                    </a:lnTo>
                    <a:lnTo>
                      <a:pt x="1841" y="327"/>
                    </a:lnTo>
                    <a:lnTo>
                      <a:pt x="1800" y="339"/>
                    </a:lnTo>
                    <a:lnTo>
                      <a:pt x="1759" y="352"/>
                    </a:lnTo>
                    <a:lnTo>
                      <a:pt x="1715" y="363"/>
                    </a:lnTo>
                    <a:lnTo>
                      <a:pt x="1670" y="375"/>
                    </a:lnTo>
                    <a:lnTo>
                      <a:pt x="1625" y="385"/>
                    </a:lnTo>
                    <a:lnTo>
                      <a:pt x="1577" y="394"/>
                    </a:lnTo>
                    <a:lnTo>
                      <a:pt x="1529" y="401"/>
                    </a:lnTo>
                    <a:lnTo>
                      <a:pt x="1480" y="409"/>
                    </a:lnTo>
                    <a:lnTo>
                      <a:pt x="1431" y="415"/>
                    </a:lnTo>
                    <a:lnTo>
                      <a:pt x="1380" y="422"/>
                    </a:lnTo>
                    <a:lnTo>
                      <a:pt x="1330" y="427"/>
                    </a:lnTo>
                    <a:lnTo>
                      <a:pt x="1278" y="430"/>
                    </a:lnTo>
                    <a:lnTo>
                      <a:pt x="1226" y="433"/>
                    </a:lnTo>
                    <a:lnTo>
                      <a:pt x="1173" y="435"/>
                    </a:lnTo>
                    <a:lnTo>
                      <a:pt x="1122" y="437"/>
                    </a:lnTo>
                    <a:lnTo>
                      <a:pt x="1069" y="437"/>
                    </a:lnTo>
                    <a:lnTo>
                      <a:pt x="1069" y="437"/>
                    </a:lnTo>
                    <a:lnTo>
                      <a:pt x="984" y="437"/>
                    </a:lnTo>
                    <a:lnTo>
                      <a:pt x="900" y="433"/>
                    </a:lnTo>
                    <a:lnTo>
                      <a:pt x="815" y="427"/>
                    </a:lnTo>
                    <a:lnTo>
                      <a:pt x="733" y="419"/>
                    </a:lnTo>
                    <a:lnTo>
                      <a:pt x="651" y="409"/>
                    </a:lnTo>
                    <a:lnTo>
                      <a:pt x="573" y="396"/>
                    </a:lnTo>
                    <a:lnTo>
                      <a:pt x="496" y="381"/>
                    </a:lnTo>
                    <a:lnTo>
                      <a:pt x="423" y="363"/>
                    </a:lnTo>
                    <a:lnTo>
                      <a:pt x="387" y="355"/>
                    </a:lnTo>
                    <a:lnTo>
                      <a:pt x="353" y="344"/>
                    </a:lnTo>
                    <a:lnTo>
                      <a:pt x="320" y="334"/>
                    </a:lnTo>
                    <a:lnTo>
                      <a:pt x="288" y="323"/>
                    </a:lnTo>
                    <a:lnTo>
                      <a:pt x="256" y="312"/>
                    </a:lnTo>
                    <a:lnTo>
                      <a:pt x="226" y="299"/>
                    </a:lnTo>
                    <a:lnTo>
                      <a:pt x="197" y="286"/>
                    </a:lnTo>
                    <a:lnTo>
                      <a:pt x="169" y="273"/>
                    </a:lnTo>
                    <a:lnTo>
                      <a:pt x="144" y="259"/>
                    </a:lnTo>
                    <a:lnTo>
                      <a:pt x="119" y="245"/>
                    </a:lnTo>
                    <a:lnTo>
                      <a:pt x="95" y="230"/>
                    </a:lnTo>
                    <a:lnTo>
                      <a:pt x="73" y="214"/>
                    </a:lnTo>
                    <a:lnTo>
                      <a:pt x="52" y="198"/>
                    </a:lnTo>
                    <a:lnTo>
                      <a:pt x="33" y="182"/>
                    </a:lnTo>
                    <a:lnTo>
                      <a:pt x="16" y="165"/>
                    </a:lnTo>
                    <a:lnTo>
                      <a:pt x="0" y="148"/>
                    </a:lnTo>
                    <a:lnTo>
                      <a:pt x="0" y="1698"/>
                    </a:lnTo>
                    <a:lnTo>
                      <a:pt x="0" y="1698"/>
                    </a:lnTo>
                    <a:lnTo>
                      <a:pt x="28" y="1716"/>
                    </a:lnTo>
                    <a:lnTo>
                      <a:pt x="57" y="1732"/>
                    </a:lnTo>
                    <a:lnTo>
                      <a:pt x="87" y="1746"/>
                    </a:lnTo>
                    <a:lnTo>
                      <a:pt x="117" y="1757"/>
                    </a:lnTo>
                    <a:lnTo>
                      <a:pt x="150" y="1766"/>
                    </a:lnTo>
                    <a:lnTo>
                      <a:pt x="183" y="1773"/>
                    </a:lnTo>
                    <a:lnTo>
                      <a:pt x="217" y="1778"/>
                    </a:lnTo>
                    <a:lnTo>
                      <a:pt x="252" y="1779"/>
                    </a:lnTo>
                    <a:lnTo>
                      <a:pt x="252" y="1779"/>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defRPr/>
                </a:pPr>
                <a:endParaRPr lang="en-US" sz="1799" kern="0">
                  <a:solidFill>
                    <a:sysClr val="windowText" lastClr="000000"/>
                  </a:solidFill>
                </a:endParaRPr>
              </a:p>
            </p:txBody>
          </p:sp>
          <p:sp>
            <p:nvSpPr>
              <p:cNvPr id="57" name="Freeform 18"/>
              <p:cNvSpPr>
                <a:spLocks/>
              </p:cNvSpPr>
              <p:nvPr/>
            </p:nvSpPr>
            <p:spPr bwMode="auto">
              <a:xfrm>
                <a:off x="3473450" y="6130925"/>
                <a:ext cx="1741488" cy="727075"/>
              </a:xfrm>
              <a:custGeom>
                <a:avLst/>
                <a:gdLst>
                  <a:gd name="T0" fmla="*/ 1911 w 2194"/>
                  <a:gd name="T1" fmla="*/ 195 h 915"/>
                  <a:gd name="T2" fmla="*/ 1821 w 2194"/>
                  <a:gd name="T3" fmla="*/ 183 h 915"/>
                  <a:gd name="T4" fmla="*/ 1736 w 2194"/>
                  <a:gd name="T5" fmla="*/ 156 h 915"/>
                  <a:gd name="T6" fmla="*/ 1655 w 2194"/>
                  <a:gd name="T7" fmla="*/ 117 h 915"/>
                  <a:gd name="T8" fmla="*/ 1583 w 2194"/>
                  <a:gd name="T9" fmla="*/ 64 h 915"/>
                  <a:gd name="T10" fmla="*/ 1519 w 2194"/>
                  <a:gd name="T11" fmla="*/ 0 h 915"/>
                  <a:gd name="T12" fmla="*/ 1479 w 2194"/>
                  <a:gd name="T13" fmla="*/ 44 h 915"/>
                  <a:gd name="T14" fmla="*/ 1408 w 2194"/>
                  <a:gd name="T15" fmla="*/ 101 h 915"/>
                  <a:gd name="T16" fmla="*/ 1331 w 2194"/>
                  <a:gd name="T17" fmla="*/ 145 h 915"/>
                  <a:gd name="T18" fmla="*/ 1247 w 2194"/>
                  <a:gd name="T19" fmla="*/ 175 h 915"/>
                  <a:gd name="T20" fmla="*/ 1158 w 2194"/>
                  <a:gd name="T21" fmla="*/ 193 h 915"/>
                  <a:gd name="T22" fmla="*/ 1098 w 2194"/>
                  <a:gd name="T23" fmla="*/ 195 h 915"/>
                  <a:gd name="T24" fmla="*/ 1006 w 2194"/>
                  <a:gd name="T25" fmla="*/ 188 h 915"/>
                  <a:gd name="T26" fmla="*/ 918 w 2194"/>
                  <a:gd name="T27" fmla="*/ 166 h 915"/>
                  <a:gd name="T28" fmla="*/ 836 w 2194"/>
                  <a:gd name="T29" fmla="*/ 131 h 915"/>
                  <a:gd name="T30" fmla="*/ 762 w 2194"/>
                  <a:gd name="T31" fmla="*/ 83 h 915"/>
                  <a:gd name="T32" fmla="*/ 695 w 2194"/>
                  <a:gd name="T33" fmla="*/ 22 h 915"/>
                  <a:gd name="T34" fmla="*/ 655 w 2194"/>
                  <a:gd name="T35" fmla="*/ 22 h 915"/>
                  <a:gd name="T36" fmla="*/ 588 w 2194"/>
                  <a:gd name="T37" fmla="*/ 83 h 915"/>
                  <a:gd name="T38" fmla="*/ 512 w 2194"/>
                  <a:gd name="T39" fmla="*/ 131 h 915"/>
                  <a:gd name="T40" fmla="*/ 430 w 2194"/>
                  <a:gd name="T41" fmla="*/ 166 h 915"/>
                  <a:gd name="T42" fmla="*/ 343 w 2194"/>
                  <a:gd name="T43" fmla="*/ 188 h 915"/>
                  <a:gd name="T44" fmla="*/ 252 w 2194"/>
                  <a:gd name="T45" fmla="*/ 195 h 915"/>
                  <a:gd name="T46" fmla="*/ 185 w 2194"/>
                  <a:gd name="T47" fmla="*/ 192 h 915"/>
                  <a:gd name="T48" fmla="*/ 90 w 2194"/>
                  <a:gd name="T49" fmla="*/ 171 h 915"/>
                  <a:gd name="T50" fmla="*/ 0 w 2194"/>
                  <a:gd name="T51" fmla="*/ 135 h 915"/>
                  <a:gd name="T52" fmla="*/ 15 w 2194"/>
                  <a:gd name="T53" fmla="*/ 703 h 915"/>
                  <a:gd name="T54" fmla="*/ 69 w 2194"/>
                  <a:gd name="T55" fmla="*/ 737 h 915"/>
                  <a:gd name="T56" fmla="*/ 136 w 2194"/>
                  <a:gd name="T57" fmla="*/ 770 h 915"/>
                  <a:gd name="T58" fmla="*/ 274 w 2194"/>
                  <a:gd name="T59" fmla="*/ 819 h 915"/>
                  <a:gd name="T60" fmla="*/ 477 w 2194"/>
                  <a:gd name="T61" fmla="*/ 866 h 915"/>
                  <a:gd name="T62" fmla="*/ 713 w 2194"/>
                  <a:gd name="T63" fmla="*/ 899 h 915"/>
                  <a:gd name="T64" fmla="*/ 975 w 2194"/>
                  <a:gd name="T65" fmla="*/ 914 h 915"/>
                  <a:gd name="T66" fmla="*/ 1125 w 2194"/>
                  <a:gd name="T67" fmla="*/ 915 h 915"/>
                  <a:gd name="T68" fmla="*/ 1294 w 2194"/>
                  <a:gd name="T69" fmla="*/ 909 h 915"/>
                  <a:gd name="T70" fmla="*/ 1455 w 2194"/>
                  <a:gd name="T71" fmla="*/ 895 h 915"/>
                  <a:gd name="T72" fmla="*/ 1604 w 2194"/>
                  <a:gd name="T73" fmla="*/ 875 h 915"/>
                  <a:gd name="T74" fmla="*/ 1741 w 2194"/>
                  <a:gd name="T75" fmla="*/ 849 h 915"/>
                  <a:gd name="T76" fmla="*/ 1863 w 2194"/>
                  <a:gd name="T77" fmla="*/ 818 h 915"/>
                  <a:gd name="T78" fmla="*/ 1969 w 2194"/>
                  <a:gd name="T79" fmla="*/ 782 h 915"/>
                  <a:gd name="T80" fmla="*/ 2058 w 2194"/>
                  <a:gd name="T81" fmla="*/ 742 h 915"/>
                  <a:gd name="T82" fmla="*/ 2125 w 2194"/>
                  <a:gd name="T83" fmla="*/ 698 h 915"/>
                  <a:gd name="T84" fmla="*/ 2170 w 2194"/>
                  <a:gd name="T85" fmla="*/ 651 h 915"/>
                  <a:gd name="T86" fmla="*/ 2191 w 2194"/>
                  <a:gd name="T87" fmla="*/ 601 h 915"/>
                  <a:gd name="T88" fmla="*/ 2194 w 2194"/>
                  <a:gd name="T89" fmla="*/ 135 h 915"/>
                  <a:gd name="T90" fmla="*/ 2104 w 2194"/>
                  <a:gd name="T91" fmla="*/ 171 h 915"/>
                  <a:gd name="T92" fmla="*/ 2009 w 2194"/>
                  <a:gd name="T93" fmla="*/ 192 h 915"/>
                  <a:gd name="T94" fmla="*/ 1942 w 2194"/>
                  <a:gd name="T95" fmla="*/ 19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94" h="915">
                    <a:moveTo>
                      <a:pt x="1942" y="195"/>
                    </a:moveTo>
                    <a:lnTo>
                      <a:pt x="1942" y="195"/>
                    </a:lnTo>
                    <a:lnTo>
                      <a:pt x="1911" y="195"/>
                    </a:lnTo>
                    <a:lnTo>
                      <a:pt x="1881" y="193"/>
                    </a:lnTo>
                    <a:lnTo>
                      <a:pt x="1851" y="188"/>
                    </a:lnTo>
                    <a:lnTo>
                      <a:pt x="1821" y="183"/>
                    </a:lnTo>
                    <a:lnTo>
                      <a:pt x="1792" y="175"/>
                    </a:lnTo>
                    <a:lnTo>
                      <a:pt x="1764" y="166"/>
                    </a:lnTo>
                    <a:lnTo>
                      <a:pt x="1736" y="156"/>
                    </a:lnTo>
                    <a:lnTo>
                      <a:pt x="1708" y="145"/>
                    </a:lnTo>
                    <a:lnTo>
                      <a:pt x="1682" y="131"/>
                    </a:lnTo>
                    <a:lnTo>
                      <a:pt x="1655" y="117"/>
                    </a:lnTo>
                    <a:lnTo>
                      <a:pt x="1631" y="101"/>
                    </a:lnTo>
                    <a:lnTo>
                      <a:pt x="1606" y="83"/>
                    </a:lnTo>
                    <a:lnTo>
                      <a:pt x="1583" y="64"/>
                    </a:lnTo>
                    <a:lnTo>
                      <a:pt x="1561" y="44"/>
                    </a:lnTo>
                    <a:lnTo>
                      <a:pt x="1539" y="22"/>
                    </a:lnTo>
                    <a:lnTo>
                      <a:pt x="1519" y="0"/>
                    </a:lnTo>
                    <a:lnTo>
                      <a:pt x="1519" y="0"/>
                    </a:lnTo>
                    <a:lnTo>
                      <a:pt x="1499" y="22"/>
                    </a:lnTo>
                    <a:lnTo>
                      <a:pt x="1479" y="44"/>
                    </a:lnTo>
                    <a:lnTo>
                      <a:pt x="1456" y="64"/>
                    </a:lnTo>
                    <a:lnTo>
                      <a:pt x="1432" y="83"/>
                    </a:lnTo>
                    <a:lnTo>
                      <a:pt x="1408" y="101"/>
                    </a:lnTo>
                    <a:lnTo>
                      <a:pt x="1383" y="117"/>
                    </a:lnTo>
                    <a:lnTo>
                      <a:pt x="1358" y="131"/>
                    </a:lnTo>
                    <a:lnTo>
                      <a:pt x="1331" y="145"/>
                    </a:lnTo>
                    <a:lnTo>
                      <a:pt x="1303" y="156"/>
                    </a:lnTo>
                    <a:lnTo>
                      <a:pt x="1276" y="166"/>
                    </a:lnTo>
                    <a:lnTo>
                      <a:pt x="1247" y="175"/>
                    </a:lnTo>
                    <a:lnTo>
                      <a:pt x="1217" y="183"/>
                    </a:lnTo>
                    <a:lnTo>
                      <a:pt x="1188" y="188"/>
                    </a:lnTo>
                    <a:lnTo>
                      <a:pt x="1158" y="193"/>
                    </a:lnTo>
                    <a:lnTo>
                      <a:pt x="1128" y="195"/>
                    </a:lnTo>
                    <a:lnTo>
                      <a:pt x="1098" y="195"/>
                    </a:lnTo>
                    <a:lnTo>
                      <a:pt x="1098" y="195"/>
                    </a:lnTo>
                    <a:lnTo>
                      <a:pt x="1066" y="195"/>
                    </a:lnTo>
                    <a:lnTo>
                      <a:pt x="1036" y="193"/>
                    </a:lnTo>
                    <a:lnTo>
                      <a:pt x="1006" y="188"/>
                    </a:lnTo>
                    <a:lnTo>
                      <a:pt x="977" y="183"/>
                    </a:lnTo>
                    <a:lnTo>
                      <a:pt x="947" y="175"/>
                    </a:lnTo>
                    <a:lnTo>
                      <a:pt x="918" y="166"/>
                    </a:lnTo>
                    <a:lnTo>
                      <a:pt x="891" y="156"/>
                    </a:lnTo>
                    <a:lnTo>
                      <a:pt x="863" y="145"/>
                    </a:lnTo>
                    <a:lnTo>
                      <a:pt x="836" y="131"/>
                    </a:lnTo>
                    <a:lnTo>
                      <a:pt x="811" y="117"/>
                    </a:lnTo>
                    <a:lnTo>
                      <a:pt x="786" y="101"/>
                    </a:lnTo>
                    <a:lnTo>
                      <a:pt x="762" y="83"/>
                    </a:lnTo>
                    <a:lnTo>
                      <a:pt x="738" y="64"/>
                    </a:lnTo>
                    <a:lnTo>
                      <a:pt x="715" y="44"/>
                    </a:lnTo>
                    <a:lnTo>
                      <a:pt x="695" y="22"/>
                    </a:lnTo>
                    <a:lnTo>
                      <a:pt x="675" y="0"/>
                    </a:lnTo>
                    <a:lnTo>
                      <a:pt x="675" y="0"/>
                    </a:lnTo>
                    <a:lnTo>
                      <a:pt x="655" y="22"/>
                    </a:lnTo>
                    <a:lnTo>
                      <a:pt x="633" y="44"/>
                    </a:lnTo>
                    <a:lnTo>
                      <a:pt x="611" y="64"/>
                    </a:lnTo>
                    <a:lnTo>
                      <a:pt x="588" y="83"/>
                    </a:lnTo>
                    <a:lnTo>
                      <a:pt x="563" y="101"/>
                    </a:lnTo>
                    <a:lnTo>
                      <a:pt x="539" y="117"/>
                    </a:lnTo>
                    <a:lnTo>
                      <a:pt x="512" y="131"/>
                    </a:lnTo>
                    <a:lnTo>
                      <a:pt x="486" y="145"/>
                    </a:lnTo>
                    <a:lnTo>
                      <a:pt x="458" y="156"/>
                    </a:lnTo>
                    <a:lnTo>
                      <a:pt x="430" y="166"/>
                    </a:lnTo>
                    <a:lnTo>
                      <a:pt x="402" y="175"/>
                    </a:lnTo>
                    <a:lnTo>
                      <a:pt x="373" y="183"/>
                    </a:lnTo>
                    <a:lnTo>
                      <a:pt x="343" y="188"/>
                    </a:lnTo>
                    <a:lnTo>
                      <a:pt x="313" y="193"/>
                    </a:lnTo>
                    <a:lnTo>
                      <a:pt x="283" y="195"/>
                    </a:lnTo>
                    <a:lnTo>
                      <a:pt x="252" y="195"/>
                    </a:lnTo>
                    <a:lnTo>
                      <a:pt x="252" y="195"/>
                    </a:lnTo>
                    <a:lnTo>
                      <a:pt x="218" y="195"/>
                    </a:lnTo>
                    <a:lnTo>
                      <a:pt x="185" y="192"/>
                    </a:lnTo>
                    <a:lnTo>
                      <a:pt x="153" y="186"/>
                    </a:lnTo>
                    <a:lnTo>
                      <a:pt x="121" y="180"/>
                    </a:lnTo>
                    <a:lnTo>
                      <a:pt x="90" y="171"/>
                    </a:lnTo>
                    <a:lnTo>
                      <a:pt x="59" y="161"/>
                    </a:lnTo>
                    <a:lnTo>
                      <a:pt x="29" y="149"/>
                    </a:lnTo>
                    <a:lnTo>
                      <a:pt x="0" y="135"/>
                    </a:lnTo>
                    <a:lnTo>
                      <a:pt x="0" y="690"/>
                    </a:lnTo>
                    <a:lnTo>
                      <a:pt x="0" y="690"/>
                    </a:lnTo>
                    <a:lnTo>
                      <a:pt x="15" y="703"/>
                    </a:lnTo>
                    <a:lnTo>
                      <a:pt x="32" y="714"/>
                    </a:lnTo>
                    <a:lnTo>
                      <a:pt x="50" y="726"/>
                    </a:lnTo>
                    <a:lnTo>
                      <a:pt x="69" y="737"/>
                    </a:lnTo>
                    <a:lnTo>
                      <a:pt x="91" y="748"/>
                    </a:lnTo>
                    <a:lnTo>
                      <a:pt x="112" y="760"/>
                    </a:lnTo>
                    <a:lnTo>
                      <a:pt x="136" y="770"/>
                    </a:lnTo>
                    <a:lnTo>
                      <a:pt x="161" y="780"/>
                    </a:lnTo>
                    <a:lnTo>
                      <a:pt x="214" y="800"/>
                    </a:lnTo>
                    <a:lnTo>
                      <a:pt x="274" y="819"/>
                    </a:lnTo>
                    <a:lnTo>
                      <a:pt x="337" y="835"/>
                    </a:lnTo>
                    <a:lnTo>
                      <a:pt x="405" y="852"/>
                    </a:lnTo>
                    <a:lnTo>
                      <a:pt x="477" y="866"/>
                    </a:lnTo>
                    <a:lnTo>
                      <a:pt x="551" y="878"/>
                    </a:lnTo>
                    <a:lnTo>
                      <a:pt x="631" y="890"/>
                    </a:lnTo>
                    <a:lnTo>
                      <a:pt x="713" y="899"/>
                    </a:lnTo>
                    <a:lnTo>
                      <a:pt x="797" y="905"/>
                    </a:lnTo>
                    <a:lnTo>
                      <a:pt x="886" y="911"/>
                    </a:lnTo>
                    <a:lnTo>
                      <a:pt x="975" y="914"/>
                    </a:lnTo>
                    <a:lnTo>
                      <a:pt x="1067" y="915"/>
                    </a:lnTo>
                    <a:lnTo>
                      <a:pt x="1067" y="915"/>
                    </a:lnTo>
                    <a:lnTo>
                      <a:pt x="1125" y="915"/>
                    </a:lnTo>
                    <a:lnTo>
                      <a:pt x="1182" y="914"/>
                    </a:lnTo>
                    <a:lnTo>
                      <a:pt x="1239" y="911"/>
                    </a:lnTo>
                    <a:lnTo>
                      <a:pt x="1294" y="909"/>
                    </a:lnTo>
                    <a:lnTo>
                      <a:pt x="1349" y="905"/>
                    </a:lnTo>
                    <a:lnTo>
                      <a:pt x="1402" y="900"/>
                    </a:lnTo>
                    <a:lnTo>
                      <a:pt x="1455" y="895"/>
                    </a:lnTo>
                    <a:lnTo>
                      <a:pt x="1505" y="888"/>
                    </a:lnTo>
                    <a:lnTo>
                      <a:pt x="1556" y="882"/>
                    </a:lnTo>
                    <a:lnTo>
                      <a:pt x="1604" y="875"/>
                    </a:lnTo>
                    <a:lnTo>
                      <a:pt x="1651" y="867"/>
                    </a:lnTo>
                    <a:lnTo>
                      <a:pt x="1697" y="858"/>
                    </a:lnTo>
                    <a:lnTo>
                      <a:pt x="1741" y="849"/>
                    </a:lnTo>
                    <a:lnTo>
                      <a:pt x="1784" y="839"/>
                    </a:lnTo>
                    <a:lnTo>
                      <a:pt x="1824" y="829"/>
                    </a:lnTo>
                    <a:lnTo>
                      <a:pt x="1863" y="818"/>
                    </a:lnTo>
                    <a:lnTo>
                      <a:pt x="1901" y="806"/>
                    </a:lnTo>
                    <a:lnTo>
                      <a:pt x="1937" y="795"/>
                    </a:lnTo>
                    <a:lnTo>
                      <a:pt x="1969" y="782"/>
                    </a:lnTo>
                    <a:lnTo>
                      <a:pt x="2001" y="769"/>
                    </a:lnTo>
                    <a:lnTo>
                      <a:pt x="2030" y="756"/>
                    </a:lnTo>
                    <a:lnTo>
                      <a:pt x="2058" y="742"/>
                    </a:lnTo>
                    <a:lnTo>
                      <a:pt x="2083" y="727"/>
                    </a:lnTo>
                    <a:lnTo>
                      <a:pt x="2104" y="713"/>
                    </a:lnTo>
                    <a:lnTo>
                      <a:pt x="2125" y="698"/>
                    </a:lnTo>
                    <a:lnTo>
                      <a:pt x="2142" y="683"/>
                    </a:lnTo>
                    <a:lnTo>
                      <a:pt x="2157" y="666"/>
                    </a:lnTo>
                    <a:lnTo>
                      <a:pt x="2170" y="651"/>
                    </a:lnTo>
                    <a:lnTo>
                      <a:pt x="2180" y="635"/>
                    </a:lnTo>
                    <a:lnTo>
                      <a:pt x="2188" y="618"/>
                    </a:lnTo>
                    <a:lnTo>
                      <a:pt x="2191" y="601"/>
                    </a:lnTo>
                    <a:lnTo>
                      <a:pt x="2194" y="584"/>
                    </a:lnTo>
                    <a:lnTo>
                      <a:pt x="2194" y="135"/>
                    </a:lnTo>
                    <a:lnTo>
                      <a:pt x="2194" y="135"/>
                    </a:lnTo>
                    <a:lnTo>
                      <a:pt x="2165" y="149"/>
                    </a:lnTo>
                    <a:lnTo>
                      <a:pt x="2135" y="161"/>
                    </a:lnTo>
                    <a:lnTo>
                      <a:pt x="2104" y="171"/>
                    </a:lnTo>
                    <a:lnTo>
                      <a:pt x="2073" y="180"/>
                    </a:lnTo>
                    <a:lnTo>
                      <a:pt x="2041" y="186"/>
                    </a:lnTo>
                    <a:lnTo>
                      <a:pt x="2009" y="192"/>
                    </a:lnTo>
                    <a:lnTo>
                      <a:pt x="1976" y="195"/>
                    </a:lnTo>
                    <a:lnTo>
                      <a:pt x="1942" y="195"/>
                    </a:lnTo>
                    <a:lnTo>
                      <a:pt x="1942" y="195"/>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defRPr/>
                </a:pPr>
                <a:endParaRPr lang="en-US" sz="1799" kern="0">
                  <a:solidFill>
                    <a:sysClr val="windowText" lastClr="000000"/>
                  </a:solidFill>
                </a:endParaRPr>
              </a:p>
            </p:txBody>
          </p:sp>
        </p:grpSp>
        <p:sp>
          <p:nvSpPr>
            <p:cNvPr id="47" name="Rectangle 46"/>
            <p:cNvSpPr/>
            <p:nvPr/>
          </p:nvSpPr>
          <p:spPr>
            <a:xfrm>
              <a:off x="2962833" y="2295083"/>
              <a:ext cx="1294130" cy="439642"/>
            </a:xfrm>
            <a:prstGeom prst="rect">
              <a:avLst/>
            </a:prstGeom>
          </p:spPr>
          <p:txBody>
            <a:bodyPr wrap="square">
              <a:spAutoFit/>
            </a:bodyPr>
            <a:lstStyle/>
            <a:p>
              <a:pPr defTabSz="896203">
                <a:defRPr/>
              </a:pPr>
              <a:r>
                <a:rPr lang="en-US" sz="1100" kern="0" dirty="0">
                  <a:solidFill>
                    <a:sysClr val="windowText" lastClr="000000"/>
                  </a:solidFill>
                  <a:cs typeface="Segoe UI Semilight" panose="020B0402040204020203" pitchFamily="34" charset="0"/>
                </a:rPr>
                <a:t>Machine Learning</a:t>
              </a:r>
            </a:p>
          </p:txBody>
        </p:sp>
        <p:grpSp>
          <p:nvGrpSpPr>
            <p:cNvPr id="48" name="Group 47"/>
            <p:cNvGrpSpPr/>
            <p:nvPr/>
          </p:nvGrpSpPr>
          <p:grpSpPr>
            <a:xfrm>
              <a:off x="2519622" y="4890724"/>
              <a:ext cx="359675" cy="276298"/>
              <a:chOff x="1260022" y="5196402"/>
              <a:chExt cx="3273425" cy="2514600"/>
            </a:xfrm>
            <a:solidFill>
              <a:schemeClr val="tx1"/>
            </a:solidFill>
          </p:grpSpPr>
          <p:sp>
            <p:nvSpPr>
              <p:cNvPr id="51" name="Freeform 50"/>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defRPr/>
                </a:pPr>
                <a:endParaRPr lang="en-US" sz="1799" dirty="0"/>
              </a:p>
            </p:txBody>
          </p:sp>
          <p:sp>
            <p:nvSpPr>
              <p:cNvPr id="52" name="Freeform 51"/>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defRPr/>
                </a:pPr>
                <a:endParaRPr lang="en-US" sz="1799" dirty="0"/>
              </a:p>
            </p:txBody>
          </p:sp>
          <p:sp>
            <p:nvSpPr>
              <p:cNvPr id="53" name="Freeform 52"/>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defRPr/>
                </a:pPr>
                <a:endParaRPr lang="en-US" sz="1799" dirty="0"/>
              </a:p>
            </p:txBody>
          </p:sp>
          <p:sp>
            <p:nvSpPr>
              <p:cNvPr id="54" name="Freeform 53"/>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defRPr/>
                </a:pPr>
                <a:endParaRPr lang="en-US" sz="1799" dirty="0"/>
              </a:p>
            </p:txBody>
          </p:sp>
        </p:grpSp>
        <p:sp>
          <p:nvSpPr>
            <p:cNvPr id="49" name="Freeform 48"/>
            <p:cNvSpPr>
              <a:spLocks/>
            </p:cNvSpPr>
            <p:nvPr/>
          </p:nvSpPr>
          <p:spPr bwMode="auto">
            <a:xfrm>
              <a:off x="2520964" y="4034622"/>
              <a:ext cx="373674" cy="282777"/>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2">
                <a:lumMod val="75000"/>
              </a:schemeClr>
            </a:solidFill>
            <a:ln w="6350">
              <a:noFill/>
            </a:ln>
          </p:spPr>
          <p:txBody>
            <a:bodyPr vert="horz" wrap="square" lIns="91403" tIns="45701" rIns="91403" bIns="45701" numCol="1" anchor="t" anchorCtr="0" compatLnSpc="1">
              <a:prstTxWarp prst="textNoShape">
                <a:avLst/>
              </a:prstTxWarp>
            </a:bodyPr>
            <a:lstStyle/>
            <a:p>
              <a:pPr defTabSz="896203">
                <a:defRPr/>
              </a:pPr>
              <a:endParaRPr lang="en-US" sz="1600" kern="0" dirty="0">
                <a:solidFill>
                  <a:sysClr val="windowText" lastClr="000000"/>
                </a:solidFill>
              </a:endParaRPr>
            </a:p>
          </p:txBody>
        </p:sp>
        <p:sp>
          <p:nvSpPr>
            <p:cNvPr id="50" name="Freeform 49"/>
            <p:cNvSpPr/>
            <p:nvPr/>
          </p:nvSpPr>
          <p:spPr bwMode="auto">
            <a:xfrm flipH="1">
              <a:off x="2565074" y="2374875"/>
              <a:ext cx="272572" cy="288449"/>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defRPr/>
              </a:pPr>
              <a:endParaRPr lang="en-US" sz="2399" kern="0">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2687756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30" name="Rectangle 129"/>
          <p:cNvSpPr/>
          <p:nvPr/>
        </p:nvSpPr>
        <p:spPr bwMode="auto">
          <a:xfrm>
            <a:off x="1" y="5171771"/>
            <a:ext cx="12188824" cy="1154529"/>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kern="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pPr defTabSz="896203">
              <a:spcBef>
                <a:spcPts val="0"/>
              </a:spcBef>
              <a:spcAft>
                <a:spcPts val="588"/>
              </a:spcAft>
              <a:defRPr/>
            </a:pPr>
            <a:r>
              <a:rPr lang="en-US" kern="0" spc="0" dirty="0">
                <a:ln>
                  <a:noFill/>
                </a:ln>
              </a:rPr>
              <a:t>Big data analytics made easy</a:t>
            </a:r>
          </a:p>
        </p:txBody>
      </p:sp>
      <p:grpSp>
        <p:nvGrpSpPr>
          <p:cNvPr id="4" name="Group 3"/>
          <p:cNvGrpSpPr/>
          <p:nvPr/>
        </p:nvGrpSpPr>
        <p:grpSpPr>
          <a:xfrm>
            <a:off x="2151213" y="5170219"/>
            <a:ext cx="10748830" cy="1167376"/>
            <a:chOff x="2194921" y="5407808"/>
            <a:chExt cx="10967222" cy="1191095"/>
          </a:xfrm>
        </p:grpSpPr>
        <p:sp>
          <p:nvSpPr>
            <p:cNvPr id="12" name="TextBox 11"/>
            <p:cNvSpPr txBox="1"/>
            <p:nvPr/>
          </p:nvSpPr>
          <p:spPr>
            <a:xfrm>
              <a:off x="2194921" y="5407808"/>
              <a:ext cx="4907093" cy="1191095"/>
            </a:xfrm>
            <a:prstGeom prst="rect">
              <a:avLst/>
            </a:prstGeom>
            <a:noFill/>
          </p:spPr>
          <p:txBody>
            <a:bodyPr wrap="square" lIns="179238" tIns="143391" rIns="179238" bIns="143391" rtlCol="0">
              <a:spAutoFit/>
            </a:bodyPr>
            <a:lstStyle/>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Analyze data of any kind and size</a:t>
              </a:r>
            </a:p>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Develop faster, debug and optimize smarter</a:t>
              </a:r>
            </a:p>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Interactively explore patterns in your data</a:t>
              </a:r>
            </a:p>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No learning curve—use U-SQL, Spark, Hive, </a:t>
              </a:r>
              <a:r>
                <a:rPr lang="en-US" sz="1176" kern="0" dirty="0" err="1">
                  <a:solidFill>
                    <a:schemeClr val="bg1"/>
                  </a:solidFill>
                </a:rPr>
                <a:t>HBase</a:t>
              </a:r>
              <a:r>
                <a:rPr lang="en-US" sz="1176" kern="0" dirty="0">
                  <a:solidFill>
                    <a:schemeClr val="bg1"/>
                  </a:solidFill>
                </a:rPr>
                <a:t> and Storm</a:t>
              </a:r>
            </a:p>
          </p:txBody>
        </p:sp>
        <p:sp>
          <p:nvSpPr>
            <p:cNvPr id="13" name="TextBox 12"/>
            <p:cNvSpPr txBox="1"/>
            <p:nvPr/>
          </p:nvSpPr>
          <p:spPr>
            <a:xfrm>
              <a:off x="7234340" y="5407808"/>
              <a:ext cx="5927803" cy="1191095"/>
            </a:xfrm>
            <a:prstGeom prst="rect">
              <a:avLst/>
            </a:prstGeom>
            <a:noFill/>
          </p:spPr>
          <p:txBody>
            <a:bodyPr wrap="square" lIns="179238" tIns="143391" rIns="179238" bIns="143391" rtlCol="0">
              <a:spAutoFit/>
            </a:bodyPr>
            <a:lstStyle/>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Managed and supported with an enterprise-grade SLA</a:t>
              </a:r>
            </a:p>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Dynamically scales to match your business priorities</a:t>
              </a:r>
            </a:p>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Enterprise-grade security with Azure Active Directory</a:t>
              </a:r>
            </a:p>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Built on YARN, designed for the cloud</a:t>
              </a:r>
            </a:p>
          </p:txBody>
        </p:sp>
      </p:grpSp>
      <p:grpSp>
        <p:nvGrpSpPr>
          <p:cNvPr id="37" name="Group 36"/>
          <p:cNvGrpSpPr/>
          <p:nvPr/>
        </p:nvGrpSpPr>
        <p:grpSpPr>
          <a:xfrm>
            <a:off x="2662470" y="1414560"/>
            <a:ext cx="9037976" cy="1918636"/>
            <a:chOff x="376569" y="1750827"/>
            <a:chExt cx="10664459" cy="2263914"/>
          </a:xfrm>
        </p:grpSpPr>
        <p:pic>
          <p:nvPicPr>
            <p:cNvPr id="38" name="Picture 37"/>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5151475" y="1750827"/>
              <a:ext cx="1196162" cy="1196162"/>
            </a:xfrm>
            <a:prstGeom prst="rect">
              <a:avLst/>
            </a:prstGeom>
          </p:spPr>
        </p:pic>
        <p:sp>
          <p:nvSpPr>
            <p:cNvPr id="39" name="TextBox 38"/>
            <p:cNvSpPr txBox="1"/>
            <p:nvPr/>
          </p:nvSpPr>
          <p:spPr>
            <a:xfrm>
              <a:off x="4532127" y="2850555"/>
              <a:ext cx="2434855" cy="597967"/>
            </a:xfrm>
            <a:prstGeom prst="rect">
              <a:avLst/>
            </a:prstGeom>
            <a:noFill/>
          </p:spPr>
          <p:txBody>
            <a:bodyPr wrap="square" lIns="179238" tIns="143391" rIns="179238" bIns="143391" rtlCol="0">
              <a:spAutoFit/>
            </a:bodyPr>
            <a:lstStyle/>
            <a:p>
              <a:pPr algn="ctr" defTabSz="896203">
                <a:lnSpc>
                  <a:spcPct val="90000"/>
                </a:lnSpc>
                <a:spcAft>
                  <a:spcPts val="588"/>
                </a:spcAft>
                <a:defRPr/>
              </a:pPr>
              <a:r>
                <a:rPr lang="en-US" sz="1568" kern="0" dirty="0">
                  <a:solidFill>
                    <a:schemeClr val="bg2"/>
                  </a:solidFill>
                  <a:latin typeface="Segoe UI" panose="020B0502040204020203" pitchFamily="34" charset="0"/>
                  <a:ea typeface="Segoe UI Black" panose="020B0A02040204020203" pitchFamily="34" charset="0"/>
                  <a:cs typeface="Segoe UI" panose="020B0502040204020203" pitchFamily="34" charset="0"/>
                </a:rPr>
                <a:t>Data Lake Analytics</a:t>
              </a:r>
            </a:p>
          </p:txBody>
        </p:sp>
        <p:sp>
          <p:nvSpPr>
            <p:cNvPr id="40" name="Right Brace 39"/>
            <p:cNvSpPr/>
            <p:nvPr/>
          </p:nvSpPr>
          <p:spPr>
            <a:xfrm rot="16200000">
              <a:off x="5482403" y="-1543884"/>
              <a:ext cx="452791" cy="10664459"/>
            </a:xfrm>
            <a:prstGeom prst="rightBrace">
              <a:avLst>
                <a:gd name="adj1" fmla="val 285424"/>
                <a:gd name="adj2" fmla="val 50000"/>
              </a:avLst>
            </a:prstGeom>
            <a:ln w="44450">
              <a:solidFill>
                <a:srgbClr val="0072C6"/>
              </a:solidFill>
              <a:prstDash val="sys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896203">
                <a:defRPr/>
              </a:pPr>
              <a:endParaRPr lang="en-US" sz="1764" kern="0">
                <a:solidFill>
                  <a:sysClr val="windowText" lastClr="000000"/>
                </a:solidFill>
              </a:endParaRPr>
            </a:p>
          </p:txBody>
        </p:sp>
      </p:grpSp>
      <p:sp>
        <p:nvSpPr>
          <p:cNvPr id="41" name="TextBox 40"/>
          <p:cNvSpPr txBox="1"/>
          <p:nvPr/>
        </p:nvSpPr>
        <p:spPr>
          <a:xfrm>
            <a:off x="2277638" y="4318172"/>
            <a:ext cx="2063506" cy="506769"/>
          </a:xfrm>
          <a:prstGeom prst="rect">
            <a:avLst/>
          </a:prstGeom>
          <a:noFill/>
        </p:spPr>
        <p:txBody>
          <a:bodyPr wrap="square" lIns="179238" tIns="143391" rIns="179238" bIns="143391" rtlCol="0">
            <a:spAutoFit/>
          </a:bodyPr>
          <a:lstStyle/>
          <a:p>
            <a:pPr algn="ctr" defTabSz="896203">
              <a:lnSpc>
                <a:spcPct val="90000"/>
              </a:lnSpc>
              <a:spcAft>
                <a:spcPts val="588"/>
              </a:spcAft>
              <a:defRPr/>
            </a:pPr>
            <a:r>
              <a:rPr lang="en-US" sz="1568" kern="0" dirty="0">
                <a:solidFill>
                  <a:schemeClr val="bg2"/>
                </a:solidFill>
                <a:latin typeface="Segoe UI" panose="020B0502040204020203" pitchFamily="34" charset="0"/>
                <a:ea typeface="Segoe UI Black" panose="020B0A02040204020203" pitchFamily="34" charset="0"/>
                <a:cs typeface="Segoe UI" panose="020B0502040204020203" pitchFamily="34" charset="0"/>
              </a:rPr>
              <a:t>SQL DW</a:t>
            </a:r>
          </a:p>
        </p:txBody>
      </p:sp>
      <p:sp>
        <p:nvSpPr>
          <p:cNvPr id="42" name="TextBox 41"/>
          <p:cNvSpPr txBox="1"/>
          <p:nvPr/>
        </p:nvSpPr>
        <p:spPr>
          <a:xfrm>
            <a:off x="4194655" y="4318172"/>
            <a:ext cx="2063506" cy="506769"/>
          </a:xfrm>
          <a:prstGeom prst="rect">
            <a:avLst/>
          </a:prstGeom>
          <a:noFill/>
        </p:spPr>
        <p:txBody>
          <a:bodyPr wrap="square" lIns="179238" tIns="143391" rIns="179238" bIns="143391" rtlCol="0">
            <a:spAutoFit/>
          </a:bodyPr>
          <a:lstStyle/>
          <a:p>
            <a:pPr algn="ctr" defTabSz="896203">
              <a:lnSpc>
                <a:spcPct val="90000"/>
              </a:lnSpc>
              <a:spcAft>
                <a:spcPts val="588"/>
              </a:spcAft>
              <a:defRPr/>
            </a:pPr>
            <a:r>
              <a:rPr lang="en-US" sz="1568" kern="0" dirty="0">
                <a:solidFill>
                  <a:schemeClr val="bg2"/>
                </a:solidFill>
                <a:latin typeface="Segoe UI" panose="020B0502040204020203" pitchFamily="34" charset="0"/>
                <a:ea typeface="Segoe UI Black" panose="020B0A02040204020203" pitchFamily="34" charset="0"/>
                <a:cs typeface="Segoe UI" panose="020B0502040204020203" pitchFamily="34" charset="0"/>
              </a:rPr>
              <a:t>SQL DB</a:t>
            </a:r>
          </a:p>
        </p:txBody>
      </p:sp>
      <p:sp>
        <p:nvSpPr>
          <p:cNvPr id="43" name="TextBox 42"/>
          <p:cNvSpPr txBox="1"/>
          <p:nvPr/>
        </p:nvSpPr>
        <p:spPr>
          <a:xfrm>
            <a:off x="8028688" y="4318172"/>
            <a:ext cx="2063506" cy="506769"/>
          </a:xfrm>
          <a:prstGeom prst="rect">
            <a:avLst/>
          </a:prstGeom>
          <a:noFill/>
        </p:spPr>
        <p:txBody>
          <a:bodyPr wrap="square" lIns="179238" tIns="143391" rIns="179238" bIns="143391" rtlCol="0">
            <a:spAutoFit/>
          </a:bodyPr>
          <a:lstStyle/>
          <a:p>
            <a:pPr algn="ctr" defTabSz="896203">
              <a:lnSpc>
                <a:spcPct val="90000"/>
              </a:lnSpc>
              <a:spcAft>
                <a:spcPts val="588"/>
              </a:spcAft>
              <a:defRPr/>
            </a:pPr>
            <a:r>
              <a:rPr lang="en-US" sz="1568" kern="0" dirty="0">
                <a:solidFill>
                  <a:schemeClr val="bg2"/>
                </a:solidFill>
                <a:latin typeface="Segoe UI" panose="020B0502040204020203" pitchFamily="34" charset="0"/>
                <a:ea typeface="Segoe UI Black" panose="020B0A02040204020203" pitchFamily="34" charset="0"/>
                <a:cs typeface="Segoe UI" panose="020B0502040204020203" pitchFamily="34" charset="0"/>
              </a:rPr>
              <a:t> Storage Blobs</a:t>
            </a:r>
          </a:p>
        </p:txBody>
      </p:sp>
      <p:sp>
        <p:nvSpPr>
          <p:cNvPr id="44" name="TextBox 43"/>
          <p:cNvSpPr txBox="1"/>
          <p:nvPr/>
        </p:nvSpPr>
        <p:spPr>
          <a:xfrm>
            <a:off x="6111671" y="4318172"/>
            <a:ext cx="2063506" cy="506769"/>
          </a:xfrm>
          <a:prstGeom prst="rect">
            <a:avLst/>
          </a:prstGeom>
          <a:noFill/>
        </p:spPr>
        <p:txBody>
          <a:bodyPr wrap="square" lIns="179238" tIns="143391" rIns="179238" bIns="143391" rtlCol="0">
            <a:spAutoFit/>
          </a:bodyPr>
          <a:lstStyle/>
          <a:p>
            <a:pPr algn="ctr" defTabSz="896203">
              <a:lnSpc>
                <a:spcPct val="90000"/>
              </a:lnSpc>
              <a:spcAft>
                <a:spcPts val="588"/>
              </a:spcAft>
              <a:defRPr/>
            </a:pPr>
            <a:r>
              <a:rPr lang="en-US" sz="1568" kern="0" dirty="0">
                <a:solidFill>
                  <a:schemeClr val="bg2"/>
                </a:solidFill>
                <a:latin typeface="Segoe UI" panose="020B0502040204020203" pitchFamily="34" charset="0"/>
                <a:ea typeface="Segoe UI Black" panose="020B0A02040204020203" pitchFamily="34" charset="0"/>
                <a:cs typeface="Segoe UI" panose="020B0502040204020203" pitchFamily="34" charset="0"/>
              </a:rPr>
              <a:t>Data Lake Store</a:t>
            </a:r>
          </a:p>
        </p:txBody>
      </p:sp>
      <p:sp>
        <p:nvSpPr>
          <p:cNvPr id="45" name="TextBox 44"/>
          <p:cNvSpPr txBox="1"/>
          <p:nvPr/>
        </p:nvSpPr>
        <p:spPr>
          <a:xfrm>
            <a:off x="9945704" y="4318172"/>
            <a:ext cx="2063506" cy="506769"/>
          </a:xfrm>
          <a:prstGeom prst="rect">
            <a:avLst/>
          </a:prstGeom>
          <a:noFill/>
        </p:spPr>
        <p:txBody>
          <a:bodyPr wrap="square" lIns="179238" tIns="143391" rIns="179238" bIns="143391" rtlCol="0">
            <a:spAutoFit/>
          </a:bodyPr>
          <a:lstStyle/>
          <a:p>
            <a:pPr algn="ctr" defTabSz="896203">
              <a:lnSpc>
                <a:spcPct val="90000"/>
              </a:lnSpc>
              <a:spcAft>
                <a:spcPts val="588"/>
              </a:spcAft>
              <a:defRPr/>
            </a:pPr>
            <a:r>
              <a:rPr lang="en-US" sz="1568" kern="0" dirty="0">
                <a:solidFill>
                  <a:schemeClr val="bg2"/>
                </a:solidFill>
                <a:latin typeface="Segoe UI" panose="020B0502040204020203" pitchFamily="34" charset="0"/>
                <a:ea typeface="Segoe UI Black" panose="020B0A02040204020203" pitchFamily="34" charset="0"/>
                <a:cs typeface="Segoe UI" panose="020B0502040204020203" pitchFamily="34" charset="0"/>
              </a:rPr>
              <a:t>SQL DB in a VM</a:t>
            </a:r>
          </a:p>
        </p:txBody>
      </p:sp>
      <p:pic>
        <p:nvPicPr>
          <p:cNvPr id="46" name="Picture 45"/>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585728" y="3354584"/>
            <a:ext cx="949425" cy="949425"/>
          </a:xfrm>
          <a:prstGeom prst="rect">
            <a:avLst/>
          </a:prstGeom>
        </p:spPr>
      </p:pic>
      <p:pic>
        <p:nvPicPr>
          <p:cNvPr id="47" name="Picture 4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825233" y="3542833"/>
            <a:ext cx="829092" cy="829092"/>
          </a:xfrm>
          <a:prstGeom prst="rect">
            <a:avLst/>
          </a:prstGeom>
          <a:noFill/>
        </p:spPr>
      </p:pic>
      <p:grpSp>
        <p:nvGrpSpPr>
          <p:cNvPr id="94" name="Group 93"/>
          <p:cNvGrpSpPr/>
          <p:nvPr/>
        </p:nvGrpSpPr>
        <p:grpSpPr>
          <a:xfrm>
            <a:off x="-9456" y="1618083"/>
            <a:ext cx="1947978" cy="3781517"/>
            <a:chOff x="2269406" y="1649551"/>
            <a:chExt cx="1987557" cy="3858349"/>
          </a:xfrm>
        </p:grpSpPr>
        <p:grpSp>
          <p:nvGrpSpPr>
            <p:cNvPr id="95" name="Group 94"/>
            <p:cNvGrpSpPr/>
            <p:nvPr/>
          </p:nvGrpSpPr>
          <p:grpSpPr>
            <a:xfrm>
              <a:off x="2269406" y="1649551"/>
              <a:ext cx="1771946" cy="3858349"/>
              <a:chOff x="2269406" y="1649551"/>
              <a:chExt cx="1771946" cy="3858349"/>
            </a:xfrm>
          </p:grpSpPr>
          <p:sp>
            <p:nvSpPr>
              <p:cNvPr id="131" name="Rectangle 130"/>
              <p:cNvSpPr/>
              <p:nvPr/>
            </p:nvSpPr>
            <p:spPr bwMode="auto">
              <a:xfrm>
                <a:off x="2269406" y="1649551"/>
                <a:ext cx="1771946" cy="385834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4" tIns="91403" rIns="18274" bIns="91365" numCol="1" spcCol="1270" anchor="t" anchorCtr="0">
                <a:noAutofit/>
              </a:bodyPr>
              <a:lstStyle/>
              <a:p>
                <a:pPr algn="ctr" defTabSz="724725">
                  <a:spcBef>
                    <a:spcPct val="0"/>
                  </a:spcBef>
                  <a:spcAft>
                    <a:spcPct val="35000"/>
                  </a:spcAft>
                  <a:defRPr/>
                </a:pPr>
                <a:r>
                  <a:rPr lang="en-US" sz="1400" kern="0" dirty="0">
                    <a:solidFill>
                      <a:schemeClr val="tx1"/>
                    </a:solidFill>
                    <a:latin typeface="Segoe UI Semibold" panose="020B0702040204020203" pitchFamily="34" charset="0"/>
                    <a:cs typeface="Segoe UI Semibold" panose="020B0702040204020203" pitchFamily="34" charset="0"/>
                  </a:rPr>
                  <a:t>Machine Learning and Analytics</a:t>
                </a:r>
              </a:p>
            </p:txBody>
          </p:sp>
          <p:grpSp>
            <p:nvGrpSpPr>
              <p:cNvPr id="112" name="Group 111"/>
              <p:cNvGrpSpPr/>
              <p:nvPr/>
            </p:nvGrpSpPr>
            <p:grpSpPr>
              <a:xfrm>
                <a:off x="2475764" y="2364104"/>
                <a:ext cx="200749" cy="211051"/>
                <a:chOff x="4106551" y="3401141"/>
                <a:chExt cx="254631" cy="267699"/>
              </a:xfrm>
            </p:grpSpPr>
            <p:sp>
              <p:nvSpPr>
                <p:cNvPr id="113" name="Rectangle 112"/>
                <p:cNvSpPr/>
                <p:nvPr/>
              </p:nvSpPr>
              <p:spPr bwMode="auto">
                <a:xfrm>
                  <a:off x="4106551"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14" name="Rectangle 113"/>
                <p:cNvSpPr/>
                <p:nvPr/>
              </p:nvSpPr>
              <p:spPr bwMode="auto">
                <a:xfrm>
                  <a:off x="4245904"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15" name="Oval 114"/>
                <p:cNvSpPr/>
                <p:nvPr/>
              </p:nvSpPr>
              <p:spPr bwMode="auto">
                <a:xfrm>
                  <a:off x="4174625"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16" name="Oval 115"/>
                <p:cNvSpPr/>
                <p:nvPr/>
              </p:nvSpPr>
              <p:spPr bwMode="auto">
                <a:xfrm>
                  <a:off x="4313978"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17" name="Rectangle 116"/>
                <p:cNvSpPr/>
                <p:nvPr/>
              </p:nvSpPr>
              <p:spPr bwMode="auto">
                <a:xfrm>
                  <a:off x="4106551"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18" name="Rectangle 117"/>
                <p:cNvSpPr/>
                <p:nvPr/>
              </p:nvSpPr>
              <p:spPr bwMode="auto">
                <a:xfrm>
                  <a:off x="4245904"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19" name="Oval 118"/>
                <p:cNvSpPr/>
                <p:nvPr/>
              </p:nvSpPr>
              <p:spPr bwMode="auto">
                <a:xfrm>
                  <a:off x="4174625"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0" name="Oval 119"/>
                <p:cNvSpPr/>
                <p:nvPr/>
              </p:nvSpPr>
              <p:spPr bwMode="auto">
                <a:xfrm>
                  <a:off x="4313978"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1" name="Rectangle 120"/>
                <p:cNvSpPr/>
                <p:nvPr/>
              </p:nvSpPr>
              <p:spPr bwMode="auto">
                <a:xfrm>
                  <a:off x="4178218"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2" name="Rectangle 121"/>
                <p:cNvSpPr/>
                <p:nvPr/>
              </p:nvSpPr>
              <p:spPr bwMode="auto">
                <a:xfrm>
                  <a:off x="4317571"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3" name="Oval 122"/>
                <p:cNvSpPr/>
                <p:nvPr/>
              </p:nvSpPr>
              <p:spPr bwMode="auto">
                <a:xfrm>
                  <a:off x="4106939"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4" name="Oval 123"/>
                <p:cNvSpPr/>
                <p:nvPr/>
              </p:nvSpPr>
              <p:spPr bwMode="auto">
                <a:xfrm>
                  <a:off x="4246293"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5" name="Rectangle 124"/>
                <p:cNvSpPr/>
                <p:nvPr/>
              </p:nvSpPr>
              <p:spPr bwMode="auto">
                <a:xfrm>
                  <a:off x="4178218"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6" name="Rectangle 125"/>
                <p:cNvSpPr/>
                <p:nvPr/>
              </p:nvSpPr>
              <p:spPr bwMode="auto">
                <a:xfrm>
                  <a:off x="4317571"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7" name="Oval 126"/>
                <p:cNvSpPr/>
                <p:nvPr/>
              </p:nvSpPr>
              <p:spPr bwMode="auto">
                <a:xfrm>
                  <a:off x="4106939"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8" name="Oval 127"/>
                <p:cNvSpPr/>
                <p:nvPr/>
              </p:nvSpPr>
              <p:spPr bwMode="auto">
                <a:xfrm>
                  <a:off x="4246293"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96" name="Rectangle 95"/>
            <p:cNvSpPr/>
            <p:nvPr/>
          </p:nvSpPr>
          <p:spPr>
            <a:xfrm>
              <a:off x="2962833" y="3869841"/>
              <a:ext cx="1294130" cy="622511"/>
            </a:xfrm>
            <a:prstGeom prst="rect">
              <a:avLst/>
            </a:prstGeom>
          </p:spPr>
          <p:txBody>
            <a:bodyPr wrap="square">
              <a:spAutoFit/>
            </a:bodyPr>
            <a:lstStyle/>
            <a:p>
              <a:pPr defTabSz="896203">
                <a:defRPr/>
              </a:pPr>
              <a:r>
                <a:rPr lang="en-US" sz="1100" kern="0" dirty="0">
                  <a:solidFill>
                    <a:schemeClr val="accent2">
                      <a:lumMod val="75000"/>
                    </a:schemeClr>
                  </a:solidFill>
                  <a:cs typeface="Segoe UI Semilight" panose="020B0402040204020203" pitchFamily="34" charset="0"/>
                </a:rPr>
                <a:t>HDInsight </a:t>
              </a:r>
            </a:p>
            <a:p>
              <a:pPr defTabSz="896203">
                <a:defRPr/>
              </a:pPr>
              <a:r>
                <a:rPr lang="en-US" sz="1100" kern="0" dirty="0">
                  <a:solidFill>
                    <a:schemeClr val="accent2">
                      <a:lumMod val="75000"/>
                    </a:schemeClr>
                  </a:solidFill>
                  <a:cs typeface="Segoe UI Semilight" panose="020B0402040204020203" pitchFamily="34" charset="0"/>
                </a:rPr>
                <a:t>(Hadoop and Spark)</a:t>
              </a:r>
            </a:p>
          </p:txBody>
        </p:sp>
        <p:sp>
          <p:nvSpPr>
            <p:cNvPr id="97" name="Rectangle 96"/>
            <p:cNvSpPr/>
            <p:nvPr/>
          </p:nvSpPr>
          <p:spPr>
            <a:xfrm>
              <a:off x="2962833" y="4888358"/>
              <a:ext cx="925088" cy="437684"/>
            </a:xfrm>
            <a:prstGeom prst="rect">
              <a:avLst/>
            </a:prstGeom>
          </p:spPr>
          <p:txBody>
            <a:bodyPr wrap="square">
              <a:spAutoFit/>
            </a:bodyPr>
            <a:lstStyle/>
            <a:p>
              <a:pPr defTabSz="896203">
                <a:defRPr/>
              </a:pPr>
              <a:r>
                <a:rPr lang="en-US" sz="1100" kern="0" dirty="0">
                  <a:solidFill>
                    <a:schemeClr val="accent2">
                      <a:lumMod val="75000"/>
                    </a:schemeClr>
                  </a:solidFill>
                  <a:cs typeface="Segoe UI Semilight" panose="020B0402040204020203" pitchFamily="34" charset="0"/>
                </a:rPr>
                <a:t>Stream Analytics</a:t>
              </a:r>
            </a:p>
          </p:txBody>
        </p:sp>
        <p:sp>
          <p:nvSpPr>
            <p:cNvPr id="98" name="Rectangle 97"/>
            <p:cNvSpPr/>
            <p:nvPr/>
          </p:nvSpPr>
          <p:spPr>
            <a:xfrm>
              <a:off x="2962833" y="3125609"/>
              <a:ext cx="1294130" cy="446397"/>
            </a:xfrm>
            <a:prstGeom prst="rect">
              <a:avLst/>
            </a:prstGeom>
          </p:spPr>
          <p:txBody>
            <a:bodyPr wrap="square">
              <a:spAutoFit/>
            </a:bodyPr>
            <a:lstStyle/>
            <a:p>
              <a:pPr defTabSz="896203">
                <a:defRPr/>
              </a:pPr>
              <a:r>
                <a:rPr lang="en-US" sz="1100" kern="0" dirty="0">
                  <a:solidFill>
                    <a:sysClr val="windowText" lastClr="000000"/>
                  </a:solidFill>
                  <a:cs typeface="Segoe UI Semilight" panose="020B0402040204020203" pitchFamily="34" charset="0"/>
                </a:rPr>
                <a:t>Data Lake Analytics</a:t>
              </a:r>
            </a:p>
          </p:txBody>
        </p:sp>
        <p:grpSp>
          <p:nvGrpSpPr>
            <p:cNvPr id="99" name="Group 98"/>
            <p:cNvGrpSpPr/>
            <p:nvPr/>
          </p:nvGrpSpPr>
          <p:grpSpPr>
            <a:xfrm>
              <a:off x="2584613" y="3210310"/>
              <a:ext cx="225034" cy="294370"/>
              <a:chOff x="3473450" y="4579938"/>
              <a:chExt cx="1741488" cy="2278062"/>
            </a:xfrm>
            <a:solidFill>
              <a:schemeClr val="tx1"/>
            </a:solidFill>
          </p:grpSpPr>
          <p:sp>
            <p:nvSpPr>
              <p:cNvPr id="108" name="Freeform 16"/>
              <p:cNvSpPr>
                <a:spLocks/>
              </p:cNvSpPr>
              <p:nvPr/>
            </p:nvSpPr>
            <p:spPr bwMode="auto">
              <a:xfrm>
                <a:off x="3575050" y="4579938"/>
                <a:ext cx="1493838" cy="403225"/>
              </a:xfrm>
              <a:custGeom>
                <a:avLst/>
                <a:gdLst>
                  <a:gd name="T0" fmla="*/ 2 w 1883"/>
                  <a:gd name="T1" fmla="*/ 263 h 508"/>
                  <a:gd name="T2" fmla="*/ 17 w 1883"/>
                  <a:gd name="T3" fmla="*/ 290 h 508"/>
                  <a:gd name="T4" fmla="*/ 51 w 1883"/>
                  <a:gd name="T5" fmla="*/ 321 h 508"/>
                  <a:gd name="T6" fmla="*/ 101 w 1883"/>
                  <a:gd name="T7" fmla="*/ 352 h 508"/>
                  <a:gd name="T8" fmla="*/ 169 w 1883"/>
                  <a:gd name="T9" fmla="*/ 384 h 508"/>
                  <a:gd name="T10" fmla="*/ 253 w 1883"/>
                  <a:gd name="T11" fmla="*/ 414 h 508"/>
                  <a:gd name="T12" fmla="*/ 351 w 1883"/>
                  <a:gd name="T13" fmla="*/ 442 h 508"/>
                  <a:gd name="T14" fmla="*/ 465 w 1883"/>
                  <a:gd name="T15" fmla="*/ 467 h 508"/>
                  <a:gd name="T16" fmla="*/ 592 w 1883"/>
                  <a:gd name="T17" fmla="*/ 486 h 508"/>
                  <a:gd name="T18" fmla="*/ 733 w 1883"/>
                  <a:gd name="T19" fmla="*/ 500 h 508"/>
                  <a:gd name="T20" fmla="*/ 887 w 1883"/>
                  <a:gd name="T21" fmla="*/ 508 h 508"/>
                  <a:gd name="T22" fmla="*/ 996 w 1883"/>
                  <a:gd name="T23" fmla="*/ 508 h 508"/>
                  <a:gd name="T24" fmla="*/ 1150 w 1883"/>
                  <a:gd name="T25" fmla="*/ 500 h 508"/>
                  <a:gd name="T26" fmla="*/ 1291 w 1883"/>
                  <a:gd name="T27" fmla="*/ 486 h 508"/>
                  <a:gd name="T28" fmla="*/ 1419 w 1883"/>
                  <a:gd name="T29" fmla="*/ 467 h 508"/>
                  <a:gd name="T30" fmla="*/ 1532 w 1883"/>
                  <a:gd name="T31" fmla="*/ 442 h 508"/>
                  <a:gd name="T32" fmla="*/ 1632 w 1883"/>
                  <a:gd name="T33" fmla="*/ 414 h 508"/>
                  <a:gd name="T34" fmla="*/ 1715 w 1883"/>
                  <a:gd name="T35" fmla="*/ 384 h 508"/>
                  <a:gd name="T36" fmla="*/ 1782 w 1883"/>
                  <a:gd name="T37" fmla="*/ 352 h 508"/>
                  <a:gd name="T38" fmla="*/ 1834 w 1883"/>
                  <a:gd name="T39" fmla="*/ 321 h 508"/>
                  <a:gd name="T40" fmla="*/ 1866 w 1883"/>
                  <a:gd name="T41" fmla="*/ 290 h 508"/>
                  <a:gd name="T42" fmla="*/ 1882 w 1883"/>
                  <a:gd name="T43" fmla="*/ 263 h 508"/>
                  <a:gd name="T44" fmla="*/ 1882 w 1883"/>
                  <a:gd name="T45" fmla="*/ 245 h 508"/>
                  <a:gd name="T46" fmla="*/ 1866 w 1883"/>
                  <a:gd name="T47" fmla="*/ 217 h 508"/>
                  <a:gd name="T48" fmla="*/ 1834 w 1883"/>
                  <a:gd name="T49" fmla="*/ 187 h 508"/>
                  <a:gd name="T50" fmla="*/ 1782 w 1883"/>
                  <a:gd name="T51" fmla="*/ 155 h 508"/>
                  <a:gd name="T52" fmla="*/ 1715 w 1883"/>
                  <a:gd name="T53" fmla="*/ 124 h 508"/>
                  <a:gd name="T54" fmla="*/ 1632 w 1883"/>
                  <a:gd name="T55" fmla="*/ 93 h 508"/>
                  <a:gd name="T56" fmla="*/ 1532 w 1883"/>
                  <a:gd name="T57" fmla="*/ 64 h 508"/>
                  <a:gd name="T58" fmla="*/ 1419 w 1883"/>
                  <a:gd name="T59" fmla="*/ 40 h 508"/>
                  <a:gd name="T60" fmla="*/ 1291 w 1883"/>
                  <a:gd name="T61" fmla="*/ 20 h 508"/>
                  <a:gd name="T62" fmla="*/ 1150 w 1883"/>
                  <a:gd name="T63" fmla="*/ 6 h 508"/>
                  <a:gd name="T64" fmla="*/ 996 w 1883"/>
                  <a:gd name="T65" fmla="*/ 0 h 508"/>
                  <a:gd name="T66" fmla="*/ 887 w 1883"/>
                  <a:gd name="T67" fmla="*/ 0 h 508"/>
                  <a:gd name="T68" fmla="*/ 733 w 1883"/>
                  <a:gd name="T69" fmla="*/ 6 h 508"/>
                  <a:gd name="T70" fmla="*/ 592 w 1883"/>
                  <a:gd name="T71" fmla="*/ 20 h 508"/>
                  <a:gd name="T72" fmla="*/ 465 w 1883"/>
                  <a:gd name="T73" fmla="*/ 40 h 508"/>
                  <a:gd name="T74" fmla="*/ 351 w 1883"/>
                  <a:gd name="T75" fmla="*/ 64 h 508"/>
                  <a:gd name="T76" fmla="*/ 253 w 1883"/>
                  <a:gd name="T77" fmla="*/ 93 h 508"/>
                  <a:gd name="T78" fmla="*/ 169 w 1883"/>
                  <a:gd name="T79" fmla="*/ 124 h 508"/>
                  <a:gd name="T80" fmla="*/ 101 w 1883"/>
                  <a:gd name="T81" fmla="*/ 155 h 508"/>
                  <a:gd name="T82" fmla="*/ 51 w 1883"/>
                  <a:gd name="T83" fmla="*/ 187 h 508"/>
                  <a:gd name="T84" fmla="*/ 17 w 1883"/>
                  <a:gd name="T85" fmla="*/ 217 h 508"/>
                  <a:gd name="T86" fmla="*/ 2 w 1883"/>
                  <a:gd name="T87" fmla="*/ 245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3" h="508">
                    <a:moveTo>
                      <a:pt x="0" y="254"/>
                    </a:moveTo>
                    <a:lnTo>
                      <a:pt x="0" y="254"/>
                    </a:lnTo>
                    <a:lnTo>
                      <a:pt x="2" y="263"/>
                    </a:lnTo>
                    <a:lnTo>
                      <a:pt x="5" y="271"/>
                    </a:lnTo>
                    <a:lnTo>
                      <a:pt x="11" y="280"/>
                    </a:lnTo>
                    <a:lnTo>
                      <a:pt x="17" y="290"/>
                    </a:lnTo>
                    <a:lnTo>
                      <a:pt x="27" y="301"/>
                    </a:lnTo>
                    <a:lnTo>
                      <a:pt x="37" y="311"/>
                    </a:lnTo>
                    <a:lnTo>
                      <a:pt x="51" y="321"/>
                    </a:lnTo>
                    <a:lnTo>
                      <a:pt x="66" y="331"/>
                    </a:lnTo>
                    <a:lnTo>
                      <a:pt x="82" y="342"/>
                    </a:lnTo>
                    <a:lnTo>
                      <a:pt x="101" y="352"/>
                    </a:lnTo>
                    <a:lnTo>
                      <a:pt x="122" y="362"/>
                    </a:lnTo>
                    <a:lnTo>
                      <a:pt x="144" y="374"/>
                    </a:lnTo>
                    <a:lnTo>
                      <a:pt x="169" y="384"/>
                    </a:lnTo>
                    <a:lnTo>
                      <a:pt x="195" y="394"/>
                    </a:lnTo>
                    <a:lnTo>
                      <a:pt x="222" y="404"/>
                    </a:lnTo>
                    <a:lnTo>
                      <a:pt x="253" y="414"/>
                    </a:lnTo>
                    <a:lnTo>
                      <a:pt x="284" y="424"/>
                    </a:lnTo>
                    <a:lnTo>
                      <a:pt x="317" y="433"/>
                    </a:lnTo>
                    <a:lnTo>
                      <a:pt x="351" y="442"/>
                    </a:lnTo>
                    <a:lnTo>
                      <a:pt x="388" y="451"/>
                    </a:lnTo>
                    <a:lnTo>
                      <a:pt x="426" y="460"/>
                    </a:lnTo>
                    <a:lnTo>
                      <a:pt x="465" y="467"/>
                    </a:lnTo>
                    <a:lnTo>
                      <a:pt x="506" y="473"/>
                    </a:lnTo>
                    <a:lnTo>
                      <a:pt x="549" y="481"/>
                    </a:lnTo>
                    <a:lnTo>
                      <a:pt x="592" y="486"/>
                    </a:lnTo>
                    <a:lnTo>
                      <a:pt x="639" y="492"/>
                    </a:lnTo>
                    <a:lnTo>
                      <a:pt x="685" y="496"/>
                    </a:lnTo>
                    <a:lnTo>
                      <a:pt x="733" y="500"/>
                    </a:lnTo>
                    <a:lnTo>
                      <a:pt x="784" y="504"/>
                    </a:lnTo>
                    <a:lnTo>
                      <a:pt x="836" y="506"/>
                    </a:lnTo>
                    <a:lnTo>
                      <a:pt x="887" y="508"/>
                    </a:lnTo>
                    <a:lnTo>
                      <a:pt x="942" y="508"/>
                    </a:lnTo>
                    <a:lnTo>
                      <a:pt x="942" y="508"/>
                    </a:lnTo>
                    <a:lnTo>
                      <a:pt x="996" y="508"/>
                    </a:lnTo>
                    <a:lnTo>
                      <a:pt x="1049" y="506"/>
                    </a:lnTo>
                    <a:lnTo>
                      <a:pt x="1101" y="504"/>
                    </a:lnTo>
                    <a:lnTo>
                      <a:pt x="1150" y="500"/>
                    </a:lnTo>
                    <a:lnTo>
                      <a:pt x="1199" y="496"/>
                    </a:lnTo>
                    <a:lnTo>
                      <a:pt x="1246" y="492"/>
                    </a:lnTo>
                    <a:lnTo>
                      <a:pt x="1291" y="486"/>
                    </a:lnTo>
                    <a:lnTo>
                      <a:pt x="1335" y="481"/>
                    </a:lnTo>
                    <a:lnTo>
                      <a:pt x="1378" y="473"/>
                    </a:lnTo>
                    <a:lnTo>
                      <a:pt x="1419" y="467"/>
                    </a:lnTo>
                    <a:lnTo>
                      <a:pt x="1459" y="460"/>
                    </a:lnTo>
                    <a:lnTo>
                      <a:pt x="1497" y="451"/>
                    </a:lnTo>
                    <a:lnTo>
                      <a:pt x="1532" y="442"/>
                    </a:lnTo>
                    <a:lnTo>
                      <a:pt x="1567" y="433"/>
                    </a:lnTo>
                    <a:lnTo>
                      <a:pt x="1600" y="424"/>
                    </a:lnTo>
                    <a:lnTo>
                      <a:pt x="1632" y="414"/>
                    </a:lnTo>
                    <a:lnTo>
                      <a:pt x="1661" y="404"/>
                    </a:lnTo>
                    <a:lnTo>
                      <a:pt x="1689" y="394"/>
                    </a:lnTo>
                    <a:lnTo>
                      <a:pt x="1715" y="384"/>
                    </a:lnTo>
                    <a:lnTo>
                      <a:pt x="1739" y="374"/>
                    </a:lnTo>
                    <a:lnTo>
                      <a:pt x="1762" y="362"/>
                    </a:lnTo>
                    <a:lnTo>
                      <a:pt x="1782" y="352"/>
                    </a:lnTo>
                    <a:lnTo>
                      <a:pt x="1801" y="342"/>
                    </a:lnTo>
                    <a:lnTo>
                      <a:pt x="1818" y="331"/>
                    </a:lnTo>
                    <a:lnTo>
                      <a:pt x="1834" y="321"/>
                    </a:lnTo>
                    <a:lnTo>
                      <a:pt x="1846" y="311"/>
                    </a:lnTo>
                    <a:lnTo>
                      <a:pt x="1858" y="301"/>
                    </a:lnTo>
                    <a:lnTo>
                      <a:pt x="1866" y="290"/>
                    </a:lnTo>
                    <a:lnTo>
                      <a:pt x="1874" y="280"/>
                    </a:lnTo>
                    <a:lnTo>
                      <a:pt x="1879" y="271"/>
                    </a:lnTo>
                    <a:lnTo>
                      <a:pt x="1882" y="263"/>
                    </a:lnTo>
                    <a:lnTo>
                      <a:pt x="1883" y="254"/>
                    </a:lnTo>
                    <a:lnTo>
                      <a:pt x="1883" y="254"/>
                    </a:lnTo>
                    <a:lnTo>
                      <a:pt x="1882" y="245"/>
                    </a:lnTo>
                    <a:lnTo>
                      <a:pt x="1879" y="236"/>
                    </a:lnTo>
                    <a:lnTo>
                      <a:pt x="1874" y="226"/>
                    </a:lnTo>
                    <a:lnTo>
                      <a:pt x="1866" y="217"/>
                    </a:lnTo>
                    <a:lnTo>
                      <a:pt x="1858" y="207"/>
                    </a:lnTo>
                    <a:lnTo>
                      <a:pt x="1846" y="197"/>
                    </a:lnTo>
                    <a:lnTo>
                      <a:pt x="1834" y="187"/>
                    </a:lnTo>
                    <a:lnTo>
                      <a:pt x="1818" y="176"/>
                    </a:lnTo>
                    <a:lnTo>
                      <a:pt x="1801" y="165"/>
                    </a:lnTo>
                    <a:lnTo>
                      <a:pt x="1782" y="155"/>
                    </a:lnTo>
                    <a:lnTo>
                      <a:pt x="1762" y="144"/>
                    </a:lnTo>
                    <a:lnTo>
                      <a:pt x="1739" y="134"/>
                    </a:lnTo>
                    <a:lnTo>
                      <a:pt x="1715" y="124"/>
                    </a:lnTo>
                    <a:lnTo>
                      <a:pt x="1689" y="114"/>
                    </a:lnTo>
                    <a:lnTo>
                      <a:pt x="1661" y="102"/>
                    </a:lnTo>
                    <a:lnTo>
                      <a:pt x="1632" y="93"/>
                    </a:lnTo>
                    <a:lnTo>
                      <a:pt x="1600" y="83"/>
                    </a:lnTo>
                    <a:lnTo>
                      <a:pt x="1567" y="74"/>
                    </a:lnTo>
                    <a:lnTo>
                      <a:pt x="1532" y="64"/>
                    </a:lnTo>
                    <a:lnTo>
                      <a:pt x="1497" y="57"/>
                    </a:lnTo>
                    <a:lnTo>
                      <a:pt x="1459" y="48"/>
                    </a:lnTo>
                    <a:lnTo>
                      <a:pt x="1419" y="40"/>
                    </a:lnTo>
                    <a:lnTo>
                      <a:pt x="1378" y="33"/>
                    </a:lnTo>
                    <a:lnTo>
                      <a:pt x="1335" y="27"/>
                    </a:lnTo>
                    <a:lnTo>
                      <a:pt x="1291" y="20"/>
                    </a:lnTo>
                    <a:lnTo>
                      <a:pt x="1246" y="15"/>
                    </a:lnTo>
                    <a:lnTo>
                      <a:pt x="1199" y="10"/>
                    </a:lnTo>
                    <a:lnTo>
                      <a:pt x="1150" y="6"/>
                    </a:lnTo>
                    <a:lnTo>
                      <a:pt x="1101" y="4"/>
                    </a:lnTo>
                    <a:lnTo>
                      <a:pt x="1049" y="1"/>
                    </a:lnTo>
                    <a:lnTo>
                      <a:pt x="996" y="0"/>
                    </a:lnTo>
                    <a:lnTo>
                      <a:pt x="942" y="0"/>
                    </a:lnTo>
                    <a:lnTo>
                      <a:pt x="942" y="0"/>
                    </a:lnTo>
                    <a:lnTo>
                      <a:pt x="887" y="0"/>
                    </a:lnTo>
                    <a:lnTo>
                      <a:pt x="836" y="1"/>
                    </a:lnTo>
                    <a:lnTo>
                      <a:pt x="784" y="4"/>
                    </a:lnTo>
                    <a:lnTo>
                      <a:pt x="733" y="6"/>
                    </a:lnTo>
                    <a:lnTo>
                      <a:pt x="685" y="10"/>
                    </a:lnTo>
                    <a:lnTo>
                      <a:pt x="639" y="15"/>
                    </a:lnTo>
                    <a:lnTo>
                      <a:pt x="592" y="20"/>
                    </a:lnTo>
                    <a:lnTo>
                      <a:pt x="549" y="27"/>
                    </a:lnTo>
                    <a:lnTo>
                      <a:pt x="506" y="33"/>
                    </a:lnTo>
                    <a:lnTo>
                      <a:pt x="465" y="40"/>
                    </a:lnTo>
                    <a:lnTo>
                      <a:pt x="426" y="48"/>
                    </a:lnTo>
                    <a:lnTo>
                      <a:pt x="388" y="57"/>
                    </a:lnTo>
                    <a:lnTo>
                      <a:pt x="351" y="64"/>
                    </a:lnTo>
                    <a:lnTo>
                      <a:pt x="317" y="74"/>
                    </a:lnTo>
                    <a:lnTo>
                      <a:pt x="284" y="83"/>
                    </a:lnTo>
                    <a:lnTo>
                      <a:pt x="253" y="93"/>
                    </a:lnTo>
                    <a:lnTo>
                      <a:pt x="222" y="102"/>
                    </a:lnTo>
                    <a:lnTo>
                      <a:pt x="195" y="114"/>
                    </a:lnTo>
                    <a:lnTo>
                      <a:pt x="169" y="124"/>
                    </a:lnTo>
                    <a:lnTo>
                      <a:pt x="144" y="134"/>
                    </a:lnTo>
                    <a:lnTo>
                      <a:pt x="122" y="144"/>
                    </a:lnTo>
                    <a:lnTo>
                      <a:pt x="101" y="155"/>
                    </a:lnTo>
                    <a:lnTo>
                      <a:pt x="82" y="165"/>
                    </a:lnTo>
                    <a:lnTo>
                      <a:pt x="66" y="176"/>
                    </a:lnTo>
                    <a:lnTo>
                      <a:pt x="51" y="187"/>
                    </a:lnTo>
                    <a:lnTo>
                      <a:pt x="37" y="197"/>
                    </a:lnTo>
                    <a:lnTo>
                      <a:pt x="27" y="207"/>
                    </a:lnTo>
                    <a:lnTo>
                      <a:pt x="17" y="217"/>
                    </a:lnTo>
                    <a:lnTo>
                      <a:pt x="11" y="226"/>
                    </a:lnTo>
                    <a:lnTo>
                      <a:pt x="5" y="236"/>
                    </a:lnTo>
                    <a:lnTo>
                      <a:pt x="2" y="245"/>
                    </a:lnTo>
                    <a:lnTo>
                      <a:pt x="0" y="254"/>
                    </a:lnTo>
                    <a:lnTo>
                      <a:pt x="0" y="25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defRPr/>
                </a:pPr>
                <a:endParaRPr lang="en-US" sz="1799" kern="0">
                  <a:solidFill>
                    <a:sysClr val="windowText" lastClr="000000"/>
                  </a:solidFill>
                </a:endParaRPr>
              </a:p>
            </p:txBody>
          </p:sp>
          <p:sp>
            <p:nvSpPr>
              <p:cNvPr id="109" name="Freeform 17"/>
              <p:cNvSpPr>
                <a:spLocks/>
              </p:cNvSpPr>
              <p:nvPr/>
            </p:nvSpPr>
            <p:spPr bwMode="auto">
              <a:xfrm>
                <a:off x="3473450" y="4781550"/>
                <a:ext cx="1741488" cy="1411287"/>
              </a:xfrm>
              <a:custGeom>
                <a:avLst/>
                <a:gdLst>
                  <a:gd name="T0" fmla="*/ 280 w 2194"/>
                  <a:gd name="T1" fmla="*/ 1778 h 1779"/>
                  <a:gd name="T2" fmla="*/ 363 w 2194"/>
                  <a:gd name="T3" fmla="*/ 1764 h 1779"/>
                  <a:gd name="T4" fmla="*/ 440 w 2194"/>
                  <a:gd name="T5" fmla="*/ 1736 h 1779"/>
                  <a:gd name="T6" fmla="*/ 511 w 2194"/>
                  <a:gd name="T7" fmla="*/ 1693 h 1779"/>
                  <a:gd name="T8" fmla="*/ 573 w 2194"/>
                  <a:gd name="T9" fmla="*/ 1637 h 1779"/>
                  <a:gd name="T10" fmla="*/ 625 w 2194"/>
                  <a:gd name="T11" fmla="*/ 1569 h 1779"/>
                  <a:gd name="T12" fmla="*/ 633 w 2194"/>
                  <a:gd name="T13" fmla="*/ 1558 h 1779"/>
                  <a:gd name="T14" fmla="*/ 652 w 2194"/>
                  <a:gd name="T15" fmla="*/ 1547 h 1779"/>
                  <a:gd name="T16" fmla="*/ 675 w 2194"/>
                  <a:gd name="T17" fmla="*/ 1543 h 1779"/>
                  <a:gd name="T18" fmla="*/ 696 w 2194"/>
                  <a:gd name="T19" fmla="*/ 1547 h 1779"/>
                  <a:gd name="T20" fmla="*/ 715 w 2194"/>
                  <a:gd name="T21" fmla="*/ 1558 h 1779"/>
                  <a:gd name="T22" fmla="*/ 725 w 2194"/>
                  <a:gd name="T23" fmla="*/ 1569 h 1779"/>
                  <a:gd name="T24" fmla="*/ 776 w 2194"/>
                  <a:gd name="T25" fmla="*/ 1637 h 1779"/>
                  <a:gd name="T26" fmla="*/ 838 w 2194"/>
                  <a:gd name="T27" fmla="*/ 1693 h 1779"/>
                  <a:gd name="T28" fmla="*/ 908 w 2194"/>
                  <a:gd name="T29" fmla="*/ 1736 h 1779"/>
                  <a:gd name="T30" fmla="*/ 985 w 2194"/>
                  <a:gd name="T31" fmla="*/ 1764 h 1779"/>
                  <a:gd name="T32" fmla="*/ 1069 w 2194"/>
                  <a:gd name="T33" fmla="*/ 1778 h 1779"/>
                  <a:gd name="T34" fmla="*/ 1125 w 2194"/>
                  <a:gd name="T35" fmla="*/ 1778 h 1779"/>
                  <a:gd name="T36" fmla="*/ 1209 w 2194"/>
                  <a:gd name="T37" fmla="*/ 1764 h 1779"/>
                  <a:gd name="T38" fmla="*/ 1286 w 2194"/>
                  <a:gd name="T39" fmla="*/ 1736 h 1779"/>
                  <a:gd name="T40" fmla="*/ 1356 w 2194"/>
                  <a:gd name="T41" fmla="*/ 1693 h 1779"/>
                  <a:gd name="T42" fmla="*/ 1418 w 2194"/>
                  <a:gd name="T43" fmla="*/ 1637 h 1779"/>
                  <a:gd name="T44" fmla="*/ 1470 w 2194"/>
                  <a:gd name="T45" fmla="*/ 1569 h 1779"/>
                  <a:gd name="T46" fmla="*/ 1479 w 2194"/>
                  <a:gd name="T47" fmla="*/ 1558 h 1779"/>
                  <a:gd name="T48" fmla="*/ 1498 w 2194"/>
                  <a:gd name="T49" fmla="*/ 1547 h 1779"/>
                  <a:gd name="T50" fmla="*/ 1519 w 2194"/>
                  <a:gd name="T51" fmla="*/ 1543 h 1779"/>
                  <a:gd name="T52" fmla="*/ 1542 w 2194"/>
                  <a:gd name="T53" fmla="*/ 1547 h 1779"/>
                  <a:gd name="T54" fmla="*/ 1561 w 2194"/>
                  <a:gd name="T55" fmla="*/ 1558 h 1779"/>
                  <a:gd name="T56" fmla="*/ 1569 w 2194"/>
                  <a:gd name="T57" fmla="*/ 1569 h 1779"/>
                  <a:gd name="T58" fmla="*/ 1621 w 2194"/>
                  <a:gd name="T59" fmla="*/ 1637 h 1779"/>
                  <a:gd name="T60" fmla="*/ 1683 w 2194"/>
                  <a:gd name="T61" fmla="*/ 1693 h 1779"/>
                  <a:gd name="T62" fmla="*/ 1754 w 2194"/>
                  <a:gd name="T63" fmla="*/ 1736 h 1779"/>
                  <a:gd name="T64" fmla="*/ 1831 w 2194"/>
                  <a:gd name="T65" fmla="*/ 1764 h 1779"/>
                  <a:gd name="T66" fmla="*/ 1914 w 2194"/>
                  <a:gd name="T67" fmla="*/ 1778 h 1779"/>
                  <a:gd name="T68" fmla="*/ 1977 w 2194"/>
                  <a:gd name="T69" fmla="*/ 1778 h 1779"/>
                  <a:gd name="T70" fmla="*/ 2077 w 2194"/>
                  <a:gd name="T71" fmla="*/ 1757 h 1779"/>
                  <a:gd name="T72" fmla="*/ 2166 w 2194"/>
                  <a:gd name="T73" fmla="*/ 1716 h 1779"/>
                  <a:gd name="T74" fmla="*/ 2194 w 2194"/>
                  <a:gd name="T75" fmla="*/ 0 h 1779"/>
                  <a:gd name="T76" fmla="*/ 2190 w 2194"/>
                  <a:gd name="T77" fmla="*/ 39 h 1779"/>
                  <a:gd name="T78" fmla="*/ 2179 w 2194"/>
                  <a:gd name="T79" fmla="*/ 77 h 1779"/>
                  <a:gd name="T80" fmla="*/ 2154 w 2194"/>
                  <a:gd name="T81" fmla="*/ 125 h 1779"/>
                  <a:gd name="T82" fmla="*/ 2097 w 2194"/>
                  <a:gd name="T83" fmla="*/ 189 h 1779"/>
                  <a:gd name="T84" fmla="*/ 2016 w 2194"/>
                  <a:gd name="T85" fmla="*/ 247 h 1779"/>
                  <a:gd name="T86" fmla="*/ 1916 w 2194"/>
                  <a:gd name="T87" fmla="*/ 297 h 1779"/>
                  <a:gd name="T88" fmla="*/ 1800 w 2194"/>
                  <a:gd name="T89" fmla="*/ 339 h 1779"/>
                  <a:gd name="T90" fmla="*/ 1670 w 2194"/>
                  <a:gd name="T91" fmla="*/ 375 h 1779"/>
                  <a:gd name="T92" fmla="*/ 1529 w 2194"/>
                  <a:gd name="T93" fmla="*/ 401 h 1779"/>
                  <a:gd name="T94" fmla="*/ 1380 w 2194"/>
                  <a:gd name="T95" fmla="*/ 422 h 1779"/>
                  <a:gd name="T96" fmla="*/ 1226 w 2194"/>
                  <a:gd name="T97" fmla="*/ 433 h 1779"/>
                  <a:gd name="T98" fmla="*/ 1069 w 2194"/>
                  <a:gd name="T99" fmla="*/ 437 h 1779"/>
                  <a:gd name="T100" fmla="*/ 900 w 2194"/>
                  <a:gd name="T101" fmla="*/ 433 h 1779"/>
                  <a:gd name="T102" fmla="*/ 651 w 2194"/>
                  <a:gd name="T103" fmla="*/ 409 h 1779"/>
                  <a:gd name="T104" fmla="*/ 423 w 2194"/>
                  <a:gd name="T105" fmla="*/ 363 h 1779"/>
                  <a:gd name="T106" fmla="*/ 320 w 2194"/>
                  <a:gd name="T107" fmla="*/ 334 h 1779"/>
                  <a:gd name="T108" fmla="*/ 226 w 2194"/>
                  <a:gd name="T109" fmla="*/ 299 h 1779"/>
                  <a:gd name="T110" fmla="*/ 144 w 2194"/>
                  <a:gd name="T111" fmla="*/ 259 h 1779"/>
                  <a:gd name="T112" fmla="*/ 73 w 2194"/>
                  <a:gd name="T113" fmla="*/ 214 h 1779"/>
                  <a:gd name="T114" fmla="*/ 16 w 2194"/>
                  <a:gd name="T115" fmla="*/ 165 h 1779"/>
                  <a:gd name="T116" fmla="*/ 0 w 2194"/>
                  <a:gd name="T117" fmla="*/ 1698 h 1779"/>
                  <a:gd name="T118" fmla="*/ 87 w 2194"/>
                  <a:gd name="T119" fmla="*/ 1746 h 1779"/>
                  <a:gd name="T120" fmla="*/ 183 w 2194"/>
                  <a:gd name="T121" fmla="*/ 1773 h 1779"/>
                  <a:gd name="T122" fmla="*/ 252 w 2194"/>
                  <a:gd name="T123" fmla="*/ 1779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94" h="1779">
                    <a:moveTo>
                      <a:pt x="252" y="1779"/>
                    </a:moveTo>
                    <a:lnTo>
                      <a:pt x="252" y="1779"/>
                    </a:lnTo>
                    <a:lnTo>
                      <a:pt x="280" y="1778"/>
                    </a:lnTo>
                    <a:lnTo>
                      <a:pt x="308" y="1775"/>
                    </a:lnTo>
                    <a:lnTo>
                      <a:pt x="336" y="1770"/>
                    </a:lnTo>
                    <a:lnTo>
                      <a:pt x="363" y="1764"/>
                    </a:lnTo>
                    <a:lnTo>
                      <a:pt x="390" y="1756"/>
                    </a:lnTo>
                    <a:lnTo>
                      <a:pt x="415" y="1747"/>
                    </a:lnTo>
                    <a:lnTo>
                      <a:pt x="440" y="1736"/>
                    </a:lnTo>
                    <a:lnTo>
                      <a:pt x="466" y="1723"/>
                    </a:lnTo>
                    <a:lnTo>
                      <a:pt x="488" y="1709"/>
                    </a:lnTo>
                    <a:lnTo>
                      <a:pt x="511" y="1693"/>
                    </a:lnTo>
                    <a:lnTo>
                      <a:pt x="532" y="1675"/>
                    </a:lnTo>
                    <a:lnTo>
                      <a:pt x="554" y="1658"/>
                    </a:lnTo>
                    <a:lnTo>
                      <a:pt x="573" y="1637"/>
                    </a:lnTo>
                    <a:lnTo>
                      <a:pt x="592" y="1616"/>
                    </a:lnTo>
                    <a:lnTo>
                      <a:pt x="608" y="1593"/>
                    </a:lnTo>
                    <a:lnTo>
                      <a:pt x="625" y="1569"/>
                    </a:lnTo>
                    <a:lnTo>
                      <a:pt x="625" y="1569"/>
                    </a:lnTo>
                    <a:lnTo>
                      <a:pt x="628" y="1563"/>
                    </a:lnTo>
                    <a:lnTo>
                      <a:pt x="633" y="1558"/>
                    </a:lnTo>
                    <a:lnTo>
                      <a:pt x="640" y="1554"/>
                    </a:lnTo>
                    <a:lnTo>
                      <a:pt x="646" y="1550"/>
                    </a:lnTo>
                    <a:lnTo>
                      <a:pt x="652" y="1547"/>
                    </a:lnTo>
                    <a:lnTo>
                      <a:pt x="660" y="1545"/>
                    </a:lnTo>
                    <a:lnTo>
                      <a:pt x="667" y="1544"/>
                    </a:lnTo>
                    <a:lnTo>
                      <a:pt x="675" y="1543"/>
                    </a:lnTo>
                    <a:lnTo>
                      <a:pt x="681" y="1544"/>
                    </a:lnTo>
                    <a:lnTo>
                      <a:pt x="689" y="1545"/>
                    </a:lnTo>
                    <a:lnTo>
                      <a:pt x="696" y="1547"/>
                    </a:lnTo>
                    <a:lnTo>
                      <a:pt x="703" y="1550"/>
                    </a:lnTo>
                    <a:lnTo>
                      <a:pt x="709" y="1554"/>
                    </a:lnTo>
                    <a:lnTo>
                      <a:pt x="715" y="1558"/>
                    </a:lnTo>
                    <a:lnTo>
                      <a:pt x="720" y="1563"/>
                    </a:lnTo>
                    <a:lnTo>
                      <a:pt x="725" y="1569"/>
                    </a:lnTo>
                    <a:lnTo>
                      <a:pt x="725" y="1569"/>
                    </a:lnTo>
                    <a:lnTo>
                      <a:pt x="741" y="1593"/>
                    </a:lnTo>
                    <a:lnTo>
                      <a:pt x="758" y="1616"/>
                    </a:lnTo>
                    <a:lnTo>
                      <a:pt x="776" y="1637"/>
                    </a:lnTo>
                    <a:lnTo>
                      <a:pt x="796" y="1658"/>
                    </a:lnTo>
                    <a:lnTo>
                      <a:pt x="816" y="1675"/>
                    </a:lnTo>
                    <a:lnTo>
                      <a:pt x="838" y="1693"/>
                    </a:lnTo>
                    <a:lnTo>
                      <a:pt x="860" y="1709"/>
                    </a:lnTo>
                    <a:lnTo>
                      <a:pt x="884" y="1723"/>
                    </a:lnTo>
                    <a:lnTo>
                      <a:pt x="908" y="1736"/>
                    </a:lnTo>
                    <a:lnTo>
                      <a:pt x="934" y="1747"/>
                    </a:lnTo>
                    <a:lnTo>
                      <a:pt x="959" y="1756"/>
                    </a:lnTo>
                    <a:lnTo>
                      <a:pt x="985" y="1764"/>
                    </a:lnTo>
                    <a:lnTo>
                      <a:pt x="1013" y="1770"/>
                    </a:lnTo>
                    <a:lnTo>
                      <a:pt x="1041" y="1775"/>
                    </a:lnTo>
                    <a:lnTo>
                      <a:pt x="1069" y="1778"/>
                    </a:lnTo>
                    <a:lnTo>
                      <a:pt x="1098" y="1779"/>
                    </a:lnTo>
                    <a:lnTo>
                      <a:pt x="1098" y="1779"/>
                    </a:lnTo>
                    <a:lnTo>
                      <a:pt x="1125" y="1778"/>
                    </a:lnTo>
                    <a:lnTo>
                      <a:pt x="1153" y="1775"/>
                    </a:lnTo>
                    <a:lnTo>
                      <a:pt x="1181" y="1770"/>
                    </a:lnTo>
                    <a:lnTo>
                      <a:pt x="1209" y="1764"/>
                    </a:lnTo>
                    <a:lnTo>
                      <a:pt x="1235" y="1756"/>
                    </a:lnTo>
                    <a:lnTo>
                      <a:pt x="1260" y="1747"/>
                    </a:lnTo>
                    <a:lnTo>
                      <a:pt x="1286" y="1736"/>
                    </a:lnTo>
                    <a:lnTo>
                      <a:pt x="1310" y="1723"/>
                    </a:lnTo>
                    <a:lnTo>
                      <a:pt x="1334" y="1709"/>
                    </a:lnTo>
                    <a:lnTo>
                      <a:pt x="1356" y="1693"/>
                    </a:lnTo>
                    <a:lnTo>
                      <a:pt x="1378" y="1675"/>
                    </a:lnTo>
                    <a:lnTo>
                      <a:pt x="1399" y="1658"/>
                    </a:lnTo>
                    <a:lnTo>
                      <a:pt x="1418" y="1637"/>
                    </a:lnTo>
                    <a:lnTo>
                      <a:pt x="1436" y="1616"/>
                    </a:lnTo>
                    <a:lnTo>
                      <a:pt x="1453" y="1593"/>
                    </a:lnTo>
                    <a:lnTo>
                      <a:pt x="1470" y="1569"/>
                    </a:lnTo>
                    <a:lnTo>
                      <a:pt x="1470" y="1569"/>
                    </a:lnTo>
                    <a:lnTo>
                      <a:pt x="1474" y="1563"/>
                    </a:lnTo>
                    <a:lnTo>
                      <a:pt x="1479" y="1558"/>
                    </a:lnTo>
                    <a:lnTo>
                      <a:pt x="1485" y="1554"/>
                    </a:lnTo>
                    <a:lnTo>
                      <a:pt x="1491" y="1550"/>
                    </a:lnTo>
                    <a:lnTo>
                      <a:pt x="1498" y="1547"/>
                    </a:lnTo>
                    <a:lnTo>
                      <a:pt x="1505" y="1545"/>
                    </a:lnTo>
                    <a:lnTo>
                      <a:pt x="1513" y="1544"/>
                    </a:lnTo>
                    <a:lnTo>
                      <a:pt x="1519" y="1543"/>
                    </a:lnTo>
                    <a:lnTo>
                      <a:pt x="1527" y="1544"/>
                    </a:lnTo>
                    <a:lnTo>
                      <a:pt x="1534" y="1545"/>
                    </a:lnTo>
                    <a:lnTo>
                      <a:pt x="1542" y="1547"/>
                    </a:lnTo>
                    <a:lnTo>
                      <a:pt x="1548" y="1550"/>
                    </a:lnTo>
                    <a:lnTo>
                      <a:pt x="1554" y="1554"/>
                    </a:lnTo>
                    <a:lnTo>
                      <a:pt x="1561" y="1558"/>
                    </a:lnTo>
                    <a:lnTo>
                      <a:pt x="1566" y="1563"/>
                    </a:lnTo>
                    <a:lnTo>
                      <a:pt x="1569" y="1569"/>
                    </a:lnTo>
                    <a:lnTo>
                      <a:pt x="1569" y="1569"/>
                    </a:lnTo>
                    <a:lnTo>
                      <a:pt x="1586" y="1593"/>
                    </a:lnTo>
                    <a:lnTo>
                      <a:pt x="1602" y="1616"/>
                    </a:lnTo>
                    <a:lnTo>
                      <a:pt x="1621" y="1637"/>
                    </a:lnTo>
                    <a:lnTo>
                      <a:pt x="1640" y="1658"/>
                    </a:lnTo>
                    <a:lnTo>
                      <a:pt x="1662" y="1675"/>
                    </a:lnTo>
                    <a:lnTo>
                      <a:pt x="1683" y="1693"/>
                    </a:lnTo>
                    <a:lnTo>
                      <a:pt x="1706" y="1709"/>
                    </a:lnTo>
                    <a:lnTo>
                      <a:pt x="1728" y="1723"/>
                    </a:lnTo>
                    <a:lnTo>
                      <a:pt x="1754" y="1736"/>
                    </a:lnTo>
                    <a:lnTo>
                      <a:pt x="1779" y="1747"/>
                    </a:lnTo>
                    <a:lnTo>
                      <a:pt x="1804" y="1756"/>
                    </a:lnTo>
                    <a:lnTo>
                      <a:pt x="1831" y="1764"/>
                    </a:lnTo>
                    <a:lnTo>
                      <a:pt x="1858" y="1770"/>
                    </a:lnTo>
                    <a:lnTo>
                      <a:pt x="1886" y="1775"/>
                    </a:lnTo>
                    <a:lnTo>
                      <a:pt x="1914" y="1778"/>
                    </a:lnTo>
                    <a:lnTo>
                      <a:pt x="1942" y="1779"/>
                    </a:lnTo>
                    <a:lnTo>
                      <a:pt x="1942" y="1779"/>
                    </a:lnTo>
                    <a:lnTo>
                      <a:pt x="1977" y="1778"/>
                    </a:lnTo>
                    <a:lnTo>
                      <a:pt x="2011" y="1773"/>
                    </a:lnTo>
                    <a:lnTo>
                      <a:pt x="2044" y="1766"/>
                    </a:lnTo>
                    <a:lnTo>
                      <a:pt x="2077" y="1757"/>
                    </a:lnTo>
                    <a:lnTo>
                      <a:pt x="2107" y="1746"/>
                    </a:lnTo>
                    <a:lnTo>
                      <a:pt x="2137" y="1732"/>
                    </a:lnTo>
                    <a:lnTo>
                      <a:pt x="2166" y="1716"/>
                    </a:lnTo>
                    <a:lnTo>
                      <a:pt x="2194" y="1698"/>
                    </a:lnTo>
                    <a:lnTo>
                      <a:pt x="2194" y="0"/>
                    </a:lnTo>
                    <a:lnTo>
                      <a:pt x="2194" y="0"/>
                    </a:lnTo>
                    <a:lnTo>
                      <a:pt x="2193" y="12"/>
                    </a:lnTo>
                    <a:lnTo>
                      <a:pt x="2191" y="26"/>
                    </a:lnTo>
                    <a:lnTo>
                      <a:pt x="2190" y="39"/>
                    </a:lnTo>
                    <a:lnTo>
                      <a:pt x="2186" y="52"/>
                    </a:lnTo>
                    <a:lnTo>
                      <a:pt x="2184" y="64"/>
                    </a:lnTo>
                    <a:lnTo>
                      <a:pt x="2179" y="77"/>
                    </a:lnTo>
                    <a:lnTo>
                      <a:pt x="2174" y="89"/>
                    </a:lnTo>
                    <a:lnTo>
                      <a:pt x="2168" y="101"/>
                    </a:lnTo>
                    <a:lnTo>
                      <a:pt x="2154" y="125"/>
                    </a:lnTo>
                    <a:lnTo>
                      <a:pt x="2137" y="146"/>
                    </a:lnTo>
                    <a:lnTo>
                      <a:pt x="2118" y="169"/>
                    </a:lnTo>
                    <a:lnTo>
                      <a:pt x="2097" y="189"/>
                    </a:lnTo>
                    <a:lnTo>
                      <a:pt x="2072" y="209"/>
                    </a:lnTo>
                    <a:lnTo>
                      <a:pt x="2045" y="228"/>
                    </a:lnTo>
                    <a:lnTo>
                      <a:pt x="2016" y="247"/>
                    </a:lnTo>
                    <a:lnTo>
                      <a:pt x="1985" y="265"/>
                    </a:lnTo>
                    <a:lnTo>
                      <a:pt x="1952" y="281"/>
                    </a:lnTo>
                    <a:lnTo>
                      <a:pt x="1916" y="297"/>
                    </a:lnTo>
                    <a:lnTo>
                      <a:pt x="1880" y="312"/>
                    </a:lnTo>
                    <a:lnTo>
                      <a:pt x="1841" y="327"/>
                    </a:lnTo>
                    <a:lnTo>
                      <a:pt x="1800" y="339"/>
                    </a:lnTo>
                    <a:lnTo>
                      <a:pt x="1759" y="352"/>
                    </a:lnTo>
                    <a:lnTo>
                      <a:pt x="1715" y="363"/>
                    </a:lnTo>
                    <a:lnTo>
                      <a:pt x="1670" y="375"/>
                    </a:lnTo>
                    <a:lnTo>
                      <a:pt x="1625" y="385"/>
                    </a:lnTo>
                    <a:lnTo>
                      <a:pt x="1577" y="394"/>
                    </a:lnTo>
                    <a:lnTo>
                      <a:pt x="1529" y="401"/>
                    </a:lnTo>
                    <a:lnTo>
                      <a:pt x="1480" y="409"/>
                    </a:lnTo>
                    <a:lnTo>
                      <a:pt x="1431" y="415"/>
                    </a:lnTo>
                    <a:lnTo>
                      <a:pt x="1380" y="422"/>
                    </a:lnTo>
                    <a:lnTo>
                      <a:pt x="1330" y="427"/>
                    </a:lnTo>
                    <a:lnTo>
                      <a:pt x="1278" y="430"/>
                    </a:lnTo>
                    <a:lnTo>
                      <a:pt x="1226" y="433"/>
                    </a:lnTo>
                    <a:lnTo>
                      <a:pt x="1173" y="435"/>
                    </a:lnTo>
                    <a:lnTo>
                      <a:pt x="1122" y="437"/>
                    </a:lnTo>
                    <a:lnTo>
                      <a:pt x="1069" y="437"/>
                    </a:lnTo>
                    <a:lnTo>
                      <a:pt x="1069" y="437"/>
                    </a:lnTo>
                    <a:lnTo>
                      <a:pt x="984" y="437"/>
                    </a:lnTo>
                    <a:lnTo>
                      <a:pt x="900" y="433"/>
                    </a:lnTo>
                    <a:lnTo>
                      <a:pt x="815" y="427"/>
                    </a:lnTo>
                    <a:lnTo>
                      <a:pt x="733" y="419"/>
                    </a:lnTo>
                    <a:lnTo>
                      <a:pt x="651" y="409"/>
                    </a:lnTo>
                    <a:lnTo>
                      <a:pt x="573" y="396"/>
                    </a:lnTo>
                    <a:lnTo>
                      <a:pt x="496" y="381"/>
                    </a:lnTo>
                    <a:lnTo>
                      <a:pt x="423" y="363"/>
                    </a:lnTo>
                    <a:lnTo>
                      <a:pt x="387" y="355"/>
                    </a:lnTo>
                    <a:lnTo>
                      <a:pt x="353" y="344"/>
                    </a:lnTo>
                    <a:lnTo>
                      <a:pt x="320" y="334"/>
                    </a:lnTo>
                    <a:lnTo>
                      <a:pt x="288" y="323"/>
                    </a:lnTo>
                    <a:lnTo>
                      <a:pt x="256" y="312"/>
                    </a:lnTo>
                    <a:lnTo>
                      <a:pt x="226" y="299"/>
                    </a:lnTo>
                    <a:lnTo>
                      <a:pt x="197" y="286"/>
                    </a:lnTo>
                    <a:lnTo>
                      <a:pt x="169" y="273"/>
                    </a:lnTo>
                    <a:lnTo>
                      <a:pt x="144" y="259"/>
                    </a:lnTo>
                    <a:lnTo>
                      <a:pt x="119" y="245"/>
                    </a:lnTo>
                    <a:lnTo>
                      <a:pt x="95" y="230"/>
                    </a:lnTo>
                    <a:lnTo>
                      <a:pt x="73" y="214"/>
                    </a:lnTo>
                    <a:lnTo>
                      <a:pt x="52" y="198"/>
                    </a:lnTo>
                    <a:lnTo>
                      <a:pt x="33" y="182"/>
                    </a:lnTo>
                    <a:lnTo>
                      <a:pt x="16" y="165"/>
                    </a:lnTo>
                    <a:lnTo>
                      <a:pt x="0" y="148"/>
                    </a:lnTo>
                    <a:lnTo>
                      <a:pt x="0" y="1698"/>
                    </a:lnTo>
                    <a:lnTo>
                      <a:pt x="0" y="1698"/>
                    </a:lnTo>
                    <a:lnTo>
                      <a:pt x="28" y="1716"/>
                    </a:lnTo>
                    <a:lnTo>
                      <a:pt x="57" y="1732"/>
                    </a:lnTo>
                    <a:lnTo>
                      <a:pt x="87" y="1746"/>
                    </a:lnTo>
                    <a:lnTo>
                      <a:pt x="117" y="1757"/>
                    </a:lnTo>
                    <a:lnTo>
                      <a:pt x="150" y="1766"/>
                    </a:lnTo>
                    <a:lnTo>
                      <a:pt x="183" y="1773"/>
                    </a:lnTo>
                    <a:lnTo>
                      <a:pt x="217" y="1778"/>
                    </a:lnTo>
                    <a:lnTo>
                      <a:pt x="252" y="1779"/>
                    </a:lnTo>
                    <a:lnTo>
                      <a:pt x="252" y="177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defRPr/>
                </a:pPr>
                <a:endParaRPr lang="en-US" sz="1799" kern="0">
                  <a:solidFill>
                    <a:sysClr val="windowText" lastClr="000000"/>
                  </a:solidFill>
                </a:endParaRPr>
              </a:p>
            </p:txBody>
          </p:sp>
          <p:sp>
            <p:nvSpPr>
              <p:cNvPr id="110" name="Freeform 18"/>
              <p:cNvSpPr>
                <a:spLocks/>
              </p:cNvSpPr>
              <p:nvPr/>
            </p:nvSpPr>
            <p:spPr bwMode="auto">
              <a:xfrm>
                <a:off x="3473450" y="6130925"/>
                <a:ext cx="1741488" cy="727075"/>
              </a:xfrm>
              <a:custGeom>
                <a:avLst/>
                <a:gdLst>
                  <a:gd name="T0" fmla="*/ 1911 w 2194"/>
                  <a:gd name="T1" fmla="*/ 195 h 915"/>
                  <a:gd name="T2" fmla="*/ 1821 w 2194"/>
                  <a:gd name="T3" fmla="*/ 183 h 915"/>
                  <a:gd name="T4" fmla="*/ 1736 w 2194"/>
                  <a:gd name="T5" fmla="*/ 156 h 915"/>
                  <a:gd name="T6" fmla="*/ 1655 w 2194"/>
                  <a:gd name="T7" fmla="*/ 117 h 915"/>
                  <a:gd name="T8" fmla="*/ 1583 w 2194"/>
                  <a:gd name="T9" fmla="*/ 64 h 915"/>
                  <a:gd name="T10" fmla="*/ 1519 w 2194"/>
                  <a:gd name="T11" fmla="*/ 0 h 915"/>
                  <a:gd name="T12" fmla="*/ 1479 w 2194"/>
                  <a:gd name="T13" fmla="*/ 44 h 915"/>
                  <a:gd name="T14" fmla="*/ 1408 w 2194"/>
                  <a:gd name="T15" fmla="*/ 101 h 915"/>
                  <a:gd name="T16" fmla="*/ 1331 w 2194"/>
                  <a:gd name="T17" fmla="*/ 145 h 915"/>
                  <a:gd name="T18" fmla="*/ 1247 w 2194"/>
                  <a:gd name="T19" fmla="*/ 175 h 915"/>
                  <a:gd name="T20" fmla="*/ 1158 w 2194"/>
                  <a:gd name="T21" fmla="*/ 193 h 915"/>
                  <a:gd name="T22" fmla="*/ 1098 w 2194"/>
                  <a:gd name="T23" fmla="*/ 195 h 915"/>
                  <a:gd name="T24" fmla="*/ 1006 w 2194"/>
                  <a:gd name="T25" fmla="*/ 188 h 915"/>
                  <a:gd name="T26" fmla="*/ 918 w 2194"/>
                  <a:gd name="T27" fmla="*/ 166 h 915"/>
                  <a:gd name="T28" fmla="*/ 836 w 2194"/>
                  <a:gd name="T29" fmla="*/ 131 h 915"/>
                  <a:gd name="T30" fmla="*/ 762 w 2194"/>
                  <a:gd name="T31" fmla="*/ 83 h 915"/>
                  <a:gd name="T32" fmla="*/ 695 w 2194"/>
                  <a:gd name="T33" fmla="*/ 22 h 915"/>
                  <a:gd name="T34" fmla="*/ 655 w 2194"/>
                  <a:gd name="T35" fmla="*/ 22 h 915"/>
                  <a:gd name="T36" fmla="*/ 588 w 2194"/>
                  <a:gd name="T37" fmla="*/ 83 h 915"/>
                  <a:gd name="T38" fmla="*/ 512 w 2194"/>
                  <a:gd name="T39" fmla="*/ 131 h 915"/>
                  <a:gd name="T40" fmla="*/ 430 w 2194"/>
                  <a:gd name="T41" fmla="*/ 166 h 915"/>
                  <a:gd name="T42" fmla="*/ 343 w 2194"/>
                  <a:gd name="T43" fmla="*/ 188 h 915"/>
                  <a:gd name="T44" fmla="*/ 252 w 2194"/>
                  <a:gd name="T45" fmla="*/ 195 h 915"/>
                  <a:gd name="T46" fmla="*/ 185 w 2194"/>
                  <a:gd name="T47" fmla="*/ 192 h 915"/>
                  <a:gd name="T48" fmla="*/ 90 w 2194"/>
                  <a:gd name="T49" fmla="*/ 171 h 915"/>
                  <a:gd name="T50" fmla="*/ 0 w 2194"/>
                  <a:gd name="T51" fmla="*/ 135 h 915"/>
                  <a:gd name="T52" fmla="*/ 15 w 2194"/>
                  <a:gd name="T53" fmla="*/ 703 h 915"/>
                  <a:gd name="T54" fmla="*/ 69 w 2194"/>
                  <a:gd name="T55" fmla="*/ 737 h 915"/>
                  <a:gd name="T56" fmla="*/ 136 w 2194"/>
                  <a:gd name="T57" fmla="*/ 770 h 915"/>
                  <a:gd name="T58" fmla="*/ 274 w 2194"/>
                  <a:gd name="T59" fmla="*/ 819 h 915"/>
                  <a:gd name="T60" fmla="*/ 477 w 2194"/>
                  <a:gd name="T61" fmla="*/ 866 h 915"/>
                  <a:gd name="T62" fmla="*/ 713 w 2194"/>
                  <a:gd name="T63" fmla="*/ 899 h 915"/>
                  <a:gd name="T64" fmla="*/ 975 w 2194"/>
                  <a:gd name="T65" fmla="*/ 914 h 915"/>
                  <a:gd name="T66" fmla="*/ 1125 w 2194"/>
                  <a:gd name="T67" fmla="*/ 915 h 915"/>
                  <a:gd name="T68" fmla="*/ 1294 w 2194"/>
                  <a:gd name="T69" fmla="*/ 909 h 915"/>
                  <a:gd name="T70" fmla="*/ 1455 w 2194"/>
                  <a:gd name="T71" fmla="*/ 895 h 915"/>
                  <a:gd name="T72" fmla="*/ 1604 w 2194"/>
                  <a:gd name="T73" fmla="*/ 875 h 915"/>
                  <a:gd name="T74" fmla="*/ 1741 w 2194"/>
                  <a:gd name="T75" fmla="*/ 849 h 915"/>
                  <a:gd name="T76" fmla="*/ 1863 w 2194"/>
                  <a:gd name="T77" fmla="*/ 818 h 915"/>
                  <a:gd name="T78" fmla="*/ 1969 w 2194"/>
                  <a:gd name="T79" fmla="*/ 782 h 915"/>
                  <a:gd name="T80" fmla="*/ 2058 w 2194"/>
                  <a:gd name="T81" fmla="*/ 742 h 915"/>
                  <a:gd name="T82" fmla="*/ 2125 w 2194"/>
                  <a:gd name="T83" fmla="*/ 698 h 915"/>
                  <a:gd name="T84" fmla="*/ 2170 w 2194"/>
                  <a:gd name="T85" fmla="*/ 651 h 915"/>
                  <a:gd name="T86" fmla="*/ 2191 w 2194"/>
                  <a:gd name="T87" fmla="*/ 601 h 915"/>
                  <a:gd name="T88" fmla="*/ 2194 w 2194"/>
                  <a:gd name="T89" fmla="*/ 135 h 915"/>
                  <a:gd name="T90" fmla="*/ 2104 w 2194"/>
                  <a:gd name="T91" fmla="*/ 171 h 915"/>
                  <a:gd name="T92" fmla="*/ 2009 w 2194"/>
                  <a:gd name="T93" fmla="*/ 192 h 915"/>
                  <a:gd name="T94" fmla="*/ 1942 w 2194"/>
                  <a:gd name="T95" fmla="*/ 19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94" h="915">
                    <a:moveTo>
                      <a:pt x="1942" y="195"/>
                    </a:moveTo>
                    <a:lnTo>
                      <a:pt x="1942" y="195"/>
                    </a:lnTo>
                    <a:lnTo>
                      <a:pt x="1911" y="195"/>
                    </a:lnTo>
                    <a:lnTo>
                      <a:pt x="1881" y="193"/>
                    </a:lnTo>
                    <a:lnTo>
                      <a:pt x="1851" y="188"/>
                    </a:lnTo>
                    <a:lnTo>
                      <a:pt x="1821" y="183"/>
                    </a:lnTo>
                    <a:lnTo>
                      <a:pt x="1792" y="175"/>
                    </a:lnTo>
                    <a:lnTo>
                      <a:pt x="1764" y="166"/>
                    </a:lnTo>
                    <a:lnTo>
                      <a:pt x="1736" y="156"/>
                    </a:lnTo>
                    <a:lnTo>
                      <a:pt x="1708" y="145"/>
                    </a:lnTo>
                    <a:lnTo>
                      <a:pt x="1682" y="131"/>
                    </a:lnTo>
                    <a:lnTo>
                      <a:pt x="1655" y="117"/>
                    </a:lnTo>
                    <a:lnTo>
                      <a:pt x="1631" y="101"/>
                    </a:lnTo>
                    <a:lnTo>
                      <a:pt x="1606" y="83"/>
                    </a:lnTo>
                    <a:lnTo>
                      <a:pt x="1583" y="64"/>
                    </a:lnTo>
                    <a:lnTo>
                      <a:pt x="1561" y="44"/>
                    </a:lnTo>
                    <a:lnTo>
                      <a:pt x="1539" y="22"/>
                    </a:lnTo>
                    <a:lnTo>
                      <a:pt x="1519" y="0"/>
                    </a:lnTo>
                    <a:lnTo>
                      <a:pt x="1519" y="0"/>
                    </a:lnTo>
                    <a:lnTo>
                      <a:pt x="1499" y="22"/>
                    </a:lnTo>
                    <a:lnTo>
                      <a:pt x="1479" y="44"/>
                    </a:lnTo>
                    <a:lnTo>
                      <a:pt x="1456" y="64"/>
                    </a:lnTo>
                    <a:lnTo>
                      <a:pt x="1432" y="83"/>
                    </a:lnTo>
                    <a:lnTo>
                      <a:pt x="1408" y="101"/>
                    </a:lnTo>
                    <a:lnTo>
                      <a:pt x="1383" y="117"/>
                    </a:lnTo>
                    <a:lnTo>
                      <a:pt x="1358" y="131"/>
                    </a:lnTo>
                    <a:lnTo>
                      <a:pt x="1331" y="145"/>
                    </a:lnTo>
                    <a:lnTo>
                      <a:pt x="1303" y="156"/>
                    </a:lnTo>
                    <a:lnTo>
                      <a:pt x="1276" y="166"/>
                    </a:lnTo>
                    <a:lnTo>
                      <a:pt x="1247" y="175"/>
                    </a:lnTo>
                    <a:lnTo>
                      <a:pt x="1217" y="183"/>
                    </a:lnTo>
                    <a:lnTo>
                      <a:pt x="1188" y="188"/>
                    </a:lnTo>
                    <a:lnTo>
                      <a:pt x="1158" y="193"/>
                    </a:lnTo>
                    <a:lnTo>
                      <a:pt x="1128" y="195"/>
                    </a:lnTo>
                    <a:lnTo>
                      <a:pt x="1098" y="195"/>
                    </a:lnTo>
                    <a:lnTo>
                      <a:pt x="1098" y="195"/>
                    </a:lnTo>
                    <a:lnTo>
                      <a:pt x="1066" y="195"/>
                    </a:lnTo>
                    <a:lnTo>
                      <a:pt x="1036" y="193"/>
                    </a:lnTo>
                    <a:lnTo>
                      <a:pt x="1006" y="188"/>
                    </a:lnTo>
                    <a:lnTo>
                      <a:pt x="977" y="183"/>
                    </a:lnTo>
                    <a:lnTo>
                      <a:pt x="947" y="175"/>
                    </a:lnTo>
                    <a:lnTo>
                      <a:pt x="918" y="166"/>
                    </a:lnTo>
                    <a:lnTo>
                      <a:pt x="891" y="156"/>
                    </a:lnTo>
                    <a:lnTo>
                      <a:pt x="863" y="145"/>
                    </a:lnTo>
                    <a:lnTo>
                      <a:pt x="836" y="131"/>
                    </a:lnTo>
                    <a:lnTo>
                      <a:pt x="811" y="117"/>
                    </a:lnTo>
                    <a:lnTo>
                      <a:pt x="786" y="101"/>
                    </a:lnTo>
                    <a:lnTo>
                      <a:pt x="762" y="83"/>
                    </a:lnTo>
                    <a:lnTo>
                      <a:pt x="738" y="64"/>
                    </a:lnTo>
                    <a:lnTo>
                      <a:pt x="715" y="44"/>
                    </a:lnTo>
                    <a:lnTo>
                      <a:pt x="695" y="22"/>
                    </a:lnTo>
                    <a:lnTo>
                      <a:pt x="675" y="0"/>
                    </a:lnTo>
                    <a:lnTo>
                      <a:pt x="675" y="0"/>
                    </a:lnTo>
                    <a:lnTo>
                      <a:pt x="655" y="22"/>
                    </a:lnTo>
                    <a:lnTo>
                      <a:pt x="633" y="44"/>
                    </a:lnTo>
                    <a:lnTo>
                      <a:pt x="611" y="64"/>
                    </a:lnTo>
                    <a:lnTo>
                      <a:pt x="588" y="83"/>
                    </a:lnTo>
                    <a:lnTo>
                      <a:pt x="563" y="101"/>
                    </a:lnTo>
                    <a:lnTo>
                      <a:pt x="539" y="117"/>
                    </a:lnTo>
                    <a:lnTo>
                      <a:pt x="512" y="131"/>
                    </a:lnTo>
                    <a:lnTo>
                      <a:pt x="486" y="145"/>
                    </a:lnTo>
                    <a:lnTo>
                      <a:pt x="458" y="156"/>
                    </a:lnTo>
                    <a:lnTo>
                      <a:pt x="430" y="166"/>
                    </a:lnTo>
                    <a:lnTo>
                      <a:pt x="402" y="175"/>
                    </a:lnTo>
                    <a:lnTo>
                      <a:pt x="373" y="183"/>
                    </a:lnTo>
                    <a:lnTo>
                      <a:pt x="343" y="188"/>
                    </a:lnTo>
                    <a:lnTo>
                      <a:pt x="313" y="193"/>
                    </a:lnTo>
                    <a:lnTo>
                      <a:pt x="283" y="195"/>
                    </a:lnTo>
                    <a:lnTo>
                      <a:pt x="252" y="195"/>
                    </a:lnTo>
                    <a:lnTo>
                      <a:pt x="252" y="195"/>
                    </a:lnTo>
                    <a:lnTo>
                      <a:pt x="218" y="195"/>
                    </a:lnTo>
                    <a:lnTo>
                      <a:pt x="185" y="192"/>
                    </a:lnTo>
                    <a:lnTo>
                      <a:pt x="153" y="186"/>
                    </a:lnTo>
                    <a:lnTo>
                      <a:pt x="121" y="180"/>
                    </a:lnTo>
                    <a:lnTo>
                      <a:pt x="90" y="171"/>
                    </a:lnTo>
                    <a:lnTo>
                      <a:pt x="59" y="161"/>
                    </a:lnTo>
                    <a:lnTo>
                      <a:pt x="29" y="149"/>
                    </a:lnTo>
                    <a:lnTo>
                      <a:pt x="0" y="135"/>
                    </a:lnTo>
                    <a:lnTo>
                      <a:pt x="0" y="690"/>
                    </a:lnTo>
                    <a:lnTo>
                      <a:pt x="0" y="690"/>
                    </a:lnTo>
                    <a:lnTo>
                      <a:pt x="15" y="703"/>
                    </a:lnTo>
                    <a:lnTo>
                      <a:pt x="32" y="714"/>
                    </a:lnTo>
                    <a:lnTo>
                      <a:pt x="50" y="726"/>
                    </a:lnTo>
                    <a:lnTo>
                      <a:pt x="69" y="737"/>
                    </a:lnTo>
                    <a:lnTo>
                      <a:pt x="91" y="748"/>
                    </a:lnTo>
                    <a:lnTo>
                      <a:pt x="112" y="760"/>
                    </a:lnTo>
                    <a:lnTo>
                      <a:pt x="136" y="770"/>
                    </a:lnTo>
                    <a:lnTo>
                      <a:pt x="161" y="780"/>
                    </a:lnTo>
                    <a:lnTo>
                      <a:pt x="214" y="800"/>
                    </a:lnTo>
                    <a:lnTo>
                      <a:pt x="274" y="819"/>
                    </a:lnTo>
                    <a:lnTo>
                      <a:pt x="337" y="835"/>
                    </a:lnTo>
                    <a:lnTo>
                      <a:pt x="405" y="852"/>
                    </a:lnTo>
                    <a:lnTo>
                      <a:pt x="477" y="866"/>
                    </a:lnTo>
                    <a:lnTo>
                      <a:pt x="551" y="878"/>
                    </a:lnTo>
                    <a:lnTo>
                      <a:pt x="631" y="890"/>
                    </a:lnTo>
                    <a:lnTo>
                      <a:pt x="713" y="899"/>
                    </a:lnTo>
                    <a:lnTo>
                      <a:pt x="797" y="905"/>
                    </a:lnTo>
                    <a:lnTo>
                      <a:pt x="886" y="911"/>
                    </a:lnTo>
                    <a:lnTo>
                      <a:pt x="975" y="914"/>
                    </a:lnTo>
                    <a:lnTo>
                      <a:pt x="1067" y="915"/>
                    </a:lnTo>
                    <a:lnTo>
                      <a:pt x="1067" y="915"/>
                    </a:lnTo>
                    <a:lnTo>
                      <a:pt x="1125" y="915"/>
                    </a:lnTo>
                    <a:lnTo>
                      <a:pt x="1182" y="914"/>
                    </a:lnTo>
                    <a:lnTo>
                      <a:pt x="1239" y="911"/>
                    </a:lnTo>
                    <a:lnTo>
                      <a:pt x="1294" y="909"/>
                    </a:lnTo>
                    <a:lnTo>
                      <a:pt x="1349" y="905"/>
                    </a:lnTo>
                    <a:lnTo>
                      <a:pt x="1402" y="900"/>
                    </a:lnTo>
                    <a:lnTo>
                      <a:pt x="1455" y="895"/>
                    </a:lnTo>
                    <a:lnTo>
                      <a:pt x="1505" y="888"/>
                    </a:lnTo>
                    <a:lnTo>
                      <a:pt x="1556" y="882"/>
                    </a:lnTo>
                    <a:lnTo>
                      <a:pt x="1604" y="875"/>
                    </a:lnTo>
                    <a:lnTo>
                      <a:pt x="1651" y="867"/>
                    </a:lnTo>
                    <a:lnTo>
                      <a:pt x="1697" y="858"/>
                    </a:lnTo>
                    <a:lnTo>
                      <a:pt x="1741" y="849"/>
                    </a:lnTo>
                    <a:lnTo>
                      <a:pt x="1784" y="839"/>
                    </a:lnTo>
                    <a:lnTo>
                      <a:pt x="1824" y="829"/>
                    </a:lnTo>
                    <a:lnTo>
                      <a:pt x="1863" y="818"/>
                    </a:lnTo>
                    <a:lnTo>
                      <a:pt x="1901" y="806"/>
                    </a:lnTo>
                    <a:lnTo>
                      <a:pt x="1937" y="795"/>
                    </a:lnTo>
                    <a:lnTo>
                      <a:pt x="1969" y="782"/>
                    </a:lnTo>
                    <a:lnTo>
                      <a:pt x="2001" y="769"/>
                    </a:lnTo>
                    <a:lnTo>
                      <a:pt x="2030" y="756"/>
                    </a:lnTo>
                    <a:lnTo>
                      <a:pt x="2058" y="742"/>
                    </a:lnTo>
                    <a:lnTo>
                      <a:pt x="2083" y="727"/>
                    </a:lnTo>
                    <a:lnTo>
                      <a:pt x="2104" y="713"/>
                    </a:lnTo>
                    <a:lnTo>
                      <a:pt x="2125" y="698"/>
                    </a:lnTo>
                    <a:lnTo>
                      <a:pt x="2142" y="683"/>
                    </a:lnTo>
                    <a:lnTo>
                      <a:pt x="2157" y="666"/>
                    </a:lnTo>
                    <a:lnTo>
                      <a:pt x="2170" y="651"/>
                    </a:lnTo>
                    <a:lnTo>
                      <a:pt x="2180" y="635"/>
                    </a:lnTo>
                    <a:lnTo>
                      <a:pt x="2188" y="618"/>
                    </a:lnTo>
                    <a:lnTo>
                      <a:pt x="2191" y="601"/>
                    </a:lnTo>
                    <a:lnTo>
                      <a:pt x="2194" y="584"/>
                    </a:lnTo>
                    <a:lnTo>
                      <a:pt x="2194" y="135"/>
                    </a:lnTo>
                    <a:lnTo>
                      <a:pt x="2194" y="135"/>
                    </a:lnTo>
                    <a:lnTo>
                      <a:pt x="2165" y="149"/>
                    </a:lnTo>
                    <a:lnTo>
                      <a:pt x="2135" y="161"/>
                    </a:lnTo>
                    <a:lnTo>
                      <a:pt x="2104" y="171"/>
                    </a:lnTo>
                    <a:lnTo>
                      <a:pt x="2073" y="180"/>
                    </a:lnTo>
                    <a:lnTo>
                      <a:pt x="2041" y="186"/>
                    </a:lnTo>
                    <a:lnTo>
                      <a:pt x="2009" y="192"/>
                    </a:lnTo>
                    <a:lnTo>
                      <a:pt x="1976" y="195"/>
                    </a:lnTo>
                    <a:lnTo>
                      <a:pt x="1942" y="195"/>
                    </a:lnTo>
                    <a:lnTo>
                      <a:pt x="1942" y="19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defRPr/>
                </a:pPr>
                <a:endParaRPr lang="en-US" sz="1799" kern="0">
                  <a:solidFill>
                    <a:sysClr val="windowText" lastClr="000000"/>
                  </a:solidFill>
                </a:endParaRPr>
              </a:p>
            </p:txBody>
          </p:sp>
        </p:grpSp>
        <p:sp>
          <p:nvSpPr>
            <p:cNvPr id="100" name="Rectangle 99"/>
            <p:cNvSpPr/>
            <p:nvPr/>
          </p:nvSpPr>
          <p:spPr>
            <a:xfrm>
              <a:off x="2962833" y="2295083"/>
              <a:ext cx="1294130" cy="439642"/>
            </a:xfrm>
            <a:prstGeom prst="rect">
              <a:avLst/>
            </a:prstGeom>
          </p:spPr>
          <p:txBody>
            <a:bodyPr wrap="square">
              <a:spAutoFit/>
            </a:bodyPr>
            <a:lstStyle/>
            <a:p>
              <a:pPr defTabSz="896203">
                <a:defRPr/>
              </a:pPr>
              <a:r>
                <a:rPr lang="en-US" sz="1100" kern="0" dirty="0">
                  <a:solidFill>
                    <a:schemeClr val="accent2">
                      <a:lumMod val="75000"/>
                    </a:schemeClr>
                  </a:solidFill>
                  <a:cs typeface="Segoe UI Semilight" panose="020B0402040204020203" pitchFamily="34" charset="0"/>
                </a:rPr>
                <a:t>Machine</a:t>
              </a:r>
              <a:r>
                <a:rPr lang="en-US" sz="1100" kern="0" dirty="0">
                  <a:solidFill>
                    <a:schemeClr val="bg2">
                      <a:lumMod val="75000"/>
                    </a:schemeClr>
                  </a:solidFill>
                  <a:cs typeface="Segoe UI Semilight" panose="020B0402040204020203" pitchFamily="34" charset="0"/>
                </a:rPr>
                <a:t> </a:t>
              </a:r>
              <a:r>
                <a:rPr lang="en-US" sz="1100" kern="0" dirty="0">
                  <a:solidFill>
                    <a:schemeClr val="accent2">
                      <a:lumMod val="75000"/>
                    </a:schemeClr>
                  </a:solidFill>
                  <a:cs typeface="Segoe UI Semilight" panose="020B0402040204020203" pitchFamily="34" charset="0"/>
                </a:rPr>
                <a:t>Learning</a:t>
              </a:r>
            </a:p>
          </p:txBody>
        </p:sp>
        <p:grpSp>
          <p:nvGrpSpPr>
            <p:cNvPr id="101" name="Group 100"/>
            <p:cNvGrpSpPr/>
            <p:nvPr/>
          </p:nvGrpSpPr>
          <p:grpSpPr>
            <a:xfrm>
              <a:off x="2519622" y="4890724"/>
              <a:ext cx="359675" cy="276298"/>
              <a:chOff x="1260022" y="5196402"/>
              <a:chExt cx="3273425" cy="2514600"/>
            </a:xfrm>
            <a:solidFill>
              <a:schemeClr val="tx1"/>
            </a:solidFill>
          </p:grpSpPr>
          <p:sp>
            <p:nvSpPr>
              <p:cNvPr id="104" name="Freeform 103"/>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defRPr/>
                </a:pPr>
                <a:endParaRPr lang="en-US" sz="1799" dirty="0"/>
              </a:p>
            </p:txBody>
          </p:sp>
          <p:sp>
            <p:nvSpPr>
              <p:cNvPr id="105" name="Freeform 104"/>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defRPr/>
                </a:pPr>
                <a:endParaRPr lang="en-US" sz="1799" dirty="0"/>
              </a:p>
            </p:txBody>
          </p:sp>
          <p:sp>
            <p:nvSpPr>
              <p:cNvPr id="106" name="Freeform 105"/>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defRPr/>
                </a:pPr>
                <a:endParaRPr lang="en-US" sz="1799" dirty="0"/>
              </a:p>
            </p:txBody>
          </p:sp>
          <p:sp>
            <p:nvSpPr>
              <p:cNvPr id="107" name="Freeform 106"/>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defRPr/>
                </a:pPr>
                <a:endParaRPr lang="en-US" sz="1799" dirty="0"/>
              </a:p>
            </p:txBody>
          </p:sp>
        </p:grpSp>
        <p:sp>
          <p:nvSpPr>
            <p:cNvPr id="102" name="Freeform 101"/>
            <p:cNvSpPr>
              <a:spLocks/>
            </p:cNvSpPr>
            <p:nvPr/>
          </p:nvSpPr>
          <p:spPr bwMode="auto">
            <a:xfrm>
              <a:off x="2520964" y="4034622"/>
              <a:ext cx="373674" cy="282777"/>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2">
                <a:lumMod val="75000"/>
              </a:schemeClr>
            </a:solidFill>
            <a:ln w="6350">
              <a:noFill/>
            </a:ln>
          </p:spPr>
          <p:txBody>
            <a:bodyPr vert="horz" wrap="square" lIns="91403" tIns="45701" rIns="91403" bIns="45701" numCol="1" anchor="t" anchorCtr="0" compatLnSpc="1">
              <a:prstTxWarp prst="textNoShape">
                <a:avLst/>
              </a:prstTxWarp>
            </a:bodyPr>
            <a:lstStyle/>
            <a:p>
              <a:pPr defTabSz="896203">
                <a:defRPr/>
              </a:pPr>
              <a:endParaRPr lang="en-US" sz="1600" kern="0" dirty="0">
                <a:solidFill>
                  <a:sysClr val="windowText" lastClr="000000"/>
                </a:solidFill>
              </a:endParaRPr>
            </a:p>
          </p:txBody>
        </p:sp>
        <p:sp>
          <p:nvSpPr>
            <p:cNvPr id="103" name="Freeform 102"/>
            <p:cNvSpPr/>
            <p:nvPr/>
          </p:nvSpPr>
          <p:spPr bwMode="auto">
            <a:xfrm flipH="1">
              <a:off x="2565074" y="2374875"/>
              <a:ext cx="272572" cy="288449"/>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defRPr/>
              </a:pPr>
              <a:endParaRPr lang="en-US" sz="2399" kern="0">
                <a:solidFill>
                  <a:schemeClr val="tx1"/>
                </a:solidFill>
                <a:ea typeface="Segoe UI" pitchFamily="34" charset="0"/>
                <a:cs typeface="Segoe UI" pitchFamily="34" charset="0"/>
              </a:endParaRPr>
            </a:p>
          </p:txBody>
        </p:sp>
      </p:grpSp>
      <p:grpSp>
        <p:nvGrpSpPr>
          <p:cNvPr id="6" name="Group 5"/>
          <p:cNvGrpSpPr>
            <a:grpSpLocks noChangeAspect="1"/>
          </p:cNvGrpSpPr>
          <p:nvPr/>
        </p:nvGrpSpPr>
        <p:grpSpPr>
          <a:xfrm>
            <a:off x="6830995" y="3536397"/>
            <a:ext cx="627334" cy="627334"/>
            <a:chOff x="4636526" y="2224884"/>
            <a:chExt cx="240061" cy="240061"/>
          </a:xfrm>
        </p:grpSpPr>
        <p:sp>
          <p:nvSpPr>
            <p:cNvPr id="180" name="Rounded Rectangle 179"/>
            <p:cNvSpPr/>
            <p:nvPr/>
          </p:nvSpPr>
          <p:spPr bwMode="auto">
            <a:xfrm>
              <a:off x="4636526" y="2224884"/>
              <a:ext cx="240061" cy="240061"/>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81" name="Rectangle 180"/>
            <p:cNvSpPr/>
            <p:nvPr/>
          </p:nvSpPr>
          <p:spPr bwMode="auto">
            <a:xfrm>
              <a:off x="4664864" y="2252473"/>
              <a:ext cx="32217" cy="3221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82" name="Rectangle 181"/>
            <p:cNvSpPr/>
            <p:nvPr/>
          </p:nvSpPr>
          <p:spPr bwMode="auto">
            <a:xfrm>
              <a:off x="4767810" y="2252473"/>
              <a:ext cx="32217" cy="3221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83" name="Oval 182"/>
            <p:cNvSpPr/>
            <p:nvPr/>
          </p:nvSpPr>
          <p:spPr bwMode="auto">
            <a:xfrm>
              <a:off x="4715153" y="2252760"/>
              <a:ext cx="34584" cy="34585"/>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84" name="Oval 183"/>
            <p:cNvSpPr/>
            <p:nvPr/>
          </p:nvSpPr>
          <p:spPr bwMode="auto">
            <a:xfrm>
              <a:off x="4818100" y="2252760"/>
              <a:ext cx="34584" cy="34585"/>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85" name="Rectangle 184"/>
            <p:cNvSpPr/>
            <p:nvPr/>
          </p:nvSpPr>
          <p:spPr bwMode="auto">
            <a:xfrm>
              <a:off x="4664864" y="2362677"/>
              <a:ext cx="32217" cy="3221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86" name="Rectangle 185"/>
            <p:cNvSpPr/>
            <p:nvPr/>
          </p:nvSpPr>
          <p:spPr bwMode="auto">
            <a:xfrm>
              <a:off x="4767810" y="2362677"/>
              <a:ext cx="32217" cy="3221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87" name="Oval 186"/>
            <p:cNvSpPr/>
            <p:nvPr/>
          </p:nvSpPr>
          <p:spPr bwMode="auto">
            <a:xfrm>
              <a:off x="4715153" y="2362963"/>
              <a:ext cx="34584" cy="34585"/>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88" name="Oval 187"/>
            <p:cNvSpPr/>
            <p:nvPr/>
          </p:nvSpPr>
          <p:spPr bwMode="auto">
            <a:xfrm>
              <a:off x="4818100" y="2362963"/>
              <a:ext cx="34584" cy="34585"/>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89" name="Rectangle 188"/>
            <p:cNvSpPr/>
            <p:nvPr/>
          </p:nvSpPr>
          <p:spPr bwMode="auto">
            <a:xfrm>
              <a:off x="4717807" y="2415363"/>
              <a:ext cx="32217" cy="3221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90" name="Rectangle 189"/>
            <p:cNvSpPr/>
            <p:nvPr/>
          </p:nvSpPr>
          <p:spPr bwMode="auto">
            <a:xfrm>
              <a:off x="4820754" y="2415363"/>
              <a:ext cx="32217" cy="3221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91" name="Oval 190"/>
            <p:cNvSpPr/>
            <p:nvPr/>
          </p:nvSpPr>
          <p:spPr bwMode="auto">
            <a:xfrm>
              <a:off x="4665150" y="2415650"/>
              <a:ext cx="34584" cy="34585"/>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92" name="Oval 191"/>
            <p:cNvSpPr/>
            <p:nvPr/>
          </p:nvSpPr>
          <p:spPr bwMode="auto">
            <a:xfrm>
              <a:off x="4768098" y="2415650"/>
              <a:ext cx="34584" cy="34585"/>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93" name="Rectangle 192"/>
            <p:cNvSpPr/>
            <p:nvPr/>
          </p:nvSpPr>
          <p:spPr bwMode="auto">
            <a:xfrm>
              <a:off x="4717807" y="2300347"/>
              <a:ext cx="32217" cy="3221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94" name="Rectangle 193"/>
            <p:cNvSpPr/>
            <p:nvPr/>
          </p:nvSpPr>
          <p:spPr bwMode="auto">
            <a:xfrm>
              <a:off x="4820754" y="2300347"/>
              <a:ext cx="32217" cy="3221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95" name="Oval 194"/>
            <p:cNvSpPr/>
            <p:nvPr/>
          </p:nvSpPr>
          <p:spPr bwMode="auto">
            <a:xfrm>
              <a:off x="4665150" y="2300634"/>
              <a:ext cx="34584" cy="34585"/>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96" name="Oval 195"/>
            <p:cNvSpPr/>
            <p:nvPr/>
          </p:nvSpPr>
          <p:spPr bwMode="auto">
            <a:xfrm>
              <a:off x="4768098" y="2300634"/>
              <a:ext cx="34584" cy="34585"/>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01" name="Freeform 200"/>
          <p:cNvSpPr>
            <a:spLocks noChangeAspect="1"/>
          </p:cNvSpPr>
          <p:nvPr/>
        </p:nvSpPr>
        <p:spPr bwMode="auto">
          <a:xfrm>
            <a:off x="2662470" y="3316499"/>
            <a:ext cx="867885" cy="935922"/>
          </a:xfrm>
          <a:custGeom>
            <a:avLst/>
            <a:gdLst>
              <a:gd name="connsiteX0" fmla="*/ 623808 w 1048497"/>
              <a:gd name="connsiteY0" fmla="*/ 0 h 1130692"/>
              <a:gd name="connsiteX1" fmla="*/ 637293 w 1048497"/>
              <a:gd name="connsiteY1" fmla="*/ 5465 h 1130692"/>
              <a:gd name="connsiteX2" fmla="*/ 986311 w 1048497"/>
              <a:gd name="connsiteY2" fmla="*/ 320195 h 1130692"/>
              <a:gd name="connsiteX3" fmla="*/ 993661 w 1048497"/>
              <a:gd name="connsiteY3" fmla="*/ 326823 h 1130692"/>
              <a:gd name="connsiteX4" fmla="*/ 960731 w 1048497"/>
              <a:gd name="connsiteY4" fmla="*/ 342017 h 1130692"/>
              <a:gd name="connsiteX5" fmla="*/ 954333 w 1048497"/>
              <a:gd name="connsiteY5" fmla="*/ 346505 h 1130692"/>
              <a:gd name="connsiteX6" fmla="*/ 918802 w 1048497"/>
              <a:gd name="connsiteY6" fmla="*/ 314433 h 1130692"/>
              <a:gd name="connsiteX7" fmla="*/ 623833 w 1048497"/>
              <a:gd name="connsiteY7" fmla="*/ 48174 h 1130692"/>
              <a:gd name="connsiteX8" fmla="*/ 74942 w 1048497"/>
              <a:gd name="connsiteY8" fmla="*/ 544576 h 1130692"/>
              <a:gd name="connsiteX9" fmla="*/ 141348 w 1048497"/>
              <a:gd name="connsiteY9" fmla="*/ 544576 h 1130692"/>
              <a:gd name="connsiteX10" fmla="*/ 162101 w 1048497"/>
              <a:gd name="connsiteY10" fmla="*/ 565389 h 1130692"/>
              <a:gd name="connsiteX11" fmla="*/ 162101 w 1048497"/>
              <a:gd name="connsiteY11" fmla="*/ 1049303 h 1130692"/>
              <a:gd name="connsiteX12" fmla="*/ 201529 w 1048497"/>
              <a:gd name="connsiteY12" fmla="*/ 1088848 h 1130692"/>
              <a:gd name="connsiteX13" fmla="*/ 482719 w 1048497"/>
              <a:gd name="connsiteY13" fmla="*/ 1088848 h 1130692"/>
              <a:gd name="connsiteX14" fmla="*/ 482719 w 1048497"/>
              <a:gd name="connsiteY14" fmla="*/ 686107 h 1130692"/>
              <a:gd name="connsiteX15" fmla="*/ 503471 w 1048497"/>
              <a:gd name="connsiteY15" fmla="*/ 665294 h 1130692"/>
              <a:gd name="connsiteX16" fmla="*/ 744195 w 1048497"/>
              <a:gd name="connsiteY16" fmla="*/ 665294 h 1130692"/>
              <a:gd name="connsiteX17" fmla="*/ 764946 w 1048497"/>
              <a:gd name="connsiteY17" fmla="*/ 686107 h 1130692"/>
              <a:gd name="connsiteX18" fmla="*/ 764946 w 1048497"/>
              <a:gd name="connsiteY18" fmla="*/ 1088848 h 1130692"/>
              <a:gd name="connsiteX19" fmla="*/ 927509 w 1048497"/>
              <a:gd name="connsiteY19" fmla="*/ 1088848 h 1130692"/>
              <a:gd name="connsiteX20" fmla="*/ 947670 w 1048497"/>
              <a:gd name="connsiteY20" fmla="*/ 1088848 h 1130692"/>
              <a:gd name="connsiteX21" fmla="*/ 960731 w 1048497"/>
              <a:gd name="connsiteY21" fmla="*/ 1098009 h 1130692"/>
              <a:gd name="connsiteX22" fmla="*/ 1008113 w 1048497"/>
              <a:gd name="connsiteY22" fmla="*/ 1119872 h 1130692"/>
              <a:gd name="connsiteX23" fmla="*/ 1048497 w 1048497"/>
              <a:gd name="connsiteY23" fmla="*/ 1130236 h 1130692"/>
              <a:gd name="connsiteX24" fmla="*/ 1045988 w 1048497"/>
              <a:gd name="connsiteY24" fmla="*/ 1130692 h 1130692"/>
              <a:gd name="connsiteX25" fmla="*/ 744134 w 1048497"/>
              <a:gd name="connsiteY25" fmla="*/ 1130692 h 1130692"/>
              <a:gd name="connsiteX26" fmla="*/ 723388 w 1048497"/>
              <a:gd name="connsiteY26" fmla="*/ 1109874 h 1130692"/>
              <a:gd name="connsiteX27" fmla="*/ 723388 w 1048497"/>
              <a:gd name="connsiteY27" fmla="*/ 707041 h 1130692"/>
              <a:gd name="connsiteX28" fmla="*/ 524227 w 1048497"/>
              <a:gd name="connsiteY28" fmla="*/ 707041 h 1130692"/>
              <a:gd name="connsiteX29" fmla="*/ 524227 w 1048497"/>
              <a:gd name="connsiteY29" fmla="*/ 1109874 h 1130692"/>
              <a:gd name="connsiteX30" fmla="*/ 503482 w 1048497"/>
              <a:gd name="connsiteY30" fmla="*/ 1130692 h 1130692"/>
              <a:gd name="connsiteX31" fmla="*/ 201628 w 1048497"/>
              <a:gd name="connsiteY31" fmla="*/ 1130692 h 1130692"/>
              <a:gd name="connsiteX32" fmla="*/ 120719 w 1048497"/>
              <a:gd name="connsiteY32" fmla="*/ 1049501 h 1130692"/>
              <a:gd name="connsiteX33" fmla="*/ 120719 w 1048497"/>
              <a:gd name="connsiteY33" fmla="*/ 586295 h 1130692"/>
              <a:gd name="connsiteX34" fmla="*/ 20101 w 1048497"/>
              <a:gd name="connsiteY34" fmla="*/ 586295 h 1130692"/>
              <a:gd name="connsiteX35" fmla="*/ 1430 w 1048497"/>
              <a:gd name="connsiteY35" fmla="*/ 572763 h 1130692"/>
              <a:gd name="connsiteX36" fmla="*/ 6616 w 1048497"/>
              <a:gd name="connsiteY36" fmla="*/ 549863 h 1130692"/>
              <a:gd name="connsiteX37" fmla="*/ 610323 w 1048497"/>
              <a:gd name="connsiteY37" fmla="*/ 5465 h 1130692"/>
              <a:gd name="connsiteX38" fmla="*/ 623808 w 1048497"/>
              <a:gd name="connsiteY38" fmla="*/ 0 h 1130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048497" h="1130692">
                <a:moveTo>
                  <a:pt x="623808" y="0"/>
                </a:moveTo>
                <a:cubicBezTo>
                  <a:pt x="628735" y="0"/>
                  <a:pt x="633662" y="1822"/>
                  <a:pt x="637293" y="5465"/>
                </a:cubicBezTo>
                <a:cubicBezTo>
                  <a:pt x="788220" y="141564"/>
                  <a:pt x="901415" y="243639"/>
                  <a:pt x="986311" y="320195"/>
                </a:cubicBezTo>
                <a:lnTo>
                  <a:pt x="993661" y="326823"/>
                </a:lnTo>
                <a:lnTo>
                  <a:pt x="960731" y="342017"/>
                </a:lnTo>
                <a:lnTo>
                  <a:pt x="954333" y="346505"/>
                </a:lnTo>
                <a:lnTo>
                  <a:pt x="918802" y="314433"/>
                </a:lnTo>
                <a:cubicBezTo>
                  <a:pt x="623833" y="48174"/>
                  <a:pt x="623833" y="48174"/>
                  <a:pt x="623833" y="48174"/>
                </a:cubicBezTo>
                <a:cubicBezTo>
                  <a:pt x="74942" y="544576"/>
                  <a:pt x="74942" y="544576"/>
                  <a:pt x="74942" y="544576"/>
                </a:cubicBezTo>
                <a:cubicBezTo>
                  <a:pt x="141348" y="544576"/>
                  <a:pt x="141348" y="544576"/>
                  <a:pt x="141348" y="544576"/>
                </a:cubicBezTo>
                <a:cubicBezTo>
                  <a:pt x="152762" y="544576"/>
                  <a:pt x="162101" y="553942"/>
                  <a:pt x="162101" y="565389"/>
                </a:cubicBezTo>
                <a:cubicBezTo>
                  <a:pt x="162101" y="1049303"/>
                  <a:pt x="162101" y="1049303"/>
                  <a:pt x="162101" y="1049303"/>
                </a:cubicBezTo>
                <a:cubicBezTo>
                  <a:pt x="162101" y="1074279"/>
                  <a:pt x="176627" y="1088848"/>
                  <a:pt x="201529" y="1088848"/>
                </a:cubicBezTo>
                <a:cubicBezTo>
                  <a:pt x="482719" y="1088848"/>
                  <a:pt x="482719" y="1088848"/>
                  <a:pt x="482719" y="1088848"/>
                </a:cubicBezTo>
                <a:cubicBezTo>
                  <a:pt x="482719" y="686107"/>
                  <a:pt x="482719" y="686107"/>
                  <a:pt x="482719" y="686107"/>
                </a:cubicBezTo>
                <a:cubicBezTo>
                  <a:pt x="482719" y="674660"/>
                  <a:pt x="492058" y="665294"/>
                  <a:pt x="503471" y="665294"/>
                </a:cubicBezTo>
                <a:cubicBezTo>
                  <a:pt x="744195" y="665294"/>
                  <a:pt x="744195" y="665294"/>
                  <a:pt x="744195" y="665294"/>
                </a:cubicBezTo>
                <a:cubicBezTo>
                  <a:pt x="755608" y="665294"/>
                  <a:pt x="764946" y="674660"/>
                  <a:pt x="764946" y="686107"/>
                </a:cubicBezTo>
                <a:lnTo>
                  <a:pt x="764946" y="1088848"/>
                </a:lnTo>
                <a:cubicBezTo>
                  <a:pt x="835244" y="1088848"/>
                  <a:pt x="887967" y="1088848"/>
                  <a:pt x="927509" y="1088848"/>
                </a:cubicBezTo>
                <a:lnTo>
                  <a:pt x="947670" y="1088848"/>
                </a:lnTo>
                <a:lnTo>
                  <a:pt x="960731" y="1098009"/>
                </a:lnTo>
                <a:cubicBezTo>
                  <a:pt x="974677" y="1105868"/>
                  <a:pt x="990558" y="1113189"/>
                  <a:pt x="1008113" y="1119872"/>
                </a:cubicBezTo>
                <a:lnTo>
                  <a:pt x="1048497" y="1130236"/>
                </a:lnTo>
                <a:lnTo>
                  <a:pt x="1045988" y="1130692"/>
                </a:lnTo>
                <a:cubicBezTo>
                  <a:pt x="744134" y="1130692"/>
                  <a:pt x="744134" y="1130692"/>
                  <a:pt x="744134" y="1130692"/>
                </a:cubicBezTo>
                <a:cubicBezTo>
                  <a:pt x="732724" y="1130692"/>
                  <a:pt x="723388" y="1121324"/>
                  <a:pt x="723388" y="1109874"/>
                </a:cubicBezTo>
                <a:cubicBezTo>
                  <a:pt x="723388" y="707041"/>
                  <a:pt x="723388" y="707041"/>
                  <a:pt x="723388" y="707041"/>
                </a:cubicBezTo>
                <a:cubicBezTo>
                  <a:pt x="524227" y="707041"/>
                  <a:pt x="524227" y="707041"/>
                  <a:pt x="524227" y="707041"/>
                </a:cubicBezTo>
                <a:cubicBezTo>
                  <a:pt x="524227" y="1109874"/>
                  <a:pt x="524227" y="1109874"/>
                  <a:pt x="524227" y="1109874"/>
                </a:cubicBezTo>
                <a:cubicBezTo>
                  <a:pt x="524227" y="1121324"/>
                  <a:pt x="514892" y="1130692"/>
                  <a:pt x="503482" y="1130692"/>
                </a:cubicBezTo>
                <a:cubicBezTo>
                  <a:pt x="201628" y="1130692"/>
                  <a:pt x="201628" y="1130692"/>
                  <a:pt x="201628" y="1130692"/>
                </a:cubicBezTo>
                <a:cubicBezTo>
                  <a:pt x="153913" y="1130692"/>
                  <a:pt x="120719" y="1097383"/>
                  <a:pt x="120719" y="1049501"/>
                </a:cubicBezTo>
                <a:cubicBezTo>
                  <a:pt x="120719" y="586295"/>
                  <a:pt x="120719" y="586295"/>
                  <a:pt x="120719" y="586295"/>
                </a:cubicBezTo>
                <a:cubicBezTo>
                  <a:pt x="20101" y="586295"/>
                  <a:pt x="20101" y="586295"/>
                  <a:pt x="20101" y="586295"/>
                </a:cubicBezTo>
                <a:cubicBezTo>
                  <a:pt x="11803" y="586295"/>
                  <a:pt x="4542" y="581090"/>
                  <a:pt x="1430" y="572763"/>
                </a:cubicBezTo>
                <a:cubicBezTo>
                  <a:pt x="-1682" y="564435"/>
                  <a:pt x="393" y="556108"/>
                  <a:pt x="6616" y="549863"/>
                </a:cubicBezTo>
                <a:cubicBezTo>
                  <a:pt x="610323" y="5465"/>
                  <a:pt x="610323" y="5465"/>
                  <a:pt x="610323" y="5465"/>
                </a:cubicBezTo>
                <a:cubicBezTo>
                  <a:pt x="613954" y="1822"/>
                  <a:pt x="618881" y="0"/>
                  <a:pt x="623808" y="0"/>
                </a:cubicBezTo>
                <a:close/>
              </a:path>
            </a:pathLst>
          </a:custGeom>
          <a:solidFill>
            <a:schemeClr val="accent1"/>
          </a:solidFill>
          <a:ln>
            <a:solidFill>
              <a:schemeClr val="accent1"/>
            </a:solidFill>
          </a:ln>
        </p:spPr>
        <p:txBody>
          <a:bodyPr vert="horz" wrap="square" lIns="89619" tIns="44810" rIns="89619" bIns="44810" numCol="1" anchor="t" anchorCtr="0" compatLnSpc="1">
            <a:prstTxWarp prst="textNoShape">
              <a:avLst/>
            </a:prstTxWarp>
            <a:noAutofit/>
          </a:bodyPr>
          <a:lstStyle/>
          <a:p>
            <a:pPr defTabSz="896203">
              <a:defRPr/>
            </a:pPr>
            <a:endParaRPr lang="en-US" sz="1764" kern="0">
              <a:solidFill>
                <a:sysClr val="windowText" lastClr="000000"/>
              </a:solidFill>
            </a:endParaRPr>
          </a:p>
        </p:txBody>
      </p:sp>
      <p:grpSp>
        <p:nvGrpSpPr>
          <p:cNvPr id="202" name="Group 201"/>
          <p:cNvGrpSpPr>
            <a:grpSpLocks noChangeAspect="1"/>
          </p:cNvGrpSpPr>
          <p:nvPr/>
        </p:nvGrpSpPr>
        <p:grpSpPr>
          <a:xfrm>
            <a:off x="3458740" y="3603993"/>
            <a:ext cx="532018" cy="651598"/>
            <a:chOff x="-3084513" y="3390510"/>
            <a:chExt cx="2716213" cy="3363913"/>
          </a:xfrm>
          <a:solidFill>
            <a:schemeClr val="accent2"/>
          </a:solidFill>
        </p:grpSpPr>
        <p:sp>
          <p:nvSpPr>
            <p:cNvPr id="203"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204"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grpSp>
      <p:pic>
        <p:nvPicPr>
          <p:cNvPr id="205" name="Picture 20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562911" y="3515245"/>
            <a:ext cx="829092" cy="829092"/>
          </a:xfrm>
          <a:prstGeom prst="rect">
            <a:avLst/>
          </a:prstGeom>
          <a:noFill/>
        </p:spPr>
      </p:pic>
    </p:spTree>
    <p:extLst>
      <p:ext uri="{BB962C8B-B14F-4D97-AF65-F5344CB8AC3E}">
        <p14:creationId xmlns:p14="http://schemas.microsoft.com/office/powerpoint/2010/main" val="1047408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13" name="Rectangle 112"/>
          <p:cNvSpPr/>
          <p:nvPr/>
        </p:nvSpPr>
        <p:spPr bwMode="auto">
          <a:xfrm>
            <a:off x="1" y="5171771"/>
            <a:ext cx="12188824" cy="1154529"/>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kern="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pPr defTabSz="896203">
              <a:spcBef>
                <a:spcPts val="0"/>
              </a:spcBef>
              <a:spcAft>
                <a:spcPts val="588"/>
              </a:spcAft>
              <a:defRPr/>
            </a:pPr>
            <a:r>
              <a:rPr lang="en-US" kern="0" spc="0" dirty="0">
                <a:ln>
                  <a:noFill/>
                </a:ln>
              </a:rPr>
              <a:t>Comprehensive set of managed Apache big data projects</a:t>
            </a:r>
          </a:p>
        </p:txBody>
      </p:sp>
      <p:grpSp>
        <p:nvGrpSpPr>
          <p:cNvPr id="3" name="Group 2"/>
          <p:cNvGrpSpPr/>
          <p:nvPr/>
        </p:nvGrpSpPr>
        <p:grpSpPr>
          <a:xfrm>
            <a:off x="2153230" y="5171772"/>
            <a:ext cx="10403759" cy="1173065"/>
            <a:chOff x="2196979" y="5592167"/>
            <a:chExt cx="10615140" cy="1196899"/>
          </a:xfrm>
        </p:grpSpPr>
        <p:sp>
          <p:nvSpPr>
            <p:cNvPr id="20" name="TextBox 19"/>
            <p:cNvSpPr txBox="1"/>
            <p:nvPr/>
          </p:nvSpPr>
          <p:spPr>
            <a:xfrm>
              <a:off x="2196979" y="5597971"/>
              <a:ext cx="4951200" cy="1191095"/>
            </a:xfrm>
            <a:prstGeom prst="rect">
              <a:avLst/>
            </a:prstGeom>
            <a:noFill/>
          </p:spPr>
          <p:txBody>
            <a:bodyPr wrap="square" lIns="179238" tIns="143391" rIns="179238" bIns="143391" rtlCol="0">
              <a:spAutoFit/>
            </a:bodyPr>
            <a:lstStyle/>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Scale to petabytes on demand</a:t>
              </a:r>
            </a:p>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Process unstructured and semi-structured data</a:t>
              </a:r>
            </a:p>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Develop in Java, .NET, and more</a:t>
              </a:r>
            </a:p>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Skip buying and maintaining hardware</a:t>
              </a:r>
            </a:p>
          </p:txBody>
        </p:sp>
        <p:sp>
          <p:nvSpPr>
            <p:cNvPr id="21" name="TextBox 20"/>
            <p:cNvSpPr txBox="1"/>
            <p:nvPr/>
          </p:nvSpPr>
          <p:spPr>
            <a:xfrm>
              <a:off x="7240419" y="5592167"/>
              <a:ext cx="5571700" cy="1191095"/>
            </a:xfrm>
            <a:prstGeom prst="rect">
              <a:avLst/>
            </a:prstGeom>
            <a:noFill/>
          </p:spPr>
          <p:txBody>
            <a:bodyPr wrap="square" lIns="179238" tIns="143391" rIns="179238" bIns="143391" rtlCol="0">
              <a:spAutoFit/>
            </a:bodyPr>
            <a:lstStyle/>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Deploy in Windows or Linux</a:t>
              </a:r>
            </a:p>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Spin up an Apache Hadoop cluster in minutes</a:t>
              </a:r>
            </a:p>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Visualize your Hadoop data in Excel</a:t>
              </a:r>
            </a:p>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Easily integrate on-premises Hadoop clusters</a:t>
              </a:r>
            </a:p>
          </p:txBody>
        </p:sp>
      </p:grpSp>
      <p:sp>
        <p:nvSpPr>
          <p:cNvPr id="14" name="Rectangle 13"/>
          <p:cNvSpPr/>
          <p:nvPr/>
        </p:nvSpPr>
        <p:spPr bwMode="auto">
          <a:xfrm>
            <a:off x="1973542" y="3888043"/>
            <a:ext cx="9929800" cy="734588"/>
          </a:xfrm>
          <a:prstGeom prst="rect">
            <a:avLst/>
          </a:prstGeom>
          <a:solidFill>
            <a:schemeClr val="accent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r>
              <a:rPr lang="en-US" sz="2744" kern="0" dirty="0">
                <a:solidFill>
                  <a:schemeClr val="tx1"/>
                </a:solidFill>
                <a:latin typeface="+mj-lt"/>
              </a:rPr>
              <a:t>Core Engine</a:t>
            </a:r>
          </a:p>
        </p:txBody>
      </p:sp>
      <p:sp>
        <p:nvSpPr>
          <p:cNvPr id="15" name="Freeform 14"/>
          <p:cNvSpPr/>
          <p:nvPr/>
        </p:nvSpPr>
        <p:spPr bwMode="auto">
          <a:xfrm>
            <a:off x="1973542" y="1999356"/>
            <a:ext cx="1557425" cy="1750174"/>
          </a:xfrm>
          <a:custGeom>
            <a:avLst/>
            <a:gdLst>
              <a:gd name="connsiteX0" fmla="*/ 0 w 1589068"/>
              <a:gd name="connsiteY0" fmla="*/ 0 h 1785733"/>
              <a:gd name="connsiteX1" fmla="*/ 1589068 w 1589068"/>
              <a:gd name="connsiteY1" fmla="*/ 0 h 1785733"/>
              <a:gd name="connsiteX2" fmla="*/ 1589068 w 1589068"/>
              <a:gd name="connsiteY2" fmla="*/ 1591056 h 1785733"/>
              <a:gd name="connsiteX3" fmla="*/ 931663 w 1589068"/>
              <a:gd name="connsiteY3" fmla="*/ 1591056 h 1785733"/>
              <a:gd name="connsiteX4" fmla="*/ 794534 w 1589068"/>
              <a:gd name="connsiteY4" fmla="*/ 1785733 h 1785733"/>
              <a:gd name="connsiteX5" fmla="*/ 657407 w 1589068"/>
              <a:gd name="connsiteY5" fmla="*/ 1591056 h 1785733"/>
              <a:gd name="connsiteX6" fmla="*/ 0 w 1589068"/>
              <a:gd name="connsiteY6" fmla="*/ 1591056 h 1785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89068" h="1785733">
                <a:moveTo>
                  <a:pt x="0" y="0"/>
                </a:moveTo>
                <a:lnTo>
                  <a:pt x="1589068" y="0"/>
                </a:lnTo>
                <a:lnTo>
                  <a:pt x="1589068" y="1591056"/>
                </a:lnTo>
                <a:lnTo>
                  <a:pt x="931663" y="1591056"/>
                </a:lnTo>
                <a:lnTo>
                  <a:pt x="794534" y="1785733"/>
                </a:lnTo>
                <a:lnTo>
                  <a:pt x="657407" y="1591056"/>
                </a:lnTo>
                <a:lnTo>
                  <a:pt x="0" y="1591056"/>
                </a:lnTo>
                <a:close/>
              </a:path>
            </a:pathLst>
          </a:custGeom>
          <a:solidFill>
            <a:srgbClr val="F2F2F2"/>
          </a:solidFill>
          <a:ln w="28575">
            <a:solidFill>
              <a:schemeClr val="accent1"/>
            </a:solidFill>
          </a:ln>
        </p:spPr>
        <p:txBody>
          <a:bodyPr wrap="square" lIns="44810" tIns="44810" rIns="44810" bIns="179238" rtlCol="0" anchor="ctr">
            <a:noAutofit/>
          </a:bodyPr>
          <a:lstStyle/>
          <a:p>
            <a:pPr algn="ctr" defTabSz="913916" fontAlgn="base">
              <a:spcBef>
                <a:spcPts val="588"/>
              </a:spcBef>
              <a:spcAft>
                <a:spcPct val="0"/>
              </a:spcAft>
              <a:defRPr/>
            </a:pPr>
            <a:r>
              <a:rPr lang="en-US" sz="1960" kern="0" dirty="0">
                <a:solidFill>
                  <a:schemeClr val="accent1"/>
                </a:solidFill>
                <a:latin typeface="Segoe UI Semibold" panose="020B0702040204020203" pitchFamily="34" charset="0"/>
                <a:cs typeface="Segoe UI Semibold" panose="020B0702040204020203" pitchFamily="34" charset="0"/>
              </a:rPr>
              <a:t>Batch</a:t>
            </a:r>
          </a:p>
          <a:p>
            <a:pPr algn="ctr" defTabSz="913916" fontAlgn="base">
              <a:spcBef>
                <a:spcPts val="588"/>
              </a:spcBef>
              <a:spcAft>
                <a:spcPct val="0"/>
              </a:spcAft>
              <a:defRPr/>
            </a:pPr>
            <a:r>
              <a:rPr lang="en-US" sz="1568" kern="0" dirty="0">
                <a:solidFill>
                  <a:schemeClr val="accent1"/>
                </a:solidFill>
              </a:rPr>
              <a:t>Map Reduce</a:t>
            </a:r>
          </a:p>
        </p:txBody>
      </p:sp>
      <p:sp>
        <p:nvSpPr>
          <p:cNvPr id="16" name="Freeform 15"/>
          <p:cNvSpPr/>
          <p:nvPr/>
        </p:nvSpPr>
        <p:spPr bwMode="auto">
          <a:xfrm>
            <a:off x="3648017" y="1999358"/>
            <a:ext cx="1557425" cy="1750173"/>
          </a:xfrm>
          <a:custGeom>
            <a:avLst/>
            <a:gdLst>
              <a:gd name="connsiteX0" fmla="*/ 0 w 1589068"/>
              <a:gd name="connsiteY0" fmla="*/ 0 h 1785733"/>
              <a:gd name="connsiteX1" fmla="*/ 1589068 w 1589068"/>
              <a:gd name="connsiteY1" fmla="*/ 0 h 1785733"/>
              <a:gd name="connsiteX2" fmla="*/ 1589068 w 1589068"/>
              <a:gd name="connsiteY2" fmla="*/ 1591056 h 1785733"/>
              <a:gd name="connsiteX3" fmla="*/ 931663 w 1589068"/>
              <a:gd name="connsiteY3" fmla="*/ 1591056 h 1785733"/>
              <a:gd name="connsiteX4" fmla="*/ 794534 w 1589068"/>
              <a:gd name="connsiteY4" fmla="*/ 1785733 h 1785733"/>
              <a:gd name="connsiteX5" fmla="*/ 657407 w 1589068"/>
              <a:gd name="connsiteY5" fmla="*/ 1591056 h 1785733"/>
              <a:gd name="connsiteX6" fmla="*/ 0 w 1589068"/>
              <a:gd name="connsiteY6" fmla="*/ 1591056 h 1785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89068" h="1785733">
                <a:moveTo>
                  <a:pt x="0" y="0"/>
                </a:moveTo>
                <a:lnTo>
                  <a:pt x="1589068" y="0"/>
                </a:lnTo>
                <a:lnTo>
                  <a:pt x="1589068" y="1591056"/>
                </a:lnTo>
                <a:lnTo>
                  <a:pt x="931663" y="1591056"/>
                </a:lnTo>
                <a:lnTo>
                  <a:pt x="794534" y="1785733"/>
                </a:lnTo>
                <a:lnTo>
                  <a:pt x="657407" y="1591056"/>
                </a:lnTo>
                <a:lnTo>
                  <a:pt x="0" y="1591056"/>
                </a:lnTo>
                <a:close/>
              </a:path>
            </a:pathLst>
          </a:custGeom>
          <a:solidFill>
            <a:srgbClr val="F2F2F2"/>
          </a:solidFill>
          <a:ln w="28575">
            <a:solidFill>
              <a:schemeClr val="accent1"/>
            </a:solidFill>
          </a:ln>
        </p:spPr>
        <p:txBody>
          <a:bodyPr wrap="square" lIns="44810" tIns="44810" rIns="44810" bIns="179238" rtlCol="0" anchor="ctr">
            <a:noAutofit/>
          </a:bodyPr>
          <a:lstStyle/>
          <a:p>
            <a:pPr algn="ctr" defTabSz="913916" fontAlgn="base">
              <a:spcBef>
                <a:spcPts val="588"/>
              </a:spcBef>
              <a:spcAft>
                <a:spcPct val="0"/>
              </a:spcAft>
            </a:pPr>
            <a:r>
              <a:rPr lang="en-US" sz="1960" kern="0" dirty="0">
                <a:solidFill>
                  <a:schemeClr val="accent1"/>
                </a:solidFill>
                <a:latin typeface="Segoe UI Semibold" panose="020B0702040204020203" pitchFamily="34" charset="0"/>
                <a:cs typeface="Segoe UI Semibold" panose="020B0702040204020203" pitchFamily="34" charset="0"/>
              </a:rPr>
              <a:t>Script</a:t>
            </a:r>
          </a:p>
          <a:p>
            <a:pPr algn="ctr" defTabSz="913916" fontAlgn="base">
              <a:spcBef>
                <a:spcPts val="588"/>
              </a:spcBef>
              <a:spcAft>
                <a:spcPct val="0"/>
              </a:spcAft>
            </a:pPr>
            <a:r>
              <a:rPr lang="en-US" sz="1568" kern="0" dirty="0">
                <a:solidFill>
                  <a:schemeClr val="accent1"/>
                </a:solidFill>
              </a:rPr>
              <a:t>Pig</a:t>
            </a:r>
          </a:p>
        </p:txBody>
      </p:sp>
      <p:sp>
        <p:nvSpPr>
          <p:cNvPr id="17" name="Freeform 16"/>
          <p:cNvSpPr/>
          <p:nvPr/>
        </p:nvSpPr>
        <p:spPr bwMode="auto">
          <a:xfrm>
            <a:off x="5322492" y="1999358"/>
            <a:ext cx="1557425" cy="1750173"/>
          </a:xfrm>
          <a:custGeom>
            <a:avLst/>
            <a:gdLst>
              <a:gd name="connsiteX0" fmla="*/ 0 w 1589068"/>
              <a:gd name="connsiteY0" fmla="*/ 0 h 1785733"/>
              <a:gd name="connsiteX1" fmla="*/ 1589068 w 1589068"/>
              <a:gd name="connsiteY1" fmla="*/ 0 h 1785733"/>
              <a:gd name="connsiteX2" fmla="*/ 1589068 w 1589068"/>
              <a:gd name="connsiteY2" fmla="*/ 1591056 h 1785733"/>
              <a:gd name="connsiteX3" fmla="*/ 931663 w 1589068"/>
              <a:gd name="connsiteY3" fmla="*/ 1591056 h 1785733"/>
              <a:gd name="connsiteX4" fmla="*/ 794534 w 1589068"/>
              <a:gd name="connsiteY4" fmla="*/ 1785733 h 1785733"/>
              <a:gd name="connsiteX5" fmla="*/ 657407 w 1589068"/>
              <a:gd name="connsiteY5" fmla="*/ 1591056 h 1785733"/>
              <a:gd name="connsiteX6" fmla="*/ 0 w 1589068"/>
              <a:gd name="connsiteY6" fmla="*/ 1591056 h 1785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89068" h="1785733">
                <a:moveTo>
                  <a:pt x="0" y="0"/>
                </a:moveTo>
                <a:lnTo>
                  <a:pt x="1589068" y="0"/>
                </a:lnTo>
                <a:lnTo>
                  <a:pt x="1589068" y="1591056"/>
                </a:lnTo>
                <a:lnTo>
                  <a:pt x="931663" y="1591056"/>
                </a:lnTo>
                <a:lnTo>
                  <a:pt x="794534" y="1785733"/>
                </a:lnTo>
                <a:lnTo>
                  <a:pt x="657407" y="1591056"/>
                </a:lnTo>
                <a:lnTo>
                  <a:pt x="0" y="1591056"/>
                </a:lnTo>
                <a:close/>
              </a:path>
            </a:pathLst>
          </a:custGeom>
          <a:solidFill>
            <a:srgbClr val="F2F2F2"/>
          </a:solidFill>
          <a:ln w="28575">
            <a:solidFill>
              <a:schemeClr val="accent1"/>
            </a:solidFill>
          </a:ln>
        </p:spPr>
        <p:txBody>
          <a:bodyPr wrap="square" lIns="44810" tIns="44810" rIns="44810" bIns="179238" rtlCol="0" anchor="ctr">
            <a:noAutofit/>
          </a:bodyPr>
          <a:lstStyle/>
          <a:p>
            <a:pPr algn="ctr" defTabSz="913916" fontAlgn="base">
              <a:spcBef>
                <a:spcPts val="588"/>
              </a:spcBef>
              <a:spcAft>
                <a:spcPct val="0"/>
              </a:spcAft>
            </a:pPr>
            <a:r>
              <a:rPr lang="en-US" sz="1960" kern="0" dirty="0">
                <a:solidFill>
                  <a:schemeClr val="accent1"/>
                </a:solidFill>
                <a:latin typeface="Segoe UI Semibold" panose="020B0702040204020203" pitchFamily="34" charset="0"/>
                <a:cs typeface="Segoe UI Semibold" panose="020B0702040204020203" pitchFamily="34" charset="0"/>
              </a:rPr>
              <a:t>SQL</a:t>
            </a:r>
          </a:p>
          <a:p>
            <a:pPr algn="ctr" defTabSz="913916" fontAlgn="base">
              <a:spcBef>
                <a:spcPts val="588"/>
              </a:spcBef>
              <a:spcAft>
                <a:spcPct val="0"/>
              </a:spcAft>
            </a:pPr>
            <a:r>
              <a:rPr lang="en-US" sz="1568" kern="0" dirty="0">
                <a:solidFill>
                  <a:schemeClr val="accent1"/>
                </a:solidFill>
              </a:rPr>
              <a:t>Hive</a:t>
            </a:r>
          </a:p>
        </p:txBody>
      </p:sp>
      <p:sp>
        <p:nvSpPr>
          <p:cNvPr id="19" name="Freeform 18"/>
          <p:cNvSpPr/>
          <p:nvPr/>
        </p:nvSpPr>
        <p:spPr bwMode="auto">
          <a:xfrm>
            <a:off x="6996969" y="1999358"/>
            <a:ext cx="1557425" cy="1750173"/>
          </a:xfrm>
          <a:custGeom>
            <a:avLst/>
            <a:gdLst>
              <a:gd name="connsiteX0" fmla="*/ 0 w 1589068"/>
              <a:gd name="connsiteY0" fmla="*/ 0 h 1785733"/>
              <a:gd name="connsiteX1" fmla="*/ 1589068 w 1589068"/>
              <a:gd name="connsiteY1" fmla="*/ 0 h 1785733"/>
              <a:gd name="connsiteX2" fmla="*/ 1589068 w 1589068"/>
              <a:gd name="connsiteY2" fmla="*/ 1591056 h 1785733"/>
              <a:gd name="connsiteX3" fmla="*/ 931662 w 1589068"/>
              <a:gd name="connsiteY3" fmla="*/ 1591056 h 1785733"/>
              <a:gd name="connsiteX4" fmla="*/ 794533 w 1589068"/>
              <a:gd name="connsiteY4" fmla="*/ 1785733 h 1785733"/>
              <a:gd name="connsiteX5" fmla="*/ 657406 w 1589068"/>
              <a:gd name="connsiteY5" fmla="*/ 1591056 h 1785733"/>
              <a:gd name="connsiteX6" fmla="*/ 0 w 1589068"/>
              <a:gd name="connsiteY6" fmla="*/ 1591056 h 1785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89068" h="1785733">
                <a:moveTo>
                  <a:pt x="0" y="0"/>
                </a:moveTo>
                <a:lnTo>
                  <a:pt x="1589068" y="0"/>
                </a:lnTo>
                <a:lnTo>
                  <a:pt x="1589068" y="1591056"/>
                </a:lnTo>
                <a:lnTo>
                  <a:pt x="931662" y="1591056"/>
                </a:lnTo>
                <a:lnTo>
                  <a:pt x="794533" y="1785733"/>
                </a:lnTo>
                <a:lnTo>
                  <a:pt x="657406" y="1591056"/>
                </a:lnTo>
                <a:lnTo>
                  <a:pt x="0" y="1591056"/>
                </a:lnTo>
                <a:close/>
              </a:path>
            </a:pathLst>
          </a:custGeom>
          <a:solidFill>
            <a:srgbClr val="F2F2F2"/>
          </a:solidFill>
          <a:ln w="28575">
            <a:solidFill>
              <a:schemeClr val="accent1"/>
            </a:solidFill>
          </a:ln>
        </p:spPr>
        <p:txBody>
          <a:bodyPr wrap="square" lIns="44810" tIns="44810" rIns="44810" bIns="179238" rtlCol="0" anchor="ctr">
            <a:noAutofit/>
          </a:bodyPr>
          <a:lstStyle/>
          <a:p>
            <a:pPr algn="ctr" defTabSz="913916" fontAlgn="base">
              <a:spcBef>
                <a:spcPts val="588"/>
              </a:spcBef>
              <a:spcAft>
                <a:spcPct val="0"/>
              </a:spcAft>
            </a:pPr>
            <a:r>
              <a:rPr lang="en-US" sz="1960" kern="0" dirty="0">
                <a:solidFill>
                  <a:schemeClr val="accent1"/>
                </a:solidFill>
                <a:latin typeface="Segoe UI Semibold" panose="020B0702040204020203" pitchFamily="34" charset="0"/>
                <a:cs typeface="Segoe UI Semibold" panose="020B0702040204020203" pitchFamily="34" charset="0"/>
              </a:rPr>
              <a:t>NoSQL</a:t>
            </a:r>
          </a:p>
          <a:p>
            <a:pPr algn="ctr" defTabSz="913916" fontAlgn="base">
              <a:spcBef>
                <a:spcPts val="588"/>
              </a:spcBef>
              <a:spcAft>
                <a:spcPct val="0"/>
              </a:spcAft>
            </a:pPr>
            <a:r>
              <a:rPr lang="en-US" sz="1568" kern="0" dirty="0" err="1">
                <a:solidFill>
                  <a:schemeClr val="accent1"/>
                </a:solidFill>
              </a:rPr>
              <a:t>HBase</a:t>
            </a:r>
            <a:endParaRPr lang="en-US" sz="1568" kern="0" dirty="0">
              <a:solidFill>
                <a:schemeClr val="accent1"/>
              </a:solidFill>
            </a:endParaRPr>
          </a:p>
        </p:txBody>
      </p:sp>
      <p:sp>
        <p:nvSpPr>
          <p:cNvPr id="22" name="Freeform 21"/>
          <p:cNvSpPr/>
          <p:nvPr/>
        </p:nvSpPr>
        <p:spPr bwMode="auto">
          <a:xfrm>
            <a:off x="8671444" y="1999358"/>
            <a:ext cx="1557425" cy="1750173"/>
          </a:xfrm>
          <a:custGeom>
            <a:avLst/>
            <a:gdLst>
              <a:gd name="connsiteX0" fmla="*/ 0 w 1589068"/>
              <a:gd name="connsiteY0" fmla="*/ 0 h 1785733"/>
              <a:gd name="connsiteX1" fmla="*/ 1589068 w 1589068"/>
              <a:gd name="connsiteY1" fmla="*/ 0 h 1785733"/>
              <a:gd name="connsiteX2" fmla="*/ 1589068 w 1589068"/>
              <a:gd name="connsiteY2" fmla="*/ 1591056 h 1785733"/>
              <a:gd name="connsiteX3" fmla="*/ 931662 w 1589068"/>
              <a:gd name="connsiteY3" fmla="*/ 1591056 h 1785733"/>
              <a:gd name="connsiteX4" fmla="*/ 794533 w 1589068"/>
              <a:gd name="connsiteY4" fmla="*/ 1785733 h 1785733"/>
              <a:gd name="connsiteX5" fmla="*/ 657405 w 1589068"/>
              <a:gd name="connsiteY5" fmla="*/ 1591056 h 1785733"/>
              <a:gd name="connsiteX6" fmla="*/ 0 w 1589068"/>
              <a:gd name="connsiteY6" fmla="*/ 1591056 h 1785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89068" h="1785733">
                <a:moveTo>
                  <a:pt x="0" y="0"/>
                </a:moveTo>
                <a:lnTo>
                  <a:pt x="1589068" y="0"/>
                </a:lnTo>
                <a:lnTo>
                  <a:pt x="1589068" y="1591056"/>
                </a:lnTo>
                <a:lnTo>
                  <a:pt x="931662" y="1591056"/>
                </a:lnTo>
                <a:lnTo>
                  <a:pt x="794533" y="1785733"/>
                </a:lnTo>
                <a:lnTo>
                  <a:pt x="657405" y="1591056"/>
                </a:lnTo>
                <a:lnTo>
                  <a:pt x="0" y="1591056"/>
                </a:lnTo>
                <a:close/>
              </a:path>
            </a:pathLst>
          </a:custGeom>
          <a:solidFill>
            <a:srgbClr val="F2F2F2"/>
          </a:solidFill>
          <a:ln w="28575">
            <a:solidFill>
              <a:schemeClr val="accent1"/>
            </a:solidFill>
          </a:ln>
        </p:spPr>
        <p:txBody>
          <a:bodyPr wrap="square" lIns="44810" tIns="44810" rIns="44810" bIns="179238" rtlCol="0" anchor="ctr">
            <a:noAutofit/>
          </a:bodyPr>
          <a:lstStyle/>
          <a:p>
            <a:pPr algn="ctr" defTabSz="913916" fontAlgn="base">
              <a:spcBef>
                <a:spcPts val="588"/>
              </a:spcBef>
              <a:spcAft>
                <a:spcPct val="0"/>
              </a:spcAft>
            </a:pPr>
            <a:r>
              <a:rPr lang="en-US" sz="1960" kern="0" dirty="0">
                <a:solidFill>
                  <a:schemeClr val="accent1"/>
                </a:solidFill>
                <a:latin typeface="Segoe UI Semibold" panose="020B0702040204020203" pitchFamily="34" charset="0"/>
                <a:cs typeface="Segoe UI Semibold" panose="020B0702040204020203" pitchFamily="34" charset="0"/>
              </a:rPr>
              <a:t>Streaming</a:t>
            </a:r>
          </a:p>
          <a:p>
            <a:pPr algn="ctr" defTabSz="913916" fontAlgn="base">
              <a:spcBef>
                <a:spcPts val="588"/>
              </a:spcBef>
              <a:spcAft>
                <a:spcPct val="0"/>
              </a:spcAft>
            </a:pPr>
            <a:r>
              <a:rPr lang="en-US" sz="1568" kern="0" dirty="0">
                <a:solidFill>
                  <a:schemeClr val="accent1"/>
                </a:solidFill>
              </a:rPr>
              <a:t>Storm</a:t>
            </a:r>
          </a:p>
        </p:txBody>
      </p:sp>
      <p:sp>
        <p:nvSpPr>
          <p:cNvPr id="23" name="Freeform 22"/>
          <p:cNvSpPr/>
          <p:nvPr/>
        </p:nvSpPr>
        <p:spPr bwMode="auto">
          <a:xfrm>
            <a:off x="10345918" y="1999358"/>
            <a:ext cx="1557425" cy="1750173"/>
          </a:xfrm>
          <a:custGeom>
            <a:avLst/>
            <a:gdLst>
              <a:gd name="connsiteX0" fmla="*/ 0 w 1589068"/>
              <a:gd name="connsiteY0" fmla="*/ 0 h 1785733"/>
              <a:gd name="connsiteX1" fmla="*/ 1589068 w 1589068"/>
              <a:gd name="connsiteY1" fmla="*/ 0 h 1785733"/>
              <a:gd name="connsiteX2" fmla="*/ 1589068 w 1589068"/>
              <a:gd name="connsiteY2" fmla="*/ 1591056 h 1785733"/>
              <a:gd name="connsiteX3" fmla="*/ 931663 w 1589068"/>
              <a:gd name="connsiteY3" fmla="*/ 1591056 h 1785733"/>
              <a:gd name="connsiteX4" fmla="*/ 794534 w 1589068"/>
              <a:gd name="connsiteY4" fmla="*/ 1785733 h 1785733"/>
              <a:gd name="connsiteX5" fmla="*/ 657406 w 1589068"/>
              <a:gd name="connsiteY5" fmla="*/ 1591056 h 1785733"/>
              <a:gd name="connsiteX6" fmla="*/ 0 w 1589068"/>
              <a:gd name="connsiteY6" fmla="*/ 1591056 h 1785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89068" h="1785733">
                <a:moveTo>
                  <a:pt x="0" y="0"/>
                </a:moveTo>
                <a:lnTo>
                  <a:pt x="1589068" y="0"/>
                </a:lnTo>
                <a:lnTo>
                  <a:pt x="1589068" y="1591056"/>
                </a:lnTo>
                <a:lnTo>
                  <a:pt x="931663" y="1591056"/>
                </a:lnTo>
                <a:lnTo>
                  <a:pt x="794534" y="1785733"/>
                </a:lnTo>
                <a:lnTo>
                  <a:pt x="657406" y="1591056"/>
                </a:lnTo>
                <a:lnTo>
                  <a:pt x="0" y="1591056"/>
                </a:lnTo>
                <a:close/>
              </a:path>
            </a:pathLst>
          </a:custGeom>
          <a:solidFill>
            <a:srgbClr val="F2F2F2"/>
          </a:solidFill>
          <a:ln w="28575">
            <a:solidFill>
              <a:schemeClr val="accent1"/>
            </a:solidFill>
          </a:ln>
        </p:spPr>
        <p:txBody>
          <a:bodyPr wrap="square" lIns="44810" tIns="44810" rIns="44810" bIns="179238" rtlCol="0" anchor="ctr">
            <a:noAutofit/>
          </a:bodyPr>
          <a:lstStyle/>
          <a:p>
            <a:pPr algn="ctr" defTabSz="913916" fontAlgn="base">
              <a:spcBef>
                <a:spcPts val="588"/>
              </a:spcBef>
              <a:spcAft>
                <a:spcPct val="0"/>
              </a:spcAft>
            </a:pPr>
            <a:r>
              <a:rPr lang="en-US" sz="1960" kern="0" dirty="0">
                <a:solidFill>
                  <a:schemeClr val="accent1"/>
                </a:solidFill>
                <a:latin typeface="Segoe UI Semibold" panose="020B0702040204020203" pitchFamily="34" charset="0"/>
                <a:cs typeface="Segoe UI Semibold" panose="020B0702040204020203" pitchFamily="34" charset="0"/>
              </a:rPr>
              <a:t>In-Memory</a:t>
            </a:r>
          </a:p>
          <a:p>
            <a:pPr algn="ctr" defTabSz="913916" fontAlgn="base">
              <a:spcBef>
                <a:spcPts val="588"/>
              </a:spcBef>
              <a:spcAft>
                <a:spcPct val="0"/>
              </a:spcAft>
            </a:pPr>
            <a:r>
              <a:rPr lang="en-US" sz="1568" kern="0" dirty="0">
                <a:solidFill>
                  <a:schemeClr val="accent1"/>
                </a:solidFill>
              </a:rPr>
              <a:t>Spark</a:t>
            </a:r>
          </a:p>
        </p:txBody>
      </p:sp>
      <p:grpSp>
        <p:nvGrpSpPr>
          <p:cNvPr id="46" name="Group 45"/>
          <p:cNvGrpSpPr/>
          <p:nvPr/>
        </p:nvGrpSpPr>
        <p:grpSpPr>
          <a:xfrm>
            <a:off x="-9456" y="1618083"/>
            <a:ext cx="1947978" cy="3781517"/>
            <a:chOff x="2269406" y="1649551"/>
            <a:chExt cx="1987557" cy="3858349"/>
          </a:xfrm>
        </p:grpSpPr>
        <p:grpSp>
          <p:nvGrpSpPr>
            <p:cNvPr id="47" name="Group 46"/>
            <p:cNvGrpSpPr/>
            <p:nvPr/>
          </p:nvGrpSpPr>
          <p:grpSpPr>
            <a:xfrm>
              <a:off x="2269406" y="1649551"/>
              <a:ext cx="1771946" cy="3858349"/>
              <a:chOff x="2269406" y="1649551"/>
              <a:chExt cx="1771946" cy="3858349"/>
            </a:xfrm>
          </p:grpSpPr>
          <p:sp>
            <p:nvSpPr>
              <p:cNvPr id="83" name="Rectangle 82"/>
              <p:cNvSpPr/>
              <p:nvPr/>
            </p:nvSpPr>
            <p:spPr bwMode="auto">
              <a:xfrm>
                <a:off x="2269406" y="1649551"/>
                <a:ext cx="1771946" cy="385834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4" tIns="91403" rIns="18274" bIns="91365" numCol="1" spcCol="1270" anchor="t" anchorCtr="0">
                <a:noAutofit/>
              </a:bodyPr>
              <a:lstStyle/>
              <a:p>
                <a:pPr algn="ctr" defTabSz="724725">
                  <a:spcBef>
                    <a:spcPct val="0"/>
                  </a:spcBef>
                  <a:spcAft>
                    <a:spcPct val="35000"/>
                  </a:spcAft>
                  <a:defRPr/>
                </a:pPr>
                <a:r>
                  <a:rPr lang="en-US" sz="1400" kern="0" dirty="0">
                    <a:solidFill>
                      <a:schemeClr val="tx1"/>
                    </a:solidFill>
                    <a:latin typeface="Segoe UI Semibold" panose="020B0702040204020203" pitchFamily="34" charset="0"/>
                    <a:cs typeface="Segoe UI Semibold" panose="020B0702040204020203" pitchFamily="34" charset="0"/>
                  </a:rPr>
                  <a:t>Machine Learning and Analytics</a:t>
                </a:r>
              </a:p>
            </p:txBody>
          </p:sp>
          <p:grpSp>
            <p:nvGrpSpPr>
              <p:cNvPr id="64" name="Group 63"/>
              <p:cNvGrpSpPr/>
              <p:nvPr/>
            </p:nvGrpSpPr>
            <p:grpSpPr>
              <a:xfrm>
                <a:off x="2475764" y="2364104"/>
                <a:ext cx="200749" cy="211051"/>
                <a:chOff x="4106551" y="3401141"/>
                <a:chExt cx="254631" cy="267699"/>
              </a:xfrm>
            </p:grpSpPr>
            <p:sp>
              <p:nvSpPr>
                <p:cNvPr id="65" name="Rectangle 64"/>
                <p:cNvSpPr/>
                <p:nvPr/>
              </p:nvSpPr>
              <p:spPr bwMode="auto">
                <a:xfrm>
                  <a:off x="4106551"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66" name="Rectangle 65"/>
                <p:cNvSpPr/>
                <p:nvPr/>
              </p:nvSpPr>
              <p:spPr bwMode="auto">
                <a:xfrm>
                  <a:off x="4245904"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67" name="Oval 66"/>
                <p:cNvSpPr/>
                <p:nvPr/>
              </p:nvSpPr>
              <p:spPr bwMode="auto">
                <a:xfrm>
                  <a:off x="4174625"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68" name="Oval 67"/>
                <p:cNvSpPr/>
                <p:nvPr/>
              </p:nvSpPr>
              <p:spPr bwMode="auto">
                <a:xfrm>
                  <a:off x="4313978"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69" name="Rectangle 68"/>
                <p:cNvSpPr/>
                <p:nvPr/>
              </p:nvSpPr>
              <p:spPr bwMode="auto">
                <a:xfrm>
                  <a:off x="4106551"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0" name="Rectangle 69"/>
                <p:cNvSpPr/>
                <p:nvPr/>
              </p:nvSpPr>
              <p:spPr bwMode="auto">
                <a:xfrm>
                  <a:off x="4245904"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1" name="Oval 70"/>
                <p:cNvSpPr/>
                <p:nvPr/>
              </p:nvSpPr>
              <p:spPr bwMode="auto">
                <a:xfrm>
                  <a:off x="4174625"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2" name="Oval 71"/>
                <p:cNvSpPr/>
                <p:nvPr/>
              </p:nvSpPr>
              <p:spPr bwMode="auto">
                <a:xfrm>
                  <a:off x="4313978"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3" name="Rectangle 72"/>
                <p:cNvSpPr/>
                <p:nvPr/>
              </p:nvSpPr>
              <p:spPr bwMode="auto">
                <a:xfrm>
                  <a:off x="4178218"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4" name="Rectangle 73"/>
                <p:cNvSpPr/>
                <p:nvPr/>
              </p:nvSpPr>
              <p:spPr bwMode="auto">
                <a:xfrm>
                  <a:off x="4317571"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5" name="Oval 74"/>
                <p:cNvSpPr/>
                <p:nvPr/>
              </p:nvSpPr>
              <p:spPr bwMode="auto">
                <a:xfrm>
                  <a:off x="4106939"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6" name="Oval 75"/>
                <p:cNvSpPr/>
                <p:nvPr/>
              </p:nvSpPr>
              <p:spPr bwMode="auto">
                <a:xfrm>
                  <a:off x="4246293"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7" name="Rectangle 76"/>
                <p:cNvSpPr/>
                <p:nvPr/>
              </p:nvSpPr>
              <p:spPr bwMode="auto">
                <a:xfrm>
                  <a:off x="4178218"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8" name="Rectangle 77"/>
                <p:cNvSpPr/>
                <p:nvPr/>
              </p:nvSpPr>
              <p:spPr bwMode="auto">
                <a:xfrm>
                  <a:off x="4317571"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9" name="Oval 78"/>
                <p:cNvSpPr/>
                <p:nvPr/>
              </p:nvSpPr>
              <p:spPr bwMode="auto">
                <a:xfrm>
                  <a:off x="4106939"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80" name="Oval 79"/>
                <p:cNvSpPr/>
                <p:nvPr/>
              </p:nvSpPr>
              <p:spPr bwMode="auto">
                <a:xfrm>
                  <a:off x="4246293"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48" name="Rectangle 47"/>
            <p:cNvSpPr/>
            <p:nvPr/>
          </p:nvSpPr>
          <p:spPr>
            <a:xfrm>
              <a:off x="2962833" y="3869841"/>
              <a:ext cx="1294130" cy="622511"/>
            </a:xfrm>
            <a:prstGeom prst="rect">
              <a:avLst/>
            </a:prstGeom>
          </p:spPr>
          <p:txBody>
            <a:bodyPr wrap="square">
              <a:spAutoFit/>
            </a:bodyPr>
            <a:lstStyle/>
            <a:p>
              <a:pPr defTabSz="896203">
                <a:defRPr/>
              </a:pPr>
              <a:r>
                <a:rPr lang="en-US" sz="1100" kern="0" dirty="0">
                  <a:solidFill>
                    <a:sysClr val="windowText" lastClr="000000"/>
                  </a:solidFill>
                  <a:cs typeface="Segoe UI Semilight" panose="020B0402040204020203" pitchFamily="34" charset="0"/>
                </a:rPr>
                <a:t>HDInsight </a:t>
              </a:r>
            </a:p>
            <a:p>
              <a:pPr defTabSz="896203">
                <a:defRPr/>
              </a:pPr>
              <a:r>
                <a:rPr lang="en-US" sz="1100" kern="0" dirty="0">
                  <a:solidFill>
                    <a:sysClr val="windowText" lastClr="000000"/>
                  </a:solidFill>
                  <a:cs typeface="Segoe UI Semilight" panose="020B0402040204020203" pitchFamily="34" charset="0"/>
                </a:rPr>
                <a:t>(Hadoop and Spark)</a:t>
              </a:r>
            </a:p>
          </p:txBody>
        </p:sp>
        <p:sp>
          <p:nvSpPr>
            <p:cNvPr id="49" name="Rectangle 48"/>
            <p:cNvSpPr/>
            <p:nvPr/>
          </p:nvSpPr>
          <p:spPr>
            <a:xfrm>
              <a:off x="2962833" y="4888358"/>
              <a:ext cx="925088" cy="437684"/>
            </a:xfrm>
            <a:prstGeom prst="rect">
              <a:avLst/>
            </a:prstGeom>
          </p:spPr>
          <p:txBody>
            <a:bodyPr wrap="square">
              <a:spAutoFit/>
            </a:bodyPr>
            <a:lstStyle/>
            <a:p>
              <a:pPr defTabSz="896203">
                <a:defRPr/>
              </a:pPr>
              <a:r>
                <a:rPr lang="en-US" sz="1100" kern="0" dirty="0">
                  <a:solidFill>
                    <a:schemeClr val="accent2">
                      <a:lumMod val="75000"/>
                    </a:schemeClr>
                  </a:solidFill>
                  <a:cs typeface="Segoe UI Semilight" panose="020B0402040204020203" pitchFamily="34" charset="0"/>
                </a:rPr>
                <a:t>Stream Analytics</a:t>
              </a:r>
            </a:p>
          </p:txBody>
        </p:sp>
        <p:sp>
          <p:nvSpPr>
            <p:cNvPr id="50" name="Rectangle 49"/>
            <p:cNvSpPr/>
            <p:nvPr/>
          </p:nvSpPr>
          <p:spPr>
            <a:xfrm>
              <a:off x="2962833" y="3125609"/>
              <a:ext cx="1294130" cy="446397"/>
            </a:xfrm>
            <a:prstGeom prst="rect">
              <a:avLst/>
            </a:prstGeom>
          </p:spPr>
          <p:txBody>
            <a:bodyPr wrap="square">
              <a:spAutoFit/>
            </a:bodyPr>
            <a:lstStyle/>
            <a:p>
              <a:pPr defTabSz="896203">
                <a:defRPr/>
              </a:pPr>
              <a:r>
                <a:rPr lang="en-US" sz="1100" kern="0" dirty="0">
                  <a:solidFill>
                    <a:schemeClr val="accent2">
                      <a:lumMod val="75000"/>
                    </a:schemeClr>
                  </a:solidFill>
                  <a:cs typeface="Segoe UI Semilight" panose="020B0402040204020203" pitchFamily="34" charset="0"/>
                </a:rPr>
                <a:t>Data Lake Analytics</a:t>
              </a:r>
            </a:p>
          </p:txBody>
        </p:sp>
        <p:grpSp>
          <p:nvGrpSpPr>
            <p:cNvPr id="51" name="Group 50"/>
            <p:cNvGrpSpPr/>
            <p:nvPr/>
          </p:nvGrpSpPr>
          <p:grpSpPr>
            <a:xfrm>
              <a:off x="2584613" y="3210310"/>
              <a:ext cx="225034" cy="294370"/>
              <a:chOff x="3473450" y="4579938"/>
              <a:chExt cx="1741488" cy="2278062"/>
            </a:xfrm>
            <a:solidFill>
              <a:schemeClr val="tx1"/>
            </a:solidFill>
          </p:grpSpPr>
          <p:sp>
            <p:nvSpPr>
              <p:cNvPr id="60" name="Freeform 16"/>
              <p:cNvSpPr>
                <a:spLocks/>
              </p:cNvSpPr>
              <p:nvPr/>
            </p:nvSpPr>
            <p:spPr bwMode="auto">
              <a:xfrm>
                <a:off x="3575050" y="4579938"/>
                <a:ext cx="1493838" cy="403225"/>
              </a:xfrm>
              <a:custGeom>
                <a:avLst/>
                <a:gdLst>
                  <a:gd name="T0" fmla="*/ 2 w 1883"/>
                  <a:gd name="T1" fmla="*/ 263 h 508"/>
                  <a:gd name="T2" fmla="*/ 17 w 1883"/>
                  <a:gd name="T3" fmla="*/ 290 h 508"/>
                  <a:gd name="T4" fmla="*/ 51 w 1883"/>
                  <a:gd name="T5" fmla="*/ 321 h 508"/>
                  <a:gd name="T6" fmla="*/ 101 w 1883"/>
                  <a:gd name="T7" fmla="*/ 352 h 508"/>
                  <a:gd name="T8" fmla="*/ 169 w 1883"/>
                  <a:gd name="T9" fmla="*/ 384 h 508"/>
                  <a:gd name="T10" fmla="*/ 253 w 1883"/>
                  <a:gd name="T11" fmla="*/ 414 h 508"/>
                  <a:gd name="T12" fmla="*/ 351 w 1883"/>
                  <a:gd name="T13" fmla="*/ 442 h 508"/>
                  <a:gd name="T14" fmla="*/ 465 w 1883"/>
                  <a:gd name="T15" fmla="*/ 467 h 508"/>
                  <a:gd name="T16" fmla="*/ 592 w 1883"/>
                  <a:gd name="T17" fmla="*/ 486 h 508"/>
                  <a:gd name="T18" fmla="*/ 733 w 1883"/>
                  <a:gd name="T19" fmla="*/ 500 h 508"/>
                  <a:gd name="T20" fmla="*/ 887 w 1883"/>
                  <a:gd name="T21" fmla="*/ 508 h 508"/>
                  <a:gd name="T22" fmla="*/ 996 w 1883"/>
                  <a:gd name="T23" fmla="*/ 508 h 508"/>
                  <a:gd name="T24" fmla="*/ 1150 w 1883"/>
                  <a:gd name="T25" fmla="*/ 500 h 508"/>
                  <a:gd name="T26" fmla="*/ 1291 w 1883"/>
                  <a:gd name="T27" fmla="*/ 486 h 508"/>
                  <a:gd name="T28" fmla="*/ 1419 w 1883"/>
                  <a:gd name="T29" fmla="*/ 467 h 508"/>
                  <a:gd name="T30" fmla="*/ 1532 w 1883"/>
                  <a:gd name="T31" fmla="*/ 442 h 508"/>
                  <a:gd name="T32" fmla="*/ 1632 w 1883"/>
                  <a:gd name="T33" fmla="*/ 414 h 508"/>
                  <a:gd name="T34" fmla="*/ 1715 w 1883"/>
                  <a:gd name="T35" fmla="*/ 384 h 508"/>
                  <a:gd name="T36" fmla="*/ 1782 w 1883"/>
                  <a:gd name="T37" fmla="*/ 352 h 508"/>
                  <a:gd name="T38" fmla="*/ 1834 w 1883"/>
                  <a:gd name="T39" fmla="*/ 321 h 508"/>
                  <a:gd name="T40" fmla="*/ 1866 w 1883"/>
                  <a:gd name="T41" fmla="*/ 290 h 508"/>
                  <a:gd name="T42" fmla="*/ 1882 w 1883"/>
                  <a:gd name="T43" fmla="*/ 263 h 508"/>
                  <a:gd name="T44" fmla="*/ 1882 w 1883"/>
                  <a:gd name="T45" fmla="*/ 245 h 508"/>
                  <a:gd name="T46" fmla="*/ 1866 w 1883"/>
                  <a:gd name="T47" fmla="*/ 217 h 508"/>
                  <a:gd name="T48" fmla="*/ 1834 w 1883"/>
                  <a:gd name="T49" fmla="*/ 187 h 508"/>
                  <a:gd name="T50" fmla="*/ 1782 w 1883"/>
                  <a:gd name="T51" fmla="*/ 155 h 508"/>
                  <a:gd name="T52" fmla="*/ 1715 w 1883"/>
                  <a:gd name="T53" fmla="*/ 124 h 508"/>
                  <a:gd name="T54" fmla="*/ 1632 w 1883"/>
                  <a:gd name="T55" fmla="*/ 93 h 508"/>
                  <a:gd name="T56" fmla="*/ 1532 w 1883"/>
                  <a:gd name="T57" fmla="*/ 64 h 508"/>
                  <a:gd name="T58" fmla="*/ 1419 w 1883"/>
                  <a:gd name="T59" fmla="*/ 40 h 508"/>
                  <a:gd name="T60" fmla="*/ 1291 w 1883"/>
                  <a:gd name="T61" fmla="*/ 20 h 508"/>
                  <a:gd name="T62" fmla="*/ 1150 w 1883"/>
                  <a:gd name="T63" fmla="*/ 6 h 508"/>
                  <a:gd name="T64" fmla="*/ 996 w 1883"/>
                  <a:gd name="T65" fmla="*/ 0 h 508"/>
                  <a:gd name="T66" fmla="*/ 887 w 1883"/>
                  <a:gd name="T67" fmla="*/ 0 h 508"/>
                  <a:gd name="T68" fmla="*/ 733 w 1883"/>
                  <a:gd name="T69" fmla="*/ 6 h 508"/>
                  <a:gd name="T70" fmla="*/ 592 w 1883"/>
                  <a:gd name="T71" fmla="*/ 20 h 508"/>
                  <a:gd name="T72" fmla="*/ 465 w 1883"/>
                  <a:gd name="T73" fmla="*/ 40 h 508"/>
                  <a:gd name="T74" fmla="*/ 351 w 1883"/>
                  <a:gd name="T75" fmla="*/ 64 h 508"/>
                  <a:gd name="T76" fmla="*/ 253 w 1883"/>
                  <a:gd name="T77" fmla="*/ 93 h 508"/>
                  <a:gd name="T78" fmla="*/ 169 w 1883"/>
                  <a:gd name="T79" fmla="*/ 124 h 508"/>
                  <a:gd name="T80" fmla="*/ 101 w 1883"/>
                  <a:gd name="T81" fmla="*/ 155 h 508"/>
                  <a:gd name="T82" fmla="*/ 51 w 1883"/>
                  <a:gd name="T83" fmla="*/ 187 h 508"/>
                  <a:gd name="T84" fmla="*/ 17 w 1883"/>
                  <a:gd name="T85" fmla="*/ 217 h 508"/>
                  <a:gd name="T86" fmla="*/ 2 w 1883"/>
                  <a:gd name="T87" fmla="*/ 245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3" h="508">
                    <a:moveTo>
                      <a:pt x="0" y="254"/>
                    </a:moveTo>
                    <a:lnTo>
                      <a:pt x="0" y="254"/>
                    </a:lnTo>
                    <a:lnTo>
                      <a:pt x="2" y="263"/>
                    </a:lnTo>
                    <a:lnTo>
                      <a:pt x="5" y="271"/>
                    </a:lnTo>
                    <a:lnTo>
                      <a:pt x="11" y="280"/>
                    </a:lnTo>
                    <a:lnTo>
                      <a:pt x="17" y="290"/>
                    </a:lnTo>
                    <a:lnTo>
                      <a:pt x="27" y="301"/>
                    </a:lnTo>
                    <a:lnTo>
                      <a:pt x="37" y="311"/>
                    </a:lnTo>
                    <a:lnTo>
                      <a:pt x="51" y="321"/>
                    </a:lnTo>
                    <a:lnTo>
                      <a:pt x="66" y="331"/>
                    </a:lnTo>
                    <a:lnTo>
                      <a:pt x="82" y="342"/>
                    </a:lnTo>
                    <a:lnTo>
                      <a:pt x="101" y="352"/>
                    </a:lnTo>
                    <a:lnTo>
                      <a:pt x="122" y="362"/>
                    </a:lnTo>
                    <a:lnTo>
                      <a:pt x="144" y="374"/>
                    </a:lnTo>
                    <a:lnTo>
                      <a:pt x="169" y="384"/>
                    </a:lnTo>
                    <a:lnTo>
                      <a:pt x="195" y="394"/>
                    </a:lnTo>
                    <a:lnTo>
                      <a:pt x="222" y="404"/>
                    </a:lnTo>
                    <a:lnTo>
                      <a:pt x="253" y="414"/>
                    </a:lnTo>
                    <a:lnTo>
                      <a:pt x="284" y="424"/>
                    </a:lnTo>
                    <a:lnTo>
                      <a:pt x="317" y="433"/>
                    </a:lnTo>
                    <a:lnTo>
                      <a:pt x="351" y="442"/>
                    </a:lnTo>
                    <a:lnTo>
                      <a:pt x="388" y="451"/>
                    </a:lnTo>
                    <a:lnTo>
                      <a:pt x="426" y="460"/>
                    </a:lnTo>
                    <a:lnTo>
                      <a:pt x="465" y="467"/>
                    </a:lnTo>
                    <a:lnTo>
                      <a:pt x="506" y="473"/>
                    </a:lnTo>
                    <a:lnTo>
                      <a:pt x="549" y="481"/>
                    </a:lnTo>
                    <a:lnTo>
                      <a:pt x="592" y="486"/>
                    </a:lnTo>
                    <a:lnTo>
                      <a:pt x="639" y="492"/>
                    </a:lnTo>
                    <a:lnTo>
                      <a:pt x="685" y="496"/>
                    </a:lnTo>
                    <a:lnTo>
                      <a:pt x="733" y="500"/>
                    </a:lnTo>
                    <a:lnTo>
                      <a:pt x="784" y="504"/>
                    </a:lnTo>
                    <a:lnTo>
                      <a:pt x="836" y="506"/>
                    </a:lnTo>
                    <a:lnTo>
                      <a:pt x="887" y="508"/>
                    </a:lnTo>
                    <a:lnTo>
                      <a:pt x="942" y="508"/>
                    </a:lnTo>
                    <a:lnTo>
                      <a:pt x="942" y="508"/>
                    </a:lnTo>
                    <a:lnTo>
                      <a:pt x="996" y="508"/>
                    </a:lnTo>
                    <a:lnTo>
                      <a:pt x="1049" y="506"/>
                    </a:lnTo>
                    <a:lnTo>
                      <a:pt x="1101" y="504"/>
                    </a:lnTo>
                    <a:lnTo>
                      <a:pt x="1150" y="500"/>
                    </a:lnTo>
                    <a:lnTo>
                      <a:pt x="1199" y="496"/>
                    </a:lnTo>
                    <a:lnTo>
                      <a:pt x="1246" y="492"/>
                    </a:lnTo>
                    <a:lnTo>
                      <a:pt x="1291" y="486"/>
                    </a:lnTo>
                    <a:lnTo>
                      <a:pt x="1335" y="481"/>
                    </a:lnTo>
                    <a:lnTo>
                      <a:pt x="1378" y="473"/>
                    </a:lnTo>
                    <a:lnTo>
                      <a:pt x="1419" y="467"/>
                    </a:lnTo>
                    <a:lnTo>
                      <a:pt x="1459" y="460"/>
                    </a:lnTo>
                    <a:lnTo>
                      <a:pt x="1497" y="451"/>
                    </a:lnTo>
                    <a:lnTo>
                      <a:pt x="1532" y="442"/>
                    </a:lnTo>
                    <a:lnTo>
                      <a:pt x="1567" y="433"/>
                    </a:lnTo>
                    <a:lnTo>
                      <a:pt x="1600" y="424"/>
                    </a:lnTo>
                    <a:lnTo>
                      <a:pt x="1632" y="414"/>
                    </a:lnTo>
                    <a:lnTo>
                      <a:pt x="1661" y="404"/>
                    </a:lnTo>
                    <a:lnTo>
                      <a:pt x="1689" y="394"/>
                    </a:lnTo>
                    <a:lnTo>
                      <a:pt x="1715" y="384"/>
                    </a:lnTo>
                    <a:lnTo>
                      <a:pt x="1739" y="374"/>
                    </a:lnTo>
                    <a:lnTo>
                      <a:pt x="1762" y="362"/>
                    </a:lnTo>
                    <a:lnTo>
                      <a:pt x="1782" y="352"/>
                    </a:lnTo>
                    <a:lnTo>
                      <a:pt x="1801" y="342"/>
                    </a:lnTo>
                    <a:lnTo>
                      <a:pt x="1818" y="331"/>
                    </a:lnTo>
                    <a:lnTo>
                      <a:pt x="1834" y="321"/>
                    </a:lnTo>
                    <a:lnTo>
                      <a:pt x="1846" y="311"/>
                    </a:lnTo>
                    <a:lnTo>
                      <a:pt x="1858" y="301"/>
                    </a:lnTo>
                    <a:lnTo>
                      <a:pt x="1866" y="290"/>
                    </a:lnTo>
                    <a:lnTo>
                      <a:pt x="1874" y="280"/>
                    </a:lnTo>
                    <a:lnTo>
                      <a:pt x="1879" y="271"/>
                    </a:lnTo>
                    <a:lnTo>
                      <a:pt x="1882" y="263"/>
                    </a:lnTo>
                    <a:lnTo>
                      <a:pt x="1883" y="254"/>
                    </a:lnTo>
                    <a:lnTo>
                      <a:pt x="1883" y="254"/>
                    </a:lnTo>
                    <a:lnTo>
                      <a:pt x="1882" y="245"/>
                    </a:lnTo>
                    <a:lnTo>
                      <a:pt x="1879" y="236"/>
                    </a:lnTo>
                    <a:lnTo>
                      <a:pt x="1874" y="226"/>
                    </a:lnTo>
                    <a:lnTo>
                      <a:pt x="1866" y="217"/>
                    </a:lnTo>
                    <a:lnTo>
                      <a:pt x="1858" y="207"/>
                    </a:lnTo>
                    <a:lnTo>
                      <a:pt x="1846" y="197"/>
                    </a:lnTo>
                    <a:lnTo>
                      <a:pt x="1834" y="187"/>
                    </a:lnTo>
                    <a:lnTo>
                      <a:pt x="1818" y="176"/>
                    </a:lnTo>
                    <a:lnTo>
                      <a:pt x="1801" y="165"/>
                    </a:lnTo>
                    <a:lnTo>
                      <a:pt x="1782" y="155"/>
                    </a:lnTo>
                    <a:lnTo>
                      <a:pt x="1762" y="144"/>
                    </a:lnTo>
                    <a:lnTo>
                      <a:pt x="1739" y="134"/>
                    </a:lnTo>
                    <a:lnTo>
                      <a:pt x="1715" y="124"/>
                    </a:lnTo>
                    <a:lnTo>
                      <a:pt x="1689" y="114"/>
                    </a:lnTo>
                    <a:lnTo>
                      <a:pt x="1661" y="102"/>
                    </a:lnTo>
                    <a:lnTo>
                      <a:pt x="1632" y="93"/>
                    </a:lnTo>
                    <a:lnTo>
                      <a:pt x="1600" y="83"/>
                    </a:lnTo>
                    <a:lnTo>
                      <a:pt x="1567" y="74"/>
                    </a:lnTo>
                    <a:lnTo>
                      <a:pt x="1532" y="64"/>
                    </a:lnTo>
                    <a:lnTo>
                      <a:pt x="1497" y="57"/>
                    </a:lnTo>
                    <a:lnTo>
                      <a:pt x="1459" y="48"/>
                    </a:lnTo>
                    <a:lnTo>
                      <a:pt x="1419" y="40"/>
                    </a:lnTo>
                    <a:lnTo>
                      <a:pt x="1378" y="33"/>
                    </a:lnTo>
                    <a:lnTo>
                      <a:pt x="1335" y="27"/>
                    </a:lnTo>
                    <a:lnTo>
                      <a:pt x="1291" y="20"/>
                    </a:lnTo>
                    <a:lnTo>
                      <a:pt x="1246" y="15"/>
                    </a:lnTo>
                    <a:lnTo>
                      <a:pt x="1199" y="10"/>
                    </a:lnTo>
                    <a:lnTo>
                      <a:pt x="1150" y="6"/>
                    </a:lnTo>
                    <a:lnTo>
                      <a:pt x="1101" y="4"/>
                    </a:lnTo>
                    <a:lnTo>
                      <a:pt x="1049" y="1"/>
                    </a:lnTo>
                    <a:lnTo>
                      <a:pt x="996" y="0"/>
                    </a:lnTo>
                    <a:lnTo>
                      <a:pt x="942" y="0"/>
                    </a:lnTo>
                    <a:lnTo>
                      <a:pt x="942" y="0"/>
                    </a:lnTo>
                    <a:lnTo>
                      <a:pt x="887" y="0"/>
                    </a:lnTo>
                    <a:lnTo>
                      <a:pt x="836" y="1"/>
                    </a:lnTo>
                    <a:lnTo>
                      <a:pt x="784" y="4"/>
                    </a:lnTo>
                    <a:lnTo>
                      <a:pt x="733" y="6"/>
                    </a:lnTo>
                    <a:lnTo>
                      <a:pt x="685" y="10"/>
                    </a:lnTo>
                    <a:lnTo>
                      <a:pt x="639" y="15"/>
                    </a:lnTo>
                    <a:lnTo>
                      <a:pt x="592" y="20"/>
                    </a:lnTo>
                    <a:lnTo>
                      <a:pt x="549" y="27"/>
                    </a:lnTo>
                    <a:lnTo>
                      <a:pt x="506" y="33"/>
                    </a:lnTo>
                    <a:lnTo>
                      <a:pt x="465" y="40"/>
                    </a:lnTo>
                    <a:lnTo>
                      <a:pt x="426" y="48"/>
                    </a:lnTo>
                    <a:lnTo>
                      <a:pt x="388" y="57"/>
                    </a:lnTo>
                    <a:lnTo>
                      <a:pt x="351" y="64"/>
                    </a:lnTo>
                    <a:lnTo>
                      <a:pt x="317" y="74"/>
                    </a:lnTo>
                    <a:lnTo>
                      <a:pt x="284" y="83"/>
                    </a:lnTo>
                    <a:lnTo>
                      <a:pt x="253" y="93"/>
                    </a:lnTo>
                    <a:lnTo>
                      <a:pt x="222" y="102"/>
                    </a:lnTo>
                    <a:lnTo>
                      <a:pt x="195" y="114"/>
                    </a:lnTo>
                    <a:lnTo>
                      <a:pt x="169" y="124"/>
                    </a:lnTo>
                    <a:lnTo>
                      <a:pt x="144" y="134"/>
                    </a:lnTo>
                    <a:lnTo>
                      <a:pt x="122" y="144"/>
                    </a:lnTo>
                    <a:lnTo>
                      <a:pt x="101" y="155"/>
                    </a:lnTo>
                    <a:lnTo>
                      <a:pt x="82" y="165"/>
                    </a:lnTo>
                    <a:lnTo>
                      <a:pt x="66" y="176"/>
                    </a:lnTo>
                    <a:lnTo>
                      <a:pt x="51" y="187"/>
                    </a:lnTo>
                    <a:lnTo>
                      <a:pt x="37" y="197"/>
                    </a:lnTo>
                    <a:lnTo>
                      <a:pt x="27" y="207"/>
                    </a:lnTo>
                    <a:lnTo>
                      <a:pt x="17" y="217"/>
                    </a:lnTo>
                    <a:lnTo>
                      <a:pt x="11" y="226"/>
                    </a:lnTo>
                    <a:lnTo>
                      <a:pt x="5" y="236"/>
                    </a:lnTo>
                    <a:lnTo>
                      <a:pt x="2" y="245"/>
                    </a:lnTo>
                    <a:lnTo>
                      <a:pt x="0" y="254"/>
                    </a:lnTo>
                    <a:lnTo>
                      <a:pt x="0" y="254"/>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defRPr/>
                </a:pPr>
                <a:endParaRPr lang="en-US" sz="1799" kern="0">
                  <a:solidFill>
                    <a:sysClr val="windowText" lastClr="000000"/>
                  </a:solidFill>
                </a:endParaRPr>
              </a:p>
            </p:txBody>
          </p:sp>
          <p:sp>
            <p:nvSpPr>
              <p:cNvPr id="61" name="Freeform 17"/>
              <p:cNvSpPr>
                <a:spLocks/>
              </p:cNvSpPr>
              <p:nvPr/>
            </p:nvSpPr>
            <p:spPr bwMode="auto">
              <a:xfrm>
                <a:off x="3473450" y="4781550"/>
                <a:ext cx="1741488" cy="1411287"/>
              </a:xfrm>
              <a:custGeom>
                <a:avLst/>
                <a:gdLst>
                  <a:gd name="T0" fmla="*/ 280 w 2194"/>
                  <a:gd name="T1" fmla="*/ 1778 h 1779"/>
                  <a:gd name="T2" fmla="*/ 363 w 2194"/>
                  <a:gd name="T3" fmla="*/ 1764 h 1779"/>
                  <a:gd name="T4" fmla="*/ 440 w 2194"/>
                  <a:gd name="T5" fmla="*/ 1736 h 1779"/>
                  <a:gd name="T6" fmla="*/ 511 w 2194"/>
                  <a:gd name="T7" fmla="*/ 1693 h 1779"/>
                  <a:gd name="T8" fmla="*/ 573 w 2194"/>
                  <a:gd name="T9" fmla="*/ 1637 h 1779"/>
                  <a:gd name="T10" fmla="*/ 625 w 2194"/>
                  <a:gd name="T11" fmla="*/ 1569 h 1779"/>
                  <a:gd name="T12" fmla="*/ 633 w 2194"/>
                  <a:gd name="T13" fmla="*/ 1558 h 1779"/>
                  <a:gd name="T14" fmla="*/ 652 w 2194"/>
                  <a:gd name="T15" fmla="*/ 1547 h 1779"/>
                  <a:gd name="T16" fmla="*/ 675 w 2194"/>
                  <a:gd name="T17" fmla="*/ 1543 h 1779"/>
                  <a:gd name="T18" fmla="*/ 696 w 2194"/>
                  <a:gd name="T19" fmla="*/ 1547 h 1779"/>
                  <a:gd name="T20" fmla="*/ 715 w 2194"/>
                  <a:gd name="T21" fmla="*/ 1558 h 1779"/>
                  <a:gd name="T22" fmla="*/ 725 w 2194"/>
                  <a:gd name="T23" fmla="*/ 1569 h 1779"/>
                  <a:gd name="T24" fmla="*/ 776 w 2194"/>
                  <a:gd name="T25" fmla="*/ 1637 h 1779"/>
                  <a:gd name="T26" fmla="*/ 838 w 2194"/>
                  <a:gd name="T27" fmla="*/ 1693 h 1779"/>
                  <a:gd name="T28" fmla="*/ 908 w 2194"/>
                  <a:gd name="T29" fmla="*/ 1736 h 1779"/>
                  <a:gd name="T30" fmla="*/ 985 w 2194"/>
                  <a:gd name="T31" fmla="*/ 1764 h 1779"/>
                  <a:gd name="T32" fmla="*/ 1069 w 2194"/>
                  <a:gd name="T33" fmla="*/ 1778 h 1779"/>
                  <a:gd name="T34" fmla="*/ 1125 w 2194"/>
                  <a:gd name="T35" fmla="*/ 1778 h 1779"/>
                  <a:gd name="T36" fmla="*/ 1209 w 2194"/>
                  <a:gd name="T37" fmla="*/ 1764 h 1779"/>
                  <a:gd name="T38" fmla="*/ 1286 w 2194"/>
                  <a:gd name="T39" fmla="*/ 1736 h 1779"/>
                  <a:gd name="T40" fmla="*/ 1356 w 2194"/>
                  <a:gd name="T41" fmla="*/ 1693 h 1779"/>
                  <a:gd name="T42" fmla="*/ 1418 w 2194"/>
                  <a:gd name="T43" fmla="*/ 1637 h 1779"/>
                  <a:gd name="T44" fmla="*/ 1470 w 2194"/>
                  <a:gd name="T45" fmla="*/ 1569 h 1779"/>
                  <a:gd name="T46" fmla="*/ 1479 w 2194"/>
                  <a:gd name="T47" fmla="*/ 1558 h 1779"/>
                  <a:gd name="T48" fmla="*/ 1498 w 2194"/>
                  <a:gd name="T49" fmla="*/ 1547 h 1779"/>
                  <a:gd name="T50" fmla="*/ 1519 w 2194"/>
                  <a:gd name="T51" fmla="*/ 1543 h 1779"/>
                  <a:gd name="T52" fmla="*/ 1542 w 2194"/>
                  <a:gd name="T53" fmla="*/ 1547 h 1779"/>
                  <a:gd name="T54" fmla="*/ 1561 w 2194"/>
                  <a:gd name="T55" fmla="*/ 1558 h 1779"/>
                  <a:gd name="T56" fmla="*/ 1569 w 2194"/>
                  <a:gd name="T57" fmla="*/ 1569 h 1779"/>
                  <a:gd name="T58" fmla="*/ 1621 w 2194"/>
                  <a:gd name="T59" fmla="*/ 1637 h 1779"/>
                  <a:gd name="T60" fmla="*/ 1683 w 2194"/>
                  <a:gd name="T61" fmla="*/ 1693 h 1779"/>
                  <a:gd name="T62" fmla="*/ 1754 w 2194"/>
                  <a:gd name="T63" fmla="*/ 1736 h 1779"/>
                  <a:gd name="T64" fmla="*/ 1831 w 2194"/>
                  <a:gd name="T65" fmla="*/ 1764 h 1779"/>
                  <a:gd name="T66" fmla="*/ 1914 w 2194"/>
                  <a:gd name="T67" fmla="*/ 1778 h 1779"/>
                  <a:gd name="T68" fmla="*/ 1977 w 2194"/>
                  <a:gd name="T69" fmla="*/ 1778 h 1779"/>
                  <a:gd name="T70" fmla="*/ 2077 w 2194"/>
                  <a:gd name="T71" fmla="*/ 1757 h 1779"/>
                  <a:gd name="T72" fmla="*/ 2166 w 2194"/>
                  <a:gd name="T73" fmla="*/ 1716 h 1779"/>
                  <a:gd name="T74" fmla="*/ 2194 w 2194"/>
                  <a:gd name="T75" fmla="*/ 0 h 1779"/>
                  <a:gd name="T76" fmla="*/ 2190 w 2194"/>
                  <a:gd name="T77" fmla="*/ 39 h 1779"/>
                  <a:gd name="T78" fmla="*/ 2179 w 2194"/>
                  <a:gd name="T79" fmla="*/ 77 h 1779"/>
                  <a:gd name="T80" fmla="*/ 2154 w 2194"/>
                  <a:gd name="T81" fmla="*/ 125 h 1779"/>
                  <a:gd name="T82" fmla="*/ 2097 w 2194"/>
                  <a:gd name="T83" fmla="*/ 189 h 1779"/>
                  <a:gd name="T84" fmla="*/ 2016 w 2194"/>
                  <a:gd name="T85" fmla="*/ 247 h 1779"/>
                  <a:gd name="T86" fmla="*/ 1916 w 2194"/>
                  <a:gd name="T87" fmla="*/ 297 h 1779"/>
                  <a:gd name="T88" fmla="*/ 1800 w 2194"/>
                  <a:gd name="T89" fmla="*/ 339 h 1779"/>
                  <a:gd name="T90" fmla="*/ 1670 w 2194"/>
                  <a:gd name="T91" fmla="*/ 375 h 1779"/>
                  <a:gd name="T92" fmla="*/ 1529 w 2194"/>
                  <a:gd name="T93" fmla="*/ 401 h 1779"/>
                  <a:gd name="T94" fmla="*/ 1380 w 2194"/>
                  <a:gd name="T95" fmla="*/ 422 h 1779"/>
                  <a:gd name="T96" fmla="*/ 1226 w 2194"/>
                  <a:gd name="T97" fmla="*/ 433 h 1779"/>
                  <a:gd name="T98" fmla="*/ 1069 w 2194"/>
                  <a:gd name="T99" fmla="*/ 437 h 1779"/>
                  <a:gd name="T100" fmla="*/ 900 w 2194"/>
                  <a:gd name="T101" fmla="*/ 433 h 1779"/>
                  <a:gd name="T102" fmla="*/ 651 w 2194"/>
                  <a:gd name="T103" fmla="*/ 409 h 1779"/>
                  <a:gd name="T104" fmla="*/ 423 w 2194"/>
                  <a:gd name="T105" fmla="*/ 363 h 1779"/>
                  <a:gd name="T106" fmla="*/ 320 w 2194"/>
                  <a:gd name="T107" fmla="*/ 334 h 1779"/>
                  <a:gd name="T108" fmla="*/ 226 w 2194"/>
                  <a:gd name="T109" fmla="*/ 299 h 1779"/>
                  <a:gd name="T110" fmla="*/ 144 w 2194"/>
                  <a:gd name="T111" fmla="*/ 259 h 1779"/>
                  <a:gd name="T112" fmla="*/ 73 w 2194"/>
                  <a:gd name="T113" fmla="*/ 214 h 1779"/>
                  <a:gd name="T114" fmla="*/ 16 w 2194"/>
                  <a:gd name="T115" fmla="*/ 165 h 1779"/>
                  <a:gd name="T116" fmla="*/ 0 w 2194"/>
                  <a:gd name="T117" fmla="*/ 1698 h 1779"/>
                  <a:gd name="T118" fmla="*/ 87 w 2194"/>
                  <a:gd name="T119" fmla="*/ 1746 h 1779"/>
                  <a:gd name="T120" fmla="*/ 183 w 2194"/>
                  <a:gd name="T121" fmla="*/ 1773 h 1779"/>
                  <a:gd name="T122" fmla="*/ 252 w 2194"/>
                  <a:gd name="T123" fmla="*/ 1779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94" h="1779">
                    <a:moveTo>
                      <a:pt x="252" y="1779"/>
                    </a:moveTo>
                    <a:lnTo>
                      <a:pt x="252" y="1779"/>
                    </a:lnTo>
                    <a:lnTo>
                      <a:pt x="280" y="1778"/>
                    </a:lnTo>
                    <a:lnTo>
                      <a:pt x="308" y="1775"/>
                    </a:lnTo>
                    <a:lnTo>
                      <a:pt x="336" y="1770"/>
                    </a:lnTo>
                    <a:lnTo>
                      <a:pt x="363" y="1764"/>
                    </a:lnTo>
                    <a:lnTo>
                      <a:pt x="390" y="1756"/>
                    </a:lnTo>
                    <a:lnTo>
                      <a:pt x="415" y="1747"/>
                    </a:lnTo>
                    <a:lnTo>
                      <a:pt x="440" y="1736"/>
                    </a:lnTo>
                    <a:lnTo>
                      <a:pt x="466" y="1723"/>
                    </a:lnTo>
                    <a:lnTo>
                      <a:pt x="488" y="1709"/>
                    </a:lnTo>
                    <a:lnTo>
                      <a:pt x="511" y="1693"/>
                    </a:lnTo>
                    <a:lnTo>
                      <a:pt x="532" y="1675"/>
                    </a:lnTo>
                    <a:lnTo>
                      <a:pt x="554" y="1658"/>
                    </a:lnTo>
                    <a:lnTo>
                      <a:pt x="573" y="1637"/>
                    </a:lnTo>
                    <a:lnTo>
                      <a:pt x="592" y="1616"/>
                    </a:lnTo>
                    <a:lnTo>
                      <a:pt x="608" y="1593"/>
                    </a:lnTo>
                    <a:lnTo>
                      <a:pt x="625" y="1569"/>
                    </a:lnTo>
                    <a:lnTo>
                      <a:pt x="625" y="1569"/>
                    </a:lnTo>
                    <a:lnTo>
                      <a:pt x="628" y="1563"/>
                    </a:lnTo>
                    <a:lnTo>
                      <a:pt x="633" y="1558"/>
                    </a:lnTo>
                    <a:lnTo>
                      <a:pt x="640" y="1554"/>
                    </a:lnTo>
                    <a:lnTo>
                      <a:pt x="646" y="1550"/>
                    </a:lnTo>
                    <a:lnTo>
                      <a:pt x="652" y="1547"/>
                    </a:lnTo>
                    <a:lnTo>
                      <a:pt x="660" y="1545"/>
                    </a:lnTo>
                    <a:lnTo>
                      <a:pt x="667" y="1544"/>
                    </a:lnTo>
                    <a:lnTo>
                      <a:pt x="675" y="1543"/>
                    </a:lnTo>
                    <a:lnTo>
                      <a:pt x="681" y="1544"/>
                    </a:lnTo>
                    <a:lnTo>
                      <a:pt x="689" y="1545"/>
                    </a:lnTo>
                    <a:lnTo>
                      <a:pt x="696" y="1547"/>
                    </a:lnTo>
                    <a:lnTo>
                      <a:pt x="703" y="1550"/>
                    </a:lnTo>
                    <a:lnTo>
                      <a:pt x="709" y="1554"/>
                    </a:lnTo>
                    <a:lnTo>
                      <a:pt x="715" y="1558"/>
                    </a:lnTo>
                    <a:lnTo>
                      <a:pt x="720" y="1563"/>
                    </a:lnTo>
                    <a:lnTo>
                      <a:pt x="725" y="1569"/>
                    </a:lnTo>
                    <a:lnTo>
                      <a:pt x="725" y="1569"/>
                    </a:lnTo>
                    <a:lnTo>
                      <a:pt x="741" y="1593"/>
                    </a:lnTo>
                    <a:lnTo>
                      <a:pt x="758" y="1616"/>
                    </a:lnTo>
                    <a:lnTo>
                      <a:pt x="776" y="1637"/>
                    </a:lnTo>
                    <a:lnTo>
                      <a:pt x="796" y="1658"/>
                    </a:lnTo>
                    <a:lnTo>
                      <a:pt x="816" y="1675"/>
                    </a:lnTo>
                    <a:lnTo>
                      <a:pt x="838" y="1693"/>
                    </a:lnTo>
                    <a:lnTo>
                      <a:pt x="860" y="1709"/>
                    </a:lnTo>
                    <a:lnTo>
                      <a:pt x="884" y="1723"/>
                    </a:lnTo>
                    <a:lnTo>
                      <a:pt x="908" y="1736"/>
                    </a:lnTo>
                    <a:lnTo>
                      <a:pt x="934" y="1747"/>
                    </a:lnTo>
                    <a:lnTo>
                      <a:pt x="959" y="1756"/>
                    </a:lnTo>
                    <a:lnTo>
                      <a:pt x="985" y="1764"/>
                    </a:lnTo>
                    <a:lnTo>
                      <a:pt x="1013" y="1770"/>
                    </a:lnTo>
                    <a:lnTo>
                      <a:pt x="1041" y="1775"/>
                    </a:lnTo>
                    <a:lnTo>
                      <a:pt x="1069" y="1778"/>
                    </a:lnTo>
                    <a:lnTo>
                      <a:pt x="1098" y="1779"/>
                    </a:lnTo>
                    <a:lnTo>
                      <a:pt x="1098" y="1779"/>
                    </a:lnTo>
                    <a:lnTo>
                      <a:pt x="1125" y="1778"/>
                    </a:lnTo>
                    <a:lnTo>
                      <a:pt x="1153" y="1775"/>
                    </a:lnTo>
                    <a:lnTo>
                      <a:pt x="1181" y="1770"/>
                    </a:lnTo>
                    <a:lnTo>
                      <a:pt x="1209" y="1764"/>
                    </a:lnTo>
                    <a:lnTo>
                      <a:pt x="1235" y="1756"/>
                    </a:lnTo>
                    <a:lnTo>
                      <a:pt x="1260" y="1747"/>
                    </a:lnTo>
                    <a:lnTo>
                      <a:pt x="1286" y="1736"/>
                    </a:lnTo>
                    <a:lnTo>
                      <a:pt x="1310" y="1723"/>
                    </a:lnTo>
                    <a:lnTo>
                      <a:pt x="1334" y="1709"/>
                    </a:lnTo>
                    <a:lnTo>
                      <a:pt x="1356" y="1693"/>
                    </a:lnTo>
                    <a:lnTo>
                      <a:pt x="1378" y="1675"/>
                    </a:lnTo>
                    <a:lnTo>
                      <a:pt x="1399" y="1658"/>
                    </a:lnTo>
                    <a:lnTo>
                      <a:pt x="1418" y="1637"/>
                    </a:lnTo>
                    <a:lnTo>
                      <a:pt x="1436" y="1616"/>
                    </a:lnTo>
                    <a:lnTo>
                      <a:pt x="1453" y="1593"/>
                    </a:lnTo>
                    <a:lnTo>
                      <a:pt x="1470" y="1569"/>
                    </a:lnTo>
                    <a:lnTo>
                      <a:pt x="1470" y="1569"/>
                    </a:lnTo>
                    <a:lnTo>
                      <a:pt x="1474" y="1563"/>
                    </a:lnTo>
                    <a:lnTo>
                      <a:pt x="1479" y="1558"/>
                    </a:lnTo>
                    <a:lnTo>
                      <a:pt x="1485" y="1554"/>
                    </a:lnTo>
                    <a:lnTo>
                      <a:pt x="1491" y="1550"/>
                    </a:lnTo>
                    <a:lnTo>
                      <a:pt x="1498" y="1547"/>
                    </a:lnTo>
                    <a:lnTo>
                      <a:pt x="1505" y="1545"/>
                    </a:lnTo>
                    <a:lnTo>
                      <a:pt x="1513" y="1544"/>
                    </a:lnTo>
                    <a:lnTo>
                      <a:pt x="1519" y="1543"/>
                    </a:lnTo>
                    <a:lnTo>
                      <a:pt x="1527" y="1544"/>
                    </a:lnTo>
                    <a:lnTo>
                      <a:pt x="1534" y="1545"/>
                    </a:lnTo>
                    <a:lnTo>
                      <a:pt x="1542" y="1547"/>
                    </a:lnTo>
                    <a:lnTo>
                      <a:pt x="1548" y="1550"/>
                    </a:lnTo>
                    <a:lnTo>
                      <a:pt x="1554" y="1554"/>
                    </a:lnTo>
                    <a:lnTo>
                      <a:pt x="1561" y="1558"/>
                    </a:lnTo>
                    <a:lnTo>
                      <a:pt x="1566" y="1563"/>
                    </a:lnTo>
                    <a:lnTo>
                      <a:pt x="1569" y="1569"/>
                    </a:lnTo>
                    <a:lnTo>
                      <a:pt x="1569" y="1569"/>
                    </a:lnTo>
                    <a:lnTo>
                      <a:pt x="1586" y="1593"/>
                    </a:lnTo>
                    <a:lnTo>
                      <a:pt x="1602" y="1616"/>
                    </a:lnTo>
                    <a:lnTo>
                      <a:pt x="1621" y="1637"/>
                    </a:lnTo>
                    <a:lnTo>
                      <a:pt x="1640" y="1658"/>
                    </a:lnTo>
                    <a:lnTo>
                      <a:pt x="1662" y="1675"/>
                    </a:lnTo>
                    <a:lnTo>
                      <a:pt x="1683" y="1693"/>
                    </a:lnTo>
                    <a:lnTo>
                      <a:pt x="1706" y="1709"/>
                    </a:lnTo>
                    <a:lnTo>
                      <a:pt x="1728" y="1723"/>
                    </a:lnTo>
                    <a:lnTo>
                      <a:pt x="1754" y="1736"/>
                    </a:lnTo>
                    <a:lnTo>
                      <a:pt x="1779" y="1747"/>
                    </a:lnTo>
                    <a:lnTo>
                      <a:pt x="1804" y="1756"/>
                    </a:lnTo>
                    <a:lnTo>
                      <a:pt x="1831" y="1764"/>
                    </a:lnTo>
                    <a:lnTo>
                      <a:pt x="1858" y="1770"/>
                    </a:lnTo>
                    <a:lnTo>
                      <a:pt x="1886" y="1775"/>
                    </a:lnTo>
                    <a:lnTo>
                      <a:pt x="1914" y="1778"/>
                    </a:lnTo>
                    <a:lnTo>
                      <a:pt x="1942" y="1779"/>
                    </a:lnTo>
                    <a:lnTo>
                      <a:pt x="1942" y="1779"/>
                    </a:lnTo>
                    <a:lnTo>
                      <a:pt x="1977" y="1778"/>
                    </a:lnTo>
                    <a:lnTo>
                      <a:pt x="2011" y="1773"/>
                    </a:lnTo>
                    <a:lnTo>
                      <a:pt x="2044" y="1766"/>
                    </a:lnTo>
                    <a:lnTo>
                      <a:pt x="2077" y="1757"/>
                    </a:lnTo>
                    <a:lnTo>
                      <a:pt x="2107" y="1746"/>
                    </a:lnTo>
                    <a:lnTo>
                      <a:pt x="2137" y="1732"/>
                    </a:lnTo>
                    <a:lnTo>
                      <a:pt x="2166" y="1716"/>
                    </a:lnTo>
                    <a:lnTo>
                      <a:pt x="2194" y="1698"/>
                    </a:lnTo>
                    <a:lnTo>
                      <a:pt x="2194" y="0"/>
                    </a:lnTo>
                    <a:lnTo>
                      <a:pt x="2194" y="0"/>
                    </a:lnTo>
                    <a:lnTo>
                      <a:pt x="2193" y="12"/>
                    </a:lnTo>
                    <a:lnTo>
                      <a:pt x="2191" y="26"/>
                    </a:lnTo>
                    <a:lnTo>
                      <a:pt x="2190" y="39"/>
                    </a:lnTo>
                    <a:lnTo>
                      <a:pt x="2186" y="52"/>
                    </a:lnTo>
                    <a:lnTo>
                      <a:pt x="2184" y="64"/>
                    </a:lnTo>
                    <a:lnTo>
                      <a:pt x="2179" y="77"/>
                    </a:lnTo>
                    <a:lnTo>
                      <a:pt x="2174" y="89"/>
                    </a:lnTo>
                    <a:lnTo>
                      <a:pt x="2168" y="101"/>
                    </a:lnTo>
                    <a:lnTo>
                      <a:pt x="2154" y="125"/>
                    </a:lnTo>
                    <a:lnTo>
                      <a:pt x="2137" y="146"/>
                    </a:lnTo>
                    <a:lnTo>
                      <a:pt x="2118" y="169"/>
                    </a:lnTo>
                    <a:lnTo>
                      <a:pt x="2097" y="189"/>
                    </a:lnTo>
                    <a:lnTo>
                      <a:pt x="2072" y="209"/>
                    </a:lnTo>
                    <a:lnTo>
                      <a:pt x="2045" y="228"/>
                    </a:lnTo>
                    <a:lnTo>
                      <a:pt x="2016" y="247"/>
                    </a:lnTo>
                    <a:lnTo>
                      <a:pt x="1985" y="265"/>
                    </a:lnTo>
                    <a:lnTo>
                      <a:pt x="1952" y="281"/>
                    </a:lnTo>
                    <a:lnTo>
                      <a:pt x="1916" y="297"/>
                    </a:lnTo>
                    <a:lnTo>
                      <a:pt x="1880" y="312"/>
                    </a:lnTo>
                    <a:lnTo>
                      <a:pt x="1841" y="327"/>
                    </a:lnTo>
                    <a:lnTo>
                      <a:pt x="1800" y="339"/>
                    </a:lnTo>
                    <a:lnTo>
                      <a:pt x="1759" y="352"/>
                    </a:lnTo>
                    <a:lnTo>
                      <a:pt x="1715" y="363"/>
                    </a:lnTo>
                    <a:lnTo>
                      <a:pt x="1670" y="375"/>
                    </a:lnTo>
                    <a:lnTo>
                      <a:pt x="1625" y="385"/>
                    </a:lnTo>
                    <a:lnTo>
                      <a:pt x="1577" y="394"/>
                    </a:lnTo>
                    <a:lnTo>
                      <a:pt x="1529" y="401"/>
                    </a:lnTo>
                    <a:lnTo>
                      <a:pt x="1480" y="409"/>
                    </a:lnTo>
                    <a:lnTo>
                      <a:pt x="1431" y="415"/>
                    </a:lnTo>
                    <a:lnTo>
                      <a:pt x="1380" y="422"/>
                    </a:lnTo>
                    <a:lnTo>
                      <a:pt x="1330" y="427"/>
                    </a:lnTo>
                    <a:lnTo>
                      <a:pt x="1278" y="430"/>
                    </a:lnTo>
                    <a:lnTo>
                      <a:pt x="1226" y="433"/>
                    </a:lnTo>
                    <a:lnTo>
                      <a:pt x="1173" y="435"/>
                    </a:lnTo>
                    <a:lnTo>
                      <a:pt x="1122" y="437"/>
                    </a:lnTo>
                    <a:lnTo>
                      <a:pt x="1069" y="437"/>
                    </a:lnTo>
                    <a:lnTo>
                      <a:pt x="1069" y="437"/>
                    </a:lnTo>
                    <a:lnTo>
                      <a:pt x="984" y="437"/>
                    </a:lnTo>
                    <a:lnTo>
                      <a:pt x="900" y="433"/>
                    </a:lnTo>
                    <a:lnTo>
                      <a:pt x="815" y="427"/>
                    </a:lnTo>
                    <a:lnTo>
                      <a:pt x="733" y="419"/>
                    </a:lnTo>
                    <a:lnTo>
                      <a:pt x="651" y="409"/>
                    </a:lnTo>
                    <a:lnTo>
                      <a:pt x="573" y="396"/>
                    </a:lnTo>
                    <a:lnTo>
                      <a:pt x="496" y="381"/>
                    </a:lnTo>
                    <a:lnTo>
                      <a:pt x="423" y="363"/>
                    </a:lnTo>
                    <a:lnTo>
                      <a:pt x="387" y="355"/>
                    </a:lnTo>
                    <a:lnTo>
                      <a:pt x="353" y="344"/>
                    </a:lnTo>
                    <a:lnTo>
                      <a:pt x="320" y="334"/>
                    </a:lnTo>
                    <a:lnTo>
                      <a:pt x="288" y="323"/>
                    </a:lnTo>
                    <a:lnTo>
                      <a:pt x="256" y="312"/>
                    </a:lnTo>
                    <a:lnTo>
                      <a:pt x="226" y="299"/>
                    </a:lnTo>
                    <a:lnTo>
                      <a:pt x="197" y="286"/>
                    </a:lnTo>
                    <a:lnTo>
                      <a:pt x="169" y="273"/>
                    </a:lnTo>
                    <a:lnTo>
                      <a:pt x="144" y="259"/>
                    </a:lnTo>
                    <a:lnTo>
                      <a:pt x="119" y="245"/>
                    </a:lnTo>
                    <a:lnTo>
                      <a:pt x="95" y="230"/>
                    </a:lnTo>
                    <a:lnTo>
                      <a:pt x="73" y="214"/>
                    </a:lnTo>
                    <a:lnTo>
                      <a:pt x="52" y="198"/>
                    </a:lnTo>
                    <a:lnTo>
                      <a:pt x="33" y="182"/>
                    </a:lnTo>
                    <a:lnTo>
                      <a:pt x="16" y="165"/>
                    </a:lnTo>
                    <a:lnTo>
                      <a:pt x="0" y="148"/>
                    </a:lnTo>
                    <a:lnTo>
                      <a:pt x="0" y="1698"/>
                    </a:lnTo>
                    <a:lnTo>
                      <a:pt x="0" y="1698"/>
                    </a:lnTo>
                    <a:lnTo>
                      <a:pt x="28" y="1716"/>
                    </a:lnTo>
                    <a:lnTo>
                      <a:pt x="57" y="1732"/>
                    </a:lnTo>
                    <a:lnTo>
                      <a:pt x="87" y="1746"/>
                    </a:lnTo>
                    <a:lnTo>
                      <a:pt x="117" y="1757"/>
                    </a:lnTo>
                    <a:lnTo>
                      <a:pt x="150" y="1766"/>
                    </a:lnTo>
                    <a:lnTo>
                      <a:pt x="183" y="1773"/>
                    </a:lnTo>
                    <a:lnTo>
                      <a:pt x="217" y="1778"/>
                    </a:lnTo>
                    <a:lnTo>
                      <a:pt x="252" y="1779"/>
                    </a:lnTo>
                    <a:lnTo>
                      <a:pt x="252" y="1779"/>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defRPr/>
                </a:pPr>
                <a:endParaRPr lang="en-US" sz="1799" kern="0">
                  <a:solidFill>
                    <a:sysClr val="windowText" lastClr="000000"/>
                  </a:solidFill>
                </a:endParaRPr>
              </a:p>
            </p:txBody>
          </p:sp>
          <p:sp>
            <p:nvSpPr>
              <p:cNvPr id="62" name="Freeform 18"/>
              <p:cNvSpPr>
                <a:spLocks/>
              </p:cNvSpPr>
              <p:nvPr/>
            </p:nvSpPr>
            <p:spPr bwMode="auto">
              <a:xfrm>
                <a:off x="3473450" y="6130925"/>
                <a:ext cx="1741488" cy="727075"/>
              </a:xfrm>
              <a:custGeom>
                <a:avLst/>
                <a:gdLst>
                  <a:gd name="T0" fmla="*/ 1911 w 2194"/>
                  <a:gd name="T1" fmla="*/ 195 h 915"/>
                  <a:gd name="T2" fmla="*/ 1821 w 2194"/>
                  <a:gd name="T3" fmla="*/ 183 h 915"/>
                  <a:gd name="T4" fmla="*/ 1736 w 2194"/>
                  <a:gd name="T5" fmla="*/ 156 h 915"/>
                  <a:gd name="T6" fmla="*/ 1655 w 2194"/>
                  <a:gd name="T7" fmla="*/ 117 h 915"/>
                  <a:gd name="T8" fmla="*/ 1583 w 2194"/>
                  <a:gd name="T9" fmla="*/ 64 h 915"/>
                  <a:gd name="T10" fmla="*/ 1519 w 2194"/>
                  <a:gd name="T11" fmla="*/ 0 h 915"/>
                  <a:gd name="T12" fmla="*/ 1479 w 2194"/>
                  <a:gd name="T13" fmla="*/ 44 h 915"/>
                  <a:gd name="T14" fmla="*/ 1408 w 2194"/>
                  <a:gd name="T15" fmla="*/ 101 h 915"/>
                  <a:gd name="T16" fmla="*/ 1331 w 2194"/>
                  <a:gd name="T17" fmla="*/ 145 h 915"/>
                  <a:gd name="T18" fmla="*/ 1247 w 2194"/>
                  <a:gd name="T19" fmla="*/ 175 h 915"/>
                  <a:gd name="T20" fmla="*/ 1158 w 2194"/>
                  <a:gd name="T21" fmla="*/ 193 h 915"/>
                  <a:gd name="T22" fmla="*/ 1098 w 2194"/>
                  <a:gd name="T23" fmla="*/ 195 h 915"/>
                  <a:gd name="T24" fmla="*/ 1006 w 2194"/>
                  <a:gd name="T25" fmla="*/ 188 h 915"/>
                  <a:gd name="T26" fmla="*/ 918 w 2194"/>
                  <a:gd name="T27" fmla="*/ 166 h 915"/>
                  <a:gd name="T28" fmla="*/ 836 w 2194"/>
                  <a:gd name="T29" fmla="*/ 131 h 915"/>
                  <a:gd name="T30" fmla="*/ 762 w 2194"/>
                  <a:gd name="T31" fmla="*/ 83 h 915"/>
                  <a:gd name="T32" fmla="*/ 695 w 2194"/>
                  <a:gd name="T33" fmla="*/ 22 h 915"/>
                  <a:gd name="T34" fmla="*/ 655 w 2194"/>
                  <a:gd name="T35" fmla="*/ 22 h 915"/>
                  <a:gd name="T36" fmla="*/ 588 w 2194"/>
                  <a:gd name="T37" fmla="*/ 83 h 915"/>
                  <a:gd name="T38" fmla="*/ 512 w 2194"/>
                  <a:gd name="T39" fmla="*/ 131 h 915"/>
                  <a:gd name="T40" fmla="*/ 430 w 2194"/>
                  <a:gd name="T41" fmla="*/ 166 h 915"/>
                  <a:gd name="T42" fmla="*/ 343 w 2194"/>
                  <a:gd name="T43" fmla="*/ 188 h 915"/>
                  <a:gd name="T44" fmla="*/ 252 w 2194"/>
                  <a:gd name="T45" fmla="*/ 195 h 915"/>
                  <a:gd name="T46" fmla="*/ 185 w 2194"/>
                  <a:gd name="T47" fmla="*/ 192 h 915"/>
                  <a:gd name="T48" fmla="*/ 90 w 2194"/>
                  <a:gd name="T49" fmla="*/ 171 h 915"/>
                  <a:gd name="T50" fmla="*/ 0 w 2194"/>
                  <a:gd name="T51" fmla="*/ 135 h 915"/>
                  <a:gd name="T52" fmla="*/ 15 w 2194"/>
                  <a:gd name="T53" fmla="*/ 703 h 915"/>
                  <a:gd name="T54" fmla="*/ 69 w 2194"/>
                  <a:gd name="T55" fmla="*/ 737 h 915"/>
                  <a:gd name="T56" fmla="*/ 136 w 2194"/>
                  <a:gd name="T57" fmla="*/ 770 h 915"/>
                  <a:gd name="T58" fmla="*/ 274 w 2194"/>
                  <a:gd name="T59" fmla="*/ 819 h 915"/>
                  <a:gd name="T60" fmla="*/ 477 w 2194"/>
                  <a:gd name="T61" fmla="*/ 866 h 915"/>
                  <a:gd name="T62" fmla="*/ 713 w 2194"/>
                  <a:gd name="T63" fmla="*/ 899 h 915"/>
                  <a:gd name="T64" fmla="*/ 975 w 2194"/>
                  <a:gd name="T65" fmla="*/ 914 h 915"/>
                  <a:gd name="T66" fmla="*/ 1125 w 2194"/>
                  <a:gd name="T67" fmla="*/ 915 h 915"/>
                  <a:gd name="T68" fmla="*/ 1294 w 2194"/>
                  <a:gd name="T69" fmla="*/ 909 h 915"/>
                  <a:gd name="T70" fmla="*/ 1455 w 2194"/>
                  <a:gd name="T71" fmla="*/ 895 h 915"/>
                  <a:gd name="T72" fmla="*/ 1604 w 2194"/>
                  <a:gd name="T73" fmla="*/ 875 h 915"/>
                  <a:gd name="T74" fmla="*/ 1741 w 2194"/>
                  <a:gd name="T75" fmla="*/ 849 h 915"/>
                  <a:gd name="T76" fmla="*/ 1863 w 2194"/>
                  <a:gd name="T77" fmla="*/ 818 h 915"/>
                  <a:gd name="T78" fmla="*/ 1969 w 2194"/>
                  <a:gd name="T79" fmla="*/ 782 h 915"/>
                  <a:gd name="T80" fmla="*/ 2058 w 2194"/>
                  <a:gd name="T81" fmla="*/ 742 h 915"/>
                  <a:gd name="T82" fmla="*/ 2125 w 2194"/>
                  <a:gd name="T83" fmla="*/ 698 h 915"/>
                  <a:gd name="T84" fmla="*/ 2170 w 2194"/>
                  <a:gd name="T85" fmla="*/ 651 h 915"/>
                  <a:gd name="T86" fmla="*/ 2191 w 2194"/>
                  <a:gd name="T87" fmla="*/ 601 h 915"/>
                  <a:gd name="T88" fmla="*/ 2194 w 2194"/>
                  <a:gd name="T89" fmla="*/ 135 h 915"/>
                  <a:gd name="T90" fmla="*/ 2104 w 2194"/>
                  <a:gd name="T91" fmla="*/ 171 h 915"/>
                  <a:gd name="T92" fmla="*/ 2009 w 2194"/>
                  <a:gd name="T93" fmla="*/ 192 h 915"/>
                  <a:gd name="T94" fmla="*/ 1942 w 2194"/>
                  <a:gd name="T95" fmla="*/ 19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94" h="915">
                    <a:moveTo>
                      <a:pt x="1942" y="195"/>
                    </a:moveTo>
                    <a:lnTo>
                      <a:pt x="1942" y="195"/>
                    </a:lnTo>
                    <a:lnTo>
                      <a:pt x="1911" y="195"/>
                    </a:lnTo>
                    <a:lnTo>
                      <a:pt x="1881" y="193"/>
                    </a:lnTo>
                    <a:lnTo>
                      <a:pt x="1851" y="188"/>
                    </a:lnTo>
                    <a:lnTo>
                      <a:pt x="1821" y="183"/>
                    </a:lnTo>
                    <a:lnTo>
                      <a:pt x="1792" y="175"/>
                    </a:lnTo>
                    <a:lnTo>
                      <a:pt x="1764" y="166"/>
                    </a:lnTo>
                    <a:lnTo>
                      <a:pt x="1736" y="156"/>
                    </a:lnTo>
                    <a:lnTo>
                      <a:pt x="1708" y="145"/>
                    </a:lnTo>
                    <a:lnTo>
                      <a:pt x="1682" y="131"/>
                    </a:lnTo>
                    <a:lnTo>
                      <a:pt x="1655" y="117"/>
                    </a:lnTo>
                    <a:lnTo>
                      <a:pt x="1631" y="101"/>
                    </a:lnTo>
                    <a:lnTo>
                      <a:pt x="1606" y="83"/>
                    </a:lnTo>
                    <a:lnTo>
                      <a:pt x="1583" y="64"/>
                    </a:lnTo>
                    <a:lnTo>
                      <a:pt x="1561" y="44"/>
                    </a:lnTo>
                    <a:lnTo>
                      <a:pt x="1539" y="22"/>
                    </a:lnTo>
                    <a:lnTo>
                      <a:pt x="1519" y="0"/>
                    </a:lnTo>
                    <a:lnTo>
                      <a:pt x="1519" y="0"/>
                    </a:lnTo>
                    <a:lnTo>
                      <a:pt x="1499" y="22"/>
                    </a:lnTo>
                    <a:lnTo>
                      <a:pt x="1479" y="44"/>
                    </a:lnTo>
                    <a:lnTo>
                      <a:pt x="1456" y="64"/>
                    </a:lnTo>
                    <a:lnTo>
                      <a:pt x="1432" y="83"/>
                    </a:lnTo>
                    <a:lnTo>
                      <a:pt x="1408" y="101"/>
                    </a:lnTo>
                    <a:lnTo>
                      <a:pt x="1383" y="117"/>
                    </a:lnTo>
                    <a:lnTo>
                      <a:pt x="1358" y="131"/>
                    </a:lnTo>
                    <a:lnTo>
                      <a:pt x="1331" y="145"/>
                    </a:lnTo>
                    <a:lnTo>
                      <a:pt x="1303" y="156"/>
                    </a:lnTo>
                    <a:lnTo>
                      <a:pt x="1276" y="166"/>
                    </a:lnTo>
                    <a:lnTo>
                      <a:pt x="1247" y="175"/>
                    </a:lnTo>
                    <a:lnTo>
                      <a:pt x="1217" y="183"/>
                    </a:lnTo>
                    <a:lnTo>
                      <a:pt x="1188" y="188"/>
                    </a:lnTo>
                    <a:lnTo>
                      <a:pt x="1158" y="193"/>
                    </a:lnTo>
                    <a:lnTo>
                      <a:pt x="1128" y="195"/>
                    </a:lnTo>
                    <a:lnTo>
                      <a:pt x="1098" y="195"/>
                    </a:lnTo>
                    <a:lnTo>
                      <a:pt x="1098" y="195"/>
                    </a:lnTo>
                    <a:lnTo>
                      <a:pt x="1066" y="195"/>
                    </a:lnTo>
                    <a:lnTo>
                      <a:pt x="1036" y="193"/>
                    </a:lnTo>
                    <a:lnTo>
                      <a:pt x="1006" y="188"/>
                    </a:lnTo>
                    <a:lnTo>
                      <a:pt x="977" y="183"/>
                    </a:lnTo>
                    <a:lnTo>
                      <a:pt x="947" y="175"/>
                    </a:lnTo>
                    <a:lnTo>
                      <a:pt x="918" y="166"/>
                    </a:lnTo>
                    <a:lnTo>
                      <a:pt x="891" y="156"/>
                    </a:lnTo>
                    <a:lnTo>
                      <a:pt x="863" y="145"/>
                    </a:lnTo>
                    <a:lnTo>
                      <a:pt x="836" y="131"/>
                    </a:lnTo>
                    <a:lnTo>
                      <a:pt x="811" y="117"/>
                    </a:lnTo>
                    <a:lnTo>
                      <a:pt x="786" y="101"/>
                    </a:lnTo>
                    <a:lnTo>
                      <a:pt x="762" y="83"/>
                    </a:lnTo>
                    <a:lnTo>
                      <a:pt x="738" y="64"/>
                    </a:lnTo>
                    <a:lnTo>
                      <a:pt x="715" y="44"/>
                    </a:lnTo>
                    <a:lnTo>
                      <a:pt x="695" y="22"/>
                    </a:lnTo>
                    <a:lnTo>
                      <a:pt x="675" y="0"/>
                    </a:lnTo>
                    <a:lnTo>
                      <a:pt x="675" y="0"/>
                    </a:lnTo>
                    <a:lnTo>
                      <a:pt x="655" y="22"/>
                    </a:lnTo>
                    <a:lnTo>
                      <a:pt x="633" y="44"/>
                    </a:lnTo>
                    <a:lnTo>
                      <a:pt x="611" y="64"/>
                    </a:lnTo>
                    <a:lnTo>
                      <a:pt x="588" y="83"/>
                    </a:lnTo>
                    <a:lnTo>
                      <a:pt x="563" y="101"/>
                    </a:lnTo>
                    <a:lnTo>
                      <a:pt x="539" y="117"/>
                    </a:lnTo>
                    <a:lnTo>
                      <a:pt x="512" y="131"/>
                    </a:lnTo>
                    <a:lnTo>
                      <a:pt x="486" y="145"/>
                    </a:lnTo>
                    <a:lnTo>
                      <a:pt x="458" y="156"/>
                    </a:lnTo>
                    <a:lnTo>
                      <a:pt x="430" y="166"/>
                    </a:lnTo>
                    <a:lnTo>
                      <a:pt x="402" y="175"/>
                    </a:lnTo>
                    <a:lnTo>
                      <a:pt x="373" y="183"/>
                    </a:lnTo>
                    <a:lnTo>
                      <a:pt x="343" y="188"/>
                    </a:lnTo>
                    <a:lnTo>
                      <a:pt x="313" y="193"/>
                    </a:lnTo>
                    <a:lnTo>
                      <a:pt x="283" y="195"/>
                    </a:lnTo>
                    <a:lnTo>
                      <a:pt x="252" y="195"/>
                    </a:lnTo>
                    <a:lnTo>
                      <a:pt x="252" y="195"/>
                    </a:lnTo>
                    <a:lnTo>
                      <a:pt x="218" y="195"/>
                    </a:lnTo>
                    <a:lnTo>
                      <a:pt x="185" y="192"/>
                    </a:lnTo>
                    <a:lnTo>
                      <a:pt x="153" y="186"/>
                    </a:lnTo>
                    <a:lnTo>
                      <a:pt x="121" y="180"/>
                    </a:lnTo>
                    <a:lnTo>
                      <a:pt x="90" y="171"/>
                    </a:lnTo>
                    <a:lnTo>
                      <a:pt x="59" y="161"/>
                    </a:lnTo>
                    <a:lnTo>
                      <a:pt x="29" y="149"/>
                    </a:lnTo>
                    <a:lnTo>
                      <a:pt x="0" y="135"/>
                    </a:lnTo>
                    <a:lnTo>
                      <a:pt x="0" y="690"/>
                    </a:lnTo>
                    <a:lnTo>
                      <a:pt x="0" y="690"/>
                    </a:lnTo>
                    <a:lnTo>
                      <a:pt x="15" y="703"/>
                    </a:lnTo>
                    <a:lnTo>
                      <a:pt x="32" y="714"/>
                    </a:lnTo>
                    <a:lnTo>
                      <a:pt x="50" y="726"/>
                    </a:lnTo>
                    <a:lnTo>
                      <a:pt x="69" y="737"/>
                    </a:lnTo>
                    <a:lnTo>
                      <a:pt x="91" y="748"/>
                    </a:lnTo>
                    <a:lnTo>
                      <a:pt x="112" y="760"/>
                    </a:lnTo>
                    <a:lnTo>
                      <a:pt x="136" y="770"/>
                    </a:lnTo>
                    <a:lnTo>
                      <a:pt x="161" y="780"/>
                    </a:lnTo>
                    <a:lnTo>
                      <a:pt x="214" y="800"/>
                    </a:lnTo>
                    <a:lnTo>
                      <a:pt x="274" y="819"/>
                    </a:lnTo>
                    <a:lnTo>
                      <a:pt x="337" y="835"/>
                    </a:lnTo>
                    <a:lnTo>
                      <a:pt x="405" y="852"/>
                    </a:lnTo>
                    <a:lnTo>
                      <a:pt x="477" y="866"/>
                    </a:lnTo>
                    <a:lnTo>
                      <a:pt x="551" y="878"/>
                    </a:lnTo>
                    <a:lnTo>
                      <a:pt x="631" y="890"/>
                    </a:lnTo>
                    <a:lnTo>
                      <a:pt x="713" y="899"/>
                    </a:lnTo>
                    <a:lnTo>
                      <a:pt x="797" y="905"/>
                    </a:lnTo>
                    <a:lnTo>
                      <a:pt x="886" y="911"/>
                    </a:lnTo>
                    <a:lnTo>
                      <a:pt x="975" y="914"/>
                    </a:lnTo>
                    <a:lnTo>
                      <a:pt x="1067" y="915"/>
                    </a:lnTo>
                    <a:lnTo>
                      <a:pt x="1067" y="915"/>
                    </a:lnTo>
                    <a:lnTo>
                      <a:pt x="1125" y="915"/>
                    </a:lnTo>
                    <a:lnTo>
                      <a:pt x="1182" y="914"/>
                    </a:lnTo>
                    <a:lnTo>
                      <a:pt x="1239" y="911"/>
                    </a:lnTo>
                    <a:lnTo>
                      <a:pt x="1294" y="909"/>
                    </a:lnTo>
                    <a:lnTo>
                      <a:pt x="1349" y="905"/>
                    </a:lnTo>
                    <a:lnTo>
                      <a:pt x="1402" y="900"/>
                    </a:lnTo>
                    <a:lnTo>
                      <a:pt x="1455" y="895"/>
                    </a:lnTo>
                    <a:lnTo>
                      <a:pt x="1505" y="888"/>
                    </a:lnTo>
                    <a:lnTo>
                      <a:pt x="1556" y="882"/>
                    </a:lnTo>
                    <a:lnTo>
                      <a:pt x="1604" y="875"/>
                    </a:lnTo>
                    <a:lnTo>
                      <a:pt x="1651" y="867"/>
                    </a:lnTo>
                    <a:lnTo>
                      <a:pt x="1697" y="858"/>
                    </a:lnTo>
                    <a:lnTo>
                      <a:pt x="1741" y="849"/>
                    </a:lnTo>
                    <a:lnTo>
                      <a:pt x="1784" y="839"/>
                    </a:lnTo>
                    <a:lnTo>
                      <a:pt x="1824" y="829"/>
                    </a:lnTo>
                    <a:lnTo>
                      <a:pt x="1863" y="818"/>
                    </a:lnTo>
                    <a:lnTo>
                      <a:pt x="1901" y="806"/>
                    </a:lnTo>
                    <a:lnTo>
                      <a:pt x="1937" y="795"/>
                    </a:lnTo>
                    <a:lnTo>
                      <a:pt x="1969" y="782"/>
                    </a:lnTo>
                    <a:lnTo>
                      <a:pt x="2001" y="769"/>
                    </a:lnTo>
                    <a:lnTo>
                      <a:pt x="2030" y="756"/>
                    </a:lnTo>
                    <a:lnTo>
                      <a:pt x="2058" y="742"/>
                    </a:lnTo>
                    <a:lnTo>
                      <a:pt x="2083" y="727"/>
                    </a:lnTo>
                    <a:lnTo>
                      <a:pt x="2104" y="713"/>
                    </a:lnTo>
                    <a:lnTo>
                      <a:pt x="2125" y="698"/>
                    </a:lnTo>
                    <a:lnTo>
                      <a:pt x="2142" y="683"/>
                    </a:lnTo>
                    <a:lnTo>
                      <a:pt x="2157" y="666"/>
                    </a:lnTo>
                    <a:lnTo>
                      <a:pt x="2170" y="651"/>
                    </a:lnTo>
                    <a:lnTo>
                      <a:pt x="2180" y="635"/>
                    </a:lnTo>
                    <a:lnTo>
                      <a:pt x="2188" y="618"/>
                    </a:lnTo>
                    <a:lnTo>
                      <a:pt x="2191" y="601"/>
                    </a:lnTo>
                    <a:lnTo>
                      <a:pt x="2194" y="584"/>
                    </a:lnTo>
                    <a:lnTo>
                      <a:pt x="2194" y="135"/>
                    </a:lnTo>
                    <a:lnTo>
                      <a:pt x="2194" y="135"/>
                    </a:lnTo>
                    <a:lnTo>
                      <a:pt x="2165" y="149"/>
                    </a:lnTo>
                    <a:lnTo>
                      <a:pt x="2135" y="161"/>
                    </a:lnTo>
                    <a:lnTo>
                      <a:pt x="2104" y="171"/>
                    </a:lnTo>
                    <a:lnTo>
                      <a:pt x="2073" y="180"/>
                    </a:lnTo>
                    <a:lnTo>
                      <a:pt x="2041" y="186"/>
                    </a:lnTo>
                    <a:lnTo>
                      <a:pt x="2009" y="192"/>
                    </a:lnTo>
                    <a:lnTo>
                      <a:pt x="1976" y="195"/>
                    </a:lnTo>
                    <a:lnTo>
                      <a:pt x="1942" y="195"/>
                    </a:lnTo>
                    <a:lnTo>
                      <a:pt x="1942" y="195"/>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defRPr/>
                </a:pPr>
                <a:endParaRPr lang="en-US" sz="1799" kern="0">
                  <a:solidFill>
                    <a:sysClr val="windowText" lastClr="000000"/>
                  </a:solidFill>
                </a:endParaRPr>
              </a:p>
            </p:txBody>
          </p:sp>
        </p:grpSp>
        <p:sp>
          <p:nvSpPr>
            <p:cNvPr id="52" name="Rectangle 51"/>
            <p:cNvSpPr/>
            <p:nvPr/>
          </p:nvSpPr>
          <p:spPr>
            <a:xfrm>
              <a:off x="2962833" y="2295083"/>
              <a:ext cx="1294130" cy="439642"/>
            </a:xfrm>
            <a:prstGeom prst="rect">
              <a:avLst/>
            </a:prstGeom>
          </p:spPr>
          <p:txBody>
            <a:bodyPr wrap="square">
              <a:spAutoFit/>
            </a:bodyPr>
            <a:lstStyle/>
            <a:p>
              <a:pPr defTabSz="896203">
                <a:defRPr/>
              </a:pPr>
              <a:r>
                <a:rPr lang="en-US" sz="1100" kern="0" dirty="0">
                  <a:solidFill>
                    <a:schemeClr val="accent2">
                      <a:lumMod val="75000"/>
                    </a:schemeClr>
                  </a:solidFill>
                  <a:cs typeface="Segoe UI Semilight" panose="020B0402040204020203" pitchFamily="34" charset="0"/>
                </a:rPr>
                <a:t>Machine</a:t>
              </a:r>
              <a:r>
                <a:rPr lang="en-US" sz="1100" kern="0" dirty="0">
                  <a:solidFill>
                    <a:schemeClr val="bg2">
                      <a:lumMod val="75000"/>
                    </a:schemeClr>
                  </a:solidFill>
                  <a:cs typeface="Segoe UI Semilight" panose="020B0402040204020203" pitchFamily="34" charset="0"/>
                </a:rPr>
                <a:t> </a:t>
              </a:r>
              <a:r>
                <a:rPr lang="en-US" sz="1100" kern="0" dirty="0">
                  <a:solidFill>
                    <a:schemeClr val="accent2">
                      <a:lumMod val="75000"/>
                    </a:schemeClr>
                  </a:solidFill>
                  <a:cs typeface="Segoe UI Semilight" panose="020B0402040204020203" pitchFamily="34" charset="0"/>
                </a:rPr>
                <a:t>Learning</a:t>
              </a:r>
            </a:p>
          </p:txBody>
        </p:sp>
        <p:grpSp>
          <p:nvGrpSpPr>
            <p:cNvPr id="53" name="Group 52"/>
            <p:cNvGrpSpPr/>
            <p:nvPr/>
          </p:nvGrpSpPr>
          <p:grpSpPr>
            <a:xfrm>
              <a:off x="2519622" y="4890724"/>
              <a:ext cx="359675" cy="276298"/>
              <a:chOff x="1260022" y="5196402"/>
              <a:chExt cx="3273425" cy="2514600"/>
            </a:xfrm>
            <a:solidFill>
              <a:schemeClr val="tx1"/>
            </a:solidFill>
          </p:grpSpPr>
          <p:sp>
            <p:nvSpPr>
              <p:cNvPr id="56" name="Freeform 55"/>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defRPr/>
                </a:pPr>
                <a:endParaRPr lang="en-US" sz="1799" dirty="0"/>
              </a:p>
            </p:txBody>
          </p:sp>
          <p:sp>
            <p:nvSpPr>
              <p:cNvPr id="57" name="Freeform 56"/>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defRPr/>
                </a:pPr>
                <a:endParaRPr lang="en-US" sz="1799" dirty="0"/>
              </a:p>
            </p:txBody>
          </p:sp>
          <p:sp>
            <p:nvSpPr>
              <p:cNvPr id="58" name="Freeform 57"/>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defRPr/>
                </a:pPr>
                <a:endParaRPr lang="en-US" sz="1799" dirty="0"/>
              </a:p>
            </p:txBody>
          </p:sp>
          <p:sp>
            <p:nvSpPr>
              <p:cNvPr id="59" name="Freeform 58"/>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defRPr/>
                </a:pPr>
                <a:endParaRPr lang="en-US" sz="1799" dirty="0"/>
              </a:p>
            </p:txBody>
          </p:sp>
        </p:grpSp>
        <p:sp>
          <p:nvSpPr>
            <p:cNvPr id="54" name="Freeform 53"/>
            <p:cNvSpPr>
              <a:spLocks/>
            </p:cNvSpPr>
            <p:nvPr/>
          </p:nvSpPr>
          <p:spPr bwMode="auto">
            <a:xfrm>
              <a:off x="2520964" y="4034622"/>
              <a:ext cx="373674" cy="282777"/>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tx1"/>
            </a:solidFill>
            <a:ln w="6350">
              <a:noFill/>
            </a:ln>
          </p:spPr>
          <p:txBody>
            <a:bodyPr vert="horz" wrap="square" lIns="91403" tIns="45701" rIns="91403" bIns="45701" numCol="1" anchor="t" anchorCtr="0" compatLnSpc="1">
              <a:prstTxWarp prst="textNoShape">
                <a:avLst/>
              </a:prstTxWarp>
            </a:bodyPr>
            <a:lstStyle/>
            <a:p>
              <a:pPr defTabSz="896203">
                <a:defRPr/>
              </a:pPr>
              <a:endParaRPr lang="en-US" sz="1600" kern="0" dirty="0">
                <a:solidFill>
                  <a:sysClr val="windowText" lastClr="000000"/>
                </a:solidFill>
              </a:endParaRPr>
            </a:p>
          </p:txBody>
        </p:sp>
        <p:sp>
          <p:nvSpPr>
            <p:cNvPr id="55" name="Freeform 54"/>
            <p:cNvSpPr/>
            <p:nvPr/>
          </p:nvSpPr>
          <p:spPr bwMode="auto">
            <a:xfrm flipH="1">
              <a:off x="2565074" y="2374875"/>
              <a:ext cx="272572" cy="288449"/>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defRPr/>
              </a:pPr>
              <a:endParaRPr lang="en-US" sz="2399" kern="0" dirty="0">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187884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68" name="Rectangle 167"/>
          <p:cNvSpPr/>
          <p:nvPr/>
        </p:nvSpPr>
        <p:spPr bwMode="auto">
          <a:xfrm>
            <a:off x="-31690" y="5183687"/>
            <a:ext cx="12188824" cy="1154529"/>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kern="0" dirty="0">
              <a:gradFill>
                <a:gsLst>
                  <a:gs pos="0">
                    <a:srgbClr val="FFFFFF"/>
                  </a:gs>
                  <a:gs pos="100000">
                    <a:srgbClr val="FFFFFF"/>
                  </a:gs>
                </a:gsLst>
                <a:lin ang="5400000" scaled="0"/>
              </a:gradFill>
            </a:endParaRPr>
          </a:p>
        </p:txBody>
      </p:sp>
      <p:grpSp>
        <p:nvGrpSpPr>
          <p:cNvPr id="101" name="Group 100"/>
          <p:cNvGrpSpPr/>
          <p:nvPr/>
        </p:nvGrpSpPr>
        <p:grpSpPr>
          <a:xfrm>
            <a:off x="-9456" y="1618083"/>
            <a:ext cx="1947978" cy="3781517"/>
            <a:chOff x="2269406" y="1649551"/>
            <a:chExt cx="1987557" cy="3858349"/>
          </a:xfrm>
        </p:grpSpPr>
        <p:grpSp>
          <p:nvGrpSpPr>
            <p:cNvPr id="102" name="Group 101"/>
            <p:cNvGrpSpPr/>
            <p:nvPr/>
          </p:nvGrpSpPr>
          <p:grpSpPr>
            <a:xfrm>
              <a:off x="2269406" y="1649551"/>
              <a:ext cx="1771946" cy="3858349"/>
              <a:chOff x="2269406" y="1649551"/>
              <a:chExt cx="1771946" cy="3858349"/>
            </a:xfrm>
          </p:grpSpPr>
          <p:sp>
            <p:nvSpPr>
              <p:cNvPr id="138" name="Rectangle 137"/>
              <p:cNvSpPr/>
              <p:nvPr/>
            </p:nvSpPr>
            <p:spPr bwMode="auto">
              <a:xfrm>
                <a:off x="2269406" y="1649551"/>
                <a:ext cx="1771946" cy="385834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4" tIns="91403" rIns="18274" bIns="91365" numCol="1" spcCol="1270" anchor="t" anchorCtr="0">
                <a:noAutofit/>
              </a:bodyPr>
              <a:lstStyle/>
              <a:p>
                <a:pPr algn="ctr" defTabSz="724725">
                  <a:spcBef>
                    <a:spcPct val="0"/>
                  </a:spcBef>
                  <a:spcAft>
                    <a:spcPct val="35000"/>
                  </a:spcAft>
                  <a:defRPr/>
                </a:pPr>
                <a:r>
                  <a:rPr lang="en-US" sz="1400" kern="0" dirty="0">
                    <a:solidFill>
                      <a:schemeClr val="tx1"/>
                    </a:solidFill>
                    <a:latin typeface="Segoe UI Semibold" panose="020B0702040204020203" pitchFamily="34" charset="0"/>
                    <a:cs typeface="Segoe UI Semibold" panose="020B0702040204020203" pitchFamily="34" charset="0"/>
                  </a:rPr>
                  <a:t>Machine Learning and Analytics</a:t>
                </a:r>
              </a:p>
            </p:txBody>
          </p:sp>
          <p:grpSp>
            <p:nvGrpSpPr>
              <p:cNvPr id="119" name="Group 118"/>
              <p:cNvGrpSpPr/>
              <p:nvPr/>
            </p:nvGrpSpPr>
            <p:grpSpPr>
              <a:xfrm>
                <a:off x="2475764" y="2364104"/>
                <a:ext cx="200749" cy="211051"/>
                <a:chOff x="4106551" y="3401141"/>
                <a:chExt cx="254631" cy="267699"/>
              </a:xfrm>
            </p:grpSpPr>
            <p:sp>
              <p:nvSpPr>
                <p:cNvPr id="120" name="Rectangle 119"/>
                <p:cNvSpPr/>
                <p:nvPr/>
              </p:nvSpPr>
              <p:spPr bwMode="auto">
                <a:xfrm>
                  <a:off x="4106551"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1" name="Rectangle 120"/>
                <p:cNvSpPr/>
                <p:nvPr/>
              </p:nvSpPr>
              <p:spPr bwMode="auto">
                <a:xfrm>
                  <a:off x="4245904"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2" name="Oval 121"/>
                <p:cNvSpPr/>
                <p:nvPr/>
              </p:nvSpPr>
              <p:spPr bwMode="auto">
                <a:xfrm>
                  <a:off x="4174625"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3" name="Oval 122"/>
                <p:cNvSpPr/>
                <p:nvPr/>
              </p:nvSpPr>
              <p:spPr bwMode="auto">
                <a:xfrm>
                  <a:off x="4313978"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4" name="Rectangle 123"/>
                <p:cNvSpPr/>
                <p:nvPr/>
              </p:nvSpPr>
              <p:spPr bwMode="auto">
                <a:xfrm>
                  <a:off x="4106551"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5" name="Rectangle 124"/>
                <p:cNvSpPr/>
                <p:nvPr/>
              </p:nvSpPr>
              <p:spPr bwMode="auto">
                <a:xfrm>
                  <a:off x="4245904"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6" name="Oval 125"/>
                <p:cNvSpPr/>
                <p:nvPr/>
              </p:nvSpPr>
              <p:spPr bwMode="auto">
                <a:xfrm>
                  <a:off x="4174625"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7" name="Oval 126"/>
                <p:cNvSpPr/>
                <p:nvPr/>
              </p:nvSpPr>
              <p:spPr bwMode="auto">
                <a:xfrm>
                  <a:off x="4313978"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8" name="Rectangle 127"/>
                <p:cNvSpPr/>
                <p:nvPr/>
              </p:nvSpPr>
              <p:spPr bwMode="auto">
                <a:xfrm>
                  <a:off x="4178218"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9" name="Rectangle 128"/>
                <p:cNvSpPr/>
                <p:nvPr/>
              </p:nvSpPr>
              <p:spPr bwMode="auto">
                <a:xfrm>
                  <a:off x="4317571"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0" name="Oval 129"/>
                <p:cNvSpPr/>
                <p:nvPr/>
              </p:nvSpPr>
              <p:spPr bwMode="auto">
                <a:xfrm>
                  <a:off x="4106939"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1" name="Oval 130"/>
                <p:cNvSpPr/>
                <p:nvPr/>
              </p:nvSpPr>
              <p:spPr bwMode="auto">
                <a:xfrm>
                  <a:off x="4246293"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2" name="Rectangle 131"/>
                <p:cNvSpPr/>
                <p:nvPr/>
              </p:nvSpPr>
              <p:spPr bwMode="auto">
                <a:xfrm>
                  <a:off x="4178218"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3" name="Rectangle 132"/>
                <p:cNvSpPr/>
                <p:nvPr/>
              </p:nvSpPr>
              <p:spPr bwMode="auto">
                <a:xfrm>
                  <a:off x="4317571"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4" name="Oval 133"/>
                <p:cNvSpPr/>
                <p:nvPr/>
              </p:nvSpPr>
              <p:spPr bwMode="auto">
                <a:xfrm>
                  <a:off x="4106939"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5" name="Oval 134"/>
                <p:cNvSpPr/>
                <p:nvPr/>
              </p:nvSpPr>
              <p:spPr bwMode="auto">
                <a:xfrm>
                  <a:off x="4246293"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103" name="Rectangle 102"/>
            <p:cNvSpPr/>
            <p:nvPr/>
          </p:nvSpPr>
          <p:spPr>
            <a:xfrm>
              <a:off x="2962833" y="3869841"/>
              <a:ext cx="1294130" cy="622511"/>
            </a:xfrm>
            <a:prstGeom prst="rect">
              <a:avLst/>
            </a:prstGeom>
          </p:spPr>
          <p:txBody>
            <a:bodyPr wrap="square">
              <a:spAutoFit/>
            </a:bodyPr>
            <a:lstStyle/>
            <a:p>
              <a:pPr defTabSz="896203">
                <a:defRPr/>
              </a:pPr>
              <a:r>
                <a:rPr lang="en-US" sz="1100" kern="0" dirty="0">
                  <a:solidFill>
                    <a:schemeClr val="accent2">
                      <a:lumMod val="75000"/>
                    </a:schemeClr>
                  </a:solidFill>
                  <a:cs typeface="Segoe UI Semilight" panose="020B0402040204020203" pitchFamily="34" charset="0"/>
                </a:rPr>
                <a:t>HDInsight </a:t>
              </a:r>
            </a:p>
            <a:p>
              <a:pPr defTabSz="896203">
                <a:defRPr/>
              </a:pPr>
              <a:r>
                <a:rPr lang="en-US" sz="1100" kern="0" dirty="0">
                  <a:solidFill>
                    <a:schemeClr val="accent2">
                      <a:lumMod val="75000"/>
                    </a:schemeClr>
                  </a:solidFill>
                  <a:cs typeface="Segoe UI Semilight" panose="020B0402040204020203" pitchFamily="34" charset="0"/>
                </a:rPr>
                <a:t>(Hadoop and Spark)</a:t>
              </a:r>
            </a:p>
          </p:txBody>
        </p:sp>
        <p:sp>
          <p:nvSpPr>
            <p:cNvPr id="104" name="Rectangle 103"/>
            <p:cNvSpPr/>
            <p:nvPr/>
          </p:nvSpPr>
          <p:spPr>
            <a:xfrm>
              <a:off x="2962833" y="4888358"/>
              <a:ext cx="925088" cy="437684"/>
            </a:xfrm>
            <a:prstGeom prst="rect">
              <a:avLst/>
            </a:prstGeom>
          </p:spPr>
          <p:txBody>
            <a:bodyPr wrap="square">
              <a:spAutoFit/>
            </a:bodyPr>
            <a:lstStyle/>
            <a:p>
              <a:pPr defTabSz="896203">
                <a:defRPr/>
              </a:pPr>
              <a:r>
                <a:rPr lang="en-US" sz="1100" kern="0" dirty="0">
                  <a:solidFill>
                    <a:sysClr val="windowText" lastClr="000000"/>
                  </a:solidFill>
                  <a:cs typeface="Segoe UI Semilight" panose="020B0402040204020203" pitchFamily="34" charset="0"/>
                </a:rPr>
                <a:t>Stream Analytics</a:t>
              </a:r>
            </a:p>
          </p:txBody>
        </p:sp>
        <p:sp>
          <p:nvSpPr>
            <p:cNvPr id="105" name="Rectangle 104"/>
            <p:cNvSpPr/>
            <p:nvPr/>
          </p:nvSpPr>
          <p:spPr>
            <a:xfrm>
              <a:off x="2962833" y="3125609"/>
              <a:ext cx="1294130" cy="446397"/>
            </a:xfrm>
            <a:prstGeom prst="rect">
              <a:avLst/>
            </a:prstGeom>
          </p:spPr>
          <p:txBody>
            <a:bodyPr wrap="square">
              <a:spAutoFit/>
            </a:bodyPr>
            <a:lstStyle/>
            <a:p>
              <a:pPr defTabSz="896203">
                <a:defRPr/>
              </a:pPr>
              <a:r>
                <a:rPr lang="en-US" sz="1100" kern="0" dirty="0">
                  <a:solidFill>
                    <a:schemeClr val="accent2">
                      <a:lumMod val="75000"/>
                    </a:schemeClr>
                  </a:solidFill>
                  <a:cs typeface="Segoe UI Semilight" panose="020B0402040204020203" pitchFamily="34" charset="0"/>
                </a:rPr>
                <a:t>Data Lake Analytics</a:t>
              </a:r>
            </a:p>
          </p:txBody>
        </p:sp>
        <p:grpSp>
          <p:nvGrpSpPr>
            <p:cNvPr id="106" name="Group 105"/>
            <p:cNvGrpSpPr/>
            <p:nvPr/>
          </p:nvGrpSpPr>
          <p:grpSpPr>
            <a:xfrm>
              <a:off x="2584613" y="3210310"/>
              <a:ext cx="225034" cy="294370"/>
              <a:chOff x="3473450" y="4579938"/>
              <a:chExt cx="1741488" cy="2278062"/>
            </a:xfrm>
            <a:solidFill>
              <a:schemeClr val="tx1"/>
            </a:solidFill>
          </p:grpSpPr>
          <p:sp>
            <p:nvSpPr>
              <p:cNvPr id="115" name="Freeform 16"/>
              <p:cNvSpPr>
                <a:spLocks/>
              </p:cNvSpPr>
              <p:nvPr/>
            </p:nvSpPr>
            <p:spPr bwMode="auto">
              <a:xfrm>
                <a:off x="3575050" y="4579938"/>
                <a:ext cx="1493838" cy="403225"/>
              </a:xfrm>
              <a:custGeom>
                <a:avLst/>
                <a:gdLst>
                  <a:gd name="T0" fmla="*/ 2 w 1883"/>
                  <a:gd name="T1" fmla="*/ 263 h 508"/>
                  <a:gd name="T2" fmla="*/ 17 w 1883"/>
                  <a:gd name="T3" fmla="*/ 290 h 508"/>
                  <a:gd name="T4" fmla="*/ 51 w 1883"/>
                  <a:gd name="T5" fmla="*/ 321 h 508"/>
                  <a:gd name="T6" fmla="*/ 101 w 1883"/>
                  <a:gd name="T7" fmla="*/ 352 h 508"/>
                  <a:gd name="T8" fmla="*/ 169 w 1883"/>
                  <a:gd name="T9" fmla="*/ 384 h 508"/>
                  <a:gd name="T10" fmla="*/ 253 w 1883"/>
                  <a:gd name="T11" fmla="*/ 414 h 508"/>
                  <a:gd name="T12" fmla="*/ 351 w 1883"/>
                  <a:gd name="T13" fmla="*/ 442 h 508"/>
                  <a:gd name="T14" fmla="*/ 465 w 1883"/>
                  <a:gd name="T15" fmla="*/ 467 h 508"/>
                  <a:gd name="T16" fmla="*/ 592 w 1883"/>
                  <a:gd name="T17" fmla="*/ 486 h 508"/>
                  <a:gd name="T18" fmla="*/ 733 w 1883"/>
                  <a:gd name="T19" fmla="*/ 500 h 508"/>
                  <a:gd name="T20" fmla="*/ 887 w 1883"/>
                  <a:gd name="T21" fmla="*/ 508 h 508"/>
                  <a:gd name="T22" fmla="*/ 996 w 1883"/>
                  <a:gd name="T23" fmla="*/ 508 h 508"/>
                  <a:gd name="T24" fmla="*/ 1150 w 1883"/>
                  <a:gd name="T25" fmla="*/ 500 h 508"/>
                  <a:gd name="T26" fmla="*/ 1291 w 1883"/>
                  <a:gd name="T27" fmla="*/ 486 h 508"/>
                  <a:gd name="T28" fmla="*/ 1419 w 1883"/>
                  <a:gd name="T29" fmla="*/ 467 h 508"/>
                  <a:gd name="T30" fmla="*/ 1532 w 1883"/>
                  <a:gd name="T31" fmla="*/ 442 h 508"/>
                  <a:gd name="T32" fmla="*/ 1632 w 1883"/>
                  <a:gd name="T33" fmla="*/ 414 h 508"/>
                  <a:gd name="T34" fmla="*/ 1715 w 1883"/>
                  <a:gd name="T35" fmla="*/ 384 h 508"/>
                  <a:gd name="T36" fmla="*/ 1782 w 1883"/>
                  <a:gd name="T37" fmla="*/ 352 h 508"/>
                  <a:gd name="T38" fmla="*/ 1834 w 1883"/>
                  <a:gd name="T39" fmla="*/ 321 h 508"/>
                  <a:gd name="T40" fmla="*/ 1866 w 1883"/>
                  <a:gd name="T41" fmla="*/ 290 h 508"/>
                  <a:gd name="T42" fmla="*/ 1882 w 1883"/>
                  <a:gd name="T43" fmla="*/ 263 h 508"/>
                  <a:gd name="T44" fmla="*/ 1882 w 1883"/>
                  <a:gd name="T45" fmla="*/ 245 h 508"/>
                  <a:gd name="T46" fmla="*/ 1866 w 1883"/>
                  <a:gd name="T47" fmla="*/ 217 h 508"/>
                  <a:gd name="T48" fmla="*/ 1834 w 1883"/>
                  <a:gd name="T49" fmla="*/ 187 h 508"/>
                  <a:gd name="T50" fmla="*/ 1782 w 1883"/>
                  <a:gd name="T51" fmla="*/ 155 h 508"/>
                  <a:gd name="T52" fmla="*/ 1715 w 1883"/>
                  <a:gd name="T53" fmla="*/ 124 h 508"/>
                  <a:gd name="T54" fmla="*/ 1632 w 1883"/>
                  <a:gd name="T55" fmla="*/ 93 h 508"/>
                  <a:gd name="T56" fmla="*/ 1532 w 1883"/>
                  <a:gd name="T57" fmla="*/ 64 h 508"/>
                  <a:gd name="T58" fmla="*/ 1419 w 1883"/>
                  <a:gd name="T59" fmla="*/ 40 h 508"/>
                  <a:gd name="T60" fmla="*/ 1291 w 1883"/>
                  <a:gd name="T61" fmla="*/ 20 h 508"/>
                  <a:gd name="T62" fmla="*/ 1150 w 1883"/>
                  <a:gd name="T63" fmla="*/ 6 h 508"/>
                  <a:gd name="T64" fmla="*/ 996 w 1883"/>
                  <a:gd name="T65" fmla="*/ 0 h 508"/>
                  <a:gd name="T66" fmla="*/ 887 w 1883"/>
                  <a:gd name="T67" fmla="*/ 0 h 508"/>
                  <a:gd name="T68" fmla="*/ 733 w 1883"/>
                  <a:gd name="T69" fmla="*/ 6 h 508"/>
                  <a:gd name="T70" fmla="*/ 592 w 1883"/>
                  <a:gd name="T71" fmla="*/ 20 h 508"/>
                  <a:gd name="T72" fmla="*/ 465 w 1883"/>
                  <a:gd name="T73" fmla="*/ 40 h 508"/>
                  <a:gd name="T74" fmla="*/ 351 w 1883"/>
                  <a:gd name="T75" fmla="*/ 64 h 508"/>
                  <a:gd name="T76" fmla="*/ 253 w 1883"/>
                  <a:gd name="T77" fmla="*/ 93 h 508"/>
                  <a:gd name="T78" fmla="*/ 169 w 1883"/>
                  <a:gd name="T79" fmla="*/ 124 h 508"/>
                  <a:gd name="T80" fmla="*/ 101 w 1883"/>
                  <a:gd name="T81" fmla="*/ 155 h 508"/>
                  <a:gd name="T82" fmla="*/ 51 w 1883"/>
                  <a:gd name="T83" fmla="*/ 187 h 508"/>
                  <a:gd name="T84" fmla="*/ 17 w 1883"/>
                  <a:gd name="T85" fmla="*/ 217 h 508"/>
                  <a:gd name="T86" fmla="*/ 2 w 1883"/>
                  <a:gd name="T87" fmla="*/ 245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3" h="508">
                    <a:moveTo>
                      <a:pt x="0" y="254"/>
                    </a:moveTo>
                    <a:lnTo>
                      <a:pt x="0" y="254"/>
                    </a:lnTo>
                    <a:lnTo>
                      <a:pt x="2" y="263"/>
                    </a:lnTo>
                    <a:lnTo>
                      <a:pt x="5" y="271"/>
                    </a:lnTo>
                    <a:lnTo>
                      <a:pt x="11" y="280"/>
                    </a:lnTo>
                    <a:lnTo>
                      <a:pt x="17" y="290"/>
                    </a:lnTo>
                    <a:lnTo>
                      <a:pt x="27" y="301"/>
                    </a:lnTo>
                    <a:lnTo>
                      <a:pt x="37" y="311"/>
                    </a:lnTo>
                    <a:lnTo>
                      <a:pt x="51" y="321"/>
                    </a:lnTo>
                    <a:lnTo>
                      <a:pt x="66" y="331"/>
                    </a:lnTo>
                    <a:lnTo>
                      <a:pt x="82" y="342"/>
                    </a:lnTo>
                    <a:lnTo>
                      <a:pt x="101" y="352"/>
                    </a:lnTo>
                    <a:lnTo>
                      <a:pt x="122" y="362"/>
                    </a:lnTo>
                    <a:lnTo>
                      <a:pt x="144" y="374"/>
                    </a:lnTo>
                    <a:lnTo>
                      <a:pt x="169" y="384"/>
                    </a:lnTo>
                    <a:lnTo>
                      <a:pt x="195" y="394"/>
                    </a:lnTo>
                    <a:lnTo>
                      <a:pt x="222" y="404"/>
                    </a:lnTo>
                    <a:lnTo>
                      <a:pt x="253" y="414"/>
                    </a:lnTo>
                    <a:lnTo>
                      <a:pt x="284" y="424"/>
                    </a:lnTo>
                    <a:lnTo>
                      <a:pt x="317" y="433"/>
                    </a:lnTo>
                    <a:lnTo>
                      <a:pt x="351" y="442"/>
                    </a:lnTo>
                    <a:lnTo>
                      <a:pt x="388" y="451"/>
                    </a:lnTo>
                    <a:lnTo>
                      <a:pt x="426" y="460"/>
                    </a:lnTo>
                    <a:lnTo>
                      <a:pt x="465" y="467"/>
                    </a:lnTo>
                    <a:lnTo>
                      <a:pt x="506" y="473"/>
                    </a:lnTo>
                    <a:lnTo>
                      <a:pt x="549" y="481"/>
                    </a:lnTo>
                    <a:lnTo>
                      <a:pt x="592" y="486"/>
                    </a:lnTo>
                    <a:lnTo>
                      <a:pt x="639" y="492"/>
                    </a:lnTo>
                    <a:lnTo>
                      <a:pt x="685" y="496"/>
                    </a:lnTo>
                    <a:lnTo>
                      <a:pt x="733" y="500"/>
                    </a:lnTo>
                    <a:lnTo>
                      <a:pt x="784" y="504"/>
                    </a:lnTo>
                    <a:lnTo>
                      <a:pt x="836" y="506"/>
                    </a:lnTo>
                    <a:lnTo>
                      <a:pt x="887" y="508"/>
                    </a:lnTo>
                    <a:lnTo>
                      <a:pt x="942" y="508"/>
                    </a:lnTo>
                    <a:lnTo>
                      <a:pt x="942" y="508"/>
                    </a:lnTo>
                    <a:lnTo>
                      <a:pt x="996" y="508"/>
                    </a:lnTo>
                    <a:lnTo>
                      <a:pt x="1049" y="506"/>
                    </a:lnTo>
                    <a:lnTo>
                      <a:pt x="1101" y="504"/>
                    </a:lnTo>
                    <a:lnTo>
                      <a:pt x="1150" y="500"/>
                    </a:lnTo>
                    <a:lnTo>
                      <a:pt x="1199" y="496"/>
                    </a:lnTo>
                    <a:lnTo>
                      <a:pt x="1246" y="492"/>
                    </a:lnTo>
                    <a:lnTo>
                      <a:pt x="1291" y="486"/>
                    </a:lnTo>
                    <a:lnTo>
                      <a:pt x="1335" y="481"/>
                    </a:lnTo>
                    <a:lnTo>
                      <a:pt x="1378" y="473"/>
                    </a:lnTo>
                    <a:lnTo>
                      <a:pt x="1419" y="467"/>
                    </a:lnTo>
                    <a:lnTo>
                      <a:pt x="1459" y="460"/>
                    </a:lnTo>
                    <a:lnTo>
                      <a:pt x="1497" y="451"/>
                    </a:lnTo>
                    <a:lnTo>
                      <a:pt x="1532" y="442"/>
                    </a:lnTo>
                    <a:lnTo>
                      <a:pt x="1567" y="433"/>
                    </a:lnTo>
                    <a:lnTo>
                      <a:pt x="1600" y="424"/>
                    </a:lnTo>
                    <a:lnTo>
                      <a:pt x="1632" y="414"/>
                    </a:lnTo>
                    <a:lnTo>
                      <a:pt x="1661" y="404"/>
                    </a:lnTo>
                    <a:lnTo>
                      <a:pt x="1689" y="394"/>
                    </a:lnTo>
                    <a:lnTo>
                      <a:pt x="1715" y="384"/>
                    </a:lnTo>
                    <a:lnTo>
                      <a:pt x="1739" y="374"/>
                    </a:lnTo>
                    <a:lnTo>
                      <a:pt x="1762" y="362"/>
                    </a:lnTo>
                    <a:lnTo>
                      <a:pt x="1782" y="352"/>
                    </a:lnTo>
                    <a:lnTo>
                      <a:pt x="1801" y="342"/>
                    </a:lnTo>
                    <a:lnTo>
                      <a:pt x="1818" y="331"/>
                    </a:lnTo>
                    <a:lnTo>
                      <a:pt x="1834" y="321"/>
                    </a:lnTo>
                    <a:lnTo>
                      <a:pt x="1846" y="311"/>
                    </a:lnTo>
                    <a:lnTo>
                      <a:pt x="1858" y="301"/>
                    </a:lnTo>
                    <a:lnTo>
                      <a:pt x="1866" y="290"/>
                    </a:lnTo>
                    <a:lnTo>
                      <a:pt x="1874" y="280"/>
                    </a:lnTo>
                    <a:lnTo>
                      <a:pt x="1879" y="271"/>
                    </a:lnTo>
                    <a:lnTo>
                      <a:pt x="1882" y="263"/>
                    </a:lnTo>
                    <a:lnTo>
                      <a:pt x="1883" y="254"/>
                    </a:lnTo>
                    <a:lnTo>
                      <a:pt x="1883" y="254"/>
                    </a:lnTo>
                    <a:lnTo>
                      <a:pt x="1882" y="245"/>
                    </a:lnTo>
                    <a:lnTo>
                      <a:pt x="1879" y="236"/>
                    </a:lnTo>
                    <a:lnTo>
                      <a:pt x="1874" y="226"/>
                    </a:lnTo>
                    <a:lnTo>
                      <a:pt x="1866" y="217"/>
                    </a:lnTo>
                    <a:lnTo>
                      <a:pt x="1858" y="207"/>
                    </a:lnTo>
                    <a:lnTo>
                      <a:pt x="1846" y="197"/>
                    </a:lnTo>
                    <a:lnTo>
                      <a:pt x="1834" y="187"/>
                    </a:lnTo>
                    <a:lnTo>
                      <a:pt x="1818" y="176"/>
                    </a:lnTo>
                    <a:lnTo>
                      <a:pt x="1801" y="165"/>
                    </a:lnTo>
                    <a:lnTo>
                      <a:pt x="1782" y="155"/>
                    </a:lnTo>
                    <a:lnTo>
                      <a:pt x="1762" y="144"/>
                    </a:lnTo>
                    <a:lnTo>
                      <a:pt x="1739" y="134"/>
                    </a:lnTo>
                    <a:lnTo>
                      <a:pt x="1715" y="124"/>
                    </a:lnTo>
                    <a:lnTo>
                      <a:pt x="1689" y="114"/>
                    </a:lnTo>
                    <a:lnTo>
                      <a:pt x="1661" y="102"/>
                    </a:lnTo>
                    <a:lnTo>
                      <a:pt x="1632" y="93"/>
                    </a:lnTo>
                    <a:lnTo>
                      <a:pt x="1600" y="83"/>
                    </a:lnTo>
                    <a:lnTo>
                      <a:pt x="1567" y="74"/>
                    </a:lnTo>
                    <a:lnTo>
                      <a:pt x="1532" y="64"/>
                    </a:lnTo>
                    <a:lnTo>
                      <a:pt x="1497" y="57"/>
                    </a:lnTo>
                    <a:lnTo>
                      <a:pt x="1459" y="48"/>
                    </a:lnTo>
                    <a:lnTo>
                      <a:pt x="1419" y="40"/>
                    </a:lnTo>
                    <a:lnTo>
                      <a:pt x="1378" y="33"/>
                    </a:lnTo>
                    <a:lnTo>
                      <a:pt x="1335" y="27"/>
                    </a:lnTo>
                    <a:lnTo>
                      <a:pt x="1291" y="20"/>
                    </a:lnTo>
                    <a:lnTo>
                      <a:pt x="1246" y="15"/>
                    </a:lnTo>
                    <a:lnTo>
                      <a:pt x="1199" y="10"/>
                    </a:lnTo>
                    <a:lnTo>
                      <a:pt x="1150" y="6"/>
                    </a:lnTo>
                    <a:lnTo>
                      <a:pt x="1101" y="4"/>
                    </a:lnTo>
                    <a:lnTo>
                      <a:pt x="1049" y="1"/>
                    </a:lnTo>
                    <a:lnTo>
                      <a:pt x="996" y="0"/>
                    </a:lnTo>
                    <a:lnTo>
                      <a:pt x="942" y="0"/>
                    </a:lnTo>
                    <a:lnTo>
                      <a:pt x="942" y="0"/>
                    </a:lnTo>
                    <a:lnTo>
                      <a:pt x="887" y="0"/>
                    </a:lnTo>
                    <a:lnTo>
                      <a:pt x="836" y="1"/>
                    </a:lnTo>
                    <a:lnTo>
                      <a:pt x="784" y="4"/>
                    </a:lnTo>
                    <a:lnTo>
                      <a:pt x="733" y="6"/>
                    </a:lnTo>
                    <a:lnTo>
                      <a:pt x="685" y="10"/>
                    </a:lnTo>
                    <a:lnTo>
                      <a:pt x="639" y="15"/>
                    </a:lnTo>
                    <a:lnTo>
                      <a:pt x="592" y="20"/>
                    </a:lnTo>
                    <a:lnTo>
                      <a:pt x="549" y="27"/>
                    </a:lnTo>
                    <a:lnTo>
                      <a:pt x="506" y="33"/>
                    </a:lnTo>
                    <a:lnTo>
                      <a:pt x="465" y="40"/>
                    </a:lnTo>
                    <a:lnTo>
                      <a:pt x="426" y="48"/>
                    </a:lnTo>
                    <a:lnTo>
                      <a:pt x="388" y="57"/>
                    </a:lnTo>
                    <a:lnTo>
                      <a:pt x="351" y="64"/>
                    </a:lnTo>
                    <a:lnTo>
                      <a:pt x="317" y="74"/>
                    </a:lnTo>
                    <a:lnTo>
                      <a:pt x="284" y="83"/>
                    </a:lnTo>
                    <a:lnTo>
                      <a:pt x="253" y="93"/>
                    </a:lnTo>
                    <a:lnTo>
                      <a:pt x="222" y="102"/>
                    </a:lnTo>
                    <a:lnTo>
                      <a:pt x="195" y="114"/>
                    </a:lnTo>
                    <a:lnTo>
                      <a:pt x="169" y="124"/>
                    </a:lnTo>
                    <a:lnTo>
                      <a:pt x="144" y="134"/>
                    </a:lnTo>
                    <a:lnTo>
                      <a:pt x="122" y="144"/>
                    </a:lnTo>
                    <a:lnTo>
                      <a:pt x="101" y="155"/>
                    </a:lnTo>
                    <a:lnTo>
                      <a:pt x="82" y="165"/>
                    </a:lnTo>
                    <a:lnTo>
                      <a:pt x="66" y="176"/>
                    </a:lnTo>
                    <a:lnTo>
                      <a:pt x="51" y="187"/>
                    </a:lnTo>
                    <a:lnTo>
                      <a:pt x="37" y="197"/>
                    </a:lnTo>
                    <a:lnTo>
                      <a:pt x="27" y="207"/>
                    </a:lnTo>
                    <a:lnTo>
                      <a:pt x="17" y="217"/>
                    </a:lnTo>
                    <a:lnTo>
                      <a:pt x="11" y="226"/>
                    </a:lnTo>
                    <a:lnTo>
                      <a:pt x="5" y="236"/>
                    </a:lnTo>
                    <a:lnTo>
                      <a:pt x="2" y="245"/>
                    </a:lnTo>
                    <a:lnTo>
                      <a:pt x="0" y="254"/>
                    </a:lnTo>
                    <a:lnTo>
                      <a:pt x="0" y="254"/>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defRPr/>
                </a:pPr>
                <a:endParaRPr lang="en-US" sz="1799" kern="0">
                  <a:solidFill>
                    <a:sysClr val="windowText" lastClr="000000"/>
                  </a:solidFill>
                </a:endParaRPr>
              </a:p>
            </p:txBody>
          </p:sp>
          <p:sp>
            <p:nvSpPr>
              <p:cNvPr id="116" name="Freeform 17"/>
              <p:cNvSpPr>
                <a:spLocks/>
              </p:cNvSpPr>
              <p:nvPr/>
            </p:nvSpPr>
            <p:spPr bwMode="auto">
              <a:xfrm>
                <a:off x="3473450" y="4781550"/>
                <a:ext cx="1741488" cy="1411287"/>
              </a:xfrm>
              <a:custGeom>
                <a:avLst/>
                <a:gdLst>
                  <a:gd name="T0" fmla="*/ 280 w 2194"/>
                  <a:gd name="T1" fmla="*/ 1778 h 1779"/>
                  <a:gd name="T2" fmla="*/ 363 w 2194"/>
                  <a:gd name="T3" fmla="*/ 1764 h 1779"/>
                  <a:gd name="T4" fmla="*/ 440 w 2194"/>
                  <a:gd name="T5" fmla="*/ 1736 h 1779"/>
                  <a:gd name="T6" fmla="*/ 511 w 2194"/>
                  <a:gd name="T7" fmla="*/ 1693 h 1779"/>
                  <a:gd name="T8" fmla="*/ 573 w 2194"/>
                  <a:gd name="T9" fmla="*/ 1637 h 1779"/>
                  <a:gd name="T10" fmla="*/ 625 w 2194"/>
                  <a:gd name="T11" fmla="*/ 1569 h 1779"/>
                  <a:gd name="T12" fmla="*/ 633 w 2194"/>
                  <a:gd name="T13" fmla="*/ 1558 h 1779"/>
                  <a:gd name="T14" fmla="*/ 652 w 2194"/>
                  <a:gd name="T15" fmla="*/ 1547 h 1779"/>
                  <a:gd name="T16" fmla="*/ 675 w 2194"/>
                  <a:gd name="T17" fmla="*/ 1543 h 1779"/>
                  <a:gd name="T18" fmla="*/ 696 w 2194"/>
                  <a:gd name="T19" fmla="*/ 1547 h 1779"/>
                  <a:gd name="T20" fmla="*/ 715 w 2194"/>
                  <a:gd name="T21" fmla="*/ 1558 h 1779"/>
                  <a:gd name="T22" fmla="*/ 725 w 2194"/>
                  <a:gd name="T23" fmla="*/ 1569 h 1779"/>
                  <a:gd name="T24" fmla="*/ 776 w 2194"/>
                  <a:gd name="T25" fmla="*/ 1637 h 1779"/>
                  <a:gd name="T26" fmla="*/ 838 w 2194"/>
                  <a:gd name="T27" fmla="*/ 1693 h 1779"/>
                  <a:gd name="T28" fmla="*/ 908 w 2194"/>
                  <a:gd name="T29" fmla="*/ 1736 h 1779"/>
                  <a:gd name="T30" fmla="*/ 985 w 2194"/>
                  <a:gd name="T31" fmla="*/ 1764 h 1779"/>
                  <a:gd name="T32" fmla="*/ 1069 w 2194"/>
                  <a:gd name="T33" fmla="*/ 1778 h 1779"/>
                  <a:gd name="T34" fmla="*/ 1125 w 2194"/>
                  <a:gd name="T35" fmla="*/ 1778 h 1779"/>
                  <a:gd name="T36" fmla="*/ 1209 w 2194"/>
                  <a:gd name="T37" fmla="*/ 1764 h 1779"/>
                  <a:gd name="T38" fmla="*/ 1286 w 2194"/>
                  <a:gd name="T39" fmla="*/ 1736 h 1779"/>
                  <a:gd name="T40" fmla="*/ 1356 w 2194"/>
                  <a:gd name="T41" fmla="*/ 1693 h 1779"/>
                  <a:gd name="T42" fmla="*/ 1418 w 2194"/>
                  <a:gd name="T43" fmla="*/ 1637 h 1779"/>
                  <a:gd name="T44" fmla="*/ 1470 w 2194"/>
                  <a:gd name="T45" fmla="*/ 1569 h 1779"/>
                  <a:gd name="T46" fmla="*/ 1479 w 2194"/>
                  <a:gd name="T47" fmla="*/ 1558 h 1779"/>
                  <a:gd name="T48" fmla="*/ 1498 w 2194"/>
                  <a:gd name="T49" fmla="*/ 1547 h 1779"/>
                  <a:gd name="T50" fmla="*/ 1519 w 2194"/>
                  <a:gd name="T51" fmla="*/ 1543 h 1779"/>
                  <a:gd name="T52" fmla="*/ 1542 w 2194"/>
                  <a:gd name="T53" fmla="*/ 1547 h 1779"/>
                  <a:gd name="T54" fmla="*/ 1561 w 2194"/>
                  <a:gd name="T55" fmla="*/ 1558 h 1779"/>
                  <a:gd name="T56" fmla="*/ 1569 w 2194"/>
                  <a:gd name="T57" fmla="*/ 1569 h 1779"/>
                  <a:gd name="T58" fmla="*/ 1621 w 2194"/>
                  <a:gd name="T59" fmla="*/ 1637 h 1779"/>
                  <a:gd name="T60" fmla="*/ 1683 w 2194"/>
                  <a:gd name="T61" fmla="*/ 1693 h 1779"/>
                  <a:gd name="T62" fmla="*/ 1754 w 2194"/>
                  <a:gd name="T63" fmla="*/ 1736 h 1779"/>
                  <a:gd name="T64" fmla="*/ 1831 w 2194"/>
                  <a:gd name="T65" fmla="*/ 1764 h 1779"/>
                  <a:gd name="T66" fmla="*/ 1914 w 2194"/>
                  <a:gd name="T67" fmla="*/ 1778 h 1779"/>
                  <a:gd name="T68" fmla="*/ 1977 w 2194"/>
                  <a:gd name="T69" fmla="*/ 1778 h 1779"/>
                  <a:gd name="T70" fmla="*/ 2077 w 2194"/>
                  <a:gd name="T71" fmla="*/ 1757 h 1779"/>
                  <a:gd name="T72" fmla="*/ 2166 w 2194"/>
                  <a:gd name="T73" fmla="*/ 1716 h 1779"/>
                  <a:gd name="T74" fmla="*/ 2194 w 2194"/>
                  <a:gd name="T75" fmla="*/ 0 h 1779"/>
                  <a:gd name="T76" fmla="*/ 2190 w 2194"/>
                  <a:gd name="T77" fmla="*/ 39 h 1779"/>
                  <a:gd name="T78" fmla="*/ 2179 w 2194"/>
                  <a:gd name="T79" fmla="*/ 77 h 1779"/>
                  <a:gd name="T80" fmla="*/ 2154 w 2194"/>
                  <a:gd name="T81" fmla="*/ 125 h 1779"/>
                  <a:gd name="T82" fmla="*/ 2097 w 2194"/>
                  <a:gd name="T83" fmla="*/ 189 h 1779"/>
                  <a:gd name="T84" fmla="*/ 2016 w 2194"/>
                  <a:gd name="T85" fmla="*/ 247 h 1779"/>
                  <a:gd name="T86" fmla="*/ 1916 w 2194"/>
                  <a:gd name="T87" fmla="*/ 297 h 1779"/>
                  <a:gd name="T88" fmla="*/ 1800 w 2194"/>
                  <a:gd name="T89" fmla="*/ 339 h 1779"/>
                  <a:gd name="T90" fmla="*/ 1670 w 2194"/>
                  <a:gd name="T91" fmla="*/ 375 h 1779"/>
                  <a:gd name="T92" fmla="*/ 1529 w 2194"/>
                  <a:gd name="T93" fmla="*/ 401 h 1779"/>
                  <a:gd name="T94" fmla="*/ 1380 w 2194"/>
                  <a:gd name="T95" fmla="*/ 422 h 1779"/>
                  <a:gd name="T96" fmla="*/ 1226 w 2194"/>
                  <a:gd name="T97" fmla="*/ 433 h 1779"/>
                  <a:gd name="T98" fmla="*/ 1069 w 2194"/>
                  <a:gd name="T99" fmla="*/ 437 h 1779"/>
                  <a:gd name="T100" fmla="*/ 900 w 2194"/>
                  <a:gd name="T101" fmla="*/ 433 h 1779"/>
                  <a:gd name="T102" fmla="*/ 651 w 2194"/>
                  <a:gd name="T103" fmla="*/ 409 h 1779"/>
                  <a:gd name="T104" fmla="*/ 423 w 2194"/>
                  <a:gd name="T105" fmla="*/ 363 h 1779"/>
                  <a:gd name="T106" fmla="*/ 320 w 2194"/>
                  <a:gd name="T107" fmla="*/ 334 h 1779"/>
                  <a:gd name="T108" fmla="*/ 226 w 2194"/>
                  <a:gd name="T109" fmla="*/ 299 h 1779"/>
                  <a:gd name="T110" fmla="*/ 144 w 2194"/>
                  <a:gd name="T111" fmla="*/ 259 h 1779"/>
                  <a:gd name="T112" fmla="*/ 73 w 2194"/>
                  <a:gd name="T113" fmla="*/ 214 h 1779"/>
                  <a:gd name="T114" fmla="*/ 16 w 2194"/>
                  <a:gd name="T115" fmla="*/ 165 h 1779"/>
                  <a:gd name="T116" fmla="*/ 0 w 2194"/>
                  <a:gd name="T117" fmla="*/ 1698 h 1779"/>
                  <a:gd name="T118" fmla="*/ 87 w 2194"/>
                  <a:gd name="T119" fmla="*/ 1746 h 1779"/>
                  <a:gd name="T120" fmla="*/ 183 w 2194"/>
                  <a:gd name="T121" fmla="*/ 1773 h 1779"/>
                  <a:gd name="T122" fmla="*/ 252 w 2194"/>
                  <a:gd name="T123" fmla="*/ 1779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94" h="1779">
                    <a:moveTo>
                      <a:pt x="252" y="1779"/>
                    </a:moveTo>
                    <a:lnTo>
                      <a:pt x="252" y="1779"/>
                    </a:lnTo>
                    <a:lnTo>
                      <a:pt x="280" y="1778"/>
                    </a:lnTo>
                    <a:lnTo>
                      <a:pt x="308" y="1775"/>
                    </a:lnTo>
                    <a:lnTo>
                      <a:pt x="336" y="1770"/>
                    </a:lnTo>
                    <a:lnTo>
                      <a:pt x="363" y="1764"/>
                    </a:lnTo>
                    <a:lnTo>
                      <a:pt x="390" y="1756"/>
                    </a:lnTo>
                    <a:lnTo>
                      <a:pt x="415" y="1747"/>
                    </a:lnTo>
                    <a:lnTo>
                      <a:pt x="440" y="1736"/>
                    </a:lnTo>
                    <a:lnTo>
                      <a:pt x="466" y="1723"/>
                    </a:lnTo>
                    <a:lnTo>
                      <a:pt x="488" y="1709"/>
                    </a:lnTo>
                    <a:lnTo>
                      <a:pt x="511" y="1693"/>
                    </a:lnTo>
                    <a:lnTo>
                      <a:pt x="532" y="1675"/>
                    </a:lnTo>
                    <a:lnTo>
                      <a:pt x="554" y="1658"/>
                    </a:lnTo>
                    <a:lnTo>
                      <a:pt x="573" y="1637"/>
                    </a:lnTo>
                    <a:lnTo>
                      <a:pt x="592" y="1616"/>
                    </a:lnTo>
                    <a:lnTo>
                      <a:pt x="608" y="1593"/>
                    </a:lnTo>
                    <a:lnTo>
                      <a:pt x="625" y="1569"/>
                    </a:lnTo>
                    <a:lnTo>
                      <a:pt x="625" y="1569"/>
                    </a:lnTo>
                    <a:lnTo>
                      <a:pt x="628" y="1563"/>
                    </a:lnTo>
                    <a:lnTo>
                      <a:pt x="633" y="1558"/>
                    </a:lnTo>
                    <a:lnTo>
                      <a:pt x="640" y="1554"/>
                    </a:lnTo>
                    <a:lnTo>
                      <a:pt x="646" y="1550"/>
                    </a:lnTo>
                    <a:lnTo>
                      <a:pt x="652" y="1547"/>
                    </a:lnTo>
                    <a:lnTo>
                      <a:pt x="660" y="1545"/>
                    </a:lnTo>
                    <a:lnTo>
                      <a:pt x="667" y="1544"/>
                    </a:lnTo>
                    <a:lnTo>
                      <a:pt x="675" y="1543"/>
                    </a:lnTo>
                    <a:lnTo>
                      <a:pt x="681" y="1544"/>
                    </a:lnTo>
                    <a:lnTo>
                      <a:pt x="689" y="1545"/>
                    </a:lnTo>
                    <a:lnTo>
                      <a:pt x="696" y="1547"/>
                    </a:lnTo>
                    <a:lnTo>
                      <a:pt x="703" y="1550"/>
                    </a:lnTo>
                    <a:lnTo>
                      <a:pt x="709" y="1554"/>
                    </a:lnTo>
                    <a:lnTo>
                      <a:pt x="715" y="1558"/>
                    </a:lnTo>
                    <a:lnTo>
                      <a:pt x="720" y="1563"/>
                    </a:lnTo>
                    <a:lnTo>
                      <a:pt x="725" y="1569"/>
                    </a:lnTo>
                    <a:lnTo>
                      <a:pt x="725" y="1569"/>
                    </a:lnTo>
                    <a:lnTo>
                      <a:pt x="741" y="1593"/>
                    </a:lnTo>
                    <a:lnTo>
                      <a:pt x="758" y="1616"/>
                    </a:lnTo>
                    <a:lnTo>
                      <a:pt x="776" y="1637"/>
                    </a:lnTo>
                    <a:lnTo>
                      <a:pt x="796" y="1658"/>
                    </a:lnTo>
                    <a:lnTo>
                      <a:pt x="816" y="1675"/>
                    </a:lnTo>
                    <a:lnTo>
                      <a:pt x="838" y="1693"/>
                    </a:lnTo>
                    <a:lnTo>
                      <a:pt x="860" y="1709"/>
                    </a:lnTo>
                    <a:lnTo>
                      <a:pt x="884" y="1723"/>
                    </a:lnTo>
                    <a:lnTo>
                      <a:pt x="908" y="1736"/>
                    </a:lnTo>
                    <a:lnTo>
                      <a:pt x="934" y="1747"/>
                    </a:lnTo>
                    <a:lnTo>
                      <a:pt x="959" y="1756"/>
                    </a:lnTo>
                    <a:lnTo>
                      <a:pt x="985" y="1764"/>
                    </a:lnTo>
                    <a:lnTo>
                      <a:pt x="1013" y="1770"/>
                    </a:lnTo>
                    <a:lnTo>
                      <a:pt x="1041" y="1775"/>
                    </a:lnTo>
                    <a:lnTo>
                      <a:pt x="1069" y="1778"/>
                    </a:lnTo>
                    <a:lnTo>
                      <a:pt x="1098" y="1779"/>
                    </a:lnTo>
                    <a:lnTo>
                      <a:pt x="1098" y="1779"/>
                    </a:lnTo>
                    <a:lnTo>
                      <a:pt x="1125" y="1778"/>
                    </a:lnTo>
                    <a:lnTo>
                      <a:pt x="1153" y="1775"/>
                    </a:lnTo>
                    <a:lnTo>
                      <a:pt x="1181" y="1770"/>
                    </a:lnTo>
                    <a:lnTo>
                      <a:pt x="1209" y="1764"/>
                    </a:lnTo>
                    <a:lnTo>
                      <a:pt x="1235" y="1756"/>
                    </a:lnTo>
                    <a:lnTo>
                      <a:pt x="1260" y="1747"/>
                    </a:lnTo>
                    <a:lnTo>
                      <a:pt x="1286" y="1736"/>
                    </a:lnTo>
                    <a:lnTo>
                      <a:pt x="1310" y="1723"/>
                    </a:lnTo>
                    <a:lnTo>
                      <a:pt x="1334" y="1709"/>
                    </a:lnTo>
                    <a:lnTo>
                      <a:pt x="1356" y="1693"/>
                    </a:lnTo>
                    <a:lnTo>
                      <a:pt x="1378" y="1675"/>
                    </a:lnTo>
                    <a:lnTo>
                      <a:pt x="1399" y="1658"/>
                    </a:lnTo>
                    <a:lnTo>
                      <a:pt x="1418" y="1637"/>
                    </a:lnTo>
                    <a:lnTo>
                      <a:pt x="1436" y="1616"/>
                    </a:lnTo>
                    <a:lnTo>
                      <a:pt x="1453" y="1593"/>
                    </a:lnTo>
                    <a:lnTo>
                      <a:pt x="1470" y="1569"/>
                    </a:lnTo>
                    <a:lnTo>
                      <a:pt x="1470" y="1569"/>
                    </a:lnTo>
                    <a:lnTo>
                      <a:pt x="1474" y="1563"/>
                    </a:lnTo>
                    <a:lnTo>
                      <a:pt x="1479" y="1558"/>
                    </a:lnTo>
                    <a:lnTo>
                      <a:pt x="1485" y="1554"/>
                    </a:lnTo>
                    <a:lnTo>
                      <a:pt x="1491" y="1550"/>
                    </a:lnTo>
                    <a:lnTo>
                      <a:pt x="1498" y="1547"/>
                    </a:lnTo>
                    <a:lnTo>
                      <a:pt x="1505" y="1545"/>
                    </a:lnTo>
                    <a:lnTo>
                      <a:pt x="1513" y="1544"/>
                    </a:lnTo>
                    <a:lnTo>
                      <a:pt x="1519" y="1543"/>
                    </a:lnTo>
                    <a:lnTo>
                      <a:pt x="1527" y="1544"/>
                    </a:lnTo>
                    <a:lnTo>
                      <a:pt x="1534" y="1545"/>
                    </a:lnTo>
                    <a:lnTo>
                      <a:pt x="1542" y="1547"/>
                    </a:lnTo>
                    <a:lnTo>
                      <a:pt x="1548" y="1550"/>
                    </a:lnTo>
                    <a:lnTo>
                      <a:pt x="1554" y="1554"/>
                    </a:lnTo>
                    <a:lnTo>
                      <a:pt x="1561" y="1558"/>
                    </a:lnTo>
                    <a:lnTo>
                      <a:pt x="1566" y="1563"/>
                    </a:lnTo>
                    <a:lnTo>
                      <a:pt x="1569" y="1569"/>
                    </a:lnTo>
                    <a:lnTo>
                      <a:pt x="1569" y="1569"/>
                    </a:lnTo>
                    <a:lnTo>
                      <a:pt x="1586" y="1593"/>
                    </a:lnTo>
                    <a:lnTo>
                      <a:pt x="1602" y="1616"/>
                    </a:lnTo>
                    <a:lnTo>
                      <a:pt x="1621" y="1637"/>
                    </a:lnTo>
                    <a:lnTo>
                      <a:pt x="1640" y="1658"/>
                    </a:lnTo>
                    <a:lnTo>
                      <a:pt x="1662" y="1675"/>
                    </a:lnTo>
                    <a:lnTo>
                      <a:pt x="1683" y="1693"/>
                    </a:lnTo>
                    <a:lnTo>
                      <a:pt x="1706" y="1709"/>
                    </a:lnTo>
                    <a:lnTo>
                      <a:pt x="1728" y="1723"/>
                    </a:lnTo>
                    <a:lnTo>
                      <a:pt x="1754" y="1736"/>
                    </a:lnTo>
                    <a:lnTo>
                      <a:pt x="1779" y="1747"/>
                    </a:lnTo>
                    <a:lnTo>
                      <a:pt x="1804" y="1756"/>
                    </a:lnTo>
                    <a:lnTo>
                      <a:pt x="1831" y="1764"/>
                    </a:lnTo>
                    <a:lnTo>
                      <a:pt x="1858" y="1770"/>
                    </a:lnTo>
                    <a:lnTo>
                      <a:pt x="1886" y="1775"/>
                    </a:lnTo>
                    <a:lnTo>
                      <a:pt x="1914" y="1778"/>
                    </a:lnTo>
                    <a:lnTo>
                      <a:pt x="1942" y="1779"/>
                    </a:lnTo>
                    <a:lnTo>
                      <a:pt x="1942" y="1779"/>
                    </a:lnTo>
                    <a:lnTo>
                      <a:pt x="1977" y="1778"/>
                    </a:lnTo>
                    <a:lnTo>
                      <a:pt x="2011" y="1773"/>
                    </a:lnTo>
                    <a:lnTo>
                      <a:pt x="2044" y="1766"/>
                    </a:lnTo>
                    <a:lnTo>
                      <a:pt x="2077" y="1757"/>
                    </a:lnTo>
                    <a:lnTo>
                      <a:pt x="2107" y="1746"/>
                    </a:lnTo>
                    <a:lnTo>
                      <a:pt x="2137" y="1732"/>
                    </a:lnTo>
                    <a:lnTo>
                      <a:pt x="2166" y="1716"/>
                    </a:lnTo>
                    <a:lnTo>
                      <a:pt x="2194" y="1698"/>
                    </a:lnTo>
                    <a:lnTo>
                      <a:pt x="2194" y="0"/>
                    </a:lnTo>
                    <a:lnTo>
                      <a:pt x="2194" y="0"/>
                    </a:lnTo>
                    <a:lnTo>
                      <a:pt x="2193" y="12"/>
                    </a:lnTo>
                    <a:lnTo>
                      <a:pt x="2191" y="26"/>
                    </a:lnTo>
                    <a:lnTo>
                      <a:pt x="2190" y="39"/>
                    </a:lnTo>
                    <a:lnTo>
                      <a:pt x="2186" y="52"/>
                    </a:lnTo>
                    <a:lnTo>
                      <a:pt x="2184" y="64"/>
                    </a:lnTo>
                    <a:lnTo>
                      <a:pt x="2179" y="77"/>
                    </a:lnTo>
                    <a:lnTo>
                      <a:pt x="2174" y="89"/>
                    </a:lnTo>
                    <a:lnTo>
                      <a:pt x="2168" y="101"/>
                    </a:lnTo>
                    <a:lnTo>
                      <a:pt x="2154" y="125"/>
                    </a:lnTo>
                    <a:lnTo>
                      <a:pt x="2137" y="146"/>
                    </a:lnTo>
                    <a:lnTo>
                      <a:pt x="2118" y="169"/>
                    </a:lnTo>
                    <a:lnTo>
                      <a:pt x="2097" y="189"/>
                    </a:lnTo>
                    <a:lnTo>
                      <a:pt x="2072" y="209"/>
                    </a:lnTo>
                    <a:lnTo>
                      <a:pt x="2045" y="228"/>
                    </a:lnTo>
                    <a:lnTo>
                      <a:pt x="2016" y="247"/>
                    </a:lnTo>
                    <a:lnTo>
                      <a:pt x="1985" y="265"/>
                    </a:lnTo>
                    <a:lnTo>
                      <a:pt x="1952" y="281"/>
                    </a:lnTo>
                    <a:lnTo>
                      <a:pt x="1916" y="297"/>
                    </a:lnTo>
                    <a:lnTo>
                      <a:pt x="1880" y="312"/>
                    </a:lnTo>
                    <a:lnTo>
                      <a:pt x="1841" y="327"/>
                    </a:lnTo>
                    <a:lnTo>
                      <a:pt x="1800" y="339"/>
                    </a:lnTo>
                    <a:lnTo>
                      <a:pt x="1759" y="352"/>
                    </a:lnTo>
                    <a:lnTo>
                      <a:pt x="1715" y="363"/>
                    </a:lnTo>
                    <a:lnTo>
                      <a:pt x="1670" y="375"/>
                    </a:lnTo>
                    <a:lnTo>
                      <a:pt x="1625" y="385"/>
                    </a:lnTo>
                    <a:lnTo>
                      <a:pt x="1577" y="394"/>
                    </a:lnTo>
                    <a:lnTo>
                      <a:pt x="1529" y="401"/>
                    </a:lnTo>
                    <a:lnTo>
                      <a:pt x="1480" y="409"/>
                    </a:lnTo>
                    <a:lnTo>
                      <a:pt x="1431" y="415"/>
                    </a:lnTo>
                    <a:lnTo>
                      <a:pt x="1380" y="422"/>
                    </a:lnTo>
                    <a:lnTo>
                      <a:pt x="1330" y="427"/>
                    </a:lnTo>
                    <a:lnTo>
                      <a:pt x="1278" y="430"/>
                    </a:lnTo>
                    <a:lnTo>
                      <a:pt x="1226" y="433"/>
                    </a:lnTo>
                    <a:lnTo>
                      <a:pt x="1173" y="435"/>
                    </a:lnTo>
                    <a:lnTo>
                      <a:pt x="1122" y="437"/>
                    </a:lnTo>
                    <a:lnTo>
                      <a:pt x="1069" y="437"/>
                    </a:lnTo>
                    <a:lnTo>
                      <a:pt x="1069" y="437"/>
                    </a:lnTo>
                    <a:lnTo>
                      <a:pt x="984" y="437"/>
                    </a:lnTo>
                    <a:lnTo>
                      <a:pt x="900" y="433"/>
                    </a:lnTo>
                    <a:lnTo>
                      <a:pt x="815" y="427"/>
                    </a:lnTo>
                    <a:lnTo>
                      <a:pt x="733" y="419"/>
                    </a:lnTo>
                    <a:lnTo>
                      <a:pt x="651" y="409"/>
                    </a:lnTo>
                    <a:lnTo>
                      <a:pt x="573" y="396"/>
                    </a:lnTo>
                    <a:lnTo>
                      <a:pt x="496" y="381"/>
                    </a:lnTo>
                    <a:lnTo>
                      <a:pt x="423" y="363"/>
                    </a:lnTo>
                    <a:lnTo>
                      <a:pt x="387" y="355"/>
                    </a:lnTo>
                    <a:lnTo>
                      <a:pt x="353" y="344"/>
                    </a:lnTo>
                    <a:lnTo>
                      <a:pt x="320" y="334"/>
                    </a:lnTo>
                    <a:lnTo>
                      <a:pt x="288" y="323"/>
                    </a:lnTo>
                    <a:lnTo>
                      <a:pt x="256" y="312"/>
                    </a:lnTo>
                    <a:lnTo>
                      <a:pt x="226" y="299"/>
                    </a:lnTo>
                    <a:lnTo>
                      <a:pt x="197" y="286"/>
                    </a:lnTo>
                    <a:lnTo>
                      <a:pt x="169" y="273"/>
                    </a:lnTo>
                    <a:lnTo>
                      <a:pt x="144" y="259"/>
                    </a:lnTo>
                    <a:lnTo>
                      <a:pt x="119" y="245"/>
                    </a:lnTo>
                    <a:lnTo>
                      <a:pt x="95" y="230"/>
                    </a:lnTo>
                    <a:lnTo>
                      <a:pt x="73" y="214"/>
                    </a:lnTo>
                    <a:lnTo>
                      <a:pt x="52" y="198"/>
                    </a:lnTo>
                    <a:lnTo>
                      <a:pt x="33" y="182"/>
                    </a:lnTo>
                    <a:lnTo>
                      <a:pt x="16" y="165"/>
                    </a:lnTo>
                    <a:lnTo>
                      <a:pt x="0" y="148"/>
                    </a:lnTo>
                    <a:lnTo>
                      <a:pt x="0" y="1698"/>
                    </a:lnTo>
                    <a:lnTo>
                      <a:pt x="0" y="1698"/>
                    </a:lnTo>
                    <a:lnTo>
                      <a:pt x="28" y="1716"/>
                    </a:lnTo>
                    <a:lnTo>
                      <a:pt x="57" y="1732"/>
                    </a:lnTo>
                    <a:lnTo>
                      <a:pt x="87" y="1746"/>
                    </a:lnTo>
                    <a:lnTo>
                      <a:pt x="117" y="1757"/>
                    </a:lnTo>
                    <a:lnTo>
                      <a:pt x="150" y="1766"/>
                    </a:lnTo>
                    <a:lnTo>
                      <a:pt x="183" y="1773"/>
                    </a:lnTo>
                    <a:lnTo>
                      <a:pt x="217" y="1778"/>
                    </a:lnTo>
                    <a:lnTo>
                      <a:pt x="252" y="1779"/>
                    </a:lnTo>
                    <a:lnTo>
                      <a:pt x="252" y="1779"/>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defRPr/>
                </a:pPr>
                <a:endParaRPr lang="en-US" sz="1799" kern="0">
                  <a:solidFill>
                    <a:sysClr val="windowText" lastClr="000000"/>
                  </a:solidFill>
                </a:endParaRPr>
              </a:p>
            </p:txBody>
          </p:sp>
          <p:sp>
            <p:nvSpPr>
              <p:cNvPr id="117" name="Freeform 18"/>
              <p:cNvSpPr>
                <a:spLocks/>
              </p:cNvSpPr>
              <p:nvPr/>
            </p:nvSpPr>
            <p:spPr bwMode="auto">
              <a:xfrm>
                <a:off x="3473450" y="6130925"/>
                <a:ext cx="1741488" cy="727075"/>
              </a:xfrm>
              <a:custGeom>
                <a:avLst/>
                <a:gdLst>
                  <a:gd name="T0" fmla="*/ 1911 w 2194"/>
                  <a:gd name="T1" fmla="*/ 195 h 915"/>
                  <a:gd name="T2" fmla="*/ 1821 w 2194"/>
                  <a:gd name="T3" fmla="*/ 183 h 915"/>
                  <a:gd name="T4" fmla="*/ 1736 w 2194"/>
                  <a:gd name="T5" fmla="*/ 156 h 915"/>
                  <a:gd name="T6" fmla="*/ 1655 w 2194"/>
                  <a:gd name="T7" fmla="*/ 117 h 915"/>
                  <a:gd name="T8" fmla="*/ 1583 w 2194"/>
                  <a:gd name="T9" fmla="*/ 64 h 915"/>
                  <a:gd name="T10" fmla="*/ 1519 w 2194"/>
                  <a:gd name="T11" fmla="*/ 0 h 915"/>
                  <a:gd name="T12" fmla="*/ 1479 w 2194"/>
                  <a:gd name="T13" fmla="*/ 44 h 915"/>
                  <a:gd name="T14" fmla="*/ 1408 w 2194"/>
                  <a:gd name="T15" fmla="*/ 101 h 915"/>
                  <a:gd name="T16" fmla="*/ 1331 w 2194"/>
                  <a:gd name="T17" fmla="*/ 145 h 915"/>
                  <a:gd name="T18" fmla="*/ 1247 w 2194"/>
                  <a:gd name="T19" fmla="*/ 175 h 915"/>
                  <a:gd name="T20" fmla="*/ 1158 w 2194"/>
                  <a:gd name="T21" fmla="*/ 193 h 915"/>
                  <a:gd name="T22" fmla="*/ 1098 w 2194"/>
                  <a:gd name="T23" fmla="*/ 195 h 915"/>
                  <a:gd name="T24" fmla="*/ 1006 w 2194"/>
                  <a:gd name="T25" fmla="*/ 188 h 915"/>
                  <a:gd name="T26" fmla="*/ 918 w 2194"/>
                  <a:gd name="T27" fmla="*/ 166 h 915"/>
                  <a:gd name="T28" fmla="*/ 836 w 2194"/>
                  <a:gd name="T29" fmla="*/ 131 h 915"/>
                  <a:gd name="T30" fmla="*/ 762 w 2194"/>
                  <a:gd name="T31" fmla="*/ 83 h 915"/>
                  <a:gd name="T32" fmla="*/ 695 w 2194"/>
                  <a:gd name="T33" fmla="*/ 22 h 915"/>
                  <a:gd name="T34" fmla="*/ 655 w 2194"/>
                  <a:gd name="T35" fmla="*/ 22 h 915"/>
                  <a:gd name="T36" fmla="*/ 588 w 2194"/>
                  <a:gd name="T37" fmla="*/ 83 h 915"/>
                  <a:gd name="T38" fmla="*/ 512 w 2194"/>
                  <a:gd name="T39" fmla="*/ 131 h 915"/>
                  <a:gd name="T40" fmla="*/ 430 w 2194"/>
                  <a:gd name="T41" fmla="*/ 166 h 915"/>
                  <a:gd name="T42" fmla="*/ 343 w 2194"/>
                  <a:gd name="T43" fmla="*/ 188 h 915"/>
                  <a:gd name="T44" fmla="*/ 252 w 2194"/>
                  <a:gd name="T45" fmla="*/ 195 h 915"/>
                  <a:gd name="T46" fmla="*/ 185 w 2194"/>
                  <a:gd name="T47" fmla="*/ 192 h 915"/>
                  <a:gd name="T48" fmla="*/ 90 w 2194"/>
                  <a:gd name="T49" fmla="*/ 171 h 915"/>
                  <a:gd name="T50" fmla="*/ 0 w 2194"/>
                  <a:gd name="T51" fmla="*/ 135 h 915"/>
                  <a:gd name="T52" fmla="*/ 15 w 2194"/>
                  <a:gd name="T53" fmla="*/ 703 h 915"/>
                  <a:gd name="T54" fmla="*/ 69 w 2194"/>
                  <a:gd name="T55" fmla="*/ 737 h 915"/>
                  <a:gd name="T56" fmla="*/ 136 w 2194"/>
                  <a:gd name="T57" fmla="*/ 770 h 915"/>
                  <a:gd name="T58" fmla="*/ 274 w 2194"/>
                  <a:gd name="T59" fmla="*/ 819 h 915"/>
                  <a:gd name="T60" fmla="*/ 477 w 2194"/>
                  <a:gd name="T61" fmla="*/ 866 h 915"/>
                  <a:gd name="T62" fmla="*/ 713 w 2194"/>
                  <a:gd name="T63" fmla="*/ 899 h 915"/>
                  <a:gd name="T64" fmla="*/ 975 w 2194"/>
                  <a:gd name="T65" fmla="*/ 914 h 915"/>
                  <a:gd name="T66" fmla="*/ 1125 w 2194"/>
                  <a:gd name="T67" fmla="*/ 915 h 915"/>
                  <a:gd name="T68" fmla="*/ 1294 w 2194"/>
                  <a:gd name="T69" fmla="*/ 909 h 915"/>
                  <a:gd name="T70" fmla="*/ 1455 w 2194"/>
                  <a:gd name="T71" fmla="*/ 895 h 915"/>
                  <a:gd name="T72" fmla="*/ 1604 w 2194"/>
                  <a:gd name="T73" fmla="*/ 875 h 915"/>
                  <a:gd name="T74" fmla="*/ 1741 w 2194"/>
                  <a:gd name="T75" fmla="*/ 849 h 915"/>
                  <a:gd name="T76" fmla="*/ 1863 w 2194"/>
                  <a:gd name="T77" fmla="*/ 818 h 915"/>
                  <a:gd name="T78" fmla="*/ 1969 w 2194"/>
                  <a:gd name="T79" fmla="*/ 782 h 915"/>
                  <a:gd name="T80" fmla="*/ 2058 w 2194"/>
                  <a:gd name="T81" fmla="*/ 742 h 915"/>
                  <a:gd name="T82" fmla="*/ 2125 w 2194"/>
                  <a:gd name="T83" fmla="*/ 698 h 915"/>
                  <a:gd name="T84" fmla="*/ 2170 w 2194"/>
                  <a:gd name="T85" fmla="*/ 651 h 915"/>
                  <a:gd name="T86" fmla="*/ 2191 w 2194"/>
                  <a:gd name="T87" fmla="*/ 601 h 915"/>
                  <a:gd name="T88" fmla="*/ 2194 w 2194"/>
                  <a:gd name="T89" fmla="*/ 135 h 915"/>
                  <a:gd name="T90" fmla="*/ 2104 w 2194"/>
                  <a:gd name="T91" fmla="*/ 171 h 915"/>
                  <a:gd name="T92" fmla="*/ 2009 w 2194"/>
                  <a:gd name="T93" fmla="*/ 192 h 915"/>
                  <a:gd name="T94" fmla="*/ 1942 w 2194"/>
                  <a:gd name="T95" fmla="*/ 19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94" h="915">
                    <a:moveTo>
                      <a:pt x="1942" y="195"/>
                    </a:moveTo>
                    <a:lnTo>
                      <a:pt x="1942" y="195"/>
                    </a:lnTo>
                    <a:lnTo>
                      <a:pt x="1911" y="195"/>
                    </a:lnTo>
                    <a:lnTo>
                      <a:pt x="1881" y="193"/>
                    </a:lnTo>
                    <a:lnTo>
                      <a:pt x="1851" y="188"/>
                    </a:lnTo>
                    <a:lnTo>
                      <a:pt x="1821" y="183"/>
                    </a:lnTo>
                    <a:lnTo>
                      <a:pt x="1792" y="175"/>
                    </a:lnTo>
                    <a:lnTo>
                      <a:pt x="1764" y="166"/>
                    </a:lnTo>
                    <a:lnTo>
                      <a:pt x="1736" y="156"/>
                    </a:lnTo>
                    <a:lnTo>
                      <a:pt x="1708" y="145"/>
                    </a:lnTo>
                    <a:lnTo>
                      <a:pt x="1682" y="131"/>
                    </a:lnTo>
                    <a:lnTo>
                      <a:pt x="1655" y="117"/>
                    </a:lnTo>
                    <a:lnTo>
                      <a:pt x="1631" y="101"/>
                    </a:lnTo>
                    <a:lnTo>
                      <a:pt x="1606" y="83"/>
                    </a:lnTo>
                    <a:lnTo>
                      <a:pt x="1583" y="64"/>
                    </a:lnTo>
                    <a:lnTo>
                      <a:pt x="1561" y="44"/>
                    </a:lnTo>
                    <a:lnTo>
                      <a:pt x="1539" y="22"/>
                    </a:lnTo>
                    <a:lnTo>
                      <a:pt x="1519" y="0"/>
                    </a:lnTo>
                    <a:lnTo>
                      <a:pt x="1519" y="0"/>
                    </a:lnTo>
                    <a:lnTo>
                      <a:pt x="1499" y="22"/>
                    </a:lnTo>
                    <a:lnTo>
                      <a:pt x="1479" y="44"/>
                    </a:lnTo>
                    <a:lnTo>
                      <a:pt x="1456" y="64"/>
                    </a:lnTo>
                    <a:lnTo>
                      <a:pt x="1432" y="83"/>
                    </a:lnTo>
                    <a:lnTo>
                      <a:pt x="1408" y="101"/>
                    </a:lnTo>
                    <a:lnTo>
                      <a:pt x="1383" y="117"/>
                    </a:lnTo>
                    <a:lnTo>
                      <a:pt x="1358" y="131"/>
                    </a:lnTo>
                    <a:lnTo>
                      <a:pt x="1331" y="145"/>
                    </a:lnTo>
                    <a:lnTo>
                      <a:pt x="1303" y="156"/>
                    </a:lnTo>
                    <a:lnTo>
                      <a:pt x="1276" y="166"/>
                    </a:lnTo>
                    <a:lnTo>
                      <a:pt x="1247" y="175"/>
                    </a:lnTo>
                    <a:lnTo>
                      <a:pt x="1217" y="183"/>
                    </a:lnTo>
                    <a:lnTo>
                      <a:pt x="1188" y="188"/>
                    </a:lnTo>
                    <a:lnTo>
                      <a:pt x="1158" y="193"/>
                    </a:lnTo>
                    <a:lnTo>
                      <a:pt x="1128" y="195"/>
                    </a:lnTo>
                    <a:lnTo>
                      <a:pt x="1098" y="195"/>
                    </a:lnTo>
                    <a:lnTo>
                      <a:pt x="1098" y="195"/>
                    </a:lnTo>
                    <a:lnTo>
                      <a:pt x="1066" y="195"/>
                    </a:lnTo>
                    <a:lnTo>
                      <a:pt x="1036" y="193"/>
                    </a:lnTo>
                    <a:lnTo>
                      <a:pt x="1006" y="188"/>
                    </a:lnTo>
                    <a:lnTo>
                      <a:pt x="977" y="183"/>
                    </a:lnTo>
                    <a:lnTo>
                      <a:pt x="947" y="175"/>
                    </a:lnTo>
                    <a:lnTo>
                      <a:pt x="918" y="166"/>
                    </a:lnTo>
                    <a:lnTo>
                      <a:pt x="891" y="156"/>
                    </a:lnTo>
                    <a:lnTo>
                      <a:pt x="863" y="145"/>
                    </a:lnTo>
                    <a:lnTo>
                      <a:pt x="836" y="131"/>
                    </a:lnTo>
                    <a:lnTo>
                      <a:pt x="811" y="117"/>
                    </a:lnTo>
                    <a:lnTo>
                      <a:pt x="786" y="101"/>
                    </a:lnTo>
                    <a:lnTo>
                      <a:pt x="762" y="83"/>
                    </a:lnTo>
                    <a:lnTo>
                      <a:pt x="738" y="64"/>
                    </a:lnTo>
                    <a:lnTo>
                      <a:pt x="715" y="44"/>
                    </a:lnTo>
                    <a:lnTo>
                      <a:pt x="695" y="22"/>
                    </a:lnTo>
                    <a:lnTo>
                      <a:pt x="675" y="0"/>
                    </a:lnTo>
                    <a:lnTo>
                      <a:pt x="675" y="0"/>
                    </a:lnTo>
                    <a:lnTo>
                      <a:pt x="655" y="22"/>
                    </a:lnTo>
                    <a:lnTo>
                      <a:pt x="633" y="44"/>
                    </a:lnTo>
                    <a:lnTo>
                      <a:pt x="611" y="64"/>
                    </a:lnTo>
                    <a:lnTo>
                      <a:pt x="588" y="83"/>
                    </a:lnTo>
                    <a:lnTo>
                      <a:pt x="563" y="101"/>
                    </a:lnTo>
                    <a:lnTo>
                      <a:pt x="539" y="117"/>
                    </a:lnTo>
                    <a:lnTo>
                      <a:pt x="512" y="131"/>
                    </a:lnTo>
                    <a:lnTo>
                      <a:pt x="486" y="145"/>
                    </a:lnTo>
                    <a:lnTo>
                      <a:pt x="458" y="156"/>
                    </a:lnTo>
                    <a:lnTo>
                      <a:pt x="430" y="166"/>
                    </a:lnTo>
                    <a:lnTo>
                      <a:pt x="402" y="175"/>
                    </a:lnTo>
                    <a:lnTo>
                      <a:pt x="373" y="183"/>
                    </a:lnTo>
                    <a:lnTo>
                      <a:pt x="343" y="188"/>
                    </a:lnTo>
                    <a:lnTo>
                      <a:pt x="313" y="193"/>
                    </a:lnTo>
                    <a:lnTo>
                      <a:pt x="283" y="195"/>
                    </a:lnTo>
                    <a:lnTo>
                      <a:pt x="252" y="195"/>
                    </a:lnTo>
                    <a:lnTo>
                      <a:pt x="252" y="195"/>
                    </a:lnTo>
                    <a:lnTo>
                      <a:pt x="218" y="195"/>
                    </a:lnTo>
                    <a:lnTo>
                      <a:pt x="185" y="192"/>
                    </a:lnTo>
                    <a:lnTo>
                      <a:pt x="153" y="186"/>
                    </a:lnTo>
                    <a:lnTo>
                      <a:pt x="121" y="180"/>
                    </a:lnTo>
                    <a:lnTo>
                      <a:pt x="90" y="171"/>
                    </a:lnTo>
                    <a:lnTo>
                      <a:pt x="59" y="161"/>
                    </a:lnTo>
                    <a:lnTo>
                      <a:pt x="29" y="149"/>
                    </a:lnTo>
                    <a:lnTo>
                      <a:pt x="0" y="135"/>
                    </a:lnTo>
                    <a:lnTo>
                      <a:pt x="0" y="690"/>
                    </a:lnTo>
                    <a:lnTo>
                      <a:pt x="0" y="690"/>
                    </a:lnTo>
                    <a:lnTo>
                      <a:pt x="15" y="703"/>
                    </a:lnTo>
                    <a:lnTo>
                      <a:pt x="32" y="714"/>
                    </a:lnTo>
                    <a:lnTo>
                      <a:pt x="50" y="726"/>
                    </a:lnTo>
                    <a:lnTo>
                      <a:pt x="69" y="737"/>
                    </a:lnTo>
                    <a:lnTo>
                      <a:pt x="91" y="748"/>
                    </a:lnTo>
                    <a:lnTo>
                      <a:pt x="112" y="760"/>
                    </a:lnTo>
                    <a:lnTo>
                      <a:pt x="136" y="770"/>
                    </a:lnTo>
                    <a:lnTo>
                      <a:pt x="161" y="780"/>
                    </a:lnTo>
                    <a:lnTo>
                      <a:pt x="214" y="800"/>
                    </a:lnTo>
                    <a:lnTo>
                      <a:pt x="274" y="819"/>
                    </a:lnTo>
                    <a:lnTo>
                      <a:pt x="337" y="835"/>
                    </a:lnTo>
                    <a:lnTo>
                      <a:pt x="405" y="852"/>
                    </a:lnTo>
                    <a:lnTo>
                      <a:pt x="477" y="866"/>
                    </a:lnTo>
                    <a:lnTo>
                      <a:pt x="551" y="878"/>
                    </a:lnTo>
                    <a:lnTo>
                      <a:pt x="631" y="890"/>
                    </a:lnTo>
                    <a:lnTo>
                      <a:pt x="713" y="899"/>
                    </a:lnTo>
                    <a:lnTo>
                      <a:pt x="797" y="905"/>
                    </a:lnTo>
                    <a:lnTo>
                      <a:pt x="886" y="911"/>
                    </a:lnTo>
                    <a:lnTo>
                      <a:pt x="975" y="914"/>
                    </a:lnTo>
                    <a:lnTo>
                      <a:pt x="1067" y="915"/>
                    </a:lnTo>
                    <a:lnTo>
                      <a:pt x="1067" y="915"/>
                    </a:lnTo>
                    <a:lnTo>
                      <a:pt x="1125" y="915"/>
                    </a:lnTo>
                    <a:lnTo>
                      <a:pt x="1182" y="914"/>
                    </a:lnTo>
                    <a:lnTo>
                      <a:pt x="1239" y="911"/>
                    </a:lnTo>
                    <a:lnTo>
                      <a:pt x="1294" y="909"/>
                    </a:lnTo>
                    <a:lnTo>
                      <a:pt x="1349" y="905"/>
                    </a:lnTo>
                    <a:lnTo>
                      <a:pt x="1402" y="900"/>
                    </a:lnTo>
                    <a:lnTo>
                      <a:pt x="1455" y="895"/>
                    </a:lnTo>
                    <a:lnTo>
                      <a:pt x="1505" y="888"/>
                    </a:lnTo>
                    <a:lnTo>
                      <a:pt x="1556" y="882"/>
                    </a:lnTo>
                    <a:lnTo>
                      <a:pt x="1604" y="875"/>
                    </a:lnTo>
                    <a:lnTo>
                      <a:pt x="1651" y="867"/>
                    </a:lnTo>
                    <a:lnTo>
                      <a:pt x="1697" y="858"/>
                    </a:lnTo>
                    <a:lnTo>
                      <a:pt x="1741" y="849"/>
                    </a:lnTo>
                    <a:lnTo>
                      <a:pt x="1784" y="839"/>
                    </a:lnTo>
                    <a:lnTo>
                      <a:pt x="1824" y="829"/>
                    </a:lnTo>
                    <a:lnTo>
                      <a:pt x="1863" y="818"/>
                    </a:lnTo>
                    <a:lnTo>
                      <a:pt x="1901" y="806"/>
                    </a:lnTo>
                    <a:lnTo>
                      <a:pt x="1937" y="795"/>
                    </a:lnTo>
                    <a:lnTo>
                      <a:pt x="1969" y="782"/>
                    </a:lnTo>
                    <a:lnTo>
                      <a:pt x="2001" y="769"/>
                    </a:lnTo>
                    <a:lnTo>
                      <a:pt x="2030" y="756"/>
                    </a:lnTo>
                    <a:lnTo>
                      <a:pt x="2058" y="742"/>
                    </a:lnTo>
                    <a:lnTo>
                      <a:pt x="2083" y="727"/>
                    </a:lnTo>
                    <a:lnTo>
                      <a:pt x="2104" y="713"/>
                    </a:lnTo>
                    <a:lnTo>
                      <a:pt x="2125" y="698"/>
                    </a:lnTo>
                    <a:lnTo>
                      <a:pt x="2142" y="683"/>
                    </a:lnTo>
                    <a:lnTo>
                      <a:pt x="2157" y="666"/>
                    </a:lnTo>
                    <a:lnTo>
                      <a:pt x="2170" y="651"/>
                    </a:lnTo>
                    <a:lnTo>
                      <a:pt x="2180" y="635"/>
                    </a:lnTo>
                    <a:lnTo>
                      <a:pt x="2188" y="618"/>
                    </a:lnTo>
                    <a:lnTo>
                      <a:pt x="2191" y="601"/>
                    </a:lnTo>
                    <a:lnTo>
                      <a:pt x="2194" y="584"/>
                    </a:lnTo>
                    <a:lnTo>
                      <a:pt x="2194" y="135"/>
                    </a:lnTo>
                    <a:lnTo>
                      <a:pt x="2194" y="135"/>
                    </a:lnTo>
                    <a:lnTo>
                      <a:pt x="2165" y="149"/>
                    </a:lnTo>
                    <a:lnTo>
                      <a:pt x="2135" y="161"/>
                    </a:lnTo>
                    <a:lnTo>
                      <a:pt x="2104" y="171"/>
                    </a:lnTo>
                    <a:lnTo>
                      <a:pt x="2073" y="180"/>
                    </a:lnTo>
                    <a:lnTo>
                      <a:pt x="2041" y="186"/>
                    </a:lnTo>
                    <a:lnTo>
                      <a:pt x="2009" y="192"/>
                    </a:lnTo>
                    <a:lnTo>
                      <a:pt x="1976" y="195"/>
                    </a:lnTo>
                    <a:lnTo>
                      <a:pt x="1942" y="195"/>
                    </a:lnTo>
                    <a:lnTo>
                      <a:pt x="1942" y="195"/>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defRPr/>
                </a:pPr>
                <a:endParaRPr lang="en-US" sz="1799" kern="0">
                  <a:solidFill>
                    <a:sysClr val="windowText" lastClr="000000"/>
                  </a:solidFill>
                </a:endParaRPr>
              </a:p>
            </p:txBody>
          </p:sp>
        </p:grpSp>
        <p:sp>
          <p:nvSpPr>
            <p:cNvPr id="107" name="Rectangle 106"/>
            <p:cNvSpPr/>
            <p:nvPr/>
          </p:nvSpPr>
          <p:spPr>
            <a:xfrm>
              <a:off x="2962833" y="2295083"/>
              <a:ext cx="1294130" cy="439642"/>
            </a:xfrm>
            <a:prstGeom prst="rect">
              <a:avLst/>
            </a:prstGeom>
          </p:spPr>
          <p:txBody>
            <a:bodyPr wrap="square">
              <a:spAutoFit/>
            </a:bodyPr>
            <a:lstStyle/>
            <a:p>
              <a:pPr defTabSz="896203">
                <a:defRPr/>
              </a:pPr>
              <a:r>
                <a:rPr lang="en-US" sz="1100" kern="0" dirty="0">
                  <a:solidFill>
                    <a:schemeClr val="accent2">
                      <a:lumMod val="75000"/>
                    </a:schemeClr>
                  </a:solidFill>
                  <a:cs typeface="Segoe UI Semilight" panose="020B0402040204020203" pitchFamily="34" charset="0"/>
                </a:rPr>
                <a:t>Machine</a:t>
              </a:r>
              <a:r>
                <a:rPr lang="en-US" sz="1100" kern="0" dirty="0">
                  <a:solidFill>
                    <a:schemeClr val="bg2">
                      <a:lumMod val="75000"/>
                    </a:schemeClr>
                  </a:solidFill>
                  <a:cs typeface="Segoe UI Semilight" panose="020B0402040204020203" pitchFamily="34" charset="0"/>
                </a:rPr>
                <a:t> </a:t>
              </a:r>
              <a:r>
                <a:rPr lang="en-US" sz="1100" kern="0" dirty="0">
                  <a:solidFill>
                    <a:schemeClr val="accent2">
                      <a:lumMod val="75000"/>
                    </a:schemeClr>
                  </a:solidFill>
                  <a:cs typeface="Segoe UI Semilight" panose="020B0402040204020203" pitchFamily="34" charset="0"/>
                </a:rPr>
                <a:t>Learning</a:t>
              </a:r>
            </a:p>
          </p:txBody>
        </p:sp>
        <p:grpSp>
          <p:nvGrpSpPr>
            <p:cNvPr id="108" name="Group 107"/>
            <p:cNvGrpSpPr/>
            <p:nvPr/>
          </p:nvGrpSpPr>
          <p:grpSpPr>
            <a:xfrm>
              <a:off x="2519622" y="4890724"/>
              <a:ext cx="359675" cy="276298"/>
              <a:chOff x="1260022" y="5196402"/>
              <a:chExt cx="3273425" cy="2514600"/>
            </a:xfrm>
            <a:solidFill>
              <a:schemeClr val="tx1"/>
            </a:solidFill>
          </p:grpSpPr>
          <p:sp>
            <p:nvSpPr>
              <p:cNvPr id="111" name="Freeform 110"/>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defRPr/>
                </a:pPr>
                <a:endParaRPr lang="en-US" sz="1799" dirty="0"/>
              </a:p>
            </p:txBody>
          </p:sp>
          <p:sp>
            <p:nvSpPr>
              <p:cNvPr id="112" name="Freeform 111"/>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defRPr/>
                </a:pPr>
                <a:endParaRPr lang="en-US" sz="1799" dirty="0"/>
              </a:p>
            </p:txBody>
          </p:sp>
          <p:sp>
            <p:nvSpPr>
              <p:cNvPr id="113" name="Freeform 112"/>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defRPr/>
                </a:pPr>
                <a:endParaRPr lang="en-US" sz="1799" dirty="0"/>
              </a:p>
            </p:txBody>
          </p:sp>
          <p:sp>
            <p:nvSpPr>
              <p:cNvPr id="114" name="Freeform 113"/>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defRPr/>
                </a:pPr>
                <a:endParaRPr lang="en-US" sz="1799" dirty="0"/>
              </a:p>
            </p:txBody>
          </p:sp>
        </p:grpSp>
        <p:sp>
          <p:nvSpPr>
            <p:cNvPr id="109" name="Freeform 108"/>
            <p:cNvSpPr>
              <a:spLocks/>
            </p:cNvSpPr>
            <p:nvPr/>
          </p:nvSpPr>
          <p:spPr bwMode="auto">
            <a:xfrm>
              <a:off x="2520964" y="4034622"/>
              <a:ext cx="373674" cy="282777"/>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2">
                <a:lumMod val="75000"/>
              </a:schemeClr>
            </a:solidFill>
            <a:ln w="6350">
              <a:noFill/>
            </a:ln>
          </p:spPr>
          <p:txBody>
            <a:bodyPr vert="horz" wrap="square" lIns="91403" tIns="45701" rIns="91403" bIns="45701" numCol="1" anchor="t" anchorCtr="0" compatLnSpc="1">
              <a:prstTxWarp prst="textNoShape">
                <a:avLst/>
              </a:prstTxWarp>
            </a:bodyPr>
            <a:lstStyle/>
            <a:p>
              <a:pPr defTabSz="896203">
                <a:defRPr/>
              </a:pPr>
              <a:endParaRPr lang="en-US" sz="1600" kern="0" dirty="0">
                <a:solidFill>
                  <a:sysClr val="windowText" lastClr="000000"/>
                </a:solidFill>
              </a:endParaRPr>
            </a:p>
          </p:txBody>
        </p:sp>
        <p:sp>
          <p:nvSpPr>
            <p:cNvPr id="110" name="Freeform 109"/>
            <p:cNvSpPr/>
            <p:nvPr/>
          </p:nvSpPr>
          <p:spPr bwMode="auto">
            <a:xfrm flipH="1">
              <a:off x="2565074" y="2374875"/>
              <a:ext cx="272572" cy="288449"/>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defRPr/>
              </a:pPr>
              <a:endParaRPr lang="en-US" sz="2399" kern="0">
                <a:solidFill>
                  <a:schemeClr val="tx1"/>
                </a:solidFill>
                <a:ea typeface="Segoe UI" pitchFamily="34" charset="0"/>
                <a:cs typeface="Segoe UI" pitchFamily="34" charset="0"/>
              </a:endParaRPr>
            </a:p>
          </p:txBody>
        </p:sp>
      </p:grpSp>
      <p:sp>
        <p:nvSpPr>
          <p:cNvPr id="2" name="Title 1"/>
          <p:cNvSpPr>
            <a:spLocks noGrp="1"/>
          </p:cNvSpPr>
          <p:nvPr>
            <p:ph type="title"/>
          </p:nvPr>
        </p:nvSpPr>
        <p:spPr/>
        <p:txBody>
          <a:bodyPr/>
          <a:lstStyle/>
          <a:p>
            <a:pPr defTabSz="896203">
              <a:spcBef>
                <a:spcPts val="0"/>
              </a:spcBef>
              <a:spcAft>
                <a:spcPts val="588"/>
              </a:spcAft>
              <a:defRPr/>
            </a:pPr>
            <a:r>
              <a:rPr lang="en-US" kern="0" spc="0" dirty="0">
                <a:ln>
                  <a:noFill/>
                </a:ln>
              </a:rPr>
              <a:t>Real-time stream processing in the cloud</a:t>
            </a:r>
          </a:p>
        </p:txBody>
      </p:sp>
      <p:grpSp>
        <p:nvGrpSpPr>
          <p:cNvPr id="3" name="Group 2"/>
          <p:cNvGrpSpPr/>
          <p:nvPr/>
        </p:nvGrpSpPr>
        <p:grpSpPr>
          <a:xfrm>
            <a:off x="2151212" y="5177115"/>
            <a:ext cx="9361044" cy="1091965"/>
            <a:chOff x="2194920" y="5413711"/>
            <a:chExt cx="9551240" cy="1114151"/>
          </a:xfrm>
        </p:grpSpPr>
        <p:sp>
          <p:nvSpPr>
            <p:cNvPr id="12" name="TextBox 11"/>
            <p:cNvSpPr txBox="1"/>
            <p:nvPr/>
          </p:nvSpPr>
          <p:spPr>
            <a:xfrm>
              <a:off x="2194920" y="5413711"/>
              <a:ext cx="5042581" cy="1114151"/>
            </a:xfrm>
            <a:prstGeom prst="rect">
              <a:avLst/>
            </a:prstGeom>
            <a:noFill/>
          </p:spPr>
          <p:txBody>
            <a:bodyPr wrap="square" lIns="179238" tIns="143391" rIns="179238" bIns="143391" rtlCol="0">
              <a:spAutoFit/>
            </a:bodyPr>
            <a:lstStyle/>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Perform real-time analytics for your Internet of Things solutions</a:t>
              </a:r>
            </a:p>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Stream millions of events per second</a:t>
              </a:r>
            </a:p>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Get mission-critical reliability and performance with predictable results</a:t>
              </a:r>
            </a:p>
          </p:txBody>
        </p:sp>
        <p:sp>
          <p:nvSpPr>
            <p:cNvPr id="13" name="TextBox 12"/>
            <p:cNvSpPr txBox="1"/>
            <p:nvPr/>
          </p:nvSpPr>
          <p:spPr>
            <a:xfrm>
              <a:off x="7237502" y="5413711"/>
              <a:ext cx="4508658" cy="1114151"/>
            </a:xfrm>
            <a:prstGeom prst="rect">
              <a:avLst/>
            </a:prstGeom>
            <a:noFill/>
          </p:spPr>
          <p:txBody>
            <a:bodyPr wrap="square" lIns="179238" tIns="143391" rIns="179238" bIns="143391" rtlCol="0">
              <a:spAutoFit/>
            </a:bodyPr>
            <a:lstStyle/>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Create real-time dashboards and alerts over data from devices and applications</a:t>
              </a:r>
            </a:p>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Correlate across multiple streams of data</a:t>
              </a:r>
            </a:p>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Use familiar SQL-based language for rapid development</a:t>
              </a:r>
            </a:p>
          </p:txBody>
        </p:sp>
      </p:grpSp>
      <p:sp>
        <p:nvSpPr>
          <p:cNvPr id="57" name="Freeform 56"/>
          <p:cNvSpPr>
            <a:spLocks/>
          </p:cNvSpPr>
          <p:nvPr/>
        </p:nvSpPr>
        <p:spPr bwMode="auto">
          <a:xfrm>
            <a:off x="10111368" y="3492917"/>
            <a:ext cx="392175" cy="386718"/>
          </a:xfrm>
          <a:custGeom>
            <a:avLst/>
            <a:gdLst>
              <a:gd name="connsiteX0" fmla="*/ 2359025 w 3194051"/>
              <a:gd name="connsiteY0" fmla="*/ 2312988 h 3149601"/>
              <a:gd name="connsiteX1" fmla="*/ 2359025 w 3194051"/>
              <a:gd name="connsiteY1" fmla="*/ 3028951 h 3149601"/>
              <a:gd name="connsiteX2" fmla="*/ 3073400 w 3194051"/>
              <a:gd name="connsiteY2" fmla="*/ 3028951 h 3149601"/>
              <a:gd name="connsiteX3" fmla="*/ 3073400 w 3194051"/>
              <a:gd name="connsiteY3" fmla="*/ 2312988 h 3149601"/>
              <a:gd name="connsiteX4" fmla="*/ 1239838 w 3194051"/>
              <a:gd name="connsiteY4" fmla="*/ 2312988 h 3149601"/>
              <a:gd name="connsiteX5" fmla="*/ 1239838 w 3194051"/>
              <a:gd name="connsiteY5" fmla="*/ 3028951 h 3149601"/>
              <a:gd name="connsiteX6" fmla="*/ 1954213 w 3194051"/>
              <a:gd name="connsiteY6" fmla="*/ 3028951 h 3149601"/>
              <a:gd name="connsiteX7" fmla="*/ 1954213 w 3194051"/>
              <a:gd name="connsiteY7" fmla="*/ 2312988 h 3149601"/>
              <a:gd name="connsiteX8" fmla="*/ 120650 w 3194051"/>
              <a:gd name="connsiteY8" fmla="*/ 2312988 h 3149601"/>
              <a:gd name="connsiteX9" fmla="*/ 120650 w 3194051"/>
              <a:gd name="connsiteY9" fmla="*/ 3028951 h 3149601"/>
              <a:gd name="connsiteX10" fmla="*/ 835025 w 3194051"/>
              <a:gd name="connsiteY10" fmla="*/ 3028951 h 3149601"/>
              <a:gd name="connsiteX11" fmla="*/ 835025 w 3194051"/>
              <a:gd name="connsiteY11" fmla="*/ 2312988 h 3149601"/>
              <a:gd name="connsiteX12" fmla="*/ 2297567 w 3194051"/>
              <a:gd name="connsiteY12" fmla="*/ 2192338 h 3149601"/>
              <a:gd name="connsiteX13" fmla="*/ 3133273 w 3194051"/>
              <a:gd name="connsiteY13" fmla="*/ 2192338 h 3149601"/>
              <a:gd name="connsiteX14" fmla="*/ 3194051 w 3194051"/>
              <a:gd name="connsiteY14" fmla="*/ 2253117 h 3149601"/>
              <a:gd name="connsiteX15" fmla="*/ 3194051 w 3194051"/>
              <a:gd name="connsiteY15" fmla="*/ 3088823 h 3149601"/>
              <a:gd name="connsiteX16" fmla="*/ 3133273 w 3194051"/>
              <a:gd name="connsiteY16" fmla="*/ 3149601 h 3149601"/>
              <a:gd name="connsiteX17" fmla="*/ 2297567 w 3194051"/>
              <a:gd name="connsiteY17" fmla="*/ 3149601 h 3149601"/>
              <a:gd name="connsiteX18" fmla="*/ 2236788 w 3194051"/>
              <a:gd name="connsiteY18" fmla="*/ 3088823 h 3149601"/>
              <a:gd name="connsiteX19" fmla="*/ 2236788 w 3194051"/>
              <a:gd name="connsiteY19" fmla="*/ 2253117 h 3149601"/>
              <a:gd name="connsiteX20" fmla="*/ 2297567 w 3194051"/>
              <a:gd name="connsiteY20" fmla="*/ 2192338 h 3149601"/>
              <a:gd name="connsiteX21" fmla="*/ 1178480 w 3194051"/>
              <a:gd name="connsiteY21" fmla="*/ 2192338 h 3149601"/>
              <a:gd name="connsiteX22" fmla="*/ 2015571 w 3194051"/>
              <a:gd name="connsiteY22" fmla="*/ 2192338 h 3149601"/>
              <a:gd name="connsiteX23" fmla="*/ 2076450 w 3194051"/>
              <a:gd name="connsiteY23" fmla="*/ 2253117 h 3149601"/>
              <a:gd name="connsiteX24" fmla="*/ 2076450 w 3194051"/>
              <a:gd name="connsiteY24" fmla="*/ 3088823 h 3149601"/>
              <a:gd name="connsiteX25" fmla="*/ 2015571 w 3194051"/>
              <a:gd name="connsiteY25" fmla="*/ 3149601 h 3149601"/>
              <a:gd name="connsiteX26" fmla="*/ 1178480 w 3194051"/>
              <a:gd name="connsiteY26" fmla="*/ 3149601 h 3149601"/>
              <a:gd name="connsiteX27" fmla="*/ 1117600 w 3194051"/>
              <a:gd name="connsiteY27" fmla="*/ 3088823 h 3149601"/>
              <a:gd name="connsiteX28" fmla="*/ 1117600 w 3194051"/>
              <a:gd name="connsiteY28" fmla="*/ 2253117 h 3149601"/>
              <a:gd name="connsiteX29" fmla="*/ 1178480 w 3194051"/>
              <a:gd name="connsiteY29" fmla="*/ 2192338 h 3149601"/>
              <a:gd name="connsiteX30" fmla="*/ 60779 w 3194051"/>
              <a:gd name="connsiteY30" fmla="*/ 2192338 h 3149601"/>
              <a:gd name="connsiteX31" fmla="*/ 896485 w 3194051"/>
              <a:gd name="connsiteY31" fmla="*/ 2192338 h 3149601"/>
              <a:gd name="connsiteX32" fmla="*/ 957263 w 3194051"/>
              <a:gd name="connsiteY32" fmla="*/ 2253117 h 3149601"/>
              <a:gd name="connsiteX33" fmla="*/ 957263 w 3194051"/>
              <a:gd name="connsiteY33" fmla="*/ 3088823 h 3149601"/>
              <a:gd name="connsiteX34" fmla="*/ 896485 w 3194051"/>
              <a:gd name="connsiteY34" fmla="*/ 3149601 h 3149601"/>
              <a:gd name="connsiteX35" fmla="*/ 60779 w 3194051"/>
              <a:gd name="connsiteY35" fmla="*/ 3149601 h 3149601"/>
              <a:gd name="connsiteX36" fmla="*/ 0 w 3194051"/>
              <a:gd name="connsiteY36" fmla="*/ 3088823 h 3149601"/>
              <a:gd name="connsiteX37" fmla="*/ 0 w 3194051"/>
              <a:gd name="connsiteY37" fmla="*/ 2253117 h 3149601"/>
              <a:gd name="connsiteX38" fmla="*/ 60779 w 3194051"/>
              <a:gd name="connsiteY38" fmla="*/ 2192338 h 3149601"/>
              <a:gd name="connsiteX39" fmla="*/ 2359025 w 3194051"/>
              <a:gd name="connsiteY39" fmla="*/ 1219200 h 3149601"/>
              <a:gd name="connsiteX40" fmla="*/ 2359025 w 3194051"/>
              <a:gd name="connsiteY40" fmla="*/ 1930400 h 3149601"/>
              <a:gd name="connsiteX41" fmla="*/ 3073400 w 3194051"/>
              <a:gd name="connsiteY41" fmla="*/ 1930400 h 3149601"/>
              <a:gd name="connsiteX42" fmla="*/ 3073400 w 3194051"/>
              <a:gd name="connsiteY42" fmla="*/ 1219200 h 3149601"/>
              <a:gd name="connsiteX43" fmla="*/ 1239838 w 3194051"/>
              <a:gd name="connsiteY43" fmla="*/ 1219200 h 3149601"/>
              <a:gd name="connsiteX44" fmla="*/ 1239838 w 3194051"/>
              <a:gd name="connsiteY44" fmla="*/ 1930400 h 3149601"/>
              <a:gd name="connsiteX45" fmla="*/ 1954213 w 3194051"/>
              <a:gd name="connsiteY45" fmla="*/ 1930400 h 3149601"/>
              <a:gd name="connsiteX46" fmla="*/ 1954213 w 3194051"/>
              <a:gd name="connsiteY46" fmla="*/ 1219200 h 3149601"/>
              <a:gd name="connsiteX47" fmla="*/ 120650 w 3194051"/>
              <a:gd name="connsiteY47" fmla="*/ 1219200 h 3149601"/>
              <a:gd name="connsiteX48" fmla="*/ 120650 w 3194051"/>
              <a:gd name="connsiteY48" fmla="*/ 1930400 h 3149601"/>
              <a:gd name="connsiteX49" fmla="*/ 835025 w 3194051"/>
              <a:gd name="connsiteY49" fmla="*/ 1930400 h 3149601"/>
              <a:gd name="connsiteX50" fmla="*/ 835025 w 3194051"/>
              <a:gd name="connsiteY50" fmla="*/ 1219200 h 3149601"/>
              <a:gd name="connsiteX51" fmla="*/ 2297567 w 3194051"/>
              <a:gd name="connsiteY51" fmla="*/ 1096963 h 3149601"/>
              <a:gd name="connsiteX52" fmla="*/ 3133273 w 3194051"/>
              <a:gd name="connsiteY52" fmla="*/ 1096963 h 3149601"/>
              <a:gd name="connsiteX53" fmla="*/ 3194051 w 3194051"/>
              <a:gd name="connsiteY53" fmla="*/ 1157834 h 3149601"/>
              <a:gd name="connsiteX54" fmla="*/ 3194051 w 3194051"/>
              <a:gd name="connsiteY54" fmla="*/ 1991767 h 3149601"/>
              <a:gd name="connsiteX55" fmla="*/ 3133273 w 3194051"/>
              <a:gd name="connsiteY55" fmla="*/ 2052638 h 3149601"/>
              <a:gd name="connsiteX56" fmla="*/ 2297567 w 3194051"/>
              <a:gd name="connsiteY56" fmla="*/ 2052638 h 3149601"/>
              <a:gd name="connsiteX57" fmla="*/ 2236788 w 3194051"/>
              <a:gd name="connsiteY57" fmla="*/ 1991767 h 3149601"/>
              <a:gd name="connsiteX58" fmla="*/ 2236788 w 3194051"/>
              <a:gd name="connsiteY58" fmla="*/ 1157834 h 3149601"/>
              <a:gd name="connsiteX59" fmla="*/ 2297567 w 3194051"/>
              <a:gd name="connsiteY59" fmla="*/ 1096963 h 3149601"/>
              <a:gd name="connsiteX60" fmla="*/ 1178480 w 3194051"/>
              <a:gd name="connsiteY60" fmla="*/ 1096963 h 3149601"/>
              <a:gd name="connsiteX61" fmla="*/ 2015571 w 3194051"/>
              <a:gd name="connsiteY61" fmla="*/ 1096963 h 3149601"/>
              <a:gd name="connsiteX62" fmla="*/ 2076450 w 3194051"/>
              <a:gd name="connsiteY62" fmla="*/ 1157834 h 3149601"/>
              <a:gd name="connsiteX63" fmla="*/ 2076450 w 3194051"/>
              <a:gd name="connsiteY63" fmla="*/ 1991767 h 3149601"/>
              <a:gd name="connsiteX64" fmla="*/ 2015571 w 3194051"/>
              <a:gd name="connsiteY64" fmla="*/ 2052638 h 3149601"/>
              <a:gd name="connsiteX65" fmla="*/ 1178480 w 3194051"/>
              <a:gd name="connsiteY65" fmla="*/ 2052638 h 3149601"/>
              <a:gd name="connsiteX66" fmla="*/ 1117600 w 3194051"/>
              <a:gd name="connsiteY66" fmla="*/ 1991767 h 3149601"/>
              <a:gd name="connsiteX67" fmla="*/ 1117600 w 3194051"/>
              <a:gd name="connsiteY67" fmla="*/ 1157834 h 3149601"/>
              <a:gd name="connsiteX68" fmla="*/ 1178480 w 3194051"/>
              <a:gd name="connsiteY68" fmla="*/ 1096963 h 3149601"/>
              <a:gd name="connsiteX69" fmla="*/ 60779 w 3194051"/>
              <a:gd name="connsiteY69" fmla="*/ 1096963 h 3149601"/>
              <a:gd name="connsiteX70" fmla="*/ 896485 w 3194051"/>
              <a:gd name="connsiteY70" fmla="*/ 1096963 h 3149601"/>
              <a:gd name="connsiteX71" fmla="*/ 957263 w 3194051"/>
              <a:gd name="connsiteY71" fmla="*/ 1157834 h 3149601"/>
              <a:gd name="connsiteX72" fmla="*/ 957263 w 3194051"/>
              <a:gd name="connsiteY72" fmla="*/ 1991767 h 3149601"/>
              <a:gd name="connsiteX73" fmla="*/ 896485 w 3194051"/>
              <a:gd name="connsiteY73" fmla="*/ 2052638 h 3149601"/>
              <a:gd name="connsiteX74" fmla="*/ 60779 w 3194051"/>
              <a:gd name="connsiteY74" fmla="*/ 2052638 h 3149601"/>
              <a:gd name="connsiteX75" fmla="*/ 0 w 3194051"/>
              <a:gd name="connsiteY75" fmla="*/ 1991767 h 3149601"/>
              <a:gd name="connsiteX76" fmla="*/ 0 w 3194051"/>
              <a:gd name="connsiteY76" fmla="*/ 1157834 h 3149601"/>
              <a:gd name="connsiteX77" fmla="*/ 60779 w 3194051"/>
              <a:gd name="connsiteY77" fmla="*/ 1096963 h 3149601"/>
              <a:gd name="connsiteX78" fmla="*/ 2359025 w 3194051"/>
              <a:gd name="connsiteY78" fmla="*/ 122238 h 3149601"/>
              <a:gd name="connsiteX79" fmla="*/ 2359025 w 3194051"/>
              <a:gd name="connsiteY79" fmla="*/ 860426 h 3149601"/>
              <a:gd name="connsiteX80" fmla="*/ 3073400 w 3194051"/>
              <a:gd name="connsiteY80" fmla="*/ 860426 h 3149601"/>
              <a:gd name="connsiteX81" fmla="*/ 3073400 w 3194051"/>
              <a:gd name="connsiteY81" fmla="*/ 122238 h 3149601"/>
              <a:gd name="connsiteX82" fmla="*/ 1239838 w 3194051"/>
              <a:gd name="connsiteY82" fmla="*/ 122238 h 3149601"/>
              <a:gd name="connsiteX83" fmla="*/ 1239838 w 3194051"/>
              <a:gd name="connsiteY83" fmla="*/ 860426 h 3149601"/>
              <a:gd name="connsiteX84" fmla="*/ 1954213 w 3194051"/>
              <a:gd name="connsiteY84" fmla="*/ 860426 h 3149601"/>
              <a:gd name="connsiteX85" fmla="*/ 1954213 w 3194051"/>
              <a:gd name="connsiteY85" fmla="*/ 122238 h 3149601"/>
              <a:gd name="connsiteX86" fmla="*/ 120650 w 3194051"/>
              <a:gd name="connsiteY86" fmla="*/ 122238 h 3149601"/>
              <a:gd name="connsiteX87" fmla="*/ 120650 w 3194051"/>
              <a:gd name="connsiteY87" fmla="*/ 860426 h 3149601"/>
              <a:gd name="connsiteX88" fmla="*/ 835025 w 3194051"/>
              <a:gd name="connsiteY88" fmla="*/ 860426 h 3149601"/>
              <a:gd name="connsiteX89" fmla="*/ 835025 w 3194051"/>
              <a:gd name="connsiteY89" fmla="*/ 122238 h 3149601"/>
              <a:gd name="connsiteX90" fmla="*/ 2297567 w 3194051"/>
              <a:gd name="connsiteY90" fmla="*/ 0 h 3149601"/>
              <a:gd name="connsiteX91" fmla="*/ 3133273 w 3194051"/>
              <a:gd name="connsiteY91" fmla="*/ 0 h 3149601"/>
              <a:gd name="connsiteX92" fmla="*/ 3194051 w 3194051"/>
              <a:gd name="connsiteY92" fmla="*/ 60846 h 3149601"/>
              <a:gd name="connsiteX93" fmla="*/ 3194051 w 3194051"/>
              <a:gd name="connsiteY93" fmla="*/ 921817 h 3149601"/>
              <a:gd name="connsiteX94" fmla="*/ 3133273 w 3194051"/>
              <a:gd name="connsiteY94" fmla="*/ 982663 h 3149601"/>
              <a:gd name="connsiteX95" fmla="*/ 2297567 w 3194051"/>
              <a:gd name="connsiteY95" fmla="*/ 982663 h 3149601"/>
              <a:gd name="connsiteX96" fmla="*/ 2236788 w 3194051"/>
              <a:gd name="connsiteY96" fmla="*/ 921817 h 3149601"/>
              <a:gd name="connsiteX97" fmla="*/ 2236788 w 3194051"/>
              <a:gd name="connsiteY97" fmla="*/ 60846 h 3149601"/>
              <a:gd name="connsiteX98" fmla="*/ 2297567 w 3194051"/>
              <a:gd name="connsiteY98" fmla="*/ 0 h 3149601"/>
              <a:gd name="connsiteX99" fmla="*/ 1178480 w 3194051"/>
              <a:gd name="connsiteY99" fmla="*/ 0 h 3149601"/>
              <a:gd name="connsiteX100" fmla="*/ 2015571 w 3194051"/>
              <a:gd name="connsiteY100" fmla="*/ 0 h 3149601"/>
              <a:gd name="connsiteX101" fmla="*/ 2076450 w 3194051"/>
              <a:gd name="connsiteY101" fmla="*/ 60846 h 3149601"/>
              <a:gd name="connsiteX102" fmla="*/ 2076450 w 3194051"/>
              <a:gd name="connsiteY102" fmla="*/ 921817 h 3149601"/>
              <a:gd name="connsiteX103" fmla="*/ 2015571 w 3194051"/>
              <a:gd name="connsiteY103" fmla="*/ 982663 h 3149601"/>
              <a:gd name="connsiteX104" fmla="*/ 1178480 w 3194051"/>
              <a:gd name="connsiteY104" fmla="*/ 982663 h 3149601"/>
              <a:gd name="connsiteX105" fmla="*/ 1117600 w 3194051"/>
              <a:gd name="connsiteY105" fmla="*/ 921817 h 3149601"/>
              <a:gd name="connsiteX106" fmla="*/ 1117600 w 3194051"/>
              <a:gd name="connsiteY106" fmla="*/ 60846 h 3149601"/>
              <a:gd name="connsiteX107" fmla="*/ 1178480 w 3194051"/>
              <a:gd name="connsiteY107" fmla="*/ 0 h 3149601"/>
              <a:gd name="connsiteX108" fmla="*/ 60779 w 3194051"/>
              <a:gd name="connsiteY108" fmla="*/ 0 h 3149601"/>
              <a:gd name="connsiteX109" fmla="*/ 896485 w 3194051"/>
              <a:gd name="connsiteY109" fmla="*/ 0 h 3149601"/>
              <a:gd name="connsiteX110" fmla="*/ 957263 w 3194051"/>
              <a:gd name="connsiteY110" fmla="*/ 60846 h 3149601"/>
              <a:gd name="connsiteX111" fmla="*/ 957263 w 3194051"/>
              <a:gd name="connsiteY111" fmla="*/ 921817 h 3149601"/>
              <a:gd name="connsiteX112" fmla="*/ 896485 w 3194051"/>
              <a:gd name="connsiteY112" fmla="*/ 982663 h 3149601"/>
              <a:gd name="connsiteX113" fmla="*/ 60779 w 3194051"/>
              <a:gd name="connsiteY113" fmla="*/ 982663 h 3149601"/>
              <a:gd name="connsiteX114" fmla="*/ 0 w 3194051"/>
              <a:gd name="connsiteY114" fmla="*/ 921817 h 3149601"/>
              <a:gd name="connsiteX115" fmla="*/ 0 w 3194051"/>
              <a:gd name="connsiteY115" fmla="*/ 60846 h 3149601"/>
              <a:gd name="connsiteX116" fmla="*/ 60779 w 3194051"/>
              <a:gd name="connsiteY116" fmla="*/ 0 h 3149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Lst>
            <a:rect l="l" t="t" r="r" b="b"/>
            <a:pathLst>
              <a:path w="3194051" h="3149601">
                <a:moveTo>
                  <a:pt x="2359025" y="2312988"/>
                </a:moveTo>
                <a:lnTo>
                  <a:pt x="2359025" y="3028951"/>
                </a:lnTo>
                <a:lnTo>
                  <a:pt x="3073400" y="3028951"/>
                </a:lnTo>
                <a:lnTo>
                  <a:pt x="3073400" y="2312988"/>
                </a:lnTo>
                <a:close/>
                <a:moveTo>
                  <a:pt x="1239838" y="2312988"/>
                </a:moveTo>
                <a:lnTo>
                  <a:pt x="1239838" y="3028951"/>
                </a:lnTo>
                <a:lnTo>
                  <a:pt x="1954213" y="3028951"/>
                </a:lnTo>
                <a:lnTo>
                  <a:pt x="1954213" y="2312988"/>
                </a:lnTo>
                <a:close/>
                <a:moveTo>
                  <a:pt x="120650" y="2312988"/>
                </a:moveTo>
                <a:lnTo>
                  <a:pt x="120650" y="3028951"/>
                </a:lnTo>
                <a:lnTo>
                  <a:pt x="835025" y="3028951"/>
                </a:lnTo>
                <a:lnTo>
                  <a:pt x="835025" y="2312988"/>
                </a:lnTo>
                <a:close/>
                <a:moveTo>
                  <a:pt x="2297567" y="2192338"/>
                </a:moveTo>
                <a:cubicBezTo>
                  <a:pt x="3133273" y="2192338"/>
                  <a:pt x="3133273" y="2192338"/>
                  <a:pt x="3133273" y="2192338"/>
                </a:cubicBezTo>
                <a:cubicBezTo>
                  <a:pt x="3166701" y="2192338"/>
                  <a:pt x="3194051" y="2219688"/>
                  <a:pt x="3194051" y="2253117"/>
                </a:cubicBezTo>
                <a:cubicBezTo>
                  <a:pt x="3194051" y="3088823"/>
                  <a:pt x="3194051" y="3088823"/>
                  <a:pt x="3194051" y="3088823"/>
                </a:cubicBezTo>
                <a:cubicBezTo>
                  <a:pt x="3194051" y="3122251"/>
                  <a:pt x="3166701" y="3149601"/>
                  <a:pt x="3133273" y="3149601"/>
                </a:cubicBezTo>
                <a:cubicBezTo>
                  <a:pt x="2297567" y="3149601"/>
                  <a:pt x="2297567" y="3149601"/>
                  <a:pt x="2297567" y="3149601"/>
                </a:cubicBezTo>
                <a:cubicBezTo>
                  <a:pt x="2264139" y="3149601"/>
                  <a:pt x="2236788" y="3122251"/>
                  <a:pt x="2236788" y="3088823"/>
                </a:cubicBezTo>
                <a:cubicBezTo>
                  <a:pt x="2236788" y="2253117"/>
                  <a:pt x="2236788" y="2253117"/>
                  <a:pt x="2236788" y="2253117"/>
                </a:cubicBezTo>
                <a:cubicBezTo>
                  <a:pt x="2236788" y="2219688"/>
                  <a:pt x="2264139" y="2192338"/>
                  <a:pt x="2297567" y="2192338"/>
                </a:cubicBezTo>
                <a:close/>
                <a:moveTo>
                  <a:pt x="1178480" y="2192338"/>
                </a:moveTo>
                <a:cubicBezTo>
                  <a:pt x="2015571" y="2192338"/>
                  <a:pt x="2015571" y="2192338"/>
                  <a:pt x="2015571" y="2192338"/>
                </a:cubicBezTo>
                <a:cubicBezTo>
                  <a:pt x="2049055" y="2192338"/>
                  <a:pt x="2076450" y="2219688"/>
                  <a:pt x="2076450" y="2253117"/>
                </a:cubicBezTo>
                <a:cubicBezTo>
                  <a:pt x="2076450" y="3088823"/>
                  <a:pt x="2076450" y="3088823"/>
                  <a:pt x="2076450" y="3088823"/>
                </a:cubicBezTo>
                <a:cubicBezTo>
                  <a:pt x="2076450" y="3122251"/>
                  <a:pt x="2049055" y="3149601"/>
                  <a:pt x="2015571" y="3149601"/>
                </a:cubicBezTo>
                <a:cubicBezTo>
                  <a:pt x="1178480" y="3149601"/>
                  <a:pt x="1178480" y="3149601"/>
                  <a:pt x="1178480" y="3149601"/>
                </a:cubicBezTo>
                <a:cubicBezTo>
                  <a:pt x="1144996" y="3149601"/>
                  <a:pt x="1117600" y="3122251"/>
                  <a:pt x="1117600" y="3088823"/>
                </a:cubicBezTo>
                <a:cubicBezTo>
                  <a:pt x="1117600" y="2253117"/>
                  <a:pt x="1117600" y="2253117"/>
                  <a:pt x="1117600" y="2253117"/>
                </a:cubicBezTo>
                <a:cubicBezTo>
                  <a:pt x="1117600" y="2219688"/>
                  <a:pt x="1144996" y="2192338"/>
                  <a:pt x="1178480" y="2192338"/>
                </a:cubicBezTo>
                <a:close/>
                <a:moveTo>
                  <a:pt x="60779" y="2192338"/>
                </a:moveTo>
                <a:cubicBezTo>
                  <a:pt x="896485" y="2192338"/>
                  <a:pt x="896485" y="2192338"/>
                  <a:pt x="896485" y="2192338"/>
                </a:cubicBezTo>
                <a:cubicBezTo>
                  <a:pt x="929913" y="2192338"/>
                  <a:pt x="957263" y="2219688"/>
                  <a:pt x="957263" y="2253117"/>
                </a:cubicBezTo>
                <a:cubicBezTo>
                  <a:pt x="957263" y="3088823"/>
                  <a:pt x="957263" y="3088823"/>
                  <a:pt x="957263" y="3088823"/>
                </a:cubicBezTo>
                <a:cubicBezTo>
                  <a:pt x="957263" y="3122251"/>
                  <a:pt x="929913" y="3149601"/>
                  <a:pt x="896485" y="3149601"/>
                </a:cubicBezTo>
                <a:cubicBezTo>
                  <a:pt x="60779" y="3149601"/>
                  <a:pt x="60779" y="3149601"/>
                  <a:pt x="60779" y="3149601"/>
                </a:cubicBezTo>
                <a:cubicBezTo>
                  <a:pt x="27351" y="3149601"/>
                  <a:pt x="0" y="3122251"/>
                  <a:pt x="0" y="3088823"/>
                </a:cubicBezTo>
                <a:cubicBezTo>
                  <a:pt x="0" y="2253117"/>
                  <a:pt x="0" y="2253117"/>
                  <a:pt x="0" y="2253117"/>
                </a:cubicBezTo>
                <a:cubicBezTo>
                  <a:pt x="0" y="2219688"/>
                  <a:pt x="27351" y="2192338"/>
                  <a:pt x="60779" y="2192338"/>
                </a:cubicBezTo>
                <a:close/>
                <a:moveTo>
                  <a:pt x="2359025" y="1219200"/>
                </a:moveTo>
                <a:lnTo>
                  <a:pt x="2359025" y="1930400"/>
                </a:lnTo>
                <a:lnTo>
                  <a:pt x="3073400" y="1930400"/>
                </a:lnTo>
                <a:lnTo>
                  <a:pt x="3073400" y="1219200"/>
                </a:lnTo>
                <a:close/>
                <a:moveTo>
                  <a:pt x="1239838" y="1219200"/>
                </a:moveTo>
                <a:lnTo>
                  <a:pt x="1239838" y="1930400"/>
                </a:lnTo>
                <a:lnTo>
                  <a:pt x="1954213" y="1930400"/>
                </a:lnTo>
                <a:lnTo>
                  <a:pt x="1954213" y="1219200"/>
                </a:lnTo>
                <a:close/>
                <a:moveTo>
                  <a:pt x="120650" y="1219200"/>
                </a:moveTo>
                <a:lnTo>
                  <a:pt x="120650" y="1930400"/>
                </a:lnTo>
                <a:lnTo>
                  <a:pt x="835025" y="1930400"/>
                </a:lnTo>
                <a:lnTo>
                  <a:pt x="835025" y="1219200"/>
                </a:lnTo>
                <a:close/>
                <a:moveTo>
                  <a:pt x="2297567" y="1096963"/>
                </a:moveTo>
                <a:cubicBezTo>
                  <a:pt x="3133273" y="1096963"/>
                  <a:pt x="3133273" y="1096963"/>
                  <a:pt x="3133273" y="1096963"/>
                </a:cubicBezTo>
                <a:cubicBezTo>
                  <a:pt x="3166701" y="1096963"/>
                  <a:pt x="3194051" y="1124355"/>
                  <a:pt x="3194051" y="1157834"/>
                </a:cubicBezTo>
                <a:cubicBezTo>
                  <a:pt x="3194051" y="1991767"/>
                  <a:pt x="3194051" y="1991767"/>
                  <a:pt x="3194051" y="1991767"/>
                </a:cubicBezTo>
                <a:cubicBezTo>
                  <a:pt x="3194051" y="2025246"/>
                  <a:pt x="3166701" y="2052638"/>
                  <a:pt x="3133273" y="2052638"/>
                </a:cubicBezTo>
                <a:cubicBezTo>
                  <a:pt x="2297567" y="2052638"/>
                  <a:pt x="2297567" y="2052638"/>
                  <a:pt x="2297567" y="2052638"/>
                </a:cubicBezTo>
                <a:cubicBezTo>
                  <a:pt x="2264139" y="2052638"/>
                  <a:pt x="2236788" y="2025246"/>
                  <a:pt x="2236788" y="1991767"/>
                </a:cubicBezTo>
                <a:cubicBezTo>
                  <a:pt x="2236788" y="1157834"/>
                  <a:pt x="2236788" y="1157834"/>
                  <a:pt x="2236788" y="1157834"/>
                </a:cubicBezTo>
                <a:cubicBezTo>
                  <a:pt x="2236788" y="1124355"/>
                  <a:pt x="2264139" y="1096963"/>
                  <a:pt x="2297567" y="1096963"/>
                </a:cubicBezTo>
                <a:close/>
                <a:moveTo>
                  <a:pt x="1178480" y="1096963"/>
                </a:moveTo>
                <a:cubicBezTo>
                  <a:pt x="2015571" y="1096963"/>
                  <a:pt x="2015571" y="1096963"/>
                  <a:pt x="2015571" y="1096963"/>
                </a:cubicBezTo>
                <a:cubicBezTo>
                  <a:pt x="2049055" y="1096963"/>
                  <a:pt x="2076450" y="1124355"/>
                  <a:pt x="2076450" y="1157834"/>
                </a:cubicBezTo>
                <a:cubicBezTo>
                  <a:pt x="2076450" y="1991767"/>
                  <a:pt x="2076450" y="1991767"/>
                  <a:pt x="2076450" y="1991767"/>
                </a:cubicBezTo>
                <a:cubicBezTo>
                  <a:pt x="2076450" y="2025246"/>
                  <a:pt x="2049055" y="2052638"/>
                  <a:pt x="2015571" y="2052638"/>
                </a:cubicBezTo>
                <a:cubicBezTo>
                  <a:pt x="1178480" y="2052638"/>
                  <a:pt x="1178480" y="2052638"/>
                  <a:pt x="1178480" y="2052638"/>
                </a:cubicBezTo>
                <a:cubicBezTo>
                  <a:pt x="1144996" y="2052638"/>
                  <a:pt x="1117600" y="2025246"/>
                  <a:pt x="1117600" y="1991767"/>
                </a:cubicBezTo>
                <a:cubicBezTo>
                  <a:pt x="1117600" y="1157834"/>
                  <a:pt x="1117600" y="1157834"/>
                  <a:pt x="1117600" y="1157834"/>
                </a:cubicBezTo>
                <a:cubicBezTo>
                  <a:pt x="1117600" y="1124355"/>
                  <a:pt x="1144996" y="1096963"/>
                  <a:pt x="1178480" y="1096963"/>
                </a:cubicBezTo>
                <a:close/>
                <a:moveTo>
                  <a:pt x="60779" y="1096963"/>
                </a:moveTo>
                <a:cubicBezTo>
                  <a:pt x="896485" y="1096963"/>
                  <a:pt x="896485" y="1096963"/>
                  <a:pt x="896485" y="1096963"/>
                </a:cubicBezTo>
                <a:cubicBezTo>
                  <a:pt x="929913" y="1096963"/>
                  <a:pt x="957263" y="1124355"/>
                  <a:pt x="957263" y="1157834"/>
                </a:cubicBezTo>
                <a:cubicBezTo>
                  <a:pt x="957263" y="1991767"/>
                  <a:pt x="957263" y="1991767"/>
                  <a:pt x="957263" y="1991767"/>
                </a:cubicBezTo>
                <a:cubicBezTo>
                  <a:pt x="957263" y="2025246"/>
                  <a:pt x="929913" y="2052638"/>
                  <a:pt x="896485" y="2052638"/>
                </a:cubicBezTo>
                <a:cubicBezTo>
                  <a:pt x="60779" y="2052638"/>
                  <a:pt x="60779" y="2052638"/>
                  <a:pt x="60779" y="2052638"/>
                </a:cubicBezTo>
                <a:cubicBezTo>
                  <a:pt x="27351" y="2052638"/>
                  <a:pt x="0" y="2025246"/>
                  <a:pt x="0" y="1991767"/>
                </a:cubicBezTo>
                <a:cubicBezTo>
                  <a:pt x="0" y="1157834"/>
                  <a:pt x="0" y="1157834"/>
                  <a:pt x="0" y="1157834"/>
                </a:cubicBezTo>
                <a:cubicBezTo>
                  <a:pt x="0" y="1124355"/>
                  <a:pt x="27351" y="1096963"/>
                  <a:pt x="60779" y="1096963"/>
                </a:cubicBezTo>
                <a:close/>
                <a:moveTo>
                  <a:pt x="2359025" y="122238"/>
                </a:moveTo>
                <a:lnTo>
                  <a:pt x="2359025" y="860426"/>
                </a:lnTo>
                <a:lnTo>
                  <a:pt x="3073400" y="860426"/>
                </a:lnTo>
                <a:lnTo>
                  <a:pt x="3073400" y="122238"/>
                </a:lnTo>
                <a:close/>
                <a:moveTo>
                  <a:pt x="1239838" y="122238"/>
                </a:moveTo>
                <a:lnTo>
                  <a:pt x="1239838" y="860426"/>
                </a:lnTo>
                <a:lnTo>
                  <a:pt x="1954213" y="860426"/>
                </a:lnTo>
                <a:lnTo>
                  <a:pt x="1954213" y="122238"/>
                </a:lnTo>
                <a:close/>
                <a:moveTo>
                  <a:pt x="120650" y="122238"/>
                </a:moveTo>
                <a:lnTo>
                  <a:pt x="120650" y="860426"/>
                </a:lnTo>
                <a:lnTo>
                  <a:pt x="835025" y="860426"/>
                </a:lnTo>
                <a:lnTo>
                  <a:pt x="835025" y="122238"/>
                </a:lnTo>
                <a:close/>
                <a:moveTo>
                  <a:pt x="2297567" y="0"/>
                </a:moveTo>
                <a:cubicBezTo>
                  <a:pt x="3133273" y="0"/>
                  <a:pt x="3133273" y="0"/>
                  <a:pt x="3133273" y="0"/>
                </a:cubicBezTo>
                <a:cubicBezTo>
                  <a:pt x="3166701" y="0"/>
                  <a:pt x="3194051" y="27381"/>
                  <a:pt x="3194051" y="60846"/>
                </a:cubicBezTo>
                <a:cubicBezTo>
                  <a:pt x="3194051" y="921817"/>
                  <a:pt x="3194051" y="921817"/>
                  <a:pt x="3194051" y="921817"/>
                </a:cubicBezTo>
                <a:cubicBezTo>
                  <a:pt x="3194051" y="955282"/>
                  <a:pt x="3166701" y="982663"/>
                  <a:pt x="3133273" y="982663"/>
                </a:cubicBezTo>
                <a:cubicBezTo>
                  <a:pt x="2297567" y="982663"/>
                  <a:pt x="2297567" y="982663"/>
                  <a:pt x="2297567" y="982663"/>
                </a:cubicBezTo>
                <a:cubicBezTo>
                  <a:pt x="2264139" y="982663"/>
                  <a:pt x="2236788" y="955282"/>
                  <a:pt x="2236788" y="921817"/>
                </a:cubicBezTo>
                <a:cubicBezTo>
                  <a:pt x="2236788" y="60846"/>
                  <a:pt x="2236788" y="60846"/>
                  <a:pt x="2236788" y="60846"/>
                </a:cubicBezTo>
                <a:cubicBezTo>
                  <a:pt x="2236788" y="27381"/>
                  <a:pt x="2264139" y="0"/>
                  <a:pt x="2297567" y="0"/>
                </a:cubicBezTo>
                <a:close/>
                <a:moveTo>
                  <a:pt x="1178480" y="0"/>
                </a:moveTo>
                <a:cubicBezTo>
                  <a:pt x="2015571" y="0"/>
                  <a:pt x="2015571" y="0"/>
                  <a:pt x="2015571" y="0"/>
                </a:cubicBezTo>
                <a:cubicBezTo>
                  <a:pt x="2049055" y="0"/>
                  <a:pt x="2076450" y="27381"/>
                  <a:pt x="2076450" y="60846"/>
                </a:cubicBezTo>
                <a:cubicBezTo>
                  <a:pt x="2076450" y="921817"/>
                  <a:pt x="2076450" y="921817"/>
                  <a:pt x="2076450" y="921817"/>
                </a:cubicBezTo>
                <a:cubicBezTo>
                  <a:pt x="2076450" y="955282"/>
                  <a:pt x="2049055" y="982663"/>
                  <a:pt x="2015571" y="982663"/>
                </a:cubicBezTo>
                <a:cubicBezTo>
                  <a:pt x="1178480" y="982663"/>
                  <a:pt x="1178480" y="982663"/>
                  <a:pt x="1178480" y="982663"/>
                </a:cubicBezTo>
                <a:cubicBezTo>
                  <a:pt x="1144996" y="982663"/>
                  <a:pt x="1117600" y="955282"/>
                  <a:pt x="1117600" y="921817"/>
                </a:cubicBezTo>
                <a:cubicBezTo>
                  <a:pt x="1117600" y="60846"/>
                  <a:pt x="1117600" y="60846"/>
                  <a:pt x="1117600" y="60846"/>
                </a:cubicBezTo>
                <a:cubicBezTo>
                  <a:pt x="1117600" y="27381"/>
                  <a:pt x="1144996" y="0"/>
                  <a:pt x="1178480" y="0"/>
                </a:cubicBezTo>
                <a:close/>
                <a:moveTo>
                  <a:pt x="60779" y="0"/>
                </a:moveTo>
                <a:cubicBezTo>
                  <a:pt x="896485" y="0"/>
                  <a:pt x="896485" y="0"/>
                  <a:pt x="896485" y="0"/>
                </a:cubicBezTo>
                <a:cubicBezTo>
                  <a:pt x="929913" y="0"/>
                  <a:pt x="957263" y="27381"/>
                  <a:pt x="957263" y="60846"/>
                </a:cubicBezTo>
                <a:cubicBezTo>
                  <a:pt x="957263" y="921817"/>
                  <a:pt x="957263" y="921817"/>
                  <a:pt x="957263" y="921817"/>
                </a:cubicBezTo>
                <a:cubicBezTo>
                  <a:pt x="957263" y="955282"/>
                  <a:pt x="929913" y="982663"/>
                  <a:pt x="896485" y="982663"/>
                </a:cubicBezTo>
                <a:cubicBezTo>
                  <a:pt x="60779" y="982663"/>
                  <a:pt x="60779" y="982663"/>
                  <a:pt x="60779" y="982663"/>
                </a:cubicBezTo>
                <a:cubicBezTo>
                  <a:pt x="27351" y="982663"/>
                  <a:pt x="0" y="955282"/>
                  <a:pt x="0" y="921817"/>
                </a:cubicBezTo>
                <a:cubicBezTo>
                  <a:pt x="0" y="60846"/>
                  <a:pt x="0" y="60846"/>
                  <a:pt x="0" y="60846"/>
                </a:cubicBezTo>
                <a:cubicBezTo>
                  <a:pt x="0" y="27381"/>
                  <a:pt x="27351" y="0"/>
                  <a:pt x="60779" y="0"/>
                </a:cubicBezTo>
                <a:close/>
              </a:path>
            </a:pathLst>
          </a:custGeom>
          <a:solidFill>
            <a:schemeClr val="accent2"/>
          </a:solidFill>
          <a:ln>
            <a:noFill/>
          </a:ln>
        </p:spPr>
        <p:txBody>
          <a:bodyPr vert="horz" wrap="square" lIns="89619" tIns="44810" rIns="89619" bIns="44810"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896167">
              <a:defRPr/>
            </a:pPr>
            <a:endParaRPr lang="en-US" sz="1764"/>
          </a:p>
        </p:txBody>
      </p:sp>
      <p:sp>
        <p:nvSpPr>
          <p:cNvPr id="59" name="Rectangle 58"/>
          <p:cNvSpPr/>
          <p:nvPr/>
        </p:nvSpPr>
        <p:spPr bwMode="auto">
          <a:xfrm>
            <a:off x="2515797" y="2368481"/>
            <a:ext cx="1281258" cy="3932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r>
              <a:rPr lang="en-US" sz="1568" kern="0" dirty="0">
                <a:solidFill>
                  <a:schemeClr val="accent1"/>
                </a:solidFill>
              </a:rPr>
              <a:t>Event Hubs</a:t>
            </a:r>
          </a:p>
        </p:txBody>
      </p:sp>
      <p:sp>
        <p:nvSpPr>
          <p:cNvPr id="60" name="Rectangle 59"/>
          <p:cNvSpPr/>
          <p:nvPr/>
        </p:nvSpPr>
        <p:spPr bwMode="auto">
          <a:xfrm>
            <a:off x="2510574" y="4241324"/>
            <a:ext cx="1281258" cy="3932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r>
              <a:rPr lang="en-US" sz="1568" kern="0" dirty="0">
                <a:solidFill>
                  <a:schemeClr val="accent1"/>
                </a:solidFill>
              </a:rPr>
              <a:t>Blob Storage</a:t>
            </a:r>
          </a:p>
        </p:txBody>
      </p:sp>
      <p:sp>
        <p:nvSpPr>
          <p:cNvPr id="61" name="Rectangle 60"/>
          <p:cNvSpPr/>
          <p:nvPr/>
        </p:nvSpPr>
        <p:spPr bwMode="auto">
          <a:xfrm>
            <a:off x="5611326" y="3282119"/>
            <a:ext cx="1281258" cy="574945"/>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spAutoFit/>
          </a:bodyPr>
          <a:lstStyle/>
          <a:p>
            <a:pPr algn="ctr" defTabSz="913916" fontAlgn="base">
              <a:spcBef>
                <a:spcPct val="0"/>
              </a:spcBef>
              <a:spcAft>
                <a:spcPct val="0"/>
              </a:spcAft>
              <a:defRPr/>
            </a:pPr>
            <a:r>
              <a:rPr lang="en-US" sz="1568" kern="0" dirty="0">
                <a:solidFill>
                  <a:schemeClr val="accent1"/>
                </a:solidFill>
              </a:rPr>
              <a:t>Stream Analytics</a:t>
            </a:r>
          </a:p>
        </p:txBody>
      </p:sp>
      <p:sp>
        <p:nvSpPr>
          <p:cNvPr id="62" name="Rectangle 61"/>
          <p:cNvSpPr/>
          <p:nvPr/>
        </p:nvSpPr>
        <p:spPr bwMode="auto">
          <a:xfrm>
            <a:off x="8696565" y="1757548"/>
            <a:ext cx="1281258" cy="333627"/>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spAutoFit/>
          </a:bodyPr>
          <a:lstStyle/>
          <a:p>
            <a:pPr defTabSz="913916" fontAlgn="base">
              <a:spcBef>
                <a:spcPct val="0"/>
              </a:spcBef>
              <a:spcAft>
                <a:spcPct val="0"/>
              </a:spcAft>
              <a:defRPr/>
            </a:pPr>
            <a:r>
              <a:rPr lang="en-US" sz="1568" kern="0" dirty="0">
                <a:solidFill>
                  <a:schemeClr val="accent1"/>
                </a:solidFill>
              </a:rPr>
              <a:t>SQL Database</a:t>
            </a:r>
          </a:p>
        </p:txBody>
      </p:sp>
      <p:sp>
        <p:nvSpPr>
          <p:cNvPr id="63" name="Rectangle 62"/>
          <p:cNvSpPr/>
          <p:nvPr/>
        </p:nvSpPr>
        <p:spPr bwMode="auto">
          <a:xfrm>
            <a:off x="8696565" y="2910955"/>
            <a:ext cx="1281258" cy="333627"/>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spAutoFit/>
          </a:bodyPr>
          <a:lstStyle/>
          <a:p>
            <a:pPr defTabSz="913916" fontAlgn="base">
              <a:spcBef>
                <a:spcPct val="0"/>
              </a:spcBef>
              <a:spcAft>
                <a:spcPct val="0"/>
              </a:spcAft>
              <a:defRPr/>
            </a:pPr>
            <a:r>
              <a:rPr lang="en-US" sz="1568" kern="0" dirty="0">
                <a:solidFill>
                  <a:schemeClr val="accent1"/>
                </a:solidFill>
              </a:rPr>
              <a:t>Event Hubs</a:t>
            </a:r>
          </a:p>
        </p:txBody>
      </p:sp>
      <p:sp>
        <p:nvSpPr>
          <p:cNvPr id="64" name="Rectangle 63"/>
          <p:cNvSpPr/>
          <p:nvPr/>
        </p:nvSpPr>
        <p:spPr bwMode="auto">
          <a:xfrm>
            <a:off x="8696565" y="4129234"/>
            <a:ext cx="1281258" cy="333627"/>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spAutoFit/>
          </a:bodyPr>
          <a:lstStyle/>
          <a:p>
            <a:pPr defTabSz="913916" fontAlgn="base">
              <a:spcBef>
                <a:spcPct val="0"/>
              </a:spcBef>
              <a:spcAft>
                <a:spcPct val="0"/>
              </a:spcAft>
              <a:defRPr/>
            </a:pPr>
            <a:r>
              <a:rPr lang="en-US" sz="1568" kern="0" dirty="0">
                <a:solidFill>
                  <a:schemeClr val="accent1"/>
                </a:solidFill>
              </a:rPr>
              <a:t>Power BI</a:t>
            </a:r>
          </a:p>
        </p:txBody>
      </p:sp>
      <p:sp>
        <p:nvSpPr>
          <p:cNvPr id="65" name="Rectangle 64"/>
          <p:cNvSpPr/>
          <p:nvPr/>
        </p:nvSpPr>
        <p:spPr bwMode="auto">
          <a:xfrm>
            <a:off x="8696565" y="2304434"/>
            <a:ext cx="1281258" cy="3932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defTabSz="913916" fontAlgn="base">
              <a:spcBef>
                <a:spcPct val="0"/>
              </a:spcBef>
              <a:spcAft>
                <a:spcPct val="0"/>
              </a:spcAft>
              <a:defRPr/>
            </a:pPr>
            <a:r>
              <a:rPr lang="en-US" sz="1568" kern="0" dirty="0">
                <a:solidFill>
                  <a:schemeClr val="accent1"/>
                </a:solidFill>
              </a:rPr>
              <a:t>Blob Storage</a:t>
            </a:r>
          </a:p>
        </p:txBody>
      </p:sp>
      <p:sp>
        <p:nvSpPr>
          <p:cNvPr id="66" name="Rectangle 65"/>
          <p:cNvSpPr/>
          <p:nvPr/>
        </p:nvSpPr>
        <p:spPr bwMode="auto">
          <a:xfrm>
            <a:off x="8696565" y="3492364"/>
            <a:ext cx="1281258" cy="3932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defTabSz="913916" fontAlgn="base">
              <a:spcBef>
                <a:spcPct val="0"/>
              </a:spcBef>
              <a:spcAft>
                <a:spcPct val="0"/>
              </a:spcAft>
              <a:defRPr/>
            </a:pPr>
            <a:r>
              <a:rPr lang="en-US" sz="1568" kern="0" dirty="0">
                <a:solidFill>
                  <a:schemeClr val="accent1"/>
                </a:solidFill>
              </a:rPr>
              <a:t>Table Storage</a:t>
            </a:r>
          </a:p>
        </p:txBody>
      </p:sp>
      <p:cxnSp>
        <p:nvCxnSpPr>
          <p:cNvPr id="67" name="Straight Arrow Connector 66"/>
          <p:cNvCxnSpPr/>
          <p:nvPr/>
        </p:nvCxnSpPr>
        <p:spPr>
          <a:xfrm flipV="1">
            <a:off x="3797056" y="3104383"/>
            <a:ext cx="1975685" cy="1"/>
          </a:xfrm>
          <a:prstGeom prst="straightConnector1">
            <a:avLst/>
          </a:prstGeom>
          <a:ln w="12700">
            <a:solidFill>
              <a:schemeClr val="accent1"/>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68" name="Elbow Connector 67"/>
          <p:cNvCxnSpPr/>
          <p:nvPr/>
        </p:nvCxnSpPr>
        <p:spPr>
          <a:xfrm rot="16200000" flipH="1">
            <a:off x="2637002" y="3088045"/>
            <a:ext cx="1872842" cy="755"/>
          </a:xfrm>
          <a:prstGeom prst="bentConnector4">
            <a:avLst>
              <a:gd name="adj1" fmla="val 154"/>
              <a:gd name="adj2" fmla="val 29788312"/>
            </a:avLst>
          </a:prstGeom>
          <a:ln w="12700">
            <a:solidFill>
              <a:schemeClr val="accent1"/>
            </a:solidFill>
            <a:headEnd type="none"/>
            <a:tailEnd type="none" w="lg" len="med"/>
          </a:ln>
        </p:spPr>
        <p:style>
          <a:lnRef idx="1">
            <a:schemeClr val="accent1"/>
          </a:lnRef>
          <a:fillRef idx="0">
            <a:schemeClr val="accent1"/>
          </a:fillRef>
          <a:effectRef idx="0">
            <a:schemeClr val="accent1"/>
          </a:effectRef>
          <a:fontRef idx="minor">
            <a:schemeClr val="tx1"/>
          </a:fontRef>
        </p:style>
      </p:cxnSp>
      <p:grpSp>
        <p:nvGrpSpPr>
          <p:cNvPr id="137" name="Group 136"/>
          <p:cNvGrpSpPr>
            <a:grpSpLocks noChangeAspect="1"/>
          </p:cNvGrpSpPr>
          <p:nvPr/>
        </p:nvGrpSpPr>
        <p:grpSpPr>
          <a:xfrm>
            <a:off x="5920511" y="2855807"/>
            <a:ext cx="553744" cy="425381"/>
            <a:chOff x="1260022" y="5196402"/>
            <a:chExt cx="3273425" cy="2514600"/>
          </a:xfrm>
          <a:solidFill>
            <a:schemeClr val="accent1"/>
          </a:solidFill>
        </p:grpSpPr>
        <p:sp>
          <p:nvSpPr>
            <p:cNvPr id="169" name="Freeform 168"/>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endParaRPr lang="en-US" sz="1799" dirty="0"/>
            </a:p>
          </p:txBody>
        </p:sp>
        <p:sp>
          <p:nvSpPr>
            <p:cNvPr id="170" name="Freeform 169"/>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endParaRPr lang="en-US" sz="1799" dirty="0"/>
            </a:p>
          </p:txBody>
        </p:sp>
        <p:sp>
          <p:nvSpPr>
            <p:cNvPr id="171" name="Freeform 170"/>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endParaRPr lang="en-US" sz="1799" dirty="0"/>
            </a:p>
          </p:txBody>
        </p:sp>
        <p:sp>
          <p:nvSpPr>
            <p:cNvPr id="172" name="Freeform 171"/>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endParaRPr lang="en-US" sz="1799" dirty="0"/>
            </a:p>
          </p:txBody>
        </p:sp>
      </p:grpSp>
      <p:sp>
        <p:nvSpPr>
          <p:cNvPr id="173" name="Freeform 172"/>
          <p:cNvSpPr>
            <a:spLocks noChangeAspect="1"/>
          </p:cNvSpPr>
          <p:nvPr/>
        </p:nvSpPr>
        <p:spPr bwMode="auto">
          <a:xfrm>
            <a:off x="2936772" y="1955724"/>
            <a:ext cx="394428" cy="412757"/>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defRPr/>
            </a:pPr>
            <a:endParaRPr lang="en-US" sz="2399" kern="0" dirty="0">
              <a:solidFill>
                <a:schemeClr val="tx1"/>
              </a:solidFill>
              <a:ea typeface="Segoe UI" pitchFamily="34" charset="0"/>
              <a:cs typeface="Segoe UI" pitchFamily="34" charset="0"/>
            </a:endParaRPr>
          </a:p>
        </p:txBody>
      </p:sp>
      <p:grpSp>
        <p:nvGrpSpPr>
          <p:cNvPr id="174" name="Group 173"/>
          <p:cNvGrpSpPr>
            <a:grpSpLocks noChangeAspect="1"/>
          </p:cNvGrpSpPr>
          <p:nvPr/>
        </p:nvGrpSpPr>
        <p:grpSpPr>
          <a:xfrm>
            <a:off x="10069594" y="4094099"/>
            <a:ext cx="501761" cy="320701"/>
            <a:chOff x="7884058" y="5368509"/>
            <a:chExt cx="324905" cy="207663"/>
          </a:xfrm>
          <a:solidFill>
            <a:schemeClr val="accent1"/>
          </a:solidFill>
        </p:grpSpPr>
        <p:sp>
          <p:nvSpPr>
            <p:cNvPr id="175"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grpFill/>
            <a:ln>
              <a:noFill/>
            </a:ln>
          </p:spPr>
          <p:txBody>
            <a:bodyPr vert="horz" wrap="square" lIns="89606" tIns="44803" rIns="89606" bIns="44803" numCol="1" anchor="t" anchorCtr="0" compatLnSpc="1">
              <a:prstTxWarp prst="textNoShape">
                <a:avLst/>
              </a:prstTxWarp>
            </a:bodyPr>
            <a:lstStyle/>
            <a:p>
              <a:pPr defTabSz="896203"/>
              <a:endParaRPr lang="en-US" sz="1764" kern="0">
                <a:solidFill>
                  <a:srgbClr val="FFFFFF"/>
                </a:solidFill>
              </a:endParaRPr>
            </a:p>
          </p:txBody>
        </p:sp>
        <p:sp>
          <p:nvSpPr>
            <p:cNvPr id="176"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grpFill/>
            <a:ln>
              <a:noFill/>
            </a:ln>
          </p:spPr>
          <p:txBody>
            <a:bodyPr vert="horz" wrap="square" lIns="89606" tIns="44803" rIns="89606" bIns="44803" numCol="1" anchor="t" anchorCtr="0" compatLnSpc="1">
              <a:prstTxWarp prst="textNoShape">
                <a:avLst/>
              </a:prstTxWarp>
            </a:bodyPr>
            <a:lstStyle/>
            <a:p>
              <a:pPr defTabSz="896203"/>
              <a:endParaRPr lang="en-US" sz="1764" kern="0">
                <a:solidFill>
                  <a:srgbClr val="FFFFFF"/>
                </a:solidFill>
              </a:endParaRPr>
            </a:p>
          </p:txBody>
        </p:sp>
        <p:sp>
          <p:nvSpPr>
            <p:cNvPr id="177"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grpFill/>
            <a:ln>
              <a:noFill/>
            </a:ln>
          </p:spPr>
          <p:txBody>
            <a:bodyPr vert="horz" wrap="square" lIns="89606" tIns="44803" rIns="89606" bIns="44803" numCol="1" anchor="t" anchorCtr="0" compatLnSpc="1">
              <a:prstTxWarp prst="textNoShape">
                <a:avLst/>
              </a:prstTxWarp>
            </a:bodyPr>
            <a:lstStyle/>
            <a:p>
              <a:pPr defTabSz="896203"/>
              <a:endParaRPr lang="en-US" sz="1764" kern="0">
                <a:solidFill>
                  <a:srgbClr val="FFFFFF"/>
                </a:solidFill>
              </a:endParaRPr>
            </a:p>
          </p:txBody>
        </p:sp>
        <p:sp>
          <p:nvSpPr>
            <p:cNvPr id="178"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grpFill/>
            <a:ln>
              <a:noFill/>
            </a:ln>
          </p:spPr>
          <p:txBody>
            <a:bodyPr vert="horz" wrap="square" lIns="89606" tIns="44803" rIns="89606" bIns="44803" numCol="1" anchor="t" anchorCtr="0" compatLnSpc="1">
              <a:prstTxWarp prst="textNoShape">
                <a:avLst/>
              </a:prstTxWarp>
            </a:bodyPr>
            <a:lstStyle/>
            <a:p>
              <a:pPr defTabSz="896203"/>
              <a:endParaRPr lang="en-US" sz="1764" kern="0">
                <a:solidFill>
                  <a:srgbClr val="FFFFFF"/>
                </a:solidFill>
              </a:endParaRPr>
            </a:p>
          </p:txBody>
        </p:sp>
        <p:sp>
          <p:nvSpPr>
            <p:cNvPr id="179"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grpFill/>
            <a:ln>
              <a:noFill/>
            </a:ln>
          </p:spPr>
          <p:txBody>
            <a:bodyPr vert="horz" wrap="square" lIns="89606" tIns="44803" rIns="89606" bIns="44803" numCol="1" anchor="t" anchorCtr="0" compatLnSpc="1">
              <a:prstTxWarp prst="textNoShape">
                <a:avLst/>
              </a:prstTxWarp>
            </a:bodyPr>
            <a:lstStyle/>
            <a:p>
              <a:pPr defTabSz="896203"/>
              <a:endParaRPr lang="en-US" sz="1764" kern="0">
                <a:solidFill>
                  <a:srgbClr val="FFFFFF"/>
                </a:solidFill>
              </a:endParaRPr>
            </a:p>
          </p:txBody>
        </p:sp>
      </p:grpSp>
      <p:sp>
        <p:nvSpPr>
          <p:cNvPr id="180" name="Freeform 179"/>
          <p:cNvSpPr>
            <a:spLocks noChangeAspect="1"/>
          </p:cNvSpPr>
          <p:nvPr/>
        </p:nvSpPr>
        <p:spPr bwMode="auto">
          <a:xfrm>
            <a:off x="10109114" y="2905577"/>
            <a:ext cx="394428" cy="412757"/>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defRPr/>
            </a:pPr>
            <a:endParaRPr lang="en-US" sz="2399" kern="0" dirty="0">
              <a:solidFill>
                <a:schemeClr val="tx1"/>
              </a:solidFill>
              <a:ea typeface="Segoe UI" pitchFamily="34" charset="0"/>
              <a:cs typeface="Segoe UI" pitchFamily="34" charset="0"/>
            </a:endParaRPr>
          </a:p>
        </p:txBody>
      </p:sp>
      <p:pic>
        <p:nvPicPr>
          <p:cNvPr id="181" name="Picture 18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112409" y="1698903"/>
            <a:ext cx="500151" cy="500151"/>
          </a:xfrm>
          <a:prstGeom prst="rect">
            <a:avLst/>
          </a:prstGeom>
          <a:noFill/>
        </p:spPr>
      </p:pic>
      <p:pic>
        <p:nvPicPr>
          <p:cNvPr id="78" name="Picture 77"/>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073156" y="2276644"/>
            <a:ext cx="498200" cy="498200"/>
          </a:xfrm>
          <a:prstGeom prst="rect">
            <a:avLst/>
          </a:prstGeom>
        </p:spPr>
      </p:pic>
      <p:cxnSp>
        <p:nvCxnSpPr>
          <p:cNvPr id="79" name="Straight Arrow Connector 78"/>
          <p:cNvCxnSpPr/>
          <p:nvPr/>
        </p:nvCxnSpPr>
        <p:spPr>
          <a:xfrm>
            <a:off x="8131227" y="1919504"/>
            <a:ext cx="488912" cy="0"/>
          </a:xfrm>
          <a:prstGeom prst="straightConnector1">
            <a:avLst/>
          </a:prstGeom>
          <a:ln w="9525">
            <a:solidFill>
              <a:srgbClr val="0078D7"/>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80" name="Straight Arrow Connector 79"/>
          <p:cNvCxnSpPr/>
          <p:nvPr/>
        </p:nvCxnSpPr>
        <p:spPr>
          <a:xfrm>
            <a:off x="8131227" y="2515730"/>
            <a:ext cx="488912" cy="0"/>
          </a:xfrm>
          <a:prstGeom prst="straightConnector1">
            <a:avLst/>
          </a:prstGeom>
          <a:ln w="9525">
            <a:solidFill>
              <a:srgbClr val="0078D7"/>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81" name="Straight Arrow Connector 80"/>
          <p:cNvCxnSpPr/>
          <p:nvPr/>
        </p:nvCxnSpPr>
        <p:spPr>
          <a:xfrm>
            <a:off x="8147402" y="3708182"/>
            <a:ext cx="488912" cy="0"/>
          </a:xfrm>
          <a:prstGeom prst="straightConnector1">
            <a:avLst/>
          </a:prstGeom>
          <a:ln w="9525">
            <a:solidFill>
              <a:srgbClr val="0078D7"/>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82" name="Straight Arrow Connector 81"/>
          <p:cNvCxnSpPr/>
          <p:nvPr/>
        </p:nvCxnSpPr>
        <p:spPr>
          <a:xfrm>
            <a:off x="8147402" y="3111956"/>
            <a:ext cx="488912" cy="0"/>
          </a:xfrm>
          <a:prstGeom prst="straightConnector1">
            <a:avLst/>
          </a:prstGeom>
          <a:ln w="9525">
            <a:solidFill>
              <a:srgbClr val="0078D7"/>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83" name="Straight Arrow Connector 82"/>
          <p:cNvCxnSpPr/>
          <p:nvPr/>
        </p:nvCxnSpPr>
        <p:spPr>
          <a:xfrm>
            <a:off x="8163580" y="4304409"/>
            <a:ext cx="488912" cy="0"/>
          </a:xfrm>
          <a:prstGeom prst="straightConnector1">
            <a:avLst/>
          </a:prstGeom>
          <a:ln w="9525">
            <a:solidFill>
              <a:srgbClr val="0078D7"/>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8131227" y="1928338"/>
            <a:ext cx="16175" cy="2376657"/>
          </a:xfrm>
          <a:prstGeom prst="line">
            <a:avLst/>
          </a:prstGeom>
          <a:ln w="9525">
            <a:solidFill>
              <a:srgbClr val="0078D7"/>
            </a:solidFill>
            <a:miter lim="800000"/>
            <a:headEnd type="none"/>
            <a:tailEnd type="none" w="lg" len="med"/>
          </a:ln>
        </p:spPr>
        <p:style>
          <a:lnRef idx="1">
            <a:schemeClr val="accent1"/>
          </a:lnRef>
          <a:fillRef idx="0">
            <a:schemeClr val="accent1"/>
          </a:fillRef>
          <a:effectRef idx="0">
            <a:schemeClr val="accent1"/>
          </a:effectRef>
          <a:fontRef idx="minor">
            <a:schemeClr val="tx1"/>
          </a:fontRef>
        </p:style>
      </p:cxnSp>
      <p:cxnSp>
        <p:nvCxnSpPr>
          <p:cNvPr id="86" name="Straight Arrow Connector 85"/>
          <p:cNvCxnSpPr/>
          <p:nvPr/>
        </p:nvCxnSpPr>
        <p:spPr>
          <a:xfrm>
            <a:off x="6600727" y="3111957"/>
            <a:ext cx="1399208" cy="0"/>
          </a:xfrm>
          <a:prstGeom prst="straightConnector1">
            <a:avLst/>
          </a:prstGeom>
          <a:ln w="9525">
            <a:solidFill>
              <a:srgbClr val="0078D7"/>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pic>
        <p:nvPicPr>
          <p:cNvPr id="87" name="Picture 8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896037" y="3775571"/>
            <a:ext cx="498200" cy="498200"/>
          </a:xfrm>
          <a:prstGeom prst="rect">
            <a:avLst/>
          </a:prstGeom>
        </p:spPr>
      </p:pic>
    </p:spTree>
    <p:extLst>
      <p:ext uri="{BB962C8B-B14F-4D97-AF65-F5344CB8AC3E}">
        <p14:creationId xmlns:p14="http://schemas.microsoft.com/office/powerpoint/2010/main" val="201141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 name="Title 1"/>
          <p:cNvSpPr>
            <a:spLocks noGrp="1"/>
          </p:cNvSpPr>
          <p:nvPr>
            <p:ph type="title"/>
          </p:nvPr>
        </p:nvSpPr>
        <p:spPr/>
        <p:txBody>
          <a:bodyPr/>
          <a:lstStyle/>
          <a:p>
            <a:r>
              <a:rPr lang="en-US" dirty="0">
                <a:solidFill>
                  <a:schemeClr val="bg1"/>
                </a:solidFill>
              </a:rPr>
              <a:t>Intelligence</a:t>
            </a:r>
          </a:p>
        </p:txBody>
      </p:sp>
      <p:grpSp>
        <p:nvGrpSpPr>
          <p:cNvPr id="7" name="Group 6"/>
          <p:cNvGrpSpPr/>
          <p:nvPr/>
        </p:nvGrpSpPr>
        <p:grpSpPr>
          <a:xfrm>
            <a:off x="244441" y="1618082"/>
            <a:ext cx="9480735" cy="4207152"/>
            <a:chOff x="249407" y="1649550"/>
            <a:chExt cx="9673363" cy="4292632"/>
          </a:xfrm>
        </p:grpSpPr>
        <p:grpSp>
          <p:nvGrpSpPr>
            <p:cNvPr id="125" name="Group 124"/>
            <p:cNvGrpSpPr/>
            <p:nvPr/>
          </p:nvGrpSpPr>
          <p:grpSpPr>
            <a:xfrm>
              <a:off x="9402269" y="2364104"/>
              <a:ext cx="200749" cy="211051"/>
              <a:chOff x="4106551" y="3401141"/>
              <a:chExt cx="254631" cy="267699"/>
            </a:xfrm>
          </p:grpSpPr>
          <p:sp>
            <p:nvSpPr>
              <p:cNvPr id="156" name="Rectangle 155"/>
              <p:cNvSpPr/>
              <p:nvPr/>
            </p:nvSpPr>
            <p:spPr bwMode="auto">
              <a:xfrm>
                <a:off x="4106551"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57" name="Rectangle 156"/>
              <p:cNvSpPr/>
              <p:nvPr/>
            </p:nvSpPr>
            <p:spPr bwMode="auto">
              <a:xfrm>
                <a:off x="4245904"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58" name="Oval 157"/>
              <p:cNvSpPr/>
              <p:nvPr/>
            </p:nvSpPr>
            <p:spPr bwMode="auto">
              <a:xfrm>
                <a:off x="4174625"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59" name="Oval 158"/>
              <p:cNvSpPr/>
              <p:nvPr/>
            </p:nvSpPr>
            <p:spPr bwMode="auto">
              <a:xfrm>
                <a:off x="4313978"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0" name="Rectangle 159"/>
              <p:cNvSpPr/>
              <p:nvPr/>
            </p:nvSpPr>
            <p:spPr bwMode="auto">
              <a:xfrm>
                <a:off x="4106551"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1" name="Rectangle 160"/>
              <p:cNvSpPr/>
              <p:nvPr/>
            </p:nvSpPr>
            <p:spPr bwMode="auto">
              <a:xfrm>
                <a:off x="4245904"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2" name="Oval 161"/>
              <p:cNvSpPr/>
              <p:nvPr/>
            </p:nvSpPr>
            <p:spPr bwMode="auto">
              <a:xfrm>
                <a:off x="4174625"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3" name="Oval 162"/>
              <p:cNvSpPr/>
              <p:nvPr/>
            </p:nvSpPr>
            <p:spPr bwMode="auto">
              <a:xfrm>
                <a:off x="4313978"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4" name="Rectangle 163"/>
              <p:cNvSpPr/>
              <p:nvPr/>
            </p:nvSpPr>
            <p:spPr bwMode="auto">
              <a:xfrm>
                <a:off x="4178218"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5" name="Rectangle 164"/>
              <p:cNvSpPr/>
              <p:nvPr/>
            </p:nvSpPr>
            <p:spPr bwMode="auto">
              <a:xfrm>
                <a:off x="4317571"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6" name="Oval 165"/>
              <p:cNvSpPr/>
              <p:nvPr/>
            </p:nvSpPr>
            <p:spPr bwMode="auto">
              <a:xfrm>
                <a:off x="4106939"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7" name="Oval 166"/>
              <p:cNvSpPr/>
              <p:nvPr/>
            </p:nvSpPr>
            <p:spPr bwMode="auto">
              <a:xfrm>
                <a:off x="4246293"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8" name="Rectangle 167"/>
              <p:cNvSpPr/>
              <p:nvPr/>
            </p:nvSpPr>
            <p:spPr bwMode="auto">
              <a:xfrm>
                <a:off x="4178218"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70" name="Rectangle 169"/>
              <p:cNvSpPr/>
              <p:nvPr/>
            </p:nvSpPr>
            <p:spPr bwMode="auto">
              <a:xfrm>
                <a:off x="4317571"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71" name="Oval 170"/>
              <p:cNvSpPr/>
              <p:nvPr/>
            </p:nvSpPr>
            <p:spPr bwMode="auto">
              <a:xfrm>
                <a:off x="4106939"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72" name="Oval 171"/>
              <p:cNvSpPr/>
              <p:nvPr/>
            </p:nvSpPr>
            <p:spPr bwMode="auto">
              <a:xfrm>
                <a:off x="4246293"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84" name="Rectangle 83"/>
            <p:cNvSpPr/>
            <p:nvPr/>
          </p:nvSpPr>
          <p:spPr bwMode="auto">
            <a:xfrm>
              <a:off x="7912174" y="1649551"/>
              <a:ext cx="1771946" cy="2368251"/>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4" tIns="91403" rIns="18274" bIns="91365" numCol="1" spcCol="1270" anchor="t" anchorCtr="0">
              <a:noAutofit/>
            </a:bodyPr>
            <a:lstStyle/>
            <a:p>
              <a:pPr algn="ctr" defTabSz="724725">
                <a:spcBef>
                  <a:spcPct val="0"/>
                </a:spcBef>
                <a:spcAft>
                  <a:spcPct val="35000"/>
                </a:spcAft>
              </a:pPr>
              <a:r>
                <a:rPr lang="en-US" sz="1400" kern="0" dirty="0">
                  <a:solidFill>
                    <a:schemeClr val="tx1"/>
                  </a:solidFill>
                  <a:latin typeface="Segoe UI Semibold" panose="020B0702040204020203" pitchFamily="34" charset="0"/>
                  <a:cs typeface="Segoe UI Semibold" panose="020B0702040204020203" pitchFamily="34" charset="0"/>
                </a:rPr>
                <a:t>Intelligence</a:t>
              </a:r>
            </a:p>
          </p:txBody>
        </p:sp>
        <p:sp>
          <p:nvSpPr>
            <p:cNvPr id="90" name="Rectangle 89"/>
            <p:cNvSpPr/>
            <p:nvPr/>
          </p:nvSpPr>
          <p:spPr>
            <a:xfrm>
              <a:off x="8628640" y="3494326"/>
              <a:ext cx="1294130" cy="270285"/>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Cortana</a:t>
              </a:r>
            </a:p>
          </p:txBody>
        </p:sp>
        <p:grpSp>
          <p:nvGrpSpPr>
            <p:cNvPr id="91" name="Group 90"/>
            <p:cNvGrpSpPr/>
            <p:nvPr/>
          </p:nvGrpSpPr>
          <p:grpSpPr>
            <a:xfrm>
              <a:off x="8215816" y="3473788"/>
              <a:ext cx="322045" cy="916301"/>
              <a:chOff x="3236100" y="-9820169"/>
              <a:chExt cx="5641200" cy="16050667"/>
            </a:xfrm>
          </p:grpSpPr>
          <p:sp>
            <p:nvSpPr>
              <p:cNvPr id="92" name="Freeform 91"/>
              <p:cNvSpPr/>
              <p:nvPr/>
            </p:nvSpPr>
            <p:spPr bwMode="auto">
              <a:xfrm>
                <a:off x="3236100" y="589298"/>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algn="ctr" defTabSz="932103" fontAlgn="base">
                  <a:spcBef>
                    <a:spcPct val="0"/>
                  </a:spcBef>
                  <a:spcAft>
                    <a:spcPct val="0"/>
                  </a:spcAft>
                </a:pPr>
                <a:endParaRPr lang="en-US" sz="3599" kern="0" dirty="0" err="1">
                  <a:solidFill>
                    <a:schemeClr val="tx1"/>
                  </a:solidFill>
                  <a:ea typeface="Segoe UI" pitchFamily="34" charset="0"/>
                  <a:cs typeface="Segoe UI" pitchFamily="34" charset="0"/>
                </a:endParaRPr>
              </a:p>
            </p:txBody>
          </p:sp>
          <p:sp>
            <p:nvSpPr>
              <p:cNvPr id="93" name="Freeform 92"/>
              <p:cNvSpPr/>
              <p:nvPr/>
            </p:nvSpPr>
            <p:spPr bwMode="auto">
              <a:xfrm>
                <a:off x="3615076" y="-9820169"/>
                <a:ext cx="5262206" cy="5262206"/>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algn="ctr" defTabSz="932103" fontAlgn="base">
                  <a:spcBef>
                    <a:spcPct val="0"/>
                  </a:spcBef>
                  <a:spcAft>
                    <a:spcPct val="0"/>
                  </a:spcAft>
                </a:pPr>
                <a:endParaRPr lang="en-US" sz="3599" kern="0" dirty="0" err="1">
                  <a:solidFill>
                    <a:schemeClr val="tx1"/>
                  </a:solidFill>
                  <a:ea typeface="Segoe UI" pitchFamily="34" charset="0"/>
                  <a:cs typeface="Segoe UI" pitchFamily="34" charset="0"/>
                </a:endParaRPr>
              </a:p>
            </p:txBody>
          </p:sp>
        </p:grpSp>
        <p:sp>
          <p:nvSpPr>
            <p:cNvPr id="123" name="Rectangle 122"/>
            <p:cNvSpPr/>
            <p:nvPr/>
          </p:nvSpPr>
          <p:spPr>
            <a:xfrm>
              <a:off x="8628640" y="2883292"/>
              <a:ext cx="1294130" cy="446397"/>
            </a:xfrm>
            <a:prstGeom prst="rect">
              <a:avLst/>
            </a:prstGeom>
          </p:spPr>
          <p:txBody>
            <a:bodyPr wrap="square" anchor="ctr">
              <a:spAutoFit/>
            </a:bodyPr>
            <a:lstStyle/>
            <a:p>
              <a:pPr defTabSz="896203"/>
              <a:r>
                <a:rPr lang="en-US" sz="1100" kern="0" dirty="0">
                  <a:solidFill>
                    <a:sysClr val="windowText" lastClr="000000"/>
                  </a:solidFill>
                  <a:cs typeface="Segoe UI Semilight" panose="020B0402040204020203" pitchFamily="34" charset="0"/>
                </a:rPr>
                <a:t>Bot </a:t>
              </a:r>
              <a:br>
                <a:rPr lang="en-US" sz="1100" kern="0" dirty="0">
                  <a:solidFill>
                    <a:sysClr val="windowText" lastClr="000000"/>
                  </a:solidFill>
                  <a:cs typeface="Segoe UI Semilight" panose="020B0402040204020203" pitchFamily="34" charset="0"/>
                </a:rPr>
              </a:br>
              <a:r>
                <a:rPr lang="en-US" sz="1100" kern="0" dirty="0">
                  <a:solidFill>
                    <a:sysClr val="windowText" lastClr="000000"/>
                  </a:solidFill>
                  <a:cs typeface="Segoe UI Semilight" panose="020B0402040204020203" pitchFamily="34" charset="0"/>
                </a:rPr>
                <a:t>Framework</a:t>
              </a:r>
            </a:p>
          </p:txBody>
        </p:sp>
        <p:sp>
          <p:nvSpPr>
            <p:cNvPr id="124" name="Rectangle 123"/>
            <p:cNvSpPr/>
            <p:nvPr/>
          </p:nvSpPr>
          <p:spPr>
            <a:xfrm>
              <a:off x="8619675" y="2350141"/>
              <a:ext cx="1294130" cy="446397"/>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Cognitive Services</a:t>
              </a:r>
            </a:p>
          </p:txBody>
        </p:sp>
        <p:grpSp>
          <p:nvGrpSpPr>
            <p:cNvPr id="126" name="Group 125"/>
            <p:cNvGrpSpPr/>
            <p:nvPr/>
          </p:nvGrpSpPr>
          <p:grpSpPr>
            <a:xfrm>
              <a:off x="8167833" y="2430107"/>
              <a:ext cx="435940" cy="279533"/>
              <a:chOff x="7831606" y="2717080"/>
              <a:chExt cx="427431" cy="274077"/>
            </a:xfrm>
          </p:grpSpPr>
          <p:sp>
            <p:nvSpPr>
              <p:cNvPr id="127" name="Freeform 126"/>
              <p:cNvSpPr>
                <a:spLocks/>
              </p:cNvSpPr>
              <p:nvPr/>
            </p:nvSpPr>
            <p:spPr bwMode="auto">
              <a:xfrm flipH="1">
                <a:off x="783160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solidFill>
                <a:schemeClr val="tx1"/>
              </a:solidFill>
              <a:ln>
                <a:noFill/>
              </a:ln>
            </p:spPr>
            <p:txBody>
              <a:bodyPr vert="horz" wrap="square" lIns="91403" tIns="45701" rIns="91403" bIns="45701" numCol="1" anchor="t" anchorCtr="0" compatLnSpc="1">
                <a:prstTxWarp prst="textNoShape">
                  <a:avLst/>
                </a:prstTxWarp>
                <a:noAutofit/>
              </a:bodyPr>
              <a:lstStyle/>
              <a:p>
                <a:pPr defTabSz="896203"/>
                <a:endParaRPr lang="en-US" sz="1799" kern="0">
                  <a:solidFill>
                    <a:sysClr val="windowText" lastClr="000000"/>
                  </a:solidFill>
                </a:endParaRPr>
              </a:p>
            </p:txBody>
          </p:sp>
          <p:sp>
            <p:nvSpPr>
              <p:cNvPr id="128" name="Freeform 109"/>
              <p:cNvSpPr>
                <a:spLocks/>
              </p:cNvSpPr>
              <p:nvPr/>
            </p:nvSpPr>
            <p:spPr bwMode="auto">
              <a:xfrm>
                <a:off x="794547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solidFill>
                <a:schemeClr val="tx1"/>
              </a:solidFill>
              <a:ln>
                <a:noFill/>
              </a:ln>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grpSp>
        <p:sp>
          <p:nvSpPr>
            <p:cNvPr id="129" name="Freeform 128"/>
            <p:cNvSpPr/>
            <p:nvPr/>
          </p:nvSpPr>
          <p:spPr bwMode="auto">
            <a:xfrm>
              <a:off x="8195407" y="2972822"/>
              <a:ext cx="380791" cy="258848"/>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pPr>
              <a:endParaRPr lang="en-US" sz="2399" kern="0">
                <a:solidFill>
                  <a:schemeClr val="tx1"/>
                </a:solidFill>
                <a:ea typeface="Segoe UI" pitchFamily="34" charset="0"/>
                <a:cs typeface="Segoe UI" pitchFamily="34" charset="0"/>
              </a:endParaRPr>
            </a:p>
          </p:txBody>
        </p:sp>
        <p:sp>
          <p:nvSpPr>
            <p:cNvPr id="230" name="Rectangle 229"/>
            <p:cNvSpPr/>
            <p:nvPr/>
          </p:nvSpPr>
          <p:spPr bwMode="auto">
            <a:xfrm>
              <a:off x="4152200" y="1649550"/>
              <a:ext cx="1771946" cy="385834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4" tIns="91403" rIns="18274" bIns="91365" numCol="1" spcCol="1270" anchor="t" anchorCtr="0">
              <a:noAutofit/>
            </a:bodyPr>
            <a:lstStyle/>
            <a:p>
              <a:pPr algn="ctr" defTabSz="724725">
                <a:spcBef>
                  <a:spcPct val="0"/>
                </a:spcBef>
                <a:spcAft>
                  <a:spcPct val="35000"/>
                </a:spcAft>
              </a:pPr>
              <a:r>
                <a:rPr lang="en-US" sz="1400" kern="0" dirty="0">
                  <a:solidFill>
                    <a:schemeClr val="tx1"/>
                  </a:solidFill>
                  <a:latin typeface="Segoe UI Semibold" panose="020B0702040204020203" pitchFamily="34" charset="0"/>
                  <a:cs typeface="Segoe UI Semibold" panose="020B0702040204020203" pitchFamily="34" charset="0"/>
                </a:rPr>
                <a:t>Big Data Stores</a:t>
              </a:r>
            </a:p>
          </p:txBody>
        </p:sp>
        <p:sp>
          <p:nvSpPr>
            <p:cNvPr id="231" name="Rectangle 230"/>
            <p:cNvSpPr/>
            <p:nvPr/>
          </p:nvSpPr>
          <p:spPr>
            <a:xfrm>
              <a:off x="4667785" y="3088249"/>
              <a:ext cx="1296319" cy="446397"/>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SQL Data </a:t>
              </a:r>
            </a:p>
            <a:p>
              <a:pPr defTabSz="896203"/>
              <a:r>
                <a:rPr lang="en-US" sz="1100" kern="0" dirty="0">
                  <a:solidFill>
                    <a:sysClr val="windowText" lastClr="000000"/>
                  </a:solidFill>
                  <a:cs typeface="Segoe UI Semilight" panose="020B0402040204020203" pitchFamily="34" charset="0"/>
                </a:rPr>
                <a:t>Warehouse</a:t>
              </a:r>
            </a:p>
          </p:txBody>
        </p:sp>
        <p:sp>
          <p:nvSpPr>
            <p:cNvPr id="232" name="Rectangle 231"/>
            <p:cNvSpPr/>
            <p:nvPr/>
          </p:nvSpPr>
          <p:spPr>
            <a:xfrm>
              <a:off x="4653693" y="2344046"/>
              <a:ext cx="1296319" cy="270285"/>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Data Lake Store</a:t>
              </a:r>
            </a:p>
          </p:txBody>
        </p:sp>
        <p:grpSp>
          <p:nvGrpSpPr>
            <p:cNvPr id="233" name="Group 232"/>
            <p:cNvGrpSpPr/>
            <p:nvPr/>
          </p:nvGrpSpPr>
          <p:grpSpPr>
            <a:xfrm>
              <a:off x="4339018" y="2349358"/>
              <a:ext cx="256193" cy="256193"/>
              <a:chOff x="4068192" y="3363795"/>
              <a:chExt cx="324957" cy="324957"/>
            </a:xfrm>
          </p:grpSpPr>
          <p:sp>
            <p:nvSpPr>
              <p:cNvPr id="279" name="Rounded Rectangle 278"/>
              <p:cNvSpPr/>
              <p:nvPr/>
            </p:nvSpPr>
            <p:spPr bwMode="auto">
              <a:xfrm>
                <a:off x="4068192" y="3363795"/>
                <a:ext cx="324957" cy="324957"/>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80" name="Rectangle 279"/>
              <p:cNvSpPr/>
              <p:nvPr/>
            </p:nvSpPr>
            <p:spPr bwMode="auto">
              <a:xfrm>
                <a:off x="4106551"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81" name="Rectangle 280"/>
              <p:cNvSpPr/>
              <p:nvPr/>
            </p:nvSpPr>
            <p:spPr bwMode="auto">
              <a:xfrm>
                <a:off x="4245904"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82" name="Oval 281"/>
              <p:cNvSpPr/>
              <p:nvPr/>
            </p:nvSpPr>
            <p:spPr bwMode="auto">
              <a:xfrm>
                <a:off x="4174625"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83" name="Oval 282"/>
              <p:cNvSpPr/>
              <p:nvPr/>
            </p:nvSpPr>
            <p:spPr bwMode="auto">
              <a:xfrm>
                <a:off x="4313978"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84" name="Rectangle 283"/>
              <p:cNvSpPr/>
              <p:nvPr/>
            </p:nvSpPr>
            <p:spPr bwMode="auto">
              <a:xfrm>
                <a:off x="4106551"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85" name="Rectangle 284"/>
              <p:cNvSpPr/>
              <p:nvPr/>
            </p:nvSpPr>
            <p:spPr bwMode="auto">
              <a:xfrm>
                <a:off x="4245904"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86" name="Oval 285"/>
              <p:cNvSpPr/>
              <p:nvPr/>
            </p:nvSpPr>
            <p:spPr bwMode="auto">
              <a:xfrm>
                <a:off x="4174625"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87" name="Oval 286"/>
              <p:cNvSpPr/>
              <p:nvPr/>
            </p:nvSpPr>
            <p:spPr bwMode="auto">
              <a:xfrm>
                <a:off x="4313978"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88" name="Rectangle 287"/>
              <p:cNvSpPr/>
              <p:nvPr/>
            </p:nvSpPr>
            <p:spPr bwMode="auto">
              <a:xfrm>
                <a:off x="4178218"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89" name="Rectangle 288"/>
              <p:cNvSpPr/>
              <p:nvPr/>
            </p:nvSpPr>
            <p:spPr bwMode="auto">
              <a:xfrm>
                <a:off x="4317571"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90" name="Oval 289"/>
              <p:cNvSpPr/>
              <p:nvPr/>
            </p:nvSpPr>
            <p:spPr bwMode="auto">
              <a:xfrm>
                <a:off x="4106939"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91" name="Oval 290"/>
              <p:cNvSpPr/>
              <p:nvPr/>
            </p:nvSpPr>
            <p:spPr bwMode="auto">
              <a:xfrm>
                <a:off x="4246293"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92" name="Rectangle 291"/>
              <p:cNvSpPr/>
              <p:nvPr/>
            </p:nvSpPr>
            <p:spPr bwMode="auto">
              <a:xfrm>
                <a:off x="4178218"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93" name="Rectangle 292"/>
              <p:cNvSpPr/>
              <p:nvPr/>
            </p:nvSpPr>
            <p:spPr bwMode="auto">
              <a:xfrm>
                <a:off x="4317571"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94" name="Oval 293"/>
              <p:cNvSpPr/>
              <p:nvPr/>
            </p:nvSpPr>
            <p:spPr bwMode="auto">
              <a:xfrm>
                <a:off x="4106939"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95" name="Oval 294"/>
              <p:cNvSpPr/>
              <p:nvPr/>
            </p:nvSpPr>
            <p:spPr bwMode="auto">
              <a:xfrm>
                <a:off x="4246293"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34" name="Group 233"/>
            <p:cNvGrpSpPr/>
            <p:nvPr/>
          </p:nvGrpSpPr>
          <p:grpSpPr>
            <a:xfrm>
              <a:off x="4339677" y="3152927"/>
              <a:ext cx="253198" cy="310108"/>
              <a:chOff x="-3084513" y="3390510"/>
              <a:chExt cx="2716213" cy="3363913"/>
            </a:xfrm>
            <a:solidFill>
              <a:schemeClr val="tx1"/>
            </a:solidFill>
          </p:grpSpPr>
          <p:sp>
            <p:nvSpPr>
              <p:cNvPr id="277"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278"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grpSp>
        <p:sp>
          <p:nvSpPr>
            <p:cNvPr id="249" name="TextBox 248"/>
            <p:cNvSpPr txBox="1"/>
            <p:nvPr/>
          </p:nvSpPr>
          <p:spPr>
            <a:xfrm>
              <a:off x="1164202" y="1958379"/>
              <a:ext cx="528754" cy="323165"/>
            </a:xfrm>
            <a:prstGeom prst="rect">
              <a:avLst/>
            </a:prstGeom>
            <a:noFill/>
          </p:spPr>
          <p:txBody>
            <a:bodyPr wrap="square" lIns="0" tIns="0" rIns="0" bIns="0" rtlCol="0" anchor="ctr" anchorCtr="0">
              <a:spAutoFit/>
            </a:bodyPr>
            <a:lstStyle/>
            <a:p>
              <a:pPr defTabSz="914005">
                <a:spcAft>
                  <a:spcPts val="588"/>
                </a:spcAft>
              </a:pPr>
              <a:r>
                <a:rPr lang="en-US" sz="1029" kern="0" dirty="0">
                  <a:solidFill>
                    <a:schemeClr val="bg2"/>
                  </a:solidFill>
                  <a:cs typeface="Segoe UI Semilight" panose="020B0402040204020203" pitchFamily="34" charset="0"/>
                </a:rPr>
                <a:t>Data Sources</a:t>
              </a:r>
            </a:p>
          </p:txBody>
        </p:sp>
        <p:sp>
          <p:nvSpPr>
            <p:cNvPr id="251" name="TextBox 250"/>
            <p:cNvSpPr txBox="1"/>
            <p:nvPr/>
          </p:nvSpPr>
          <p:spPr>
            <a:xfrm>
              <a:off x="1164202" y="3351045"/>
              <a:ext cx="528754" cy="161583"/>
            </a:xfrm>
            <a:prstGeom prst="rect">
              <a:avLst/>
            </a:prstGeom>
            <a:noFill/>
          </p:spPr>
          <p:txBody>
            <a:bodyPr wrap="square" lIns="0" tIns="0" rIns="0" bIns="0" rtlCol="0" anchor="ctr" anchorCtr="0">
              <a:spAutoFit/>
            </a:bodyPr>
            <a:lstStyle/>
            <a:p>
              <a:pPr defTabSz="914005">
                <a:spcBef>
                  <a:spcPct val="0"/>
                </a:spcBef>
                <a:spcAft>
                  <a:spcPts val="588"/>
                </a:spcAft>
              </a:pPr>
              <a:r>
                <a:rPr lang="en-US" sz="1029" kern="0" dirty="0">
                  <a:solidFill>
                    <a:schemeClr val="bg2"/>
                  </a:solidFill>
                  <a:cs typeface="Segoe UI Semilight" panose="020B0402040204020203" pitchFamily="34" charset="0"/>
                </a:rPr>
                <a:t>Apps</a:t>
              </a:r>
            </a:p>
          </p:txBody>
        </p:sp>
        <p:sp>
          <p:nvSpPr>
            <p:cNvPr id="253" name="TextBox 252"/>
            <p:cNvSpPr txBox="1"/>
            <p:nvPr/>
          </p:nvSpPr>
          <p:spPr>
            <a:xfrm>
              <a:off x="1164202" y="4768746"/>
              <a:ext cx="735728" cy="323165"/>
            </a:xfrm>
            <a:prstGeom prst="rect">
              <a:avLst/>
            </a:prstGeom>
            <a:noFill/>
          </p:spPr>
          <p:txBody>
            <a:bodyPr wrap="square" lIns="0" tIns="0" rIns="0" bIns="0" rtlCol="0" anchor="ctr" anchorCtr="0">
              <a:spAutoFit/>
            </a:bodyPr>
            <a:lstStyle/>
            <a:p>
              <a:pPr defTabSz="914005">
                <a:spcBef>
                  <a:spcPct val="0"/>
                </a:spcBef>
                <a:spcAft>
                  <a:spcPts val="588"/>
                </a:spcAft>
              </a:pPr>
              <a:r>
                <a:rPr lang="en-US" sz="1029" kern="0" dirty="0">
                  <a:solidFill>
                    <a:schemeClr val="bg2"/>
                  </a:solidFill>
                  <a:cs typeface="Segoe UI Semilight" panose="020B0402040204020203" pitchFamily="34" charset="0"/>
                </a:rPr>
                <a:t>Sensors </a:t>
              </a:r>
              <a:br>
                <a:rPr lang="en-US" sz="1029" kern="0" dirty="0">
                  <a:solidFill>
                    <a:schemeClr val="bg2"/>
                  </a:solidFill>
                  <a:cs typeface="Segoe UI Semilight" panose="020B0402040204020203" pitchFamily="34" charset="0"/>
                </a:rPr>
              </a:br>
              <a:r>
                <a:rPr lang="en-US" sz="1029" kern="0" dirty="0">
                  <a:solidFill>
                    <a:schemeClr val="bg2"/>
                  </a:solidFill>
                  <a:cs typeface="Segoe UI Semilight" panose="020B0402040204020203" pitchFamily="34" charset="0"/>
                </a:rPr>
                <a:t>and devices</a:t>
              </a:r>
            </a:p>
          </p:txBody>
        </p:sp>
        <p:sp>
          <p:nvSpPr>
            <p:cNvPr id="254" name="TextBox 253"/>
            <p:cNvSpPr txBox="1"/>
            <p:nvPr/>
          </p:nvSpPr>
          <p:spPr>
            <a:xfrm>
              <a:off x="806041" y="5665183"/>
              <a:ext cx="474490" cy="276999"/>
            </a:xfrm>
            <a:prstGeom prst="rect">
              <a:avLst/>
            </a:prstGeom>
            <a:noFill/>
          </p:spPr>
          <p:txBody>
            <a:bodyPr wrap="none" lIns="0" tIns="0" rIns="0" bIns="0" rtlCol="0" anchor="ctr">
              <a:spAutoFit/>
            </a:bodyPr>
            <a:lstStyle>
              <a:defPPr>
                <a:defRPr lang="en-US"/>
              </a:defPPr>
              <a:lvl1pPr algn="ctr" defTabSz="932563">
                <a:spcBef>
                  <a:spcPct val="0"/>
                </a:spcBef>
                <a:spcAft>
                  <a:spcPts val="600"/>
                </a:spcAft>
                <a:defRPr sz="1100">
                  <a:solidFill>
                    <a:schemeClr val="bg1"/>
                  </a:solidFill>
                  <a:latin typeface="Segoe UI Semilight" panose="020B0402040204020203" pitchFamily="34" charset="0"/>
                  <a:cs typeface="Segoe UI Semilight" panose="020B0402040204020203" pitchFamily="34" charset="0"/>
                </a:defRPr>
              </a:lvl1pPr>
            </a:lstStyle>
            <a:p>
              <a:pPr defTabSz="914005">
                <a:spcAft>
                  <a:spcPts val="588"/>
                </a:spcAft>
              </a:pPr>
              <a:r>
                <a:rPr lang="en-US" sz="1764" kern="0" dirty="0">
                  <a:solidFill>
                    <a:schemeClr val="bg2"/>
                  </a:solidFill>
                  <a:latin typeface="+mn-lt"/>
                </a:rPr>
                <a:t>Data</a:t>
              </a:r>
            </a:p>
          </p:txBody>
        </p:sp>
        <p:grpSp>
          <p:nvGrpSpPr>
            <p:cNvPr id="255" name="Group 254"/>
            <p:cNvGrpSpPr/>
            <p:nvPr/>
          </p:nvGrpSpPr>
          <p:grpSpPr>
            <a:xfrm>
              <a:off x="1776319" y="1668481"/>
              <a:ext cx="308472" cy="3830198"/>
              <a:chOff x="1810439" y="1858178"/>
              <a:chExt cx="308472" cy="3830198"/>
            </a:xfrm>
            <a:solidFill>
              <a:srgbClr val="0078D7"/>
            </a:solidFill>
          </p:grpSpPr>
          <p:sp>
            <p:nvSpPr>
              <p:cNvPr id="256" name="Freeform 255"/>
              <p:cNvSpPr/>
              <p:nvPr/>
            </p:nvSpPr>
            <p:spPr bwMode="auto">
              <a:xfrm>
                <a:off x="1995054" y="1858178"/>
                <a:ext cx="123857" cy="3830198"/>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203"/>
                <a:endParaRPr lang="en-US" sz="1764" kern="0">
                  <a:solidFill>
                    <a:sysClr val="windowText" lastClr="000000"/>
                  </a:solidFill>
                </a:endParaRPr>
              </a:p>
            </p:txBody>
          </p:sp>
          <p:cxnSp>
            <p:nvCxnSpPr>
              <p:cNvPr id="257" name="Straight Connector 256"/>
              <p:cNvCxnSpPr/>
              <p:nvPr/>
            </p:nvCxnSpPr>
            <p:spPr>
              <a:xfrm>
                <a:off x="1810439" y="3639239"/>
                <a:ext cx="308472" cy="0"/>
              </a:xfrm>
              <a:prstGeom prst="line">
                <a:avLst/>
              </a:prstGeom>
              <a:grpFill/>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38" name="Rectangle 237"/>
            <p:cNvSpPr/>
            <p:nvPr/>
          </p:nvSpPr>
          <p:spPr bwMode="auto">
            <a:xfrm>
              <a:off x="2269406" y="1649551"/>
              <a:ext cx="1771946" cy="385834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4" tIns="91403" rIns="18274" bIns="91365" numCol="1" spcCol="1270" anchor="t" anchorCtr="0">
              <a:noAutofit/>
            </a:bodyPr>
            <a:lstStyle/>
            <a:p>
              <a:pPr algn="ctr" defTabSz="724725">
                <a:spcBef>
                  <a:spcPct val="0"/>
                </a:spcBef>
                <a:spcAft>
                  <a:spcPct val="35000"/>
                </a:spcAft>
              </a:pPr>
              <a:r>
                <a:rPr lang="en-US" sz="1400" kern="0" dirty="0">
                  <a:solidFill>
                    <a:schemeClr val="tx1"/>
                  </a:solidFill>
                  <a:latin typeface="Segoe UI Semibold" panose="020B0702040204020203" pitchFamily="34" charset="0"/>
                  <a:cs typeface="Segoe UI Semibold" panose="020B0702040204020203" pitchFamily="34" charset="0"/>
                </a:rPr>
                <a:t>Information Management</a:t>
              </a:r>
            </a:p>
          </p:txBody>
        </p:sp>
        <p:sp>
          <p:nvSpPr>
            <p:cNvPr id="239" name="Rectangle 238"/>
            <p:cNvSpPr/>
            <p:nvPr/>
          </p:nvSpPr>
          <p:spPr>
            <a:xfrm>
              <a:off x="2833488" y="4199155"/>
              <a:ext cx="1296319" cy="270285"/>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Event Hubs</a:t>
              </a:r>
              <a:endParaRPr lang="en-US" sz="1100" kern="0" dirty="0">
                <a:solidFill>
                  <a:sysClr val="windowText" lastClr="000000"/>
                </a:solidFill>
              </a:endParaRPr>
            </a:p>
          </p:txBody>
        </p:sp>
        <p:sp>
          <p:nvSpPr>
            <p:cNvPr id="240" name="Rectangle 239"/>
            <p:cNvSpPr/>
            <p:nvPr/>
          </p:nvSpPr>
          <p:spPr>
            <a:xfrm>
              <a:off x="2833488" y="3390244"/>
              <a:ext cx="1296319" cy="270285"/>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Data Catalog</a:t>
              </a:r>
            </a:p>
          </p:txBody>
        </p:sp>
        <p:grpSp>
          <p:nvGrpSpPr>
            <p:cNvPr id="241" name="Group 240"/>
            <p:cNvGrpSpPr/>
            <p:nvPr/>
          </p:nvGrpSpPr>
          <p:grpSpPr>
            <a:xfrm>
              <a:off x="2512312" y="3346955"/>
              <a:ext cx="280471" cy="298350"/>
              <a:chOff x="3232150" y="382588"/>
              <a:chExt cx="5727700" cy="6092825"/>
            </a:xfrm>
            <a:solidFill>
              <a:schemeClr val="tx1"/>
            </a:solidFill>
          </p:grpSpPr>
          <p:sp>
            <p:nvSpPr>
              <p:cNvPr id="245"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246"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247"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grpSp>
        <p:sp>
          <p:nvSpPr>
            <p:cNvPr id="242" name="Rectangle 241"/>
            <p:cNvSpPr/>
            <p:nvPr/>
          </p:nvSpPr>
          <p:spPr>
            <a:xfrm>
              <a:off x="2833488" y="2538073"/>
              <a:ext cx="1296319" cy="270285"/>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Data Factory </a:t>
              </a:r>
              <a:endParaRPr lang="en-US" sz="1100" kern="0" dirty="0">
                <a:solidFill>
                  <a:sysClr val="windowText" lastClr="000000"/>
                </a:solidFill>
              </a:endParaRPr>
            </a:p>
          </p:txBody>
        </p:sp>
        <p:sp>
          <p:nvSpPr>
            <p:cNvPr id="243" name="Freeform 242"/>
            <p:cNvSpPr/>
            <p:nvPr/>
          </p:nvSpPr>
          <p:spPr bwMode="auto">
            <a:xfrm>
              <a:off x="2508225" y="2475589"/>
              <a:ext cx="292163" cy="307023"/>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pPr>
              <a:endParaRPr lang="en-US" sz="2399" kern="0">
                <a:solidFill>
                  <a:schemeClr val="tx1"/>
                </a:solidFill>
                <a:ea typeface="Segoe UI" pitchFamily="34" charset="0"/>
                <a:cs typeface="Segoe UI" pitchFamily="34" charset="0"/>
              </a:endParaRPr>
            </a:p>
          </p:txBody>
        </p:sp>
        <p:sp>
          <p:nvSpPr>
            <p:cNvPr id="244" name="Freeform 243"/>
            <p:cNvSpPr/>
            <p:nvPr/>
          </p:nvSpPr>
          <p:spPr bwMode="auto">
            <a:xfrm>
              <a:off x="2528952" y="4204179"/>
              <a:ext cx="236184" cy="247159"/>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pPr>
              <a:endParaRPr lang="en-US" sz="2399" kern="0" dirty="0">
                <a:solidFill>
                  <a:schemeClr val="tx1"/>
                </a:solidFill>
                <a:ea typeface="Segoe UI" pitchFamily="34" charset="0"/>
                <a:cs typeface="Segoe UI" pitchFamily="34" charset="0"/>
              </a:endParaRPr>
            </a:p>
          </p:txBody>
        </p:sp>
        <p:sp>
          <p:nvSpPr>
            <p:cNvPr id="214" name="Rectangle 213"/>
            <p:cNvSpPr/>
            <p:nvPr/>
          </p:nvSpPr>
          <p:spPr bwMode="auto">
            <a:xfrm>
              <a:off x="6030180" y="1649550"/>
              <a:ext cx="1771946" cy="385834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4" tIns="91403" rIns="18274" bIns="91365" numCol="1" spcCol="1270" anchor="t" anchorCtr="0">
              <a:noAutofit/>
            </a:bodyPr>
            <a:lstStyle/>
            <a:p>
              <a:pPr algn="ctr" defTabSz="724725">
                <a:spcBef>
                  <a:spcPct val="0"/>
                </a:spcBef>
                <a:spcAft>
                  <a:spcPct val="35000"/>
                </a:spcAft>
              </a:pPr>
              <a:r>
                <a:rPr lang="en-US" sz="1400" kern="0" dirty="0">
                  <a:solidFill>
                    <a:schemeClr val="tx1"/>
                  </a:solidFill>
                  <a:latin typeface="Segoe UI Semibold" panose="020B0702040204020203" pitchFamily="34" charset="0"/>
                  <a:cs typeface="Segoe UI Semibold" panose="020B0702040204020203" pitchFamily="34" charset="0"/>
                </a:rPr>
                <a:t>Machine Learning and Analytics</a:t>
              </a:r>
            </a:p>
          </p:txBody>
        </p:sp>
        <p:sp>
          <p:nvSpPr>
            <p:cNvPr id="215" name="Rectangle 214"/>
            <p:cNvSpPr/>
            <p:nvPr/>
          </p:nvSpPr>
          <p:spPr>
            <a:xfrm>
              <a:off x="6671711" y="3853021"/>
              <a:ext cx="1294130" cy="622511"/>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HDInsight </a:t>
              </a:r>
            </a:p>
            <a:p>
              <a:pPr defTabSz="896203"/>
              <a:r>
                <a:rPr lang="en-US" sz="1100" kern="0" dirty="0">
                  <a:solidFill>
                    <a:sysClr val="windowText" lastClr="000000"/>
                  </a:solidFill>
                  <a:cs typeface="Segoe UI Semilight" panose="020B0402040204020203" pitchFamily="34" charset="0"/>
                </a:rPr>
                <a:t>(Hadoop and Spark)</a:t>
              </a:r>
            </a:p>
          </p:txBody>
        </p:sp>
        <p:sp>
          <p:nvSpPr>
            <p:cNvPr id="216" name="Rectangle 215"/>
            <p:cNvSpPr/>
            <p:nvPr/>
          </p:nvSpPr>
          <p:spPr>
            <a:xfrm>
              <a:off x="6671711" y="4705480"/>
              <a:ext cx="925088" cy="437684"/>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Stream Analytics</a:t>
              </a:r>
            </a:p>
          </p:txBody>
        </p:sp>
        <p:sp>
          <p:nvSpPr>
            <p:cNvPr id="217" name="Rectangle 216"/>
            <p:cNvSpPr/>
            <p:nvPr/>
          </p:nvSpPr>
          <p:spPr>
            <a:xfrm>
              <a:off x="6671711" y="3131506"/>
              <a:ext cx="1294130" cy="446397"/>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Data Lake Analytics</a:t>
              </a:r>
            </a:p>
          </p:txBody>
        </p:sp>
        <p:grpSp>
          <p:nvGrpSpPr>
            <p:cNvPr id="218" name="Group 217"/>
            <p:cNvGrpSpPr/>
            <p:nvPr/>
          </p:nvGrpSpPr>
          <p:grpSpPr>
            <a:xfrm>
              <a:off x="6293491" y="3216207"/>
              <a:ext cx="225034" cy="294370"/>
              <a:chOff x="3473450" y="4579938"/>
              <a:chExt cx="1741488" cy="2278062"/>
            </a:xfrm>
            <a:solidFill>
              <a:schemeClr val="tx1"/>
            </a:solidFill>
          </p:grpSpPr>
          <p:sp>
            <p:nvSpPr>
              <p:cNvPr id="227" name="Freeform 16"/>
              <p:cNvSpPr>
                <a:spLocks/>
              </p:cNvSpPr>
              <p:nvPr/>
            </p:nvSpPr>
            <p:spPr bwMode="auto">
              <a:xfrm>
                <a:off x="3575050" y="4579938"/>
                <a:ext cx="1493838" cy="403225"/>
              </a:xfrm>
              <a:custGeom>
                <a:avLst/>
                <a:gdLst>
                  <a:gd name="T0" fmla="*/ 2 w 1883"/>
                  <a:gd name="T1" fmla="*/ 263 h 508"/>
                  <a:gd name="T2" fmla="*/ 17 w 1883"/>
                  <a:gd name="T3" fmla="*/ 290 h 508"/>
                  <a:gd name="T4" fmla="*/ 51 w 1883"/>
                  <a:gd name="T5" fmla="*/ 321 h 508"/>
                  <a:gd name="T6" fmla="*/ 101 w 1883"/>
                  <a:gd name="T7" fmla="*/ 352 h 508"/>
                  <a:gd name="T8" fmla="*/ 169 w 1883"/>
                  <a:gd name="T9" fmla="*/ 384 h 508"/>
                  <a:gd name="T10" fmla="*/ 253 w 1883"/>
                  <a:gd name="T11" fmla="*/ 414 h 508"/>
                  <a:gd name="T12" fmla="*/ 351 w 1883"/>
                  <a:gd name="T13" fmla="*/ 442 h 508"/>
                  <a:gd name="T14" fmla="*/ 465 w 1883"/>
                  <a:gd name="T15" fmla="*/ 467 h 508"/>
                  <a:gd name="T16" fmla="*/ 592 w 1883"/>
                  <a:gd name="T17" fmla="*/ 486 h 508"/>
                  <a:gd name="T18" fmla="*/ 733 w 1883"/>
                  <a:gd name="T19" fmla="*/ 500 h 508"/>
                  <a:gd name="T20" fmla="*/ 887 w 1883"/>
                  <a:gd name="T21" fmla="*/ 508 h 508"/>
                  <a:gd name="T22" fmla="*/ 996 w 1883"/>
                  <a:gd name="T23" fmla="*/ 508 h 508"/>
                  <a:gd name="T24" fmla="*/ 1150 w 1883"/>
                  <a:gd name="T25" fmla="*/ 500 h 508"/>
                  <a:gd name="T26" fmla="*/ 1291 w 1883"/>
                  <a:gd name="T27" fmla="*/ 486 h 508"/>
                  <a:gd name="T28" fmla="*/ 1419 w 1883"/>
                  <a:gd name="T29" fmla="*/ 467 h 508"/>
                  <a:gd name="T30" fmla="*/ 1532 w 1883"/>
                  <a:gd name="T31" fmla="*/ 442 h 508"/>
                  <a:gd name="T32" fmla="*/ 1632 w 1883"/>
                  <a:gd name="T33" fmla="*/ 414 h 508"/>
                  <a:gd name="T34" fmla="*/ 1715 w 1883"/>
                  <a:gd name="T35" fmla="*/ 384 h 508"/>
                  <a:gd name="T36" fmla="*/ 1782 w 1883"/>
                  <a:gd name="T37" fmla="*/ 352 h 508"/>
                  <a:gd name="T38" fmla="*/ 1834 w 1883"/>
                  <a:gd name="T39" fmla="*/ 321 h 508"/>
                  <a:gd name="T40" fmla="*/ 1866 w 1883"/>
                  <a:gd name="T41" fmla="*/ 290 h 508"/>
                  <a:gd name="T42" fmla="*/ 1882 w 1883"/>
                  <a:gd name="T43" fmla="*/ 263 h 508"/>
                  <a:gd name="T44" fmla="*/ 1882 w 1883"/>
                  <a:gd name="T45" fmla="*/ 245 h 508"/>
                  <a:gd name="T46" fmla="*/ 1866 w 1883"/>
                  <a:gd name="T47" fmla="*/ 217 h 508"/>
                  <a:gd name="T48" fmla="*/ 1834 w 1883"/>
                  <a:gd name="T49" fmla="*/ 187 h 508"/>
                  <a:gd name="T50" fmla="*/ 1782 w 1883"/>
                  <a:gd name="T51" fmla="*/ 155 h 508"/>
                  <a:gd name="T52" fmla="*/ 1715 w 1883"/>
                  <a:gd name="T53" fmla="*/ 124 h 508"/>
                  <a:gd name="T54" fmla="*/ 1632 w 1883"/>
                  <a:gd name="T55" fmla="*/ 93 h 508"/>
                  <a:gd name="T56" fmla="*/ 1532 w 1883"/>
                  <a:gd name="T57" fmla="*/ 64 h 508"/>
                  <a:gd name="T58" fmla="*/ 1419 w 1883"/>
                  <a:gd name="T59" fmla="*/ 40 h 508"/>
                  <a:gd name="T60" fmla="*/ 1291 w 1883"/>
                  <a:gd name="T61" fmla="*/ 20 h 508"/>
                  <a:gd name="T62" fmla="*/ 1150 w 1883"/>
                  <a:gd name="T63" fmla="*/ 6 h 508"/>
                  <a:gd name="T64" fmla="*/ 996 w 1883"/>
                  <a:gd name="T65" fmla="*/ 0 h 508"/>
                  <a:gd name="T66" fmla="*/ 887 w 1883"/>
                  <a:gd name="T67" fmla="*/ 0 h 508"/>
                  <a:gd name="T68" fmla="*/ 733 w 1883"/>
                  <a:gd name="T69" fmla="*/ 6 h 508"/>
                  <a:gd name="T70" fmla="*/ 592 w 1883"/>
                  <a:gd name="T71" fmla="*/ 20 h 508"/>
                  <a:gd name="T72" fmla="*/ 465 w 1883"/>
                  <a:gd name="T73" fmla="*/ 40 h 508"/>
                  <a:gd name="T74" fmla="*/ 351 w 1883"/>
                  <a:gd name="T75" fmla="*/ 64 h 508"/>
                  <a:gd name="T76" fmla="*/ 253 w 1883"/>
                  <a:gd name="T77" fmla="*/ 93 h 508"/>
                  <a:gd name="T78" fmla="*/ 169 w 1883"/>
                  <a:gd name="T79" fmla="*/ 124 h 508"/>
                  <a:gd name="T80" fmla="*/ 101 w 1883"/>
                  <a:gd name="T81" fmla="*/ 155 h 508"/>
                  <a:gd name="T82" fmla="*/ 51 w 1883"/>
                  <a:gd name="T83" fmla="*/ 187 h 508"/>
                  <a:gd name="T84" fmla="*/ 17 w 1883"/>
                  <a:gd name="T85" fmla="*/ 217 h 508"/>
                  <a:gd name="T86" fmla="*/ 2 w 1883"/>
                  <a:gd name="T87" fmla="*/ 245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3" h="508">
                    <a:moveTo>
                      <a:pt x="0" y="254"/>
                    </a:moveTo>
                    <a:lnTo>
                      <a:pt x="0" y="254"/>
                    </a:lnTo>
                    <a:lnTo>
                      <a:pt x="2" y="263"/>
                    </a:lnTo>
                    <a:lnTo>
                      <a:pt x="5" y="271"/>
                    </a:lnTo>
                    <a:lnTo>
                      <a:pt x="11" y="280"/>
                    </a:lnTo>
                    <a:lnTo>
                      <a:pt x="17" y="290"/>
                    </a:lnTo>
                    <a:lnTo>
                      <a:pt x="27" y="301"/>
                    </a:lnTo>
                    <a:lnTo>
                      <a:pt x="37" y="311"/>
                    </a:lnTo>
                    <a:lnTo>
                      <a:pt x="51" y="321"/>
                    </a:lnTo>
                    <a:lnTo>
                      <a:pt x="66" y="331"/>
                    </a:lnTo>
                    <a:lnTo>
                      <a:pt x="82" y="342"/>
                    </a:lnTo>
                    <a:lnTo>
                      <a:pt x="101" y="352"/>
                    </a:lnTo>
                    <a:lnTo>
                      <a:pt x="122" y="362"/>
                    </a:lnTo>
                    <a:lnTo>
                      <a:pt x="144" y="374"/>
                    </a:lnTo>
                    <a:lnTo>
                      <a:pt x="169" y="384"/>
                    </a:lnTo>
                    <a:lnTo>
                      <a:pt x="195" y="394"/>
                    </a:lnTo>
                    <a:lnTo>
                      <a:pt x="222" y="404"/>
                    </a:lnTo>
                    <a:lnTo>
                      <a:pt x="253" y="414"/>
                    </a:lnTo>
                    <a:lnTo>
                      <a:pt x="284" y="424"/>
                    </a:lnTo>
                    <a:lnTo>
                      <a:pt x="317" y="433"/>
                    </a:lnTo>
                    <a:lnTo>
                      <a:pt x="351" y="442"/>
                    </a:lnTo>
                    <a:lnTo>
                      <a:pt x="388" y="451"/>
                    </a:lnTo>
                    <a:lnTo>
                      <a:pt x="426" y="460"/>
                    </a:lnTo>
                    <a:lnTo>
                      <a:pt x="465" y="467"/>
                    </a:lnTo>
                    <a:lnTo>
                      <a:pt x="506" y="473"/>
                    </a:lnTo>
                    <a:lnTo>
                      <a:pt x="549" y="481"/>
                    </a:lnTo>
                    <a:lnTo>
                      <a:pt x="592" y="486"/>
                    </a:lnTo>
                    <a:lnTo>
                      <a:pt x="639" y="492"/>
                    </a:lnTo>
                    <a:lnTo>
                      <a:pt x="685" y="496"/>
                    </a:lnTo>
                    <a:lnTo>
                      <a:pt x="733" y="500"/>
                    </a:lnTo>
                    <a:lnTo>
                      <a:pt x="784" y="504"/>
                    </a:lnTo>
                    <a:lnTo>
                      <a:pt x="836" y="506"/>
                    </a:lnTo>
                    <a:lnTo>
                      <a:pt x="887" y="508"/>
                    </a:lnTo>
                    <a:lnTo>
                      <a:pt x="942" y="508"/>
                    </a:lnTo>
                    <a:lnTo>
                      <a:pt x="942" y="508"/>
                    </a:lnTo>
                    <a:lnTo>
                      <a:pt x="996" y="508"/>
                    </a:lnTo>
                    <a:lnTo>
                      <a:pt x="1049" y="506"/>
                    </a:lnTo>
                    <a:lnTo>
                      <a:pt x="1101" y="504"/>
                    </a:lnTo>
                    <a:lnTo>
                      <a:pt x="1150" y="500"/>
                    </a:lnTo>
                    <a:lnTo>
                      <a:pt x="1199" y="496"/>
                    </a:lnTo>
                    <a:lnTo>
                      <a:pt x="1246" y="492"/>
                    </a:lnTo>
                    <a:lnTo>
                      <a:pt x="1291" y="486"/>
                    </a:lnTo>
                    <a:lnTo>
                      <a:pt x="1335" y="481"/>
                    </a:lnTo>
                    <a:lnTo>
                      <a:pt x="1378" y="473"/>
                    </a:lnTo>
                    <a:lnTo>
                      <a:pt x="1419" y="467"/>
                    </a:lnTo>
                    <a:lnTo>
                      <a:pt x="1459" y="460"/>
                    </a:lnTo>
                    <a:lnTo>
                      <a:pt x="1497" y="451"/>
                    </a:lnTo>
                    <a:lnTo>
                      <a:pt x="1532" y="442"/>
                    </a:lnTo>
                    <a:lnTo>
                      <a:pt x="1567" y="433"/>
                    </a:lnTo>
                    <a:lnTo>
                      <a:pt x="1600" y="424"/>
                    </a:lnTo>
                    <a:lnTo>
                      <a:pt x="1632" y="414"/>
                    </a:lnTo>
                    <a:lnTo>
                      <a:pt x="1661" y="404"/>
                    </a:lnTo>
                    <a:lnTo>
                      <a:pt x="1689" y="394"/>
                    </a:lnTo>
                    <a:lnTo>
                      <a:pt x="1715" y="384"/>
                    </a:lnTo>
                    <a:lnTo>
                      <a:pt x="1739" y="374"/>
                    </a:lnTo>
                    <a:lnTo>
                      <a:pt x="1762" y="362"/>
                    </a:lnTo>
                    <a:lnTo>
                      <a:pt x="1782" y="352"/>
                    </a:lnTo>
                    <a:lnTo>
                      <a:pt x="1801" y="342"/>
                    </a:lnTo>
                    <a:lnTo>
                      <a:pt x="1818" y="331"/>
                    </a:lnTo>
                    <a:lnTo>
                      <a:pt x="1834" y="321"/>
                    </a:lnTo>
                    <a:lnTo>
                      <a:pt x="1846" y="311"/>
                    </a:lnTo>
                    <a:lnTo>
                      <a:pt x="1858" y="301"/>
                    </a:lnTo>
                    <a:lnTo>
                      <a:pt x="1866" y="290"/>
                    </a:lnTo>
                    <a:lnTo>
                      <a:pt x="1874" y="280"/>
                    </a:lnTo>
                    <a:lnTo>
                      <a:pt x="1879" y="271"/>
                    </a:lnTo>
                    <a:lnTo>
                      <a:pt x="1882" y="263"/>
                    </a:lnTo>
                    <a:lnTo>
                      <a:pt x="1883" y="254"/>
                    </a:lnTo>
                    <a:lnTo>
                      <a:pt x="1883" y="254"/>
                    </a:lnTo>
                    <a:lnTo>
                      <a:pt x="1882" y="245"/>
                    </a:lnTo>
                    <a:lnTo>
                      <a:pt x="1879" y="236"/>
                    </a:lnTo>
                    <a:lnTo>
                      <a:pt x="1874" y="226"/>
                    </a:lnTo>
                    <a:lnTo>
                      <a:pt x="1866" y="217"/>
                    </a:lnTo>
                    <a:lnTo>
                      <a:pt x="1858" y="207"/>
                    </a:lnTo>
                    <a:lnTo>
                      <a:pt x="1846" y="197"/>
                    </a:lnTo>
                    <a:lnTo>
                      <a:pt x="1834" y="187"/>
                    </a:lnTo>
                    <a:lnTo>
                      <a:pt x="1818" y="176"/>
                    </a:lnTo>
                    <a:lnTo>
                      <a:pt x="1801" y="165"/>
                    </a:lnTo>
                    <a:lnTo>
                      <a:pt x="1782" y="155"/>
                    </a:lnTo>
                    <a:lnTo>
                      <a:pt x="1762" y="144"/>
                    </a:lnTo>
                    <a:lnTo>
                      <a:pt x="1739" y="134"/>
                    </a:lnTo>
                    <a:lnTo>
                      <a:pt x="1715" y="124"/>
                    </a:lnTo>
                    <a:lnTo>
                      <a:pt x="1689" y="114"/>
                    </a:lnTo>
                    <a:lnTo>
                      <a:pt x="1661" y="102"/>
                    </a:lnTo>
                    <a:lnTo>
                      <a:pt x="1632" y="93"/>
                    </a:lnTo>
                    <a:lnTo>
                      <a:pt x="1600" y="83"/>
                    </a:lnTo>
                    <a:lnTo>
                      <a:pt x="1567" y="74"/>
                    </a:lnTo>
                    <a:lnTo>
                      <a:pt x="1532" y="64"/>
                    </a:lnTo>
                    <a:lnTo>
                      <a:pt x="1497" y="57"/>
                    </a:lnTo>
                    <a:lnTo>
                      <a:pt x="1459" y="48"/>
                    </a:lnTo>
                    <a:lnTo>
                      <a:pt x="1419" y="40"/>
                    </a:lnTo>
                    <a:lnTo>
                      <a:pt x="1378" y="33"/>
                    </a:lnTo>
                    <a:lnTo>
                      <a:pt x="1335" y="27"/>
                    </a:lnTo>
                    <a:lnTo>
                      <a:pt x="1291" y="20"/>
                    </a:lnTo>
                    <a:lnTo>
                      <a:pt x="1246" y="15"/>
                    </a:lnTo>
                    <a:lnTo>
                      <a:pt x="1199" y="10"/>
                    </a:lnTo>
                    <a:lnTo>
                      <a:pt x="1150" y="6"/>
                    </a:lnTo>
                    <a:lnTo>
                      <a:pt x="1101" y="4"/>
                    </a:lnTo>
                    <a:lnTo>
                      <a:pt x="1049" y="1"/>
                    </a:lnTo>
                    <a:lnTo>
                      <a:pt x="996" y="0"/>
                    </a:lnTo>
                    <a:lnTo>
                      <a:pt x="942" y="0"/>
                    </a:lnTo>
                    <a:lnTo>
                      <a:pt x="942" y="0"/>
                    </a:lnTo>
                    <a:lnTo>
                      <a:pt x="887" y="0"/>
                    </a:lnTo>
                    <a:lnTo>
                      <a:pt x="836" y="1"/>
                    </a:lnTo>
                    <a:lnTo>
                      <a:pt x="784" y="4"/>
                    </a:lnTo>
                    <a:lnTo>
                      <a:pt x="733" y="6"/>
                    </a:lnTo>
                    <a:lnTo>
                      <a:pt x="685" y="10"/>
                    </a:lnTo>
                    <a:lnTo>
                      <a:pt x="639" y="15"/>
                    </a:lnTo>
                    <a:lnTo>
                      <a:pt x="592" y="20"/>
                    </a:lnTo>
                    <a:lnTo>
                      <a:pt x="549" y="27"/>
                    </a:lnTo>
                    <a:lnTo>
                      <a:pt x="506" y="33"/>
                    </a:lnTo>
                    <a:lnTo>
                      <a:pt x="465" y="40"/>
                    </a:lnTo>
                    <a:lnTo>
                      <a:pt x="426" y="48"/>
                    </a:lnTo>
                    <a:lnTo>
                      <a:pt x="388" y="57"/>
                    </a:lnTo>
                    <a:lnTo>
                      <a:pt x="351" y="64"/>
                    </a:lnTo>
                    <a:lnTo>
                      <a:pt x="317" y="74"/>
                    </a:lnTo>
                    <a:lnTo>
                      <a:pt x="284" y="83"/>
                    </a:lnTo>
                    <a:lnTo>
                      <a:pt x="253" y="93"/>
                    </a:lnTo>
                    <a:lnTo>
                      <a:pt x="222" y="102"/>
                    </a:lnTo>
                    <a:lnTo>
                      <a:pt x="195" y="114"/>
                    </a:lnTo>
                    <a:lnTo>
                      <a:pt x="169" y="124"/>
                    </a:lnTo>
                    <a:lnTo>
                      <a:pt x="144" y="134"/>
                    </a:lnTo>
                    <a:lnTo>
                      <a:pt x="122" y="144"/>
                    </a:lnTo>
                    <a:lnTo>
                      <a:pt x="101" y="155"/>
                    </a:lnTo>
                    <a:lnTo>
                      <a:pt x="82" y="165"/>
                    </a:lnTo>
                    <a:lnTo>
                      <a:pt x="66" y="176"/>
                    </a:lnTo>
                    <a:lnTo>
                      <a:pt x="51" y="187"/>
                    </a:lnTo>
                    <a:lnTo>
                      <a:pt x="37" y="197"/>
                    </a:lnTo>
                    <a:lnTo>
                      <a:pt x="27" y="207"/>
                    </a:lnTo>
                    <a:lnTo>
                      <a:pt x="17" y="217"/>
                    </a:lnTo>
                    <a:lnTo>
                      <a:pt x="11" y="226"/>
                    </a:lnTo>
                    <a:lnTo>
                      <a:pt x="5" y="236"/>
                    </a:lnTo>
                    <a:lnTo>
                      <a:pt x="2" y="245"/>
                    </a:lnTo>
                    <a:lnTo>
                      <a:pt x="0" y="254"/>
                    </a:lnTo>
                    <a:lnTo>
                      <a:pt x="0" y="2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228" name="Freeform 17"/>
              <p:cNvSpPr>
                <a:spLocks/>
              </p:cNvSpPr>
              <p:nvPr/>
            </p:nvSpPr>
            <p:spPr bwMode="auto">
              <a:xfrm>
                <a:off x="3473450" y="4781550"/>
                <a:ext cx="1741488" cy="1411287"/>
              </a:xfrm>
              <a:custGeom>
                <a:avLst/>
                <a:gdLst>
                  <a:gd name="T0" fmla="*/ 280 w 2194"/>
                  <a:gd name="T1" fmla="*/ 1778 h 1779"/>
                  <a:gd name="T2" fmla="*/ 363 w 2194"/>
                  <a:gd name="T3" fmla="*/ 1764 h 1779"/>
                  <a:gd name="T4" fmla="*/ 440 w 2194"/>
                  <a:gd name="T5" fmla="*/ 1736 h 1779"/>
                  <a:gd name="T6" fmla="*/ 511 w 2194"/>
                  <a:gd name="T7" fmla="*/ 1693 h 1779"/>
                  <a:gd name="T8" fmla="*/ 573 w 2194"/>
                  <a:gd name="T9" fmla="*/ 1637 h 1779"/>
                  <a:gd name="T10" fmla="*/ 625 w 2194"/>
                  <a:gd name="T11" fmla="*/ 1569 h 1779"/>
                  <a:gd name="T12" fmla="*/ 633 w 2194"/>
                  <a:gd name="T13" fmla="*/ 1558 h 1779"/>
                  <a:gd name="T14" fmla="*/ 652 w 2194"/>
                  <a:gd name="T15" fmla="*/ 1547 h 1779"/>
                  <a:gd name="T16" fmla="*/ 675 w 2194"/>
                  <a:gd name="T17" fmla="*/ 1543 h 1779"/>
                  <a:gd name="T18" fmla="*/ 696 w 2194"/>
                  <a:gd name="T19" fmla="*/ 1547 h 1779"/>
                  <a:gd name="T20" fmla="*/ 715 w 2194"/>
                  <a:gd name="T21" fmla="*/ 1558 h 1779"/>
                  <a:gd name="T22" fmla="*/ 725 w 2194"/>
                  <a:gd name="T23" fmla="*/ 1569 h 1779"/>
                  <a:gd name="T24" fmla="*/ 776 w 2194"/>
                  <a:gd name="T25" fmla="*/ 1637 h 1779"/>
                  <a:gd name="T26" fmla="*/ 838 w 2194"/>
                  <a:gd name="T27" fmla="*/ 1693 h 1779"/>
                  <a:gd name="T28" fmla="*/ 908 w 2194"/>
                  <a:gd name="T29" fmla="*/ 1736 h 1779"/>
                  <a:gd name="T30" fmla="*/ 985 w 2194"/>
                  <a:gd name="T31" fmla="*/ 1764 h 1779"/>
                  <a:gd name="T32" fmla="*/ 1069 w 2194"/>
                  <a:gd name="T33" fmla="*/ 1778 h 1779"/>
                  <a:gd name="T34" fmla="*/ 1125 w 2194"/>
                  <a:gd name="T35" fmla="*/ 1778 h 1779"/>
                  <a:gd name="T36" fmla="*/ 1209 w 2194"/>
                  <a:gd name="T37" fmla="*/ 1764 h 1779"/>
                  <a:gd name="T38" fmla="*/ 1286 w 2194"/>
                  <a:gd name="T39" fmla="*/ 1736 h 1779"/>
                  <a:gd name="T40" fmla="*/ 1356 w 2194"/>
                  <a:gd name="T41" fmla="*/ 1693 h 1779"/>
                  <a:gd name="T42" fmla="*/ 1418 w 2194"/>
                  <a:gd name="T43" fmla="*/ 1637 h 1779"/>
                  <a:gd name="T44" fmla="*/ 1470 w 2194"/>
                  <a:gd name="T45" fmla="*/ 1569 h 1779"/>
                  <a:gd name="T46" fmla="*/ 1479 w 2194"/>
                  <a:gd name="T47" fmla="*/ 1558 h 1779"/>
                  <a:gd name="T48" fmla="*/ 1498 w 2194"/>
                  <a:gd name="T49" fmla="*/ 1547 h 1779"/>
                  <a:gd name="T50" fmla="*/ 1519 w 2194"/>
                  <a:gd name="T51" fmla="*/ 1543 h 1779"/>
                  <a:gd name="T52" fmla="*/ 1542 w 2194"/>
                  <a:gd name="T53" fmla="*/ 1547 h 1779"/>
                  <a:gd name="T54" fmla="*/ 1561 w 2194"/>
                  <a:gd name="T55" fmla="*/ 1558 h 1779"/>
                  <a:gd name="T56" fmla="*/ 1569 w 2194"/>
                  <a:gd name="T57" fmla="*/ 1569 h 1779"/>
                  <a:gd name="T58" fmla="*/ 1621 w 2194"/>
                  <a:gd name="T59" fmla="*/ 1637 h 1779"/>
                  <a:gd name="T60" fmla="*/ 1683 w 2194"/>
                  <a:gd name="T61" fmla="*/ 1693 h 1779"/>
                  <a:gd name="T62" fmla="*/ 1754 w 2194"/>
                  <a:gd name="T63" fmla="*/ 1736 h 1779"/>
                  <a:gd name="T64" fmla="*/ 1831 w 2194"/>
                  <a:gd name="T65" fmla="*/ 1764 h 1779"/>
                  <a:gd name="T66" fmla="*/ 1914 w 2194"/>
                  <a:gd name="T67" fmla="*/ 1778 h 1779"/>
                  <a:gd name="T68" fmla="*/ 1977 w 2194"/>
                  <a:gd name="T69" fmla="*/ 1778 h 1779"/>
                  <a:gd name="T70" fmla="*/ 2077 w 2194"/>
                  <a:gd name="T71" fmla="*/ 1757 h 1779"/>
                  <a:gd name="T72" fmla="*/ 2166 w 2194"/>
                  <a:gd name="T73" fmla="*/ 1716 h 1779"/>
                  <a:gd name="T74" fmla="*/ 2194 w 2194"/>
                  <a:gd name="T75" fmla="*/ 0 h 1779"/>
                  <a:gd name="T76" fmla="*/ 2190 w 2194"/>
                  <a:gd name="T77" fmla="*/ 39 h 1779"/>
                  <a:gd name="T78" fmla="*/ 2179 w 2194"/>
                  <a:gd name="T79" fmla="*/ 77 h 1779"/>
                  <a:gd name="T80" fmla="*/ 2154 w 2194"/>
                  <a:gd name="T81" fmla="*/ 125 h 1779"/>
                  <a:gd name="T82" fmla="*/ 2097 w 2194"/>
                  <a:gd name="T83" fmla="*/ 189 h 1779"/>
                  <a:gd name="T84" fmla="*/ 2016 w 2194"/>
                  <a:gd name="T85" fmla="*/ 247 h 1779"/>
                  <a:gd name="T86" fmla="*/ 1916 w 2194"/>
                  <a:gd name="T87" fmla="*/ 297 h 1779"/>
                  <a:gd name="T88" fmla="*/ 1800 w 2194"/>
                  <a:gd name="T89" fmla="*/ 339 h 1779"/>
                  <a:gd name="T90" fmla="*/ 1670 w 2194"/>
                  <a:gd name="T91" fmla="*/ 375 h 1779"/>
                  <a:gd name="T92" fmla="*/ 1529 w 2194"/>
                  <a:gd name="T93" fmla="*/ 401 h 1779"/>
                  <a:gd name="T94" fmla="*/ 1380 w 2194"/>
                  <a:gd name="T95" fmla="*/ 422 h 1779"/>
                  <a:gd name="T96" fmla="*/ 1226 w 2194"/>
                  <a:gd name="T97" fmla="*/ 433 h 1779"/>
                  <a:gd name="T98" fmla="*/ 1069 w 2194"/>
                  <a:gd name="T99" fmla="*/ 437 h 1779"/>
                  <a:gd name="T100" fmla="*/ 900 w 2194"/>
                  <a:gd name="T101" fmla="*/ 433 h 1779"/>
                  <a:gd name="T102" fmla="*/ 651 w 2194"/>
                  <a:gd name="T103" fmla="*/ 409 h 1779"/>
                  <a:gd name="T104" fmla="*/ 423 w 2194"/>
                  <a:gd name="T105" fmla="*/ 363 h 1779"/>
                  <a:gd name="T106" fmla="*/ 320 w 2194"/>
                  <a:gd name="T107" fmla="*/ 334 h 1779"/>
                  <a:gd name="T108" fmla="*/ 226 w 2194"/>
                  <a:gd name="T109" fmla="*/ 299 h 1779"/>
                  <a:gd name="T110" fmla="*/ 144 w 2194"/>
                  <a:gd name="T111" fmla="*/ 259 h 1779"/>
                  <a:gd name="T112" fmla="*/ 73 w 2194"/>
                  <a:gd name="T113" fmla="*/ 214 h 1779"/>
                  <a:gd name="T114" fmla="*/ 16 w 2194"/>
                  <a:gd name="T115" fmla="*/ 165 h 1779"/>
                  <a:gd name="T116" fmla="*/ 0 w 2194"/>
                  <a:gd name="T117" fmla="*/ 1698 h 1779"/>
                  <a:gd name="T118" fmla="*/ 87 w 2194"/>
                  <a:gd name="T119" fmla="*/ 1746 h 1779"/>
                  <a:gd name="T120" fmla="*/ 183 w 2194"/>
                  <a:gd name="T121" fmla="*/ 1773 h 1779"/>
                  <a:gd name="T122" fmla="*/ 252 w 2194"/>
                  <a:gd name="T123" fmla="*/ 1779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94" h="1779">
                    <a:moveTo>
                      <a:pt x="252" y="1779"/>
                    </a:moveTo>
                    <a:lnTo>
                      <a:pt x="252" y="1779"/>
                    </a:lnTo>
                    <a:lnTo>
                      <a:pt x="280" y="1778"/>
                    </a:lnTo>
                    <a:lnTo>
                      <a:pt x="308" y="1775"/>
                    </a:lnTo>
                    <a:lnTo>
                      <a:pt x="336" y="1770"/>
                    </a:lnTo>
                    <a:lnTo>
                      <a:pt x="363" y="1764"/>
                    </a:lnTo>
                    <a:lnTo>
                      <a:pt x="390" y="1756"/>
                    </a:lnTo>
                    <a:lnTo>
                      <a:pt x="415" y="1747"/>
                    </a:lnTo>
                    <a:lnTo>
                      <a:pt x="440" y="1736"/>
                    </a:lnTo>
                    <a:lnTo>
                      <a:pt x="466" y="1723"/>
                    </a:lnTo>
                    <a:lnTo>
                      <a:pt x="488" y="1709"/>
                    </a:lnTo>
                    <a:lnTo>
                      <a:pt x="511" y="1693"/>
                    </a:lnTo>
                    <a:lnTo>
                      <a:pt x="532" y="1675"/>
                    </a:lnTo>
                    <a:lnTo>
                      <a:pt x="554" y="1658"/>
                    </a:lnTo>
                    <a:lnTo>
                      <a:pt x="573" y="1637"/>
                    </a:lnTo>
                    <a:lnTo>
                      <a:pt x="592" y="1616"/>
                    </a:lnTo>
                    <a:lnTo>
                      <a:pt x="608" y="1593"/>
                    </a:lnTo>
                    <a:lnTo>
                      <a:pt x="625" y="1569"/>
                    </a:lnTo>
                    <a:lnTo>
                      <a:pt x="625" y="1569"/>
                    </a:lnTo>
                    <a:lnTo>
                      <a:pt x="628" y="1563"/>
                    </a:lnTo>
                    <a:lnTo>
                      <a:pt x="633" y="1558"/>
                    </a:lnTo>
                    <a:lnTo>
                      <a:pt x="640" y="1554"/>
                    </a:lnTo>
                    <a:lnTo>
                      <a:pt x="646" y="1550"/>
                    </a:lnTo>
                    <a:lnTo>
                      <a:pt x="652" y="1547"/>
                    </a:lnTo>
                    <a:lnTo>
                      <a:pt x="660" y="1545"/>
                    </a:lnTo>
                    <a:lnTo>
                      <a:pt x="667" y="1544"/>
                    </a:lnTo>
                    <a:lnTo>
                      <a:pt x="675" y="1543"/>
                    </a:lnTo>
                    <a:lnTo>
                      <a:pt x="681" y="1544"/>
                    </a:lnTo>
                    <a:lnTo>
                      <a:pt x="689" y="1545"/>
                    </a:lnTo>
                    <a:lnTo>
                      <a:pt x="696" y="1547"/>
                    </a:lnTo>
                    <a:lnTo>
                      <a:pt x="703" y="1550"/>
                    </a:lnTo>
                    <a:lnTo>
                      <a:pt x="709" y="1554"/>
                    </a:lnTo>
                    <a:lnTo>
                      <a:pt x="715" y="1558"/>
                    </a:lnTo>
                    <a:lnTo>
                      <a:pt x="720" y="1563"/>
                    </a:lnTo>
                    <a:lnTo>
                      <a:pt x="725" y="1569"/>
                    </a:lnTo>
                    <a:lnTo>
                      <a:pt x="725" y="1569"/>
                    </a:lnTo>
                    <a:lnTo>
                      <a:pt x="741" y="1593"/>
                    </a:lnTo>
                    <a:lnTo>
                      <a:pt x="758" y="1616"/>
                    </a:lnTo>
                    <a:lnTo>
                      <a:pt x="776" y="1637"/>
                    </a:lnTo>
                    <a:lnTo>
                      <a:pt x="796" y="1658"/>
                    </a:lnTo>
                    <a:lnTo>
                      <a:pt x="816" y="1675"/>
                    </a:lnTo>
                    <a:lnTo>
                      <a:pt x="838" y="1693"/>
                    </a:lnTo>
                    <a:lnTo>
                      <a:pt x="860" y="1709"/>
                    </a:lnTo>
                    <a:lnTo>
                      <a:pt x="884" y="1723"/>
                    </a:lnTo>
                    <a:lnTo>
                      <a:pt x="908" y="1736"/>
                    </a:lnTo>
                    <a:lnTo>
                      <a:pt x="934" y="1747"/>
                    </a:lnTo>
                    <a:lnTo>
                      <a:pt x="959" y="1756"/>
                    </a:lnTo>
                    <a:lnTo>
                      <a:pt x="985" y="1764"/>
                    </a:lnTo>
                    <a:lnTo>
                      <a:pt x="1013" y="1770"/>
                    </a:lnTo>
                    <a:lnTo>
                      <a:pt x="1041" y="1775"/>
                    </a:lnTo>
                    <a:lnTo>
                      <a:pt x="1069" y="1778"/>
                    </a:lnTo>
                    <a:lnTo>
                      <a:pt x="1098" y="1779"/>
                    </a:lnTo>
                    <a:lnTo>
                      <a:pt x="1098" y="1779"/>
                    </a:lnTo>
                    <a:lnTo>
                      <a:pt x="1125" y="1778"/>
                    </a:lnTo>
                    <a:lnTo>
                      <a:pt x="1153" y="1775"/>
                    </a:lnTo>
                    <a:lnTo>
                      <a:pt x="1181" y="1770"/>
                    </a:lnTo>
                    <a:lnTo>
                      <a:pt x="1209" y="1764"/>
                    </a:lnTo>
                    <a:lnTo>
                      <a:pt x="1235" y="1756"/>
                    </a:lnTo>
                    <a:lnTo>
                      <a:pt x="1260" y="1747"/>
                    </a:lnTo>
                    <a:lnTo>
                      <a:pt x="1286" y="1736"/>
                    </a:lnTo>
                    <a:lnTo>
                      <a:pt x="1310" y="1723"/>
                    </a:lnTo>
                    <a:lnTo>
                      <a:pt x="1334" y="1709"/>
                    </a:lnTo>
                    <a:lnTo>
                      <a:pt x="1356" y="1693"/>
                    </a:lnTo>
                    <a:lnTo>
                      <a:pt x="1378" y="1675"/>
                    </a:lnTo>
                    <a:lnTo>
                      <a:pt x="1399" y="1658"/>
                    </a:lnTo>
                    <a:lnTo>
                      <a:pt x="1418" y="1637"/>
                    </a:lnTo>
                    <a:lnTo>
                      <a:pt x="1436" y="1616"/>
                    </a:lnTo>
                    <a:lnTo>
                      <a:pt x="1453" y="1593"/>
                    </a:lnTo>
                    <a:lnTo>
                      <a:pt x="1470" y="1569"/>
                    </a:lnTo>
                    <a:lnTo>
                      <a:pt x="1470" y="1569"/>
                    </a:lnTo>
                    <a:lnTo>
                      <a:pt x="1474" y="1563"/>
                    </a:lnTo>
                    <a:lnTo>
                      <a:pt x="1479" y="1558"/>
                    </a:lnTo>
                    <a:lnTo>
                      <a:pt x="1485" y="1554"/>
                    </a:lnTo>
                    <a:lnTo>
                      <a:pt x="1491" y="1550"/>
                    </a:lnTo>
                    <a:lnTo>
                      <a:pt x="1498" y="1547"/>
                    </a:lnTo>
                    <a:lnTo>
                      <a:pt x="1505" y="1545"/>
                    </a:lnTo>
                    <a:lnTo>
                      <a:pt x="1513" y="1544"/>
                    </a:lnTo>
                    <a:lnTo>
                      <a:pt x="1519" y="1543"/>
                    </a:lnTo>
                    <a:lnTo>
                      <a:pt x="1527" y="1544"/>
                    </a:lnTo>
                    <a:lnTo>
                      <a:pt x="1534" y="1545"/>
                    </a:lnTo>
                    <a:lnTo>
                      <a:pt x="1542" y="1547"/>
                    </a:lnTo>
                    <a:lnTo>
                      <a:pt x="1548" y="1550"/>
                    </a:lnTo>
                    <a:lnTo>
                      <a:pt x="1554" y="1554"/>
                    </a:lnTo>
                    <a:lnTo>
                      <a:pt x="1561" y="1558"/>
                    </a:lnTo>
                    <a:lnTo>
                      <a:pt x="1566" y="1563"/>
                    </a:lnTo>
                    <a:lnTo>
                      <a:pt x="1569" y="1569"/>
                    </a:lnTo>
                    <a:lnTo>
                      <a:pt x="1569" y="1569"/>
                    </a:lnTo>
                    <a:lnTo>
                      <a:pt x="1586" y="1593"/>
                    </a:lnTo>
                    <a:lnTo>
                      <a:pt x="1602" y="1616"/>
                    </a:lnTo>
                    <a:lnTo>
                      <a:pt x="1621" y="1637"/>
                    </a:lnTo>
                    <a:lnTo>
                      <a:pt x="1640" y="1658"/>
                    </a:lnTo>
                    <a:lnTo>
                      <a:pt x="1662" y="1675"/>
                    </a:lnTo>
                    <a:lnTo>
                      <a:pt x="1683" y="1693"/>
                    </a:lnTo>
                    <a:lnTo>
                      <a:pt x="1706" y="1709"/>
                    </a:lnTo>
                    <a:lnTo>
                      <a:pt x="1728" y="1723"/>
                    </a:lnTo>
                    <a:lnTo>
                      <a:pt x="1754" y="1736"/>
                    </a:lnTo>
                    <a:lnTo>
                      <a:pt x="1779" y="1747"/>
                    </a:lnTo>
                    <a:lnTo>
                      <a:pt x="1804" y="1756"/>
                    </a:lnTo>
                    <a:lnTo>
                      <a:pt x="1831" y="1764"/>
                    </a:lnTo>
                    <a:lnTo>
                      <a:pt x="1858" y="1770"/>
                    </a:lnTo>
                    <a:lnTo>
                      <a:pt x="1886" y="1775"/>
                    </a:lnTo>
                    <a:lnTo>
                      <a:pt x="1914" y="1778"/>
                    </a:lnTo>
                    <a:lnTo>
                      <a:pt x="1942" y="1779"/>
                    </a:lnTo>
                    <a:lnTo>
                      <a:pt x="1942" y="1779"/>
                    </a:lnTo>
                    <a:lnTo>
                      <a:pt x="1977" y="1778"/>
                    </a:lnTo>
                    <a:lnTo>
                      <a:pt x="2011" y="1773"/>
                    </a:lnTo>
                    <a:lnTo>
                      <a:pt x="2044" y="1766"/>
                    </a:lnTo>
                    <a:lnTo>
                      <a:pt x="2077" y="1757"/>
                    </a:lnTo>
                    <a:lnTo>
                      <a:pt x="2107" y="1746"/>
                    </a:lnTo>
                    <a:lnTo>
                      <a:pt x="2137" y="1732"/>
                    </a:lnTo>
                    <a:lnTo>
                      <a:pt x="2166" y="1716"/>
                    </a:lnTo>
                    <a:lnTo>
                      <a:pt x="2194" y="1698"/>
                    </a:lnTo>
                    <a:lnTo>
                      <a:pt x="2194" y="0"/>
                    </a:lnTo>
                    <a:lnTo>
                      <a:pt x="2194" y="0"/>
                    </a:lnTo>
                    <a:lnTo>
                      <a:pt x="2193" y="12"/>
                    </a:lnTo>
                    <a:lnTo>
                      <a:pt x="2191" y="26"/>
                    </a:lnTo>
                    <a:lnTo>
                      <a:pt x="2190" y="39"/>
                    </a:lnTo>
                    <a:lnTo>
                      <a:pt x="2186" y="52"/>
                    </a:lnTo>
                    <a:lnTo>
                      <a:pt x="2184" y="64"/>
                    </a:lnTo>
                    <a:lnTo>
                      <a:pt x="2179" y="77"/>
                    </a:lnTo>
                    <a:lnTo>
                      <a:pt x="2174" y="89"/>
                    </a:lnTo>
                    <a:lnTo>
                      <a:pt x="2168" y="101"/>
                    </a:lnTo>
                    <a:lnTo>
                      <a:pt x="2154" y="125"/>
                    </a:lnTo>
                    <a:lnTo>
                      <a:pt x="2137" y="146"/>
                    </a:lnTo>
                    <a:lnTo>
                      <a:pt x="2118" y="169"/>
                    </a:lnTo>
                    <a:lnTo>
                      <a:pt x="2097" y="189"/>
                    </a:lnTo>
                    <a:lnTo>
                      <a:pt x="2072" y="209"/>
                    </a:lnTo>
                    <a:lnTo>
                      <a:pt x="2045" y="228"/>
                    </a:lnTo>
                    <a:lnTo>
                      <a:pt x="2016" y="247"/>
                    </a:lnTo>
                    <a:lnTo>
                      <a:pt x="1985" y="265"/>
                    </a:lnTo>
                    <a:lnTo>
                      <a:pt x="1952" y="281"/>
                    </a:lnTo>
                    <a:lnTo>
                      <a:pt x="1916" y="297"/>
                    </a:lnTo>
                    <a:lnTo>
                      <a:pt x="1880" y="312"/>
                    </a:lnTo>
                    <a:lnTo>
                      <a:pt x="1841" y="327"/>
                    </a:lnTo>
                    <a:lnTo>
                      <a:pt x="1800" y="339"/>
                    </a:lnTo>
                    <a:lnTo>
                      <a:pt x="1759" y="352"/>
                    </a:lnTo>
                    <a:lnTo>
                      <a:pt x="1715" y="363"/>
                    </a:lnTo>
                    <a:lnTo>
                      <a:pt x="1670" y="375"/>
                    </a:lnTo>
                    <a:lnTo>
                      <a:pt x="1625" y="385"/>
                    </a:lnTo>
                    <a:lnTo>
                      <a:pt x="1577" y="394"/>
                    </a:lnTo>
                    <a:lnTo>
                      <a:pt x="1529" y="401"/>
                    </a:lnTo>
                    <a:lnTo>
                      <a:pt x="1480" y="409"/>
                    </a:lnTo>
                    <a:lnTo>
                      <a:pt x="1431" y="415"/>
                    </a:lnTo>
                    <a:lnTo>
                      <a:pt x="1380" y="422"/>
                    </a:lnTo>
                    <a:lnTo>
                      <a:pt x="1330" y="427"/>
                    </a:lnTo>
                    <a:lnTo>
                      <a:pt x="1278" y="430"/>
                    </a:lnTo>
                    <a:lnTo>
                      <a:pt x="1226" y="433"/>
                    </a:lnTo>
                    <a:lnTo>
                      <a:pt x="1173" y="435"/>
                    </a:lnTo>
                    <a:lnTo>
                      <a:pt x="1122" y="437"/>
                    </a:lnTo>
                    <a:lnTo>
                      <a:pt x="1069" y="437"/>
                    </a:lnTo>
                    <a:lnTo>
                      <a:pt x="1069" y="437"/>
                    </a:lnTo>
                    <a:lnTo>
                      <a:pt x="984" y="437"/>
                    </a:lnTo>
                    <a:lnTo>
                      <a:pt x="900" y="433"/>
                    </a:lnTo>
                    <a:lnTo>
                      <a:pt x="815" y="427"/>
                    </a:lnTo>
                    <a:lnTo>
                      <a:pt x="733" y="419"/>
                    </a:lnTo>
                    <a:lnTo>
                      <a:pt x="651" y="409"/>
                    </a:lnTo>
                    <a:lnTo>
                      <a:pt x="573" y="396"/>
                    </a:lnTo>
                    <a:lnTo>
                      <a:pt x="496" y="381"/>
                    </a:lnTo>
                    <a:lnTo>
                      <a:pt x="423" y="363"/>
                    </a:lnTo>
                    <a:lnTo>
                      <a:pt x="387" y="355"/>
                    </a:lnTo>
                    <a:lnTo>
                      <a:pt x="353" y="344"/>
                    </a:lnTo>
                    <a:lnTo>
                      <a:pt x="320" y="334"/>
                    </a:lnTo>
                    <a:lnTo>
                      <a:pt x="288" y="323"/>
                    </a:lnTo>
                    <a:lnTo>
                      <a:pt x="256" y="312"/>
                    </a:lnTo>
                    <a:lnTo>
                      <a:pt x="226" y="299"/>
                    </a:lnTo>
                    <a:lnTo>
                      <a:pt x="197" y="286"/>
                    </a:lnTo>
                    <a:lnTo>
                      <a:pt x="169" y="273"/>
                    </a:lnTo>
                    <a:lnTo>
                      <a:pt x="144" y="259"/>
                    </a:lnTo>
                    <a:lnTo>
                      <a:pt x="119" y="245"/>
                    </a:lnTo>
                    <a:lnTo>
                      <a:pt x="95" y="230"/>
                    </a:lnTo>
                    <a:lnTo>
                      <a:pt x="73" y="214"/>
                    </a:lnTo>
                    <a:lnTo>
                      <a:pt x="52" y="198"/>
                    </a:lnTo>
                    <a:lnTo>
                      <a:pt x="33" y="182"/>
                    </a:lnTo>
                    <a:lnTo>
                      <a:pt x="16" y="165"/>
                    </a:lnTo>
                    <a:lnTo>
                      <a:pt x="0" y="148"/>
                    </a:lnTo>
                    <a:lnTo>
                      <a:pt x="0" y="1698"/>
                    </a:lnTo>
                    <a:lnTo>
                      <a:pt x="0" y="1698"/>
                    </a:lnTo>
                    <a:lnTo>
                      <a:pt x="28" y="1716"/>
                    </a:lnTo>
                    <a:lnTo>
                      <a:pt x="57" y="1732"/>
                    </a:lnTo>
                    <a:lnTo>
                      <a:pt x="87" y="1746"/>
                    </a:lnTo>
                    <a:lnTo>
                      <a:pt x="117" y="1757"/>
                    </a:lnTo>
                    <a:lnTo>
                      <a:pt x="150" y="1766"/>
                    </a:lnTo>
                    <a:lnTo>
                      <a:pt x="183" y="1773"/>
                    </a:lnTo>
                    <a:lnTo>
                      <a:pt x="217" y="1778"/>
                    </a:lnTo>
                    <a:lnTo>
                      <a:pt x="252" y="1779"/>
                    </a:lnTo>
                    <a:lnTo>
                      <a:pt x="252" y="17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229" name="Freeform 18"/>
              <p:cNvSpPr>
                <a:spLocks/>
              </p:cNvSpPr>
              <p:nvPr/>
            </p:nvSpPr>
            <p:spPr bwMode="auto">
              <a:xfrm>
                <a:off x="3473450" y="6130925"/>
                <a:ext cx="1741488" cy="727075"/>
              </a:xfrm>
              <a:custGeom>
                <a:avLst/>
                <a:gdLst>
                  <a:gd name="T0" fmla="*/ 1911 w 2194"/>
                  <a:gd name="T1" fmla="*/ 195 h 915"/>
                  <a:gd name="T2" fmla="*/ 1821 w 2194"/>
                  <a:gd name="T3" fmla="*/ 183 h 915"/>
                  <a:gd name="T4" fmla="*/ 1736 w 2194"/>
                  <a:gd name="T5" fmla="*/ 156 h 915"/>
                  <a:gd name="T6" fmla="*/ 1655 w 2194"/>
                  <a:gd name="T7" fmla="*/ 117 h 915"/>
                  <a:gd name="T8" fmla="*/ 1583 w 2194"/>
                  <a:gd name="T9" fmla="*/ 64 h 915"/>
                  <a:gd name="T10" fmla="*/ 1519 w 2194"/>
                  <a:gd name="T11" fmla="*/ 0 h 915"/>
                  <a:gd name="T12" fmla="*/ 1479 w 2194"/>
                  <a:gd name="T13" fmla="*/ 44 h 915"/>
                  <a:gd name="T14" fmla="*/ 1408 w 2194"/>
                  <a:gd name="T15" fmla="*/ 101 h 915"/>
                  <a:gd name="T16" fmla="*/ 1331 w 2194"/>
                  <a:gd name="T17" fmla="*/ 145 h 915"/>
                  <a:gd name="T18" fmla="*/ 1247 w 2194"/>
                  <a:gd name="T19" fmla="*/ 175 h 915"/>
                  <a:gd name="T20" fmla="*/ 1158 w 2194"/>
                  <a:gd name="T21" fmla="*/ 193 h 915"/>
                  <a:gd name="T22" fmla="*/ 1098 w 2194"/>
                  <a:gd name="T23" fmla="*/ 195 h 915"/>
                  <a:gd name="T24" fmla="*/ 1006 w 2194"/>
                  <a:gd name="T25" fmla="*/ 188 h 915"/>
                  <a:gd name="T26" fmla="*/ 918 w 2194"/>
                  <a:gd name="T27" fmla="*/ 166 h 915"/>
                  <a:gd name="T28" fmla="*/ 836 w 2194"/>
                  <a:gd name="T29" fmla="*/ 131 h 915"/>
                  <a:gd name="T30" fmla="*/ 762 w 2194"/>
                  <a:gd name="T31" fmla="*/ 83 h 915"/>
                  <a:gd name="T32" fmla="*/ 695 w 2194"/>
                  <a:gd name="T33" fmla="*/ 22 h 915"/>
                  <a:gd name="T34" fmla="*/ 655 w 2194"/>
                  <a:gd name="T35" fmla="*/ 22 h 915"/>
                  <a:gd name="T36" fmla="*/ 588 w 2194"/>
                  <a:gd name="T37" fmla="*/ 83 h 915"/>
                  <a:gd name="T38" fmla="*/ 512 w 2194"/>
                  <a:gd name="T39" fmla="*/ 131 h 915"/>
                  <a:gd name="T40" fmla="*/ 430 w 2194"/>
                  <a:gd name="T41" fmla="*/ 166 h 915"/>
                  <a:gd name="T42" fmla="*/ 343 w 2194"/>
                  <a:gd name="T43" fmla="*/ 188 h 915"/>
                  <a:gd name="T44" fmla="*/ 252 w 2194"/>
                  <a:gd name="T45" fmla="*/ 195 h 915"/>
                  <a:gd name="T46" fmla="*/ 185 w 2194"/>
                  <a:gd name="T47" fmla="*/ 192 h 915"/>
                  <a:gd name="T48" fmla="*/ 90 w 2194"/>
                  <a:gd name="T49" fmla="*/ 171 h 915"/>
                  <a:gd name="T50" fmla="*/ 0 w 2194"/>
                  <a:gd name="T51" fmla="*/ 135 h 915"/>
                  <a:gd name="T52" fmla="*/ 15 w 2194"/>
                  <a:gd name="T53" fmla="*/ 703 h 915"/>
                  <a:gd name="T54" fmla="*/ 69 w 2194"/>
                  <a:gd name="T55" fmla="*/ 737 h 915"/>
                  <a:gd name="T56" fmla="*/ 136 w 2194"/>
                  <a:gd name="T57" fmla="*/ 770 h 915"/>
                  <a:gd name="T58" fmla="*/ 274 w 2194"/>
                  <a:gd name="T59" fmla="*/ 819 h 915"/>
                  <a:gd name="T60" fmla="*/ 477 w 2194"/>
                  <a:gd name="T61" fmla="*/ 866 h 915"/>
                  <a:gd name="T62" fmla="*/ 713 w 2194"/>
                  <a:gd name="T63" fmla="*/ 899 h 915"/>
                  <a:gd name="T64" fmla="*/ 975 w 2194"/>
                  <a:gd name="T65" fmla="*/ 914 h 915"/>
                  <a:gd name="T66" fmla="*/ 1125 w 2194"/>
                  <a:gd name="T67" fmla="*/ 915 h 915"/>
                  <a:gd name="T68" fmla="*/ 1294 w 2194"/>
                  <a:gd name="T69" fmla="*/ 909 h 915"/>
                  <a:gd name="T70" fmla="*/ 1455 w 2194"/>
                  <a:gd name="T71" fmla="*/ 895 h 915"/>
                  <a:gd name="T72" fmla="*/ 1604 w 2194"/>
                  <a:gd name="T73" fmla="*/ 875 h 915"/>
                  <a:gd name="T74" fmla="*/ 1741 w 2194"/>
                  <a:gd name="T75" fmla="*/ 849 h 915"/>
                  <a:gd name="T76" fmla="*/ 1863 w 2194"/>
                  <a:gd name="T77" fmla="*/ 818 h 915"/>
                  <a:gd name="T78" fmla="*/ 1969 w 2194"/>
                  <a:gd name="T79" fmla="*/ 782 h 915"/>
                  <a:gd name="T80" fmla="*/ 2058 w 2194"/>
                  <a:gd name="T81" fmla="*/ 742 h 915"/>
                  <a:gd name="T82" fmla="*/ 2125 w 2194"/>
                  <a:gd name="T83" fmla="*/ 698 h 915"/>
                  <a:gd name="T84" fmla="*/ 2170 w 2194"/>
                  <a:gd name="T85" fmla="*/ 651 h 915"/>
                  <a:gd name="T86" fmla="*/ 2191 w 2194"/>
                  <a:gd name="T87" fmla="*/ 601 h 915"/>
                  <a:gd name="T88" fmla="*/ 2194 w 2194"/>
                  <a:gd name="T89" fmla="*/ 135 h 915"/>
                  <a:gd name="T90" fmla="*/ 2104 w 2194"/>
                  <a:gd name="T91" fmla="*/ 171 h 915"/>
                  <a:gd name="T92" fmla="*/ 2009 w 2194"/>
                  <a:gd name="T93" fmla="*/ 192 h 915"/>
                  <a:gd name="T94" fmla="*/ 1942 w 2194"/>
                  <a:gd name="T95" fmla="*/ 19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94" h="915">
                    <a:moveTo>
                      <a:pt x="1942" y="195"/>
                    </a:moveTo>
                    <a:lnTo>
                      <a:pt x="1942" y="195"/>
                    </a:lnTo>
                    <a:lnTo>
                      <a:pt x="1911" y="195"/>
                    </a:lnTo>
                    <a:lnTo>
                      <a:pt x="1881" y="193"/>
                    </a:lnTo>
                    <a:lnTo>
                      <a:pt x="1851" y="188"/>
                    </a:lnTo>
                    <a:lnTo>
                      <a:pt x="1821" y="183"/>
                    </a:lnTo>
                    <a:lnTo>
                      <a:pt x="1792" y="175"/>
                    </a:lnTo>
                    <a:lnTo>
                      <a:pt x="1764" y="166"/>
                    </a:lnTo>
                    <a:lnTo>
                      <a:pt x="1736" y="156"/>
                    </a:lnTo>
                    <a:lnTo>
                      <a:pt x="1708" y="145"/>
                    </a:lnTo>
                    <a:lnTo>
                      <a:pt x="1682" y="131"/>
                    </a:lnTo>
                    <a:lnTo>
                      <a:pt x="1655" y="117"/>
                    </a:lnTo>
                    <a:lnTo>
                      <a:pt x="1631" y="101"/>
                    </a:lnTo>
                    <a:lnTo>
                      <a:pt x="1606" y="83"/>
                    </a:lnTo>
                    <a:lnTo>
                      <a:pt x="1583" y="64"/>
                    </a:lnTo>
                    <a:lnTo>
                      <a:pt x="1561" y="44"/>
                    </a:lnTo>
                    <a:lnTo>
                      <a:pt x="1539" y="22"/>
                    </a:lnTo>
                    <a:lnTo>
                      <a:pt x="1519" y="0"/>
                    </a:lnTo>
                    <a:lnTo>
                      <a:pt x="1519" y="0"/>
                    </a:lnTo>
                    <a:lnTo>
                      <a:pt x="1499" y="22"/>
                    </a:lnTo>
                    <a:lnTo>
                      <a:pt x="1479" y="44"/>
                    </a:lnTo>
                    <a:lnTo>
                      <a:pt x="1456" y="64"/>
                    </a:lnTo>
                    <a:lnTo>
                      <a:pt x="1432" y="83"/>
                    </a:lnTo>
                    <a:lnTo>
                      <a:pt x="1408" y="101"/>
                    </a:lnTo>
                    <a:lnTo>
                      <a:pt x="1383" y="117"/>
                    </a:lnTo>
                    <a:lnTo>
                      <a:pt x="1358" y="131"/>
                    </a:lnTo>
                    <a:lnTo>
                      <a:pt x="1331" y="145"/>
                    </a:lnTo>
                    <a:lnTo>
                      <a:pt x="1303" y="156"/>
                    </a:lnTo>
                    <a:lnTo>
                      <a:pt x="1276" y="166"/>
                    </a:lnTo>
                    <a:lnTo>
                      <a:pt x="1247" y="175"/>
                    </a:lnTo>
                    <a:lnTo>
                      <a:pt x="1217" y="183"/>
                    </a:lnTo>
                    <a:lnTo>
                      <a:pt x="1188" y="188"/>
                    </a:lnTo>
                    <a:lnTo>
                      <a:pt x="1158" y="193"/>
                    </a:lnTo>
                    <a:lnTo>
                      <a:pt x="1128" y="195"/>
                    </a:lnTo>
                    <a:lnTo>
                      <a:pt x="1098" y="195"/>
                    </a:lnTo>
                    <a:lnTo>
                      <a:pt x="1098" y="195"/>
                    </a:lnTo>
                    <a:lnTo>
                      <a:pt x="1066" y="195"/>
                    </a:lnTo>
                    <a:lnTo>
                      <a:pt x="1036" y="193"/>
                    </a:lnTo>
                    <a:lnTo>
                      <a:pt x="1006" y="188"/>
                    </a:lnTo>
                    <a:lnTo>
                      <a:pt x="977" y="183"/>
                    </a:lnTo>
                    <a:lnTo>
                      <a:pt x="947" y="175"/>
                    </a:lnTo>
                    <a:lnTo>
                      <a:pt x="918" y="166"/>
                    </a:lnTo>
                    <a:lnTo>
                      <a:pt x="891" y="156"/>
                    </a:lnTo>
                    <a:lnTo>
                      <a:pt x="863" y="145"/>
                    </a:lnTo>
                    <a:lnTo>
                      <a:pt x="836" y="131"/>
                    </a:lnTo>
                    <a:lnTo>
                      <a:pt x="811" y="117"/>
                    </a:lnTo>
                    <a:lnTo>
                      <a:pt x="786" y="101"/>
                    </a:lnTo>
                    <a:lnTo>
                      <a:pt x="762" y="83"/>
                    </a:lnTo>
                    <a:lnTo>
                      <a:pt x="738" y="64"/>
                    </a:lnTo>
                    <a:lnTo>
                      <a:pt x="715" y="44"/>
                    </a:lnTo>
                    <a:lnTo>
                      <a:pt x="695" y="22"/>
                    </a:lnTo>
                    <a:lnTo>
                      <a:pt x="675" y="0"/>
                    </a:lnTo>
                    <a:lnTo>
                      <a:pt x="675" y="0"/>
                    </a:lnTo>
                    <a:lnTo>
                      <a:pt x="655" y="22"/>
                    </a:lnTo>
                    <a:lnTo>
                      <a:pt x="633" y="44"/>
                    </a:lnTo>
                    <a:lnTo>
                      <a:pt x="611" y="64"/>
                    </a:lnTo>
                    <a:lnTo>
                      <a:pt x="588" y="83"/>
                    </a:lnTo>
                    <a:lnTo>
                      <a:pt x="563" y="101"/>
                    </a:lnTo>
                    <a:lnTo>
                      <a:pt x="539" y="117"/>
                    </a:lnTo>
                    <a:lnTo>
                      <a:pt x="512" y="131"/>
                    </a:lnTo>
                    <a:lnTo>
                      <a:pt x="486" y="145"/>
                    </a:lnTo>
                    <a:lnTo>
                      <a:pt x="458" y="156"/>
                    </a:lnTo>
                    <a:lnTo>
                      <a:pt x="430" y="166"/>
                    </a:lnTo>
                    <a:lnTo>
                      <a:pt x="402" y="175"/>
                    </a:lnTo>
                    <a:lnTo>
                      <a:pt x="373" y="183"/>
                    </a:lnTo>
                    <a:lnTo>
                      <a:pt x="343" y="188"/>
                    </a:lnTo>
                    <a:lnTo>
                      <a:pt x="313" y="193"/>
                    </a:lnTo>
                    <a:lnTo>
                      <a:pt x="283" y="195"/>
                    </a:lnTo>
                    <a:lnTo>
                      <a:pt x="252" y="195"/>
                    </a:lnTo>
                    <a:lnTo>
                      <a:pt x="252" y="195"/>
                    </a:lnTo>
                    <a:lnTo>
                      <a:pt x="218" y="195"/>
                    </a:lnTo>
                    <a:lnTo>
                      <a:pt x="185" y="192"/>
                    </a:lnTo>
                    <a:lnTo>
                      <a:pt x="153" y="186"/>
                    </a:lnTo>
                    <a:lnTo>
                      <a:pt x="121" y="180"/>
                    </a:lnTo>
                    <a:lnTo>
                      <a:pt x="90" y="171"/>
                    </a:lnTo>
                    <a:lnTo>
                      <a:pt x="59" y="161"/>
                    </a:lnTo>
                    <a:lnTo>
                      <a:pt x="29" y="149"/>
                    </a:lnTo>
                    <a:lnTo>
                      <a:pt x="0" y="135"/>
                    </a:lnTo>
                    <a:lnTo>
                      <a:pt x="0" y="690"/>
                    </a:lnTo>
                    <a:lnTo>
                      <a:pt x="0" y="690"/>
                    </a:lnTo>
                    <a:lnTo>
                      <a:pt x="15" y="703"/>
                    </a:lnTo>
                    <a:lnTo>
                      <a:pt x="32" y="714"/>
                    </a:lnTo>
                    <a:lnTo>
                      <a:pt x="50" y="726"/>
                    </a:lnTo>
                    <a:lnTo>
                      <a:pt x="69" y="737"/>
                    </a:lnTo>
                    <a:lnTo>
                      <a:pt x="91" y="748"/>
                    </a:lnTo>
                    <a:lnTo>
                      <a:pt x="112" y="760"/>
                    </a:lnTo>
                    <a:lnTo>
                      <a:pt x="136" y="770"/>
                    </a:lnTo>
                    <a:lnTo>
                      <a:pt x="161" y="780"/>
                    </a:lnTo>
                    <a:lnTo>
                      <a:pt x="214" y="800"/>
                    </a:lnTo>
                    <a:lnTo>
                      <a:pt x="274" y="819"/>
                    </a:lnTo>
                    <a:lnTo>
                      <a:pt x="337" y="835"/>
                    </a:lnTo>
                    <a:lnTo>
                      <a:pt x="405" y="852"/>
                    </a:lnTo>
                    <a:lnTo>
                      <a:pt x="477" y="866"/>
                    </a:lnTo>
                    <a:lnTo>
                      <a:pt x="551" y="878"/>
                    </a:lnTo>
                    <a:lnTo>
                      <a:pt x="631" y="890"/>
                    </a:lnTo>
                    <a:lnTo>
                      <a:pt x="713" y="899"/>
                    </a:lnTo>
                    <a:lnTo>
                      <a:pt x="797" y="905"/>
                    </a:lnTo>
                    <a:lnTo>
                      <a:pt x="886" y="911"/>
                    </a:lnTo>
                    <a:lnTo>
                      <a:pt x="975" y="914"/>
                    </a:lnTo>
                    <a:lnTo>
                      <a:pt x="1067" y="915"/>
                    </a:lnTo>
                    <a:lnTo>
                      <a:pt x="1067" y="915"/>
                    </a:lnTo>
                    <a:lnTo>
                      <a:pt x="1125" y="915"/>
                    </a:lnTo>
                    <a:lnTo>
                      <a:pt x="1182" y="914"/>
                    </a:lnTo>
                    <a:lnTo>
                      <a:pt x="1239" y="911"/>
                    </a:lnTo>
                    <a:lnTo>
                      <a:pt x="1294" y="909"/>
                    </a:lnTo>
                    <a:lnTo>
                      <a:pt x="1349" y="905"/>
                    </a:lnTo>
                    <a:lnTo>
                      <a:pt x="1402" y="900"/>
                    </a:lnTo>
                    <a:lnTo>
                      <a:pt x="1455" y="895"/>
                    </a:lnTo>
                    <a:lnTo>
                      <a:pt x="1505" y="888"/>
                    </a:lnTo>
                    <a:lnTo>
                      <a:pt x="1556" y="882"/>
                    </a:lnTo>
                    <a:lnTo>
                      <a:pt x="1604" y="875"/>
                    </a:lnTo>
                    <a:lnTo>
                      <a:pt x="1651" y="867"/>
                    </a:lnTo>
                    <a:lnTo>
                      <a:pt x="1697" y="858"/>
                    </a:lnTo>
                    <a:lnTo>
                      <a:pt x="1741" y="849"/>
                    </a:lnTo>
                    <a:lnTo>
                      <a:pt x="1784" y="839"/>
                    </a:lnTo>
                    <a:lnTo>
                      <a:pt x="1824" y="829"/>
                    </a:lnTo>
                    <a:lnTo>
                      <a:pt x="1863" y="818"/>
                    </a:lnTo>
                    <a:lnTo>
                      <a:pt x="1901" y="806"/>
                    </a:lnTo>
                    <a:lnTo>
                      <a:pt x="1937" y="795"/>
                    </a:lnTo>
                    <a:lnTo>
                      <a:pt x="1969" y="782"/>
                    </a:lnTo>
                    <a:lnTo>
                      <a:pt x="2001" y="769"/>
                    </a:lnTo>
                    <a:lnTo>
                      <a:pt x="2030" y="756"/>
                    </a:lnTo>
                    <a:lnTo>
                      <a:pt x="2058" y="742"/>
                    </a:lnTo>
                    <a:lnTo>
                      <a:pt x="2083" y="727"/>
                    </a:lnTo>
                    <a:lnTo>
                      <a:pt x="2104" y="713"/>
                    </a:lnTo>
                    <a:lnTo>
                      <a:pt x="2125" y="698"/>
                    </a:lnTo>
                    <a:lnTo>
                      <a:pt x="2142" y="683"/>
                    </a:lnTo>
                    <a:lnTo>
                      <a:pt x="2157" y="666"/>
                    </a:lnTo>
                    <a:lnTo>
                      <a:pt x="2170" y="651"/>
                    </a:lnTo>
                    <a:lnTo>
                      <a:pt x="2180" y="635"/>
                    </a:lnTo>
                    <a:lnTo>
                      <a:pt x="2188" y="618"/>
                    </a:lnTo>
                    <a:lnTo>
                      <a:pt x="2191" y="601"/>
                    </a:lnTo>
                    <a:lnTo>
                      <a:pt x="2194" y="584"/>
                    </a:lnTo>
                    <a:lnTo>
                      <a:pt x="2194" y="135"/>
                    </a:lnTo>
                    <a:lnTo>
                      <a:pt x="2194" y="135"/>
                    </a:lnTo>
                    <a:lnTo>
                      <a:pt x="2165" y="149"/>
                    </a:lnTo>
                    <a:lnTo>
                      <a:pt x="2135" y="161"/>
                    </a:lnTo>
                    <a:lnTo>
                      <a:pt x="2104" y="171"/>
                    </a:lnTo>
                    <a:lnTo>
                      <a:pt x="2073" y="180"/>
                    </a:lnTo>
                    <a:lnTo>
                      <a:pt x="2041" y="186"/>
                    </a:lnTo>
                    <a:lnTo>
                      <a:pt x="2009" y="192"/>
                    </a:lnTo>
                    <a:lnTo>
                      <a:pt x="1976" y="195"/>
                    </a:lnTo>
                    <a:lnTo>
                      <a:pt x="1942" y="195"/>
                    </a:lnTo>
                    <a:lnTo>
                      <a:pt x="1942"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grpSp>
        <p:sp>
          <p:nvSpPr>
            <p:cNvPr id="219" name="Rectangle 218"/>
            <p:cNvSpPr/>
            <p:nvPr/>
          </p:nvSpPr>
          <p:spPr>
            <a:xfrm>
              <a:off x="6671711" y="2451748"/>
              <a:ext cx="1294130" cy="439642"/>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Machine Learning</a:t>
              </a:r>
            </a:p>
          </p:txBody>
        </p:sp>
        <p:grpSp>
          <p:nvGrpSpPr>
            <p:cNvPr id="220" name="Group 219"/>
            <p:cNvGrpSpPr/>
            <p:nvPr/>
          </p:nvGrpSpPr>
          <p:grpSpPr>
            <a:xfrm>
              <a:off x="6228500" y="4707846"/>
              <a:ext cx="359675" cy="276298"/>
              <a:chOff x="1260022" y="5196402"/>
              <a:chExt cx="3273425" cy="2514600"/>
            </a:xfrm>
            <a:solidFill>
              <a:schemeClr val="tx1"/>
            </a:solidFill>
          </p:grpSpPr>
          <p:sp>
            <p:nvSpPr>
              <p:cNvPr id="223" name="Freeform 222"/>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endParaRPr lang="en-US" sz="1799" dirty="0"/>
              </a:p>
            </p:txBody>
          </p:sp>
          <p:sp>
            <p:nvSpPr>
              <p:cNvPr id="224" name="Freeform 223"/>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endParaRPr lang="en-US" sz="1799" dirty="0"/>
              </a:p>
            </p:txBody>
          </p:sp>
          <p:sp>
            <p:nvSpPr>
              <p:cNvPr id="225" name="Freeform 224"/>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endParaRPr lang="en-US" sz="1799" dirty="0"/>
              </a:p>
            </p:txBody>
          </p:sp>
          <p:sp>
            <p:nvSpPr>
              <p:cNvPr id="226" name="Freeform 225"/>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endParaRPr lang="en-US" sz="1799" dirty="0"/>
              </a:p>
            </p:txBody>
          </p:sp>
        </p:grpSp>
        <p:sp>
          <p:nvSpPr>
            <p:cNvPr id="221" name="Freeform 220"/>
            <p:cNvSpPr>
              <a:spLocks/>
            </p:cNvSpPr>
            <p:nvPr/>
          </p:nvSpPr>
          <p:spPr bwMode="auto">
            <a:xfrm>
              <a:off x="6229842" y="4017802"/>
              <a:ext cx="373674" cy="282777"/>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tx1"/>
            </a:solidFill>
            <a:ln w="6350">
              <a:noFill/>
            </a:ln>
          </p:spPr>
          <p:txBody>
            <a:bodyPr vert="horz" wrap="square" lIns="91403" tIns="45701" rIns="91403" bIns="45701" numCol="1" anchor="t" anchorCtr="0" compatLnSpc="1">
              <a:prstTxWarp prst="textNoShape">
                <a:avLst/>
              </a:prstTxWarp>
            </a:bodyPr>
            <a:lstStyle/>
            <a:p>
              <a:pPr defTabSz="896203"/>
              <a:endParaRPr lang="en-US" sz="1600" kern="0" dirty="0">
                <a:solidFill>
                  <a:sysClr val="windowText" lastClr="000000"/>
                </a:solidFill>
              </a:endParaRPr>
            </a:p>
          </p:txBody>
        </p:sp>
        <p:sp>
          <p:nvSpPr>
            <p:cNvPr id="222" name="Freeform 221"/>
            <p:cNvSpPr/>
            <p:nvPr/>
          </p:nvSpPr>
          <p:spPr bwMode="auto">
            <a:xfrm flipH="1">
              <a:off x="6273952" y="2531540"/>
              <a:ext cx="272572" cy="288449"/>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pPr>
              <a:endParaRPr lang="en-US" sz="2399" kern="0">
                <a:solidFill>
                  <a:schemeClr val="tx1"/>
                </a:solidFill>
                <a:ea typeface="Segoe UI" pitchFamily="34" charset="0"/>
                <a:cs typeface="Segoe UI" pitchFamily="34" charset="0"/>
              </a:endParaRPr>
            </a:p>
          </p:txBody>
        </p:sp>
        <p:pic>
          <p:nvPicPr>
            <p:cNvPr id="296" name="Picture 29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49407" y="3043119"/>
              <a:ext cx="776178" cy="908180"/>
            </a:xfrm>
            <a:prstGeom prst="rect">
              <a:avLst/>
            </a:prstGeom>
          </p:spPr>
        </p:pic>
        <p:pic>
          <p:nvPicPr>
            <p:cNvPr id="297" name="Picture 29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32823" y="4489811"/>
              <a:ext cx="752976" cy="881033"/>
            </a:xfrm>
            <a:prstGeom prst="rect">
              <a:avLst/>
            </a:prstGeom>
          </p:spPr>
        </p:pic>
        <p:pic>
          <p:nvPicPr>
            <p:cNvPr id="298" name="Picture 29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32969" y="1695508"/>
              <a:ext cx="685793" cy="802425"/>
            </a:xfrm>
            <a:prstGeom prst="rect">
              <a:avLst/>
            </a:prstGeom>
          </p:spPr>
        </p:pic>
      </p:grpSp>
    </p:spTree>
    <p:extLst>
      <p:ext uri="{BB962C8B-B14F-4D97-AF65-F5344CB8AC3E}">
        <p14:creationId xmlns:p14="http://schemas.microsoft.com/office/powerpoint/2010/main" val="3060136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5" presetClass="path" presetSubtype="0" accel="50000" decel="50000" fill="hold" nodeType="clickEffect">
                                  <p:stCondLst>
                                    <p:cond delay="0"/>
                                  </p:stCondLst>
                                  <p:childTnLst>
                                    <p:animMotion origin="layout" path="M 3.53076E-6 9.12392E-7 L -0.63684 9.12392E-7 " pathEditMode="relative" rAng="0" ptsTypes="AA">
                                      <p:cBhvr>
                                        <p:cTn id="6" dur="2000" fill="hold"/>
                                        <p:tgtEl>
                                          <p:spTgt spid="7"/>
                                        </p:tgtEl>
                                        <p:attrNameLst>
                                          <p:attrName>ppt_x</p:attrName>
                                          <p:attrName>ppt_y</p:attrName>
                                        </p:attrNameLst>
                                      </p:cBhvr>
                                      <p:rCtr x="-3184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83" name="Rectangle 282"/>
          <p:cNvSpPr/>
          <p:nvPr/>
        </p:nvSpPr>
        <p:spPr bwMode="auto">
          <a:xfrm>
            <a:off x="1" y="5171771"/>
            <a:ext cx="12188824" cy="1154529"/>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kern="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pPr defTabSz="896203">
              <a:spcBef>
                <a:spcPts val="0"/>
              </a:spcBef>
              <a:spcAft>
                <a:spcPts val="588"/>
              </a:spcAft>
              <a:defRPr/>
            </a:pPr>
            <a:r>
              <a:rPr lang="en-US" kern="0" spc="0" dirty="0">
                <a:ln>
                  <a:noFill/>
                </a:ln>
              </a:rPr>
              <a:t>Build applications that understand people</a:t>
            </a:r>
          </a:p>
        </p:txBody>
      </p:sp>
      <p:grpSp>
        <p:nvGrpSpPr>
          <p:cNvPr id="10" name="SM Face APIs"/>
          <p:cNvGrpSpPr/>
          <p:nvPr/>
        </p:nvGrpSpPr>
        <p:grpSpPr>
          <a:xfrm>
            <a:off x="3953022" y="1628307"/>
            <a:ext cx="1956716" cy="566755"/>
            <a:chOff x="274639" y="2278062"/>
            <a:chExt cx="2764730" cy="715766"/>
          </a:xfrm>
          <a:solidFill>
            <a:srgbClr val="E81123"/>
          </a:solidFill>
        </p:grpSpPr>
        <p:sp>
          <p:nvSpPr>
            <p:cNvPr id="11" name="Rectangle 10"/>
            <p:cNvSpPr/>
            <p:nvPr/>
          </p:nvSpPr>
          <p:spPr>
            <a:xfrm>
              <a:off x="274639" y="2278062"/>
              <a:ext cx="2764730" cy="715766"/>
            </a:xfrm>
            <a:prstGeom prst="rect">
              <a:avLst/>
            </a:prstGeom>
            <a:solidFill>
              <a:srgbClr val="0072C6"/>
            </a:solidFill>
            <a:ln w="9525" cap="flat" cmpd="sng" algn="ctr">
              <a:noFill/>
              <a:prstDash val="solid"/>
            </a:ln>
            <a:effectLst/>
          </p:spPr>
          <p:txBody>
            <a:bodyPr lIns="114642" tIns="57319" rIns="114642" bIns="5731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61054">
                <a:defRPr/>
              </a:pPr>
              <a:r>
                <a:rPr lang="en-US" sz="1506" kern="0" dirty="0">
                  <a:gradFill>
                    <a:gsLst>
                      <a:gs pos="0">
                        <a:srgbClr val="FFFFFF"/>
                      </a:gs>
                      <a:gs pos="100000">
                        <a:srgbClr val="FFFFFF"/>
                      </a:gs>
                    </a:gsLst>
                    <a:lin ang="5400000" scaled="0"/>
                  </a:gradFill>
                </a:rPr>
                <a:t>        Speech</a:t>
              </a:r>
            </a:p>
          </p:txBody>
        </p:sp>
        <p:pic>
          <p:nvPicPr>
            <p:cNvPr id="12" name="Picture 11" descr="Screen Clipping"/>
            <p:cNvPicPr>
              <a:picLocks noChangeAspect="1"/>
            </p:cNvPicPr>
            <p:nvPr/>
          </p:nvPicPr>
          <p:blipFill>
            <a:blip r:embed="rId3" cstate="email">
              <a:clrChange>
                <a:clrFrom>
                  <a:srgbClr val="00B294"/>
                </a:clrFrom>
                <a:clrTo>
                  <a:srgbClr val="00B294">
                    <a:alpha val="0"/>
                  </a:srgbClr>
                </a:clrTo>
              </a:clrChange>
              <a:duotone>
                <a:prstClr val="black"/>
                <a:schemeClr val="tx1">
                  <a:tint val="45000"/>
                  <a:satMod val="400000"/>
                </a:schemeClr>
              </a:duotone>
              <a:extLst>
                <a:ext uri="{28A0092B-C50C-407E-A947-70E740481C1C}">
                  <a14:useLocalDpi xmlns:a14="http://schemas.microsoft.com/office/drawing/2010/main"/>
                </a:ext>
              </a:extLst>
            </a:blip>
            <a:stretch>
              <a:fillRect/>
            </a:stretch>
          </p:blipFill>
          <p:spPr>
            <a:xfrm>
              <a:off x="410049" y="2418177"/>
              <a:ext cx="450325" cy="453956"/>
            </a:xfrm>
            <a:prstGeom prst="rect">
              <a:avLst/>
            </a:prstGeom>
            <a:noFill/>
          </p:spPr>
        </p:pic>
      </p:grpSp>
      <p:grpSp>
        <p:nvGrpSpPr>
          <p:cNvPr id="13" name="SM Vision APIs"/>
          <p:cNvGrpSpPr/>
          <p:nvPr/>
        </p:nvGrpSpPr>
        <p:grpSpPr>
          <a:xfrm>
            <a:off x="1918716" y="1630269"/>
            <a:ext cx="1954943" cy="564794"/>
            <a:chOff x="5968714" y="2278062"/>
            <a:chExt cx="2762225" cy="713289"/>
          </a:xfrm>
          <a:solidFill>
            <a:srgbClr val="5C2D91"/>
          </a:solidFill>
        </p:grpSpPr>
        <p:sp>
          <p:nvSpPr>
            <p:cNvPr id="14" name="Rectangle 13"/>
            <p:cNvSpPr/>
            <p:nvPr/>
          </p:nvSpPr>
          <p:spPr>
            <a:xfrm>
              <a:off x="5968714" y="2278062"/>
              <a:ext cx="2762225" cy="713289"/>
            </a:xfrm>
            <a:prstGeom prst="rect">
              <a:avLst/>
            </a:prstGeom>
            <a:solidFill>
              <a:srgbClr val="0072C6"/>
            </a:solidFill>
            <a:ln w="9525" cap="flat" cmpd="sng" algn="ctr">
              <a:noFill/>
              <a:prstDash val="solid"/>
            </a:ln>
            <a:effectLst/>
          </p:spPr>
          <p:txBody>
            <a:bodyPr lIns="114642" tIns="57319" rIns="114642" bIns="5731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61054">
                <a:defRPr/>
              </a:pPr>
              <a:r>
                <a:rPr lang="en-US" sz="1506" kern="0" dirty="0">
                  <a:gradFill>
                    <a:gsLst>
                      <a:gs pos="0">
                        <a:srgbClr val="FFFFFF"/>
                      </a:gs>
                      <a:gs pos="100000">
                        <a:srgbClr val="FFFFFF"/>
                      </a:gs>
                    </a:gsLst>
                    <a:lin ang="5400000" scaled="0"/>
                  </a:gradFill>
                </a:rPr>
                <a:t>Vision</a:t>
              </a:r>
            </a:p>
          </p:txBody>
        </p:sp>
        <p:pic>
          <p:nvPicPr>
            <p:cNvPr id="15" name="Picture 14" descr="Screen Clipping"/>
            <p:cNvPicPr>
              <a:picLocks noChangeAspect="1"/>
            </p:cNvPicPr>
            <p:nvPr/>
          </p:nvPicPr>
          <p:blipFill>
            <a:blip r:embed="rId4" cstate="email">
              <a:clrChange>
                <a:clrFrom>
                  <a:srgbClr val="00B294"/>
                </a:clrFrom>
                <a:clrTo>
                  <a:srgbClr val="00B294">
                    <a:alpha val="0"/>
                  </a:srgbClr>
                </a:clrTo>
              </a:clrChange>
              <a:duotone>
                <a:prstClr val="black"/>
                <a:schemeClr val="tx1">
                  <a:tint val="45000"/>
                  <a:satMod val="400000"/>
                </a:schemeClr>
              </a:duotone>
              <a:extLst>
                <a:ext uri="{28A0092B-C50C-407E-A947-70E740481C1C}">
                  <a14:useLocalDpi xmlns:a14="http://schemas.microsoft.com/office/drawing/2010/main"/>
                </a:ext>
              </a:extLst>
            </a:blip>
            <a:stretch>
              <a:fillRect/>
            </a:stretch>
          </p:blipFill>
          <p:spPr>
            <a:xfrm>
              <a:off x="6255845" y="2422025"/>
              <a:ext cx="564487" cy="436195"/>
            </a:xfrm>
            <a:prstGeom prst="rect">
              <a:avLst/>
            </a:prstGeom>
            <a:noFill/>
          </p:spPr>
        </p:pic>
      </p:grpSp>
      <p:sp>
        <p:nvSpPr>
          <p:cNvPr id="17" name="Rectangle 16"/>
          <p:cNvSpPr/>
          <p:nvPr/>
        </p:nvSpPr>
        <p:spPr>
          <a:xfrm>
            <a:off x="8035514" y="1628307"/>
            <a:ext cx="1916876" cy="566755"/>
          </a:xfrm>
          <a:prstGeom prst="rect">
            <a:avLst/>
          </a:prstGeom>
          <a:solidFill>
            <a:srgbClr val="0072C6"/>
          </a:solidFill>
          <a:ln w="9525" cap="flat" cmpd="sng" algn="ctr">
            <a:noFill/>
            <a:prstDash val="solid"/>
          </a:ln>
          <a:effectLst/>
        </p:spPr>
        <p:txBody>
          <a:bodyPr lIns="114642" tIns="57319" rIns="114642" bIns="5731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61054">
              <a:defRPr/>
            </a:pPr>
            <a:r>
              <a:rPr lang="en-US" sz="1506" kern="0" dirty="0">
                <a:gradFill>
                  <a:gsLst>
                    <a:gs pos="0">
                      <a:srgbClr val="FFFFFF"/>
                    </a:gs>
                    <a:gs pos="100000">
                      <a:srgbClr val="FFFFFF"/>
                    </a:gs>
                  </a:gsLst>
                  <a:lin ang="5400000" scaled="0"/>
                </a:gradFill>
              </a:rPr>
              <a:t>          Knowledge</a:t>
            </a:r>
          </a:p>
        </p:txBody>
      </p:sp>
      <p:grpSp>
        <p:nvGrpSpPr>
          <p:cNvPr id="19" name="SM Speech APIs"/>
          <p:cNvGrpSpPr/>
          <p:nvPr/>
        </p:nvGrpSpPr>
        <p:grpSpPr>
          <a:xfrm>
            <a:off x="5989102" y="1628307"/>
            <a:ext cx="1954944" cy="566755"/>
            <a:chOff x="3145595" y="2278062"/>
            <a:chExt cx="2907380" cy="715766"/>
          </a:xfrm>
          <a:solidFill>
            <a:srgbClr val="F3C003"/>
          </a:solidFill>
        </p:grpSpPr>
        <p:sp>
          <p:nvSpPr>
            <p:cNvPr id="20" name="Rectangle 19"/>
            <p:cNvSpPr/>
            <p:nvPr/>
          </p:nvSpPr>
          <p:spPr>
            <a:xfrm>
              <a:off x="3145595" y="2278062"/>
              <a:ext cx="2907380" cy="715766"/>
            </a:xfrm>
            <a:prstGeom prst="rect">
              <a:avLst/>
            </a:prstGeom>
            <a:solidFill>
              <a:srgbClr val="0072C6"/>
            </a:solidFill>
            <a:ln w="9525" cap="flat" cmpd="sng" algn="ctr">
              <a:noFill/>
              <a:prstDash val="solid"/>
            </a:ln>
            <a:effectLst/>
          </p:spPr>
          <p:txBody>
            <a:bodyPr lIns="114642" tIns="57319" rIns="114642" bIns="5731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61054">
                <a:defRPr/>
              </a:pPr>
              <a:r>
                <a:rPr lang="en-US" sz="1506" kern="0" dirty="0">
                  <a:gradFill>
                    <a:gsLst>
                      <a:gs pos="0">
                        <a:srgbClr val="FFFFFF"/>
                      </a:gs>
                      <a:gs pos="100000">
                        <a:srgbClr val="FFFFFF"/>
                      </a:gs>
                    </a:gsLst>
                    <a:lin ang="5400000" scaled="0"/>
                  </a:gradFill>
                </a:rPr>
                <a:t>Language</a:t>
              </a:r>
            </a:p>
          </p:txBody>
        </p:sp>
        <p:pic>
          <p:nvPicPr>
            <p:cNvPr id="21" name="Picture 20" descr="Screen Clipping"/>
            <p:cNvPicPr>
              <a:picLocks noChangeAspect="1"/>
            </p:cNvPicPr>
            <p:nvPr/>
          </p:nvPicPr>
          <p:blipFill>
            <a:blip r:embed="rId5" cstate="email">
              <a:clrChange>
                <a:clrFrom>
                  <a:srgbClr val="00B294"/>
                </a:clrFrom>
                <a:clrTo>
                  <a:srgbClr val="00B294">
                    <a:alpha val="0"/>
                  </a:srgbClr>
                </a:clrTo>
              </a:clrChange>
              <a:duotone>
                <a:prstClr val="black"/>
                <a:schemeClr val="tx1">
                  <a:tint val="45000"/>
                  <a:satMod val="400000"/>
                </a:schemeClr>
              </a:duotone>
              <a:extLst>
                <a:ext uri="{28A0092B-C50C-407E-A947-70E740481C1C}">
                  <a14:useLocalDpi xmlns:a14="http://schemas.microsoft.com/office/drawing/2010/main"/>
                </a:ext>
              </a:extLst>
            </a:blip>
            <a:stretch>
              <a:fillRect/>
            </a:stretch>
          </p:blipFill>
          <p:spPr>
            <a:xfrm>
              <a:off x="3274833" y="2424997"/>
              <a:ext cx="560092" cy="435627"/>
            </a:xfrm>
            <a:prstGeom prst="rect">
              <a:avLst/>
            </a:prstGeom>
            <a:noFill/>
          </p:spPr>
        </p:pic>
      </p:grpSp>
      <p:sp>
        <p:nvSpPr>
          <p:cNvPr id="24" name="Rectangle 23"/>
          <p:cNvSpPr/>
          <p:nvPr/>
        </p:nvSpPr>
        <p:spPr>
          <a:xfrm>
            <a:off x="10041657" y="1628307"/>
            <a:ext cx="1916876" cy="566755"/>
          </a:xfrm>
          <a:prstGeom prst="rect">
            <a:avLst/>
          </a:prstGeom>
          <a:solidFill>
            <a:srgbClr val="0072C6"/>
          </a:solidFill>
          <a:ln w="9525" cap="flat" cmpd="sng" algn="ctr">
            <a:noFill/>
            <a:prstDash val="solid"/>
          </a:ln>
          <a:effectLst/>
        </p:spPr>
        <p:txBody>
          <a:bodyPr lIns="114642" tIns="57319" rIns="114642" bIns="5731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61054">
              <a:defRPr/>
            </a:pPr>
            <a:r>
              <a:rPr lang="en-US" sz="1506" kern="0" dirty="0">
                <a:gradFill>
                  <a:gsLst>
                    <a:gs pos="0">
                      <a:srgbClr val="FFFFFF"/>
                    </a:gs>
                    <a:gs pos="100000">
                      <a:srgbClr val="FFFFFF"/>
                    </a:gs>
                  </a:gsLst>
                  <a:lin ang="5400000" scaled="0"/>
                </a:gradFill>
              </a:rPr>
              <a:t>Search</a:t>
            </a:r>
          </a:p>
        </p:txBody>
      </p:sp>
      <p:pic>
        <p:nvPicPr>
          <p:cNvPr id="25" name="Picture 24" descr="Screen Clipping"/>
          <p:cNvPicPr>
            <a:picLocks noChangeAspect="1"/>
          </p:cNvPicPr>
          <p:nvPr/>
        </p:nvPicPr>
        <p:blipFill>
          <a:blip r:embed="rId6" cstate="email">
            <a:clrChange>
              <a:clrFrom>
                <a:srgbClr val="00B294"/>
              </a:clrFrom>
              <a:clrTo>
                <a:srgbClr val="00B294">
                  <a:alpha val="0"/>
                </a:srgbClr>
              </a:clrTo>
            </a:clrChange>
            <a:duotone>
              <a:prstClr val="black"/>
              <a:schemeClr val="tx1">
                <a:tint val="45000"/>
                <a:satMod val="400000"/>
              </a:schemeClr>
            </a:duotone>
            <a:extLst>
              <a:ext uri="{BEBA8EAE-BF5A-486C-A8C5-ECC9F3942E4B}">
                <a14:imgProps xmlns:a14="http://schemas.microsoft.com/office/drawing/2010/main">
                  <a14:imgLayer r:embed="rId7">
                    <a14:imgEffect>
                      <a14:saturation sat="400000"/>
                    </a14:imgEffect>
                  </a14:imgLayer>
                </a14:imgProps>
              </a:ext>
              <a:ext uri="{28A0092B-C50C-407E-A947-70E740481C1C}">
                <a14:useLocalDpi xmlns:a14="http://schemas.microsoft.com/office/drawing/2010/main"/>
              </a:ext>
            </a:extLst>
          </a:blip>
          <a:stretch>
            <a:fillRect/>
          </a:stretch>
        </p:blipFill>
        <p:spPr>
          <a:xfrm>
            <a:off x="10124781" y="1739252"/>
            <a:ext cx="496314" cy="329680"/>
          </a:xfrm>
          <a:prstGeom prst="rect">
            <a:avLst/>
          </a:prstGeom>
          <a:noFill/>
        </p:spPr>
      </p:pic>
      <p:grpSp>
        <p:nvGrpSpPr>
          <p:cNvPr id="3" name="Group 2"/>
          <p:cNvGrpSpPr/>
          <p:nvPr/>
        </p:nvGrpSpPr>
        <p:grpSpPr>
          <a:xfrm>
            <a:off x="1552006" y="5229692"/>
            <a:ext cx="10306088" cy="1254855"/>
            <a:chOff x="1646287" y="5677408"/>
            <a:chExt cx="10515485" cy="1392032"/>
          </a:xfrm>
        </p:grpSpPr>
        <p:sp>
          <p:nvSpPr>
            <p:cNvPr id="108" name="TextBox 107"/>
            <p:cNvSpPr txBox="1"/>
            <p:nvPr/>
          </p:nvSpPr>
          <p:spPr>
            <a:xfrm>
              <a:off x="1646287" y="5677408"/>
              <a:ext cx="6013661" cy="1030639"/>
            </a:xfrm>
            <a:prstGeom prst="rect">
              <a:avLst/>
            </a:prstGeom>
            <a:noFill/>
          </p:spPr>
          <p:txBody>
            <a:bodyPr wrap="square" lIns="179238" tIns="143391" rIns="179238" bIns="143391" rtlCol="0">
              <a:spAutoFit/>
            </a:bodyPr>
            <a:lstStyle/>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Faces, images, emotion recognition and video intelligence</a:t>
              </a:r>
            </a:p>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Spoken language processing, speaker recognition, custom speech recognition</a:t>
              </a:r>
            </a:p>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Natural language processing, sentiment and topics analysis, spelling errors</a:t>
              </a:r>
            </a:p>
          </p:txBody>
        </p:sp>
        <p:sp>
          <p:nvSpPr>
            <p:cNvPr id="109" name="TextBox 108"/>
            <p:cNvSpPr txBox="1"/>
            <p:nvPr/>
          </p:nvSpPr>
          <p:spPr>
            <a:xfrm>
              <a:off x="7589436" y="5677408"/>
              <a:ext cx="4572336" cy="1392032"/>
            </a:xfrm>
            <a:prstGeom prst="rect">
              <a:avLst/>
            </a:prstGeom>
            <a:noFill/>
          </p:spPr>
          <p:txBody>
            <a:bodyPr wrap="square" lIns="179238" tIns="143391" rIns="179238" bIns="143391" rtlCol="0">
              <a:spAutoFit/>
            </a:bodyPr>
            <a:lstStyle/>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Complex tasks processing, knowledge exploration, intelligent recommendations</a:t>
              </a:r>
            </a:p>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Bing engine capabilities for Web, Autosuggest, Image, Video and News</a:t>
              </a:r>
            </a:p>
            <a:p>
              <a:pPr marL="174262" indent="-174262" defTabSz="896203">
                <a:lnSpc>
                  <a:spcPct val="90000"/>
                </a:lnSpc>
                <a:spcAft>
                  <a:spcPts val="588"/>
                </a:spcAft>
                <a:buClr>
                  <a:schemeClr val="accent2"/>
                </a:buClr>
                <a:buFont typeface="Arial" panose="020B0604020202020204" pitchFamily="34" charset="0"/>
                <a:buChar char="•"/>
                <a:defRPr/>
              </a:pPr>
              <a:endParaRPr lang="en-US" sz="1176" kern="0" dirty="0">
                <a:solidFill>
                  <a:schemeClr val="bg1"/>
                </a:solidFill>
              </a:endParaRPr>
            </a:p>
          </p:txBody>
        </p:sp>
      </p:grpSp>
      <p:sp>
        <p:nvSpPr>
          <p:cNvPr id="194" name="Freeform 193"/>
          <p:cNvSpPr/>
          <p:nvPr/>
        </p:nvSpPr>
        <p:spPr bwMode="auto">
          <a:xfrm flipH="1">
            <a:off x="8266299" y="1775768"/>
            <a:ext cx="267144" cy="282705"/>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defRPr/>
            </a:pPr>
            <a:endParaRPr lang="en-US" sz="2399" kern="0">
              <a:solidFill>
                <a:schemeClr val="tx1"/>
              </a:solidFill>
              <a:ea typeface="Segoe UI" pitchFamily="34" charset="0"/>
              <a:cs typeface="Segoe UI" pitchFamily="34" charset="0"/>
            </a:endParaRPr>
          </a:p>
        </p:txBody>
      </p:sp>
      <p:grpSp>
        <p:nvGrpSpPr>
          <p:cNvPr id="171" name="Group 170"/>
          <p:cNvGrpSpPr/>
          <p:nvPr/>
        </p:nvGrpSpPr>
        <p:grpSpPr>
          <a:xfrm>
            <a:off x="1463232" y="2318407"/>
            <a:ext cx="196751" cy="206848"/>
            <a:chOff x="4106551" y="3401141"/>
            <a:chExt cx="254631" cy="267699"/>
          </a:xfrm>
        </p:grpSpPr>
        <p:sp>
          <p:nvSpPr>
            <p:cNvPr id="267" name="Rectangle 266"/>
            <p:cNvSpPr/>
            <p:nvPr/>
          </p:nvSpPr>
          <p:spPr bwMode="auto">
            <a:xfrm>
              <a:off x="4106551"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68" name="Rectangle 267"/>
            <p:cNvSpPr/>
            <p:nvPr/>
          </p:nvSpPr>
          <p:spPr bwMode="auto">
            <a:xfrm>
              <a:off x="4245904"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69" name="Oval 268"/>
            <p:cNvSpPr/>
            <p:nvPr/>
          </p:nvSpPr>
          <p:spPr bwMode="auto">
            <a:xfrm>
              <a:off x="4174625"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70" name="Oval 269"/>
            <p:cNvSpPr/>
            <p:nvPr/>
          </p:nvSpPr>
          <p:spPr bwMode="auto">
            <a:xfrm>
              <a:off x="4313978"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71" name="Rectangle 270"/>
            <p:cNvSpPr/>
            <p:nvPr/>
          </p:nvSpPr>
          <p:spPr bwMode="auto">
            <a:xfrm>
              <a:off x="4106551"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72" name="Rectangle 271"/>
            <p:cNvSpPr/>
            <p:nvPr/>
          </p:nvSpPr>
          <p:spPr bwMode="auto">
            <a:xfrm>
              <a:off x="4245904"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73" name="Oval 272"/>
            <p:cNvSpPr/>
            <p:nvPr/>
          </p:nvSpPr>
          <p:spPr bwMode="auto">
            <a:xfrm>
              <a:off x="4174625"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74" name="Oval 273"/>
            <p:cNvSpPr/>
            <p:nvPr/>
          </p:nvSpPr>
          <p:spPr bwMode="auto">
            <a:xfrm>
              <a:off x="4313978"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75" name="Rectangle 274"/>
            <p:cNvSpPr/>
            <p:nvPr/>
          </p:nvSpPr>
          <p:spPr bwMode="auto">
            <a:xfrm>
              <a:off x="4178218"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76" name="Rectangle 275"/>
            <p:cNvSpPr/>
            <p:nvPr/>
          </p:nvSpPr>
          <p:spPr bwMode="auto">
            <a:xfrm>
              <a:off x="4317571"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77" name="Oval 276"/>
            <p:cNvSpPr/>
            <p:nvPr/>
          </p:nvSpPr>
          <p:spPr bwMode="auto">
            <a:xfrm>
              <a:off x="4106939"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78" name="Oval 277"/>
            <p:cNvSpPr/>
            <p:nvPr/>
          </p:nvSpPr>
          <p:spPr bwMode="auto">
            <a:xfrm>
              <a:off x="4246293"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79" name="Rectangle 278"/>
            <p:cNvSpPr/>
            <p:nvPr/>
          </p:nvSpPr>
          <p:spPr bwMode="auto">
            <a:xfrm>
              <a:off x="4178218"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80" name="Rectangle 279"/>
            <p:cNvSpPr/>
            <p:nvPr/>
          </p:nvSpPr>
          <p:spPr bwMode="auto">
            <a:xfrm>
              <a:off x="4317571"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81" name="Oval 280"/>
            <p:cNvSpPr/>
            <p:nvPr/>
          </p:nvSpPr>
          <p:spPr bwMode="auto">
            <a:xfrm>
              <a:off x="4106939"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82" name="Oval 281"/>
            <p:cNvSpPr/>
            <p:nvPr/>
          </p:nvSpPr>
          <p:spPr bwMode="auto">
            <a:xfrm>
              <a:off x="4246293"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96" name="Rectangle 195"/>
          <p:cNvSpPr/>
          <p:nvPr/>
        </p:nvSpPr>
        <p:spPr bwMode="auto">
          <a:xfrm>
            <a:off x="2809" y="1618083"/>
            <a:ext cx="1736661" cy="232109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4" tIns="91403" rIns="18274" bIns="91365" numCol="1" spcCol="1270" anchor="t" anchorCtr="0">
            <a:noAutofit/>
          </a:bodyPr>
          <a:lstStyle/>
          <a:p>
            <a:pPr algn="ctr" defTabSz="724725">
              <a:spcBef>
                <a:spcPct val="0"/>
              </a:spcBef>
              <a:spcAft>
                <a:spcPct val="35000"/>
              </a:spcAft>
            </a:pPr>
            <a:r>
              <a:rPr lang="en-US" sz="1400" kern="0" dirty="0">
                <a:solidFill>
                  <a:schemeClr val="tx1"/>
                </a:solidFill>
                <a:latin typeface="Segoe UI Semibold" panose="020B0702040204020203" pitchFamily="34" charset="0"/>
                <a:cs typeface="Segoe UI Semibold" panose="020B0702040204020203" pitchFamily="34" charset="0"/>
              </a:rPr>
              <a:t>Intelligence</a:t>
            </a:r>
          </a:p>
        </p:txBody>
      </p:sp>
      <p:sp>
        <p:nvSpPr>
          <p:cNvPr id="197" name="Rectangle 196"/>
          <p:cNvSpPr/>
          <p:nvPr/>
        </p:nvSpPr>
        <p:spPr>
          <a:xfrm>
            <a:off x="696221" y="3426123"/>
            <a:ext cx="1268360" cy="264903"/>
          </a:xfrm>
          <a:prstGeom prst="rect">
            <a:avLst/>
          </a:prstGeom>
        </p:spPr>
        <p:txBody>
          <a:bodyPr wrap="square">
            <a:spAutoFit/>
          </a:bodyPr>
          <a:lstStyle/>
          <a:p>
            <a:pPr defTabSz="896203"/>
            <a:r>
              <a:rPr lang="en-US" sz="1100" kern="0" dirty="0">
                <a:solidFill>
                  <a:schemeClr val="accent2">
                    <a:lumMod val="75000"/>
                  </a:schemeClr>
                </a:solidFill>
                <a:cs typeface="Segoe UI Semilight" panose="020B0402040204020203" pitchFamily="34" charset="0"/>
              </a:rPr>
              <a:t>Cortana</a:t>
            </a:r>
          </a:p>
        </p:txBody>
      </p:sp>
      <p:grpSp>
        <p:nvGrpSpPr>
          <p:cNvPr id="198" name="Group 197"/>
          <p:cNvGrpSpPr/>
          <p:nvPr/>
        </p:nvGrpSpPr>
        <p:grpSpPr>
          <a:xfrm>
            <a:off x="300403" y="3398122"/>
            <a:ext cx="315632" cy="315632"/>
            <a:chOff x="3236065" y="-9960864"/>
            <a:chExt cx="5641200" cy="5641200"/>
          </a:xfrm>
          <a:solidFill>
            <a:schemeClr val="accent2">
              <a:lumMod val="75000"/>
            </a:schemeClr>
          </a:solidFill>
        </p:grpSpPr>
        <p:sp>
          <p:nvSpPr>
            <p:cNvPr id="265" name="Freeform 264"/>
            <p:cNvSpPr/>
            <p:nvPr/>
          </p:nvSpPr>
          <p:spPr bwMode="auto">
            <a:xfrm>
              <a:off x="3236065" y="-9960864"/>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algn="ctr" defTabSz="932103" fontAlgn="base">
                <a:spcBef>
                  <a:spcPct val="0"/>
                </a:spcBef>
                <a:spcAft>
                  <a:spcPct val="0"/>
                </a:spcAft>
              </a:pPr>
              <a:endParaRPr lang="en-US" sz="3599" kern="0" dirty="0" err="1">
                <a:solidFill>
                  <a:schemeClr val="tx1"/>
                </a:solidFill>
                <a:ea typeface="Segoe UI" pitchFamily="34" charset="0"/>
                <a:cs typeface="Segoe UI" pitchFamily="34" charset="0"/>
              </a:endParaRPr>
            </a:p>
          </p:txBody>
        </p:sp>
        <p:sp>
          <p:nvSpPr>
            <p:cNvPr id="266" name="Freeform 265"/>
            <p:cNvSpPr/>
            <p:nvPr/>
          </p:nvSpPr>
          <p:spPr bwMode="auto">
            <a:xfrm>
              <a:off x="3615094" y="-9598196"/>
              <a:ext cx="4883195" cy="4883195"/>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algn="ctr" defTabSz="932103" fontAlgn="base">
                <a:spcBef>
                  <a:spcPct val="0"/>
                </a:spcBef>
                <a:spcAft>
                  <a:spcPct val="0"/>
                </a:spcAft>
              </a:pPr>
              <a:endParaRPr lang="en-US" sz="3599" kern="0" dirty="0" err="1">
                <a:solidFill>
                  <a:schemeClr val="tx1"/>
                </a:solidFill>
                <a:ea typeface="Segoe UI" pitchFamily="34" charset="0"/>
                <a:cs typeface="Segoe UI" pitchFamily="34" charset="0"/>
              </a:endParaRPr>
            </a:p>
          </p:txBody>
        </p:sp>
      </p:grpSp>
      <p:sp>
        <p:nvSpPr>
          <p:cNvPr id="199" name="Rectangle 198"/>
          <p:cNvSpPr/>
          <p:nvPr/>
        </p:nvSpPr>
        <p:spPr>
          <a:xfrm>
            <a:off x="696221" y="2827257"/>
            <a:ext cx="1268360" cy="437508"/>
          </a:xfrm>
          <a:prstGeom prst="rect">
            <a:avLst/>
          </a:prstGeom>
        </p:spPr>
        <p:txBody>
          <a:bodyPr wrap="square" anchor="ctr">
            <a:spAutoFit/>
          </a:bodyPr>
          <a:lstStyle/>
          <a:p>
            <a:pPr defTabSz="896203"/>
            <a:r>
              <a:rPr lang="en-US" sz="1100" kern="0" dirty="0">
                <a:solidFill>
                  <a:schemeClr val="accent2">
                    <a:lumMod val="75000"/>
                  </a:schemeClr>
                </a:solidFill>
                <a:cs typeface="Segoe UI Semilight" panose="020B0402040204020203" pitchFamily="34" charset="0"/>
              </a:rPr>
              <a:t>Bot </a:t>
            </a:r>
            <a:br>
              <a:rPr lang="en-US" sz="1100" kern="0" dirty="0">
                <a:solidFill>
                  <a:schemeClr val="accent2">
                    <a:lumMod val="75000"/>
                  </a:schemeClr>
                </a:solidFill>
                <a:cs typeface="Segoe UI Semilight" panose="020B0402040204020203" pitchFamily="34" charset="0"/>
              </a:rPr>
            </a:br>
            <a:r>
              <a:rPr lang="en-US" sz="1100" kern="0" dirty="0">
                <a:solidFill>
                  <a:schemeClr val="accent2">
                    <a:lumMod val="75000"/>
                  </a:schemeClr>
                </a:solidFill>
                <a:cs typeface="Segoe UI Semilight" panose="020B0402040204020203" pitchFamily="34" charset="0"/>
              </a:rPr>
              <a:t>Framework</a:t>
            </a:r>
          </a:p>
        </p:txBody>
      </p:sp>
      <p:sp>
        <p:nvSpPr>
          <p:cNvPr id="200" name="Rectangle 199"/>
          <p:cNvSpPr/>
          <p:nvPr/>
        </p:nvSpPr>
        <p:spPr>
          <a:xfrm>
            <a:off x="696221" y="2304722"/>
            <a:ext cx="1268360" cy="437508"/>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Cognitive Services</a:t>
            </a:r>
          </a:p>
        </p:txBody>
      </p:sp>
      <p:grpSp>
        <p:nvGrpSpPr>
          <p:cNvPr id="201" name="Group 200"/>
          <p:cNvGrpSpPr/>
          <p:nvPr/>
        </p:nvGrpSpPr>
        <p:grpSpPr>
          <a:xfrm>
            <a:off x="244590" y="2383096"/>
            <a:ext cx="427259" cy="273967"/>
            <a:chOff x="7822816" y="2717080"/>
            <a:chExt cx="427431" cy="274077"/>
          </a:xfrm>
        </p:grpSpPr>
        <p:sp>
          <p:nvSpPr>
            <p:cNvPr id="263" name="Freeform 262"/>
            <p:cNvSpPr>
              <a:spLocks/>
            </p:cNvSpPr>
            <p:nvPr/>
          </p:nvSpPr>
          <p:spPr bwMode="auto">
            <a:xfrm flipH="1">
              <a:off x="782281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solidFill>
              <a:schemeClr val="tx1"/>
            </a:solidFill>
            <a:ln>
              <a:noFill/>
            </a:ln>
          </p:spPr>
          <p:txBody>
            <a:bodyPr vert="horz" wrap="square" lIns="91403" tIns="45701" rIns="91403" bIns="45701" numCol="1" anchor="t" anchorCtr="0" compatLnSpc="1">
              <a:prstTxWarp prst="textNoShape">
                <a:avLst/>
              </a:prstTxWarp>
              <a:noAutofit/>
            </a:bodyPr>
            <a:lstStyle/>
            <a:p>
              <a:pPr defTabSz="896203"/>
              <a:endParaRPr lang="en-US" sz="1799" kern="0">
                <a:solidFill>
                  <a:sysClr val="windowText" lastClr="000000"/>
                </a:solidFill>
              </a:endParaRPr>
            </a:p>
          </p:txBody>
        </p:sp>
        <p:sp>
          <p:nvSpPr>
            <p:cNvPr id="264" name="Freeform 109"/>
            <p:cNvSpPr>
              <a:spLocks/>
            </p:cNvSpPr>
            <p:nvPr/>
          </p:nvSpPr>
          <p:spPr bwMode="auto">
            <a:xfrm>
              <a:off x="793668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solidFill>
              <a:schemeClr val="tx1"/>
            </a:solidFill>
            <a:ln>
              <a:noFill/>
            </a:ln>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grpSp>
      <p:sp>
        <p:nvSpPr>
          <p:cNvPr id="202" name="Freeform 201"/>
          <p:cNvSpPr/>
          <p:nvPr/>
        </p:nvSpPr>
        <p:spPr bwMode="auto">
          <a:xfrm>
            <a:off x="271616" y="2915003"/>
            <a:ext cx="373208" cy="253694"/>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pPr>
            <a:endParaRPr lang="en-US" sz="2399" kern="0">
              <a:solidFill>
                <a:schemeClr val="tx1"/>
              </a:solidFill>
              <a:ea typeface="Segoe UI" pitchFamily="34" charset="0"/>
              <a:cs typeface="Segoe UI" pitchFamily="34" charset="0"/>
            </a:endParaRPr>
          </a:p>
        </p:txBody>
      </p:sp>
      <p:sp>
        <p:nvSpPr>
          <p:cNvPr id="89" name="Rectangle 88"/>
          <p:cNvSpPr/>
          <p:nvPr/>
        </p:nvSpPr>
        <p:spPr bwMode="auto">
          <a:xfrm>
            <a:off x="5989102" y="4594036"/>
            <a:ext cx="1954944" cy="51985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44810" rIns="89619" bIns="44810" numCol="1" spcCol="0" rtlCol="0" fromWordArt="0" anchor="ctr" anchorCtr="0" forceAA="0" compatLnSpc="1">
            <a:prstTxWarp prst="textNoShape">
              <a:avLst/>
            </a:prstTxWarp>
            <a:noAutofit/>
          </a:bodyPr>
          <a:lstStyle/>
          <a:p>
            <a:pPr defTabSz="861054">
              <a:lnSpc>
                <a:spcPct val="90000"/>
              </a:lnSpc>
              <a:spcAft>
                <a:spcPts val="588"/>
              </a:spcAft>
              <a:defRPr/>
            </a:pPr>
            <a:r>
              <a:rPr lang="en-US" sz="1176" kern="0">
                <a:gradFill>
                  <a:gsLst>
                    <a:gs pos="0">
                      <a:srgbClr val="404040"/>
                    </a:gs>
                    <a:gs pos="100000">
                      <a:srgbClr val="404040"/>
                    </a:gs>
                  </a:gsLst>
                  <a:lin ang="5400000" scaled="0"/>
                </a:gradFill>
              </a:rPr>
              <a:t>Language Understanding Intelligent Service</a:t>
            </a:r>
            <a:endParaRPr lang="en-US" sz="1176" kern="0" dirty="0">
              <a:gradFill>
                <a:gsLst>
                  <a:gs pos="0">
                    <a:srgbClr val="404040"/>
                  </a:gs>
                  <a:gs pos="100000">
                    <a:srgbClr val="404040"/>
                  </a:gs>
                </a:gsLst>
                <a:lin ang="5400000" scaled="0"/>
              </a:gradFill>
            </a:endParaRPr>
          </a:p>
        </p:txBody>
      </p:sp>
      <p:sp>
        <p:nvSpPr>
          <p:cNvPr id="90" name="Rectangle 89"/>
          <p:cNvSpPr/>
          <p:nvPr/>
        </p:nvSpPr>
        <p:spPr bwMode="auto">
          <a:xfrm>
            <a:off x="10054563" y="4594036"/>
            <a:ext cx="1903970" cy="51985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44810" rIns="89619" bIns="44810" numCol="1" spcCol="0" rtlCol="0" fromWordArt="0" anchor="ctr" anchorCtr="0" forceAA="0" compatLnSpc="1">
            <a:prstTxWarp prst="textNoShape">
              <a:avLst/>
            </a:prstTxWarp>
            <a:noAutofit/>
          </a:bodyPr>
          <a:lstStyle/>
          <a:p>
            <a:pPr defTabSz="861054">
              <a:lnSpc>
                <a:spcPct val="90000"/>
              </a:lnSpc>
              <a:spcAft>
                <a:spcPts val="588"/>
              </a:spcAft>
              <a:defRPr/>
            </a:pPr>
            <a:r>
              <a:rPr lang="en-US" sz="1176" kern="0">
                <a:gradFill>
                  <a:gsLst>
                    <a:gs pos="0">
                      <a:srgbClr val="404040"/>
                    </a:gs>
                    <a:gs pos="100000">
                      <a:srgbClr val="404040"/>
                    </a:gs>
                  </a:gsLst>
                  <a:lin ang="5400000" scaled="0"/>
                </a:gradFill>
              </a:rPr>
              <a:t>Bing Auto Suggest API</a:t>
            </a:r>
            <a:endParaRPr lang="en-US" sz="1176" kern="0" dirty="0">
              <a:gradFill>
                <a:gsLst>
                  <a:gs pos="0">
                    <a:srgbClr val="404040"/>
                  </a:gs>
                  <a:gs pos="100000">
                    <a:srgbClr val="404040"/>
                  </a:gs>
                </a:gsLst>
                <a:lin ang="5400000" scaled="0"/>
              </a:gradFill>
            </a:endParaRPr>
          </a:p>
        </p:txBody>
      </p:sp>
      <p:sp>
        <p:nvSpPr>
          <p:cNvPr id="91" name="Rectangle 90"/>
          <p:cNvSpPr/>
          <p:nvPr/>
        </p:nvSpPr>
        <p:spPr bwMode="auto">
          <a:xfrm>
            <a:off x="3949403" y="2283094"/>
            <a:ext cx="1954944" cy="51985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44810" rIns="89619" bIns="44810" numCol="1" spcCol="0" rtlCol="0" fromWordArt="0" anchor="ctr" anchorCtr="0" forceAA="0" compatLnSpc="1">
            <a:prstTxWarp prst="textNoShape">
              <a:avLst/>
            </a:prstTxWarp>
            <a:noAutofit/>
          </a:bodyPr>
          <a:lstStyle/>
          <a:p>
            <a:pPr defTabSz="861054">
              <a:defRPr/>
            </a:pPr>
            <a:r>
              <a:rPr lang="en-US" sz="1176" kern="0" dirty="0">
                <a:gradFill>
                  <a:gsLst>
                    <a:gs pos="0">
                      <a:srgbClr val="404040"/>
                    </a:gs>
                    <a:gs pos="100000">
                      <a:srgbClr val="404040"/>
                    </a:gs>
                  </a:gsLst>
                  <a:lin ang="5400000" scaled="0"/>
                </a:gradFill>
              </a:rPr>
              <a:t>Speaker Recognition</a:t>
            </a:r>
          </a:p>
        </p:txBody>
      </p:sp>
      <p:sp>
        <p:nvSpPr>
          <p:cNvPr id="92" name="Rectangle 91"/>
          <p:cNvSpPr/>
          <p:nvPr/>
        </p:nvSpPr>
        <p:spPr bwMode="auto">
          <a:xfrm>
            <a:off x="3949403" y="2860830"/>
            <a:ext cx="1954944" cy="51985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44810" rIns="89619" bIns="44810" numCol="1" spcCol="0" rtlCol="0" fromWordArt="0" anchor="ctr" anchorCtr="0" forceAA="0" compatLnSpc="1">
            <a:prstTxWarp prst="textNoShape">
              <a:avLst/>
            </a:prstTxWarp>
            <a:noAutofit/>
          </a:bodyPr>
          <a:lstStyle/>
          <a:p>
            <a:pPr defTabSz="861054">
              <a:defRPr/>
            </a:pPr>
            <a:r>
              <a:rPr lang="en-US" sz="1176" kern="0">
                <a:gradFill>
                  <a:gsLst>
                    <a:gs pos="0">
                      <a:srgbClr val="404040"/>
                    </a:gs>
                    <a:gs pos="100000">
                      <a:srgbClr val="404040"/>
                    </a:gs>
                  </a:gsLst>
                  <a:lin ang="5400000" scaled="0"/>
                </a:gradFill>
              </a:rPr>
              <a:t>Speech</a:t>
            </a:r>
            <a:endParaRPr lang="en-US" sz="1176" kern="0" dirty="0">
              <a:gradFill>
                <a:gsLst>
                  <a:gs pos="0">
                    <a:srgbClr val="404040"/>
                  </a:gs>
                  <a:gs pos="100000">
                    <a:srgbClr val="404040"/>
                  </a:gs>
                </a:gsLst>
                <a:lin ang="5400000" scaled="0"/>
              </a:gradFill>
            </a:endParaRPr>
          </a:p>
        </p:txBody>
      </p:sp>
      <p:sp>
        <p:nvSpPr>
          <p:cNvPr id="93" name="Rectangle 92"/>
          <p:cNvSpPr/>
          <p:nvPr/>
        </p:nvSpPr>
        <p:spPr bwMode="auto">
          <a:xfrm>
            <a:off x="3949403" y="3438566"/>
            <a:ext cx="1954944" cy="51985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44810" rIns="89619" bIns="44810" numCol="1" spcCol="0" rtlCol="0" fromWordArt="0" anchor="ctr" anchorCtr="0" forceAA="0" compatLnSpc="1">
            <a:prstTxWarp prst="textNoShape">
              <a:avLst/>
            </a:prstTxWarp>
            <a:noAutofit/>
          </a:bodyPr>
          <a:lstStyle/>
          <a:p>
            <a:pPr defTabSz="861054">
              <a:defRPr/>
            </a:pPr>
            <a:r>
              <a:rPr lang="en-US" sz="1176" kern="0">
                <a:gradFill>
                  <a:gsLst>
                    <a:gs pos="0">
                      <a:srgbClr val="404040"/>
                    </a:gs>
                    <a:gs pos="100000">
                      <a:srgbClr val="404040"/>
                    </a:gs>
                  </a:gsLst>
                  <a:lin ang="5400000" scaled="0"/>
                </a:gradFill>
              </a:rPr>
              <a:t>CRIS</a:t>
            </a:r>
            <a:endParaRPr lang="en-US" sz="1176" kern="0" dirty="0">
              <a:gradFill>
                <a:gsLst>
                  <a:gs pos="0">
                    <a:srgbClr val="404040"/>
                  </a:gs>
                  <a:gs pos="100000">
                    <a:srgbClr val="404040"/>
                  </a:gs>
                </a:gsLst>
                <a:lin ang="5400000" scaled="0"/>
              </a:gradFill>
            </a:endParaRPr>
          </a:p>
        </p:txBody>
      </p:sp>
      <p:sp>
        <p:nvSpPr>
          <p:cNvPr id="94" name="Rectangle 93"/>
          <p:cNvSpPr/>
          <p:nvPr/>
        </p:nvSpPr>
        <p:spPr bwMode="auto">
          <a:xfrm>
            <a:off x="5989102" y="2283094"/>
            <a:ext cx="1954944" cy="51985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44810" rIns="89619" bIns="44810" numCol="1" spcCol="0" rtlCol="0" fromWordArt="0" anchor="ctr" anchorCtr="0" forceAA="0" compatLnSpc="1">
            <a:prstTxWarp prst="textNoShape">
              <a:avLst/>
            </a:prstTxWarp>
            <a:noAutofit/>
          </a:bodyPr>
          <a:lstStyle/>
          <a:p>
            <a:pPr defTabSz="861054">
              <a:defRPr/>
            </a:pPr>
            <a:r>
              <a:rPr lang="en-US" sz="1176" kern="0">
                <a:gradFill>
                  <a:gsLst>
                    <a:gs pos="0">
                      <a:srgbClr val="404040"/>
                    </a:gs>
                    <a:gs pos="100000">
                      <a:srgbClr val="404040"/>
                    </a:gs>
                  </a:gsLst>
                  <a:lin ang="5400000" scaled="0"/>
                </a:gradFill>
              </a:rPr>
              <a:t>Text Analytics</a:t>
            </a:r>
            <a:endParaRPr lang="en-US" sz="1176" kern="0" dirty="0">
              <a:gradFill>
                <a:gsLst>
                  <a:gs pos="0">
                    <a:srgbClr val="404040"/>
                  </a:gs>
                  <a:gs pos="100000">
                    <a:srgbClr val="404040"/>
                  </a:gs>
                </a:gsLst>
                <a:lin ang="5400000" scaled="0"/>
              </a:gradFill>
            </a:endParaRPr>
          </a:p>
        </p:txBody>
      </p:sp>
      <p:sp>
        <p:nvSpPr>
          <p:cNvPr id="95" name="Rectangle 94"/>
          <p:cNvSpPr/>
          <p:nvPr/>
        </p:nvSpPr>
        <p:spPr bwMode="auto">
          <a:xfrm>
            <a:off x="5989102" y="2860830"/>
            <a:ext cx="1954944" cy="51985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44810" rIns="89619" bIns="44810" numCol="1" spcCol="0" rtlCol="0" fromWordArt="0" anchor="ctr" anchorCtr="0" forceAA="0" compatLnSpc="1">
            <a:prstTxWarp prst="textNoShape">
              <a:avLst/>
            </a:prstTxWarp>
            <a:noAutofit/>
          </a:bodyPr>
          <a:lstStyle/>
          <a:p>
            <a:pPr defTabSz="861054">
              <a:defRPr/>
            </a:pPr>
            <a:r>
              <a:rPr lang="en-US" sz="1176" kern="0" dirty="0">
                <a:gradFill>
                  <a:gsLst>
                    <a:gs pos="0">
                      <a:srgbClr val="404040"/>
                    </a:gs>
                    <a:gs pos="100000">
                      <a:srgbClr val="404040"/>
                    </a:gs>
                  </a:gsLst>
                  <a:lin ang="5400000" scaled="0"/>
                </a:gradFill>
              </a:rPr>
              <a:t>Bing Speller</a:t>
            </a:r>
          </a:p>
        </p:txBody>
      </p:sp>
      <p:sp>
        <p:nvSpPr>
          <p:cNvPr id="96" name="Rectangle 95"/>
          <p:cNvSpPr/>
          <p:nvPr/>
        </p:nvSpPr>
        <p:spPr bwMode="auto">
          <a:xfrm>
            <a:off x="5989102" y="3438566"/>
            <a:ext cx="1954944" cy="51985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44810" rIns="89619" bIns="44810" numCol="1" spcCol="0" rtlCol="0" fromWordArt="0" anchor="ctr" anchorCtr="0" forceAA="0" compatLnSpc="1">
            <a:prstTxWarp prst="textNoShape">
              <a:avLst/>
            </a:prstTxWarp>
            <a:noAutofit/>
          </a:bodyPr>
          <a:lstStyle/>
          <a:p>
            <a:pPr defTabSz="861054">
              <a:lnSpc>
                <a:spcPct val="90000"/>
              </a:lnSpc>
              <a:spcAft>
                <a:spcPts val="588"/>
              </a:spcAft>
              <a:defRPr/>
            </a:pPr>
            <a:r>
              <a:rPr lang="en-US" sz="1176" kern="0" dirty="0">
                <a:gradFill>
                  <a:gsLst>
                    <a:gs pos="0">
                      <a:srgbClr val="404040"/>
                    </a:gs>
                    <a:gs pos="100000">
                      <a:srgbClr val="404040"/>
                    </a:gs>
                  </a:gsLst>
                  <a:lin ang="5400000" scaled="0"/>
                </a:gradFill>
              </a:rPr>
              <a:t>Web Language Model</a:t>
            </a:r>
          </a:p>
        </p:txBody>
      </p:sp>
      <p:sp>
        <p:nvSpPr>
          <p:cNvPr id="97" name="Rectangle 96"/>
          <p:cNvSpPr/>
          <p:nvPr/>
        </p:nvSpPr>
        <p:spPr bwMode="auto">
          <a:xfrm>
            <a:off x="5989102" y="4016301"/>
            <a:ext cx="1954944" cy="51985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44810" rIns="89619" bIns="44810" numCol="1" spcCol="0" rtlCol="0" fromWordArt="0" anchor="ctr" anchorCtr="0" forceAA="0" compatLnSpc="1">
            <a:prstTxWarp prst="textNoShape">
              <a:avLst/>
            </a:prstTxWarp>
            <a:noAutofit/>
          </a:bodyPr>
          <a:lstStyle/>
          <a:p>
            <a:pPr defTabSz="861054">
              <a:lnSpc>
                <a:spcPct val="90000"/>
              </a:lnSpc>
              <a:spcAft>
                <a:spcPts val="588"/>
              </a:spcAft>
              <a:defRPr/>
            </a:pPr>
            <a:r>
              <a:rPr lang="en-US" sz="1176" kern="0" dirty="0">
                <a:gradFill>
                  <a:gsLst>
                    <a:gs pos="0">
                      <a:srgbClr val="404040"/>
                    </a:gs>
                    <a:gs pos="100000">
                      <a:srgbClr val="404040"/>
                    </a:gs>
                  </a:gsLst>
                  <a:lin ang="5400000" scaled="0"/>
                </a:gradFill>
              </a:rPr>
              <a:t>Linguistic Analysis </a:t>
            </a:r>
          </a:p>
        </p:txBody>
      </p:sp>
      <p:sp>
        <p:nvSpPr>
          <p:cNvPr id="98" name="Rectangle 97"/>
          <p:cNvSpPr/>
          <p:nvPr/>
        </p:nvSpPr>
        <p:spPr bwMode="auto">
          <a:xfrm>
            <a:off x="8035298" y="2283094"/>
            <a:ext cx="1917091" cy="51985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44810" rIns="89619" bIns="44810" numCol="1" spcCol="0" rtlCol="0" fromWordArt="0" anchor="ctr" anchorCtr="0" forceAA="0" compatLnSpc="1">
            <a:prstTxWarp prst="textNoShape">
              <a:avLst/>
            </a:prstTxWarp>
            <a:noAutofit/>
          </a:bodyPr>
          <a:lstStyle/>
          <a:p>
            <a:pPr defTabSz="861054">
              <a:defRPr/>
            </a:pPr>
            <a:r>
              <a:rPr lang="en-US" sz="1176" kern="0">
                <a:gradFill>
                  <a:gsLst>
                    <a:gs pos="0">
                      <a:srgbClr val="404040"/>
                    </a:gs>
                    <a:gs pos="100000">
                      <a:srgbClr val="404040"/>
                    </a:gs>
                  </a:gsLst>
                  <a:lin ang="5400000" scaled="0"/>
                </a:gradFill>
              </a:rPr>
              <a:t>Academic Knowledge</a:t>
            </a:r>
            <a:endParaRPr lang="en-US" sz="1176" kern="0" dirty="0">
              <a:gradFill>
                <a:gsLst>
                  <a:gs pos="0">
                    <a:srgbClr val="404040"/>
                  </a:gs>
                  <a:gs pos="100000">
                    <a:srgbClr val="404040"/>
                  </a:gs>
                </a:gsLst>
                <a:lin ang="5400000" scaled="0"/>
              </a:gradFill>
            </a:endParaRPr>
          </a:p>
        </p:txBody>
      </p:sp>
      <p:sp>
        <p:nvSpPr>
          <p:cNvPr id="99" name="Rectangle 98"/>
          <p:cNvSpPr/>
          <p:nvPr/>
        </p:nvSpPr>
        <p:spPr bwMode="auto">
          <a:xfrm>
            <a:off x="8035298" y="2860830"/>
            <a:ext cx="1917091" cy="51985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44810" rIns="89619" bIns="44810" numCol="1" spcCol="0" rtlCol="0" fromWordArt="0" anchor="ctr" anchorCtr="0" forceAA="0" compatLnSpc="1">
            <a:prstTxWarp prst="textNoShape">
              <a:avLst/>
            </a:prstTxWarp>
            <a:noAutofit/>
          </a:bodyPr>
          <a:lstStyle/>
          <a:p>
            <a:pPr defTabSz="861054">
              <a:defRPr/>
            </a:pPr>
            <a:r>
              <a:rPr lang="en-US" sz="1176" kern="0" dirty="0">
                <a:gradFill>
                  <a:gsLst>
                    <a:gs pos="0">
                      <a:srgbClr val="404040"/>
                    </a:gs>
                    <a:gs pos="100000">
                      <a:srgbClr val="404040"/>
                    </a:gs>
                  </a:gsLst>
                  <a:lin ang="5400000" scaled="0"/>
                </a:gradFill>
              </a:rPr>
              <a:t>Entity Linking Service</a:t>
            </a:r>
          </a:p>
        </p:txBody>
      </p:sp>
      <p:sp>
        <p:nvSpPr>
          <p:cNvPr id="100" name="Rectangle 99"/>
          <p:cNvSpPr/>
          <p:nvPr/>
        </p:nvSpPr>
        <p:spPr bwMode="auto">
          <a:xfrm>
            <a:off x="8035298" y="3438566"/>
            <a:ext cx="1917091" cy="51985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44810" rIns="89619" bIns="44810" numCol="1" spcCol="0" rtlCol="0" fromWordArt="0" anchor="ctr" anchorCtr="0" forceAA="0" compatLnSpc="1">
            <a:prstTxWarp prst="textNoShape">
              <a:avLst/>
            </a:prstTxWarp>
            <a:noAutofit/>
          </a:bodyPr>
          <a:lstStyle/>
          <a:p>
            <a:pPr defTabSz="861054">
              <a:lnSpc>
                <a:spcPct val="90000"/>
              </a:lnSpc>
              <a:spcAft>
                <a:spcPts val="588"/>
              </a:spcAft>
              <a:defRPr/>
            </a:pPr>
            <a:r>
              <a:rPr lang="en-US" sz="1176" kern="0" dirty="0">
                <a:gradFill>
                  <a:gsLst>
                    <a:gs pos="0">
                      <a:srgbClr val="404040"/>
                    </a:gs>
                    <a:gs pos="100000">
                      <a:srgbClr val="404040"/>
                    </a:gs>
                  </a:gsLst>
                  <a:lin ang="5400000" scaled="0"/>
                </a:gradFill>
              </a:rPr>
              <a:t>Knowledge Exploration Service</a:t>
            </a:r>
          </a:p>
        </p:txBody>
      </p:sp>
      <p:sp>
        <p:nvSpPr>
          <p:cNvPr id="101" name="Rectangle 100"/>
          <p:cNvSpPr/>
          <p:nvPr/>
        </p:nvSpPr>
        <p:spPr bwMode="auto">
          <a:xfrm>
            <a:off x="8035298" y="4016301"/>
            <a:ext cx="1917091" cy="51985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44810" rIns="89619" bIns="44810" numCol="1" spcCol="0" rtlCol="0" fromWordArt="0" anchor="ctr" anchorCtr="0" forceAA="0" compatLnSpc="1">
            <a:prstTxWarp prst="textNoShape">
              <a:avLst/>
            </a:prstTxWarp>
            <a:noAutofit/>
          </a:bodyPr>
          <a:lstStyle/>
          <a:p>
            <a:pPr defTabSz="861054">
              <a:defRPr/>
            </a:pPr>
            <a:r>
              <a:rPr lang="en-US" sz="1176" kern="0">
                <a:gradFill>
                  <a:gsLst>
                    <a:gs pos="0">
                      <a:srgbClr val="404040"/>
                    </a:gs>
                    <a:gs pos="100000">
                      <a:srgbClr val="404040"/>
                    </a:gs>
                  </a:gsLst>
                  <a:lin ang="5400000" scaled="0"/>
                </a:gradFill>
              </a:rPr>
              <a:t>Recommendations</a:t>
            </a:r>
            <a:endParaRPr lang="en-US" sz="1176" kern="0" dirty="0">
              <a:gradFill>
                <a:gsLst>
                  <a:gs pos="0">
                    <a:srgbClr val="404040"/>
                  </a:gs>
                  <a:gs pos="100000">
                    <a:srgbClr val="404040"/>
                  </a:gs>
                </a:gsLst>
                <a:lin ang="5400000" scaled="0"/>
              </a:gradFill>
            </a:endParaRPr>
          </a:p>
        </p:txBody>
      </p:sp>
      <p:sp>
        <p:nvSpPr>
          <p:cNvPr id="102" name="Rectangle 101"/>
          <p:cNvSpPr/>
          <p:nvPr/>
        </p:nvSpPr>
        <p:spPr bwMode="auto">
          <a:xfrm>
            <a:off x="10043221" y="2283094"/>
            <a:ext cx="1917091" cy="51985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44810" rIns="89619" bIns="44810" numCol="1" spcCol="0" rtlCol="0" fromWordArt="0" anchor="ctr" anchorCtr="0" forceAA="0" compatLnSpc="1">
            <a:prstTxWarp prst="textNoShape">
              <a:avLst/>
            </a:prstTxWarp>
            <a:noAutofit/>
          </a:bodyPr>
          <a:lstStyle/>
          <a:p>
            <a:pPr defTabSz="861054">
              <a:lnSpc>
                <a:spcPct val="90000"/>
              </a:lnSpc>
              <a:spcAft>
                <a:spcPts val="588"/>
              </a:spcAft>
              <a:defRPr/>
            </a:pPr>
            <a:r>
              <a:rPr lang="en-US" sz="1176" kern="0">
                <a:gradFill>
                  <a:gsLst>
                    <a:gs pos="0">
                      <a:srgbClr val="404040"/>
                    </a:gs>
                    <a:gs pos="100000">
                      <a:srgbClr val="404040"/>
                    </a:gs>
                  </a:gsLst>
                  <a:lin ang="5400000" scaled="0"/>
                </a:gradFill>
              </a:rPr>
              <a:t>Bing Search API</a:t>
            </a:r>
            <a:endParaRPr lang="en-US" sz="1176" kern="0" dirty="0">
              <a:gradFill>
                <a:gsLst>
                  <a:gs pos="0">
                    <a:srgbClr val="404040"/>
                  </a:gs>
                  <a:gs pos="100000">
                    <a:srgbClr val="404040"/>
                  </a:gs>
                </a:gsLst>
                <a:lin ang="5400000" scaled="0"/>
              </a:gradFill>
            </a:endParaRPr>
          </a:p>
        </p:txBody>
      </p:sp>
      <p:sp>
        <p:nvSpPr>
          <p:cNvPr id="103" name="Rectangle 102"/>
          <p:cNvSpPr/>
          <p:nvPr/>
        </p:nvSpPr>
        <p:spPr bwMode="auto">
          <a:xfrm>
            <a:off x="10043221" y="2860830"/>
            <a:ext cx="1917091" cy="51985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44810" rIns="89619" bIns="44810" numCol="1" spcCol="0" rtlCol="0" fromWordArt="0" anchor="ctr" anchorCtr="0" forceAA="0" compatLnSpc="1">
            <a:prstTxWarp prst="textNoShape">
              <a:avLst/>
            </a:prstTxWarp>
            <a:noAutofit/>
          </a:bodyPr>
          <a:lstStyle/>
          <a:p>
            <a:pPr defTabSz="861054">
              <a:lnSpc>
                <a:spcPct val="90000"/>
              </a:lnSpc>
              <a:spcAft>
                <a:spcPts val="588"/>
              </a:spcAft>
              <a:defRPr/>
            </a:pPr>
            <a:r>
              <a:rPr lang="en-US" sz="1176" kern="0" dirty="0">
                <a:gradFill>
                  <a:gsLst>
                    <a:gs pos="0">
                      <a:srgbClr val="404040"/>
                    </a:gs>
                    <a:gs pos="100000">
                      <a:srgbClr val="404040"/>
                    </a:gs>
                  </a:gsLst>
                  <a:lin ang="5400000" scaled="0"/>
                </a:gradFill>
              </a:rPr>
              <a:t>Bing Image Search API</a:t>
            </a:r>
          </a:p>
        </p:txBody>
      </p:sp>
      <p:sp>
        <p:nvSpPr>
          <p:cNvPr id="104" name="Rectangle 103"/>
          <p:cNvSpPr/>
          <p:nvPr/>
        </p:nvSpPr>
        <p:spPr bwMode="auto">
          <a:xfrm>
            <a:off x="10043221" y="3438566"/>
            <a:ext cx="1917091" cy="51985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44810" rIns="89619" bIns="44810" numCol="1" spcCol="0" rtlCol="0" fromWordArt="0" anchor="ctr" anchorCtr="0" forceAA="0" compatLnSpc="1">
            <a:prstTxWarp prst="textNoShape">
              <a:avLst/>
            </a:prstTxWarp>
            <a:noAutofit/>
          </a:bodyPr>
          <a:lstStyle/>
          <a:p>
            <a:pPr defTabSz="861054">
              <a:lnSpc>
                <a:spcPct val="90000"/>
              </a:lnSpc>
              <a:spcAft>
                <a:spcPts val="588"/>
              </a:spcAft>
              <a:defRPr/>
            </a:pPr>
            <a:r>
              <a:rPr lang="en-US" sz="1176" kern="0">
                <a:gradFill>
                  <a:gsLst>
                    <a:gs pos="0">
                      <a:srgbClr val="404040"/>
                    </a:gs>
                    <a:gs pos="100000">
                      <a:srgbClr val="404040"/>
                    </a:gs>
                  </a:gsLst>
                  <a:lin ang="5400000" scaled="0"/>
                </a:gradFill>
              </a:rPr>
              <a:t>Bing Video Search API</a:t>
            </a:r>
            <a:endParaRPr lang="en-US" sz="1176" kern="0" dirty="0">
              <a:gradFill>
                <a:gsLst>
                  <a:gs pos="0">
                    <a:srgbClr val="404040"/>
                  </a:gs>
                  <a:gs pos="100000">
                    <a:srgbClr val="404040"/>
                  </a:gs>
                </a:gsLst>
                <a:lin ang="5400000" scaled="0"/>
              </a:gradFill>
            </a:endParaRPr>
          </a:p>
        </p:txBody>
      </p:sp>
      <p:sp>
        <p:nvSpPr>
          <p:cNvPr id="105" name="Rectangle 104"/>
          <p:cNvSpPr/>
          <p:nvPr/>
        </p:nvSpPr>
        <p:spPr bwMode="auto">
          <a:xfrm>
            <a:off x="10043221" y="4016301"/>
            <a:ext cx="1917091" cy="51985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44810" rIns="89619" bIns="44810" numCol="1" spcCol="0" rtlCol="0" fromWordArt="0" anchor="ctr" anchorCtr="0" forceAA="0" compatLnSpc="1">
            <a:prstTxWarp prst="textNoShape">
              <a:avLst/>
            </a:prstTxWarp>
            <a:noAutofit/>
          </a:bodyPr>
          <a:lstStyle/>
          <a:p>
            <a:pPr defTabSz="861054">
              <a:lnSpc>
                <a:spcPct val="90000"/>
              </a:lnSpc>
              <a:spcAft>
                <a:spcPts val="588"/>
              </a:spcAft>
              <a:defRPr/>
            </a:pPr>
            <a:r>
              <a:rPr lang="en-US" sz="1176" kern="0">
                <a:gradFill>
                  <a:gsLst>
                    <a:gs pos="0">
                      <a:srgbClr val="404040"/>
                    </a:gs>
                    <a:gs pos="100000">
                      <a:srgbClr val="404040"/>
                    </a:gs>
                  </a:gsLst>
                  <a:lin ang="5400000" scaled="0"/>
                </a:gradFill>
              </a:rPr>
              <a:t>Bing News Search API</a:t>
            </a:r>
            <a:endParaRPr lang="en-US" sz="1176" kern="0" dirty="0">
              <a:gradFill>
                <a:gsLst>
                  <a:gs pos="0">
                    <a:srgbClr val="404040"/>
                  </a:gs>
                  <a:gs pos="100000">
                    <a:srgbClr val="404040"/>
                  </a:gs>
                </a:gsLst>
                <a:lin ang="5400000" scaled="0"/>
              </a:gradFill>
            </a:endParaRPr>
          </a:p>
        </p:txBody>
      </p:sp>
      <p:sp>
        <p:nvSpPr>
          <p:cNvPr id="106" name="Rectangle 105"/>
          <p:cNvSpPr/>
          <p:nvPr/>
        </p:nvSpPr>
        <p:spPr bwMode="auto">
          <a:xfrm>
            <a:off x="1918791" y="2283094"/>
            <a:ext cx="1954944" cy="51985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44810" rIns="89619" bIns="44810" numCol="1" spcCol="0" rtlCol="0" fromWordArt="0" anchor="ctr" anchorCtr="0" forceAA="0" compatLnSpc="1">
            <a:prstTxWarp prst="textNoShape">
              <a:avLst/>
            </a:prstTxWarp>
            <a:noAutofit/>
          </a:bodyPr>
          <a:lstStyle/>
          <a:p>
            <a:pPr defTabSz="861054">
              <a:defRPr/>
            </a:pPr>
            <a:r>
              <a:rPr lang="en-US" sz="1176" kern="0">
                <a:gradFill>
                  <a:gsLst>
                    <a:gs pos="0">
                      <a:srgbClr val="404040"/>
                    </a:gs>
                    <a:gs pos="100000">
                      <a:srgbClr val="404040"/>
                    </a:gs>
                  </a:gsLst>
                  <a:lin ang="5400000" scaled="0"/>
                </a:gradFill>
              </a:rPr>
              <a:t>Computer Vision</a:t>
            </a:r>
            <a:endParaRPr lang="en-US" sz="1176" kern="0" dirty="0">
              <a:gradFill>
                <a:gsLst>
                  <a:gs pos="0">
                    <a:srgbClr val="404040"/>
                  </a:gs>
                  <a:gs pos="100000">
                    <a:srgbClr val="404040"/>
                  </a:gs>
                </a:gsLst>
                <a:lin ang="5400000" scaled="0"/>
              </a:gradFill>
            </a:endParaRPr>
          </a:p>
        </p:txBody>
      </p:sp>
      <p:sp>
        <p:nvSpPr>
          <p:cNvPr id="107" name="Rectangle 106"/>
          <p:cNvSpPr/>
          <p:nvPr/>
        </p:nvSpPr>
        <p:spPr bwMode="auto">
          <a:xfrm>
            <a:off x="1918791" y="2860830"/>
            <a:ext cx="1954944" cy="51985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44810" rIns="89619" bIns="44810" numCol="1" spcCol="0" rtlCol="0" fromWordArt="0" anchor="ctr" anchorCtr="0" forceAA="0" compatLnSpc="1">
            <a:prstTxWarp prst="textNoShape">
              <a:avLst/>
            </a:prstTxWarp>
            <a:noAutofit/>
          </a:bodyPr>
          <a:lstStyle/>
          <a:p>
            <a:pPr defTabSz="861054">
              <a:defRPr/>
            </a:pPr>
            <a:r>
              <a:rPr lang="en-US" sz="1176" kern="0">
                <a:gradFill>
                  <a:gsLst>
                    <a:gs pos="0">
                      <a:srgbClr val="404040"/>
                    </a:gs>
                    <a:gs pos="100000">
                      <a:srgbClr val="404040"/>
                    </a:gs>
                  </a:gsLst>
                  <a:lin ang="5400000" scaled="0"/>
                </a:gradFill>
              </a:rPr>
              <a:t>Face</a:t>
            </a:r>
            <a:endParaRPr lang="en-US" sz="1176" kern="0" dirty="0">
              <a:gradFill>
                <a:gsLst>
                  <a:gs pos="0">
                    <a:srgbClr val="404040"/>
                  </a:gs>
                  <a:gs pos="100000">
                    <a:srgbClr val="404040"/>
                  </a:gs>
                </a:gsLst>
                <a:lin ang="5400000" scaled="0"/>
              </a:gradFill>
            </a:endParaRPr>
          </a:p>
        </p:txBody>
      </p:sp>
      <p:sp>
        <p:nvSpPr>
          <p:cNvPr id="110" name="Rectangle 109"/>
          <p:cNvSpPr/>
          <p:nvPr/>
        </p:nvSpPr>
        <p:spPr bwMode="auto">
          <a:xfrm>
            <a:off x="1918791" y="3438566"/>
            <a:ext cx="1954944" cy="51985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44810" rIns="89619" bIns="44810" numCol="1" spcCol="0" rtlCol="0" fromWordArt="0" anchor="ctr" anchorCtr="0" forceAA="0" compatLnSpc="1">
            <a:prstTxWarp prst="textNoShape">
              <a:avLst/>
            </a:prstTxWarp>
            <a:noAutofit/>
          </a:bodyPr>
          <a:lstStyle/>
          <a:p>
            <a:pPr defTabSz="861054">
              <a:defRPr/>
            </a:pPr>
            <a:r>
              <a:rPr lang="en-US" sz="1176" kern="0" dirty="0">
                <a:gradFill>
                  <a:gsLst>
                    <a:gs pos="0">
                      <a:srgbClr val="404040"/>
                    </a:gs>
                    <a:gs pos="100000">
                      <a:srgbClr val="404040"/>
                    </a:gs>
                  </a:gsLst>
                  <a:lin ang="5400000" scaled="0"/>
                </a:gradFill>
              </a:rPr>
              <a:t>Emotion</a:t>
            </a:r>
          </a:p>
        </p:txBody>
      </p:sp>
      <p:sp>
        <p:nvSpPr>
          <p:cNvPr id="111" name="Rectangle 110"/>
          <p:cNvSpPr/>
          <p:nvPr/>
        </p:nvSpPr>
        <p:spPr bwMode="auto">
          <a:xfrm>
            <a:off x="1918791" y="4016301"/>
            <a:ext cx="1954944" cy="51985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44810" rIns="89619" bIns="44810" numCol="1" spcCol="0" rtlCol="0" fromWordArt="0" anchor="ctr" anchorCtr="0" forceAA="0" compatLnSpc="1">
            <a:prstTxWarp prst="textNoShape">
              <a:avLst/>
            </a:prstTxWarp>
            <a:noAutofit/>
          </a:bodyPr>
          <a:lstStyle/>
          <a:p>
            <a:pPr defTabSz="861054">
              <a:defRPr/>
            </a:pPr>
            <a:r>
              <a:rPr lang="en-US" sz="1176" kern="0">
                <a:gradFill>
                  <a:gsLst>
                    <a:gs pos="0">
                      <a:srgbClr val="404040"/>
                    </a:gs>
                    <a:gs pos="100000">
                      <a:srgbClr val="404040"/>
                    </a:gs>
                  </a:gsLst>
                  <a:lin ang="5400000" scaled="0"/>
                </a:gradFill>
              </a:rPr>
              <a:t>Video</a:t>
            </a:r>
            <a:endParaRPr lang="en-US" sz="1176" kern="0" dirty="0">
              <a:gradFill>
                <a:gsLst>
                  <a:gs pos="0">
                    <a:srgbClr val="404040"/>
                  </a:gs>
                  <a:gs pos="100000">
                    <a:srgbClr val="404040"/>
                  </a:gs>
                </a:gsLst>
                <a:lin ang="5400000" scaled="0"/>
              </a:gradFill>
            </a:endParaRPr>
          </a:p>
        </p:txBody>
      </p:sp>
    </p:spTree>
    <p:extLst>
      <p:ext uri="{BB962C8B-B14F-4D97-AF65-F5344CB8AC3E}">
        <p14:creationId xmlns:p14="http://schemas.microsoft.com/office/powerpoint/2010/main" val="2787726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defTabSz="896203">
              <a:spcBef>
                <a:spcPts val="0"/>
              </a:spcBef>
              <a:spcAft>
                <a:spcPts val="588"/>
              </a:spcAft>
              <a:defRPr/>
            </a:pPr>
            <a:r>
              <a:rPr lang="en-US" kern="0" spc="0" dirty="0">
                <a:ln>
                  <a:noFill/>
                </a:ln>
              </a:rPr>
              <a:t>Your bots – wherever your users converse</a:t>
            </a:r>
          </a:p>
        </p:txBody>
      </p:sp>
      <p:grpSp>
        <p:nvGrpSpPr>
          <p:cNvPr id="102" name="Group 101"/>
          <p:cNvGrpSpPr/>
          <p:nvPr/>
        </p:nvGrpSpPr>
        <p:grpSpPr>
          <a:xfrm>
            <a:off x="1463232" y="2318407"/>
            <a:ext cx="196751" cy="206848"/>
            <a:chOff x="4106551" y="3401141"/>
            <a:chExt cx="254631" cy="267699"/>
          </a:xfrm>
        </p:grpSpPr>
        <p:sp>
          <p:nvSpPr>
            <p:cNvPr id="103" name="Rectangle 102"/>
            <p:cNvSpPr/>
            <p:nvPr/>
          </p:nvSpPr>
          <p:spPr bwMode="auto">
            <a:xfrm>
              <a:off x="4106551"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04" name="Rectangle 103"/>
            <p:cNvSpPr/>
            <p:nvPr/>
          </p:nvSpPr>
          <p:spPr bwMode="auto">
            <a:xfrm>
              <a:off x="4245904"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05" name="Oval 104"/>
            <p:cNvSpPr/>
            <p:nvPr/>
          </p:nvSpPr>
          <p:spPr bwMode="auto">
            <a:xfrm>
              <a:off x="4174625"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06" name="Oval 105"/>
            <p:cNvSpPr/>
            <p:nvPr/>
          </p:nvSpPr>
          <p:spPr bwMode="auto">
            <a:xfrm>
              <a:off x="4313978"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07" name="Rectangle 106"/>
            <p:cNvSpPr/>
            <p:nvPr/>
          </p:nvSpPr>
          <p:spPr bwMode="auto">
            <a:xfrm>
              <a:off x="4106551"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08" name="Rectangle 107"/>
            <p:cNvSpPr/>
            <p:nvPr/>
          </p:nvSpPr>
          <p:spPr bwMode="auto">
            <a:xfrm>
              <a:off x="4245904"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09" name="Oval 108"/>
            <p:cNvSpPr/>
            <p:nvPr/>
          </p:nvSpPr>
          <p:spPr bwMode="auto">
            <a:xfrm>
              <a:off x="4174625"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10" name="Oval 109"/>
            <p:cNvSpPr/>
            <p:nvPr/>
          </p:nvSpPr>
          <p:spPr bwMode="auto">
            <a:xfrm>
              <a:off x="4313978"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11" name="Rectangle 110"/>
            <p:cNvSpPr/>
            <p:nvPr/>
          </p:nvSpPr>
          <p:spPr bwMode="auto">
            <a:xfrm>
              <a:off x="4178218"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12" name="Rectangle 111"/>
            <p:cNvSpPr/>
            <p:nvPr/>
          </p:nvSpPr>
          <p:spPr bwMode="auto">
            <a:xfrm>
              <a:off x="4317571"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13" name="Oval 112"/>
            <p:cNvSpPr/>
            <p:nvPr/>
          </p:nvSpPr>
          <p:spPr bwMode="auto">
            <a:xfrm>
              <a:off x="4106939"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14" name="Oval 113"/>
            <p:cNvSpPr/>
            <p:nvPr/>
          </p:nvSpPr>
          <p:spPr bwMode="auto">
            <a:xfrm>
              <a:off x="4246293"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15" name="Rectangle 114"/>
            <p:cNvSpPr/>
            <p:nvPr/>
          </p:nvSpPr>
          <p:spPr bwMode="auto">
            <a:xfrm>
              <a:off x="4178218"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16" name="Rectangle 115"/>
            <p:cNvSpPr/>
            <p:nvPr/>
          </p:nvSpPr>
          <p:spPr bwMode="auto">
            <a:xfrm>
              <a:off x="4317571"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17" name="Oval 116"/>
            <p:cNvSpPr/>
            <p:nvPr/>
          </p:nvSpPr>
          <p:spPr bwMode="auto">
            <a:xfrm>
              <a:off x="4106939"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18" name="Oval 117"/>
            <p:cNvSpPr/>
            <p:nvPr/>
          </p:nvSpPr>
          <p:spPr bwMode="auto">
            <a:xfrm>
              <a:off x="4246293"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19" name="Rectangle 118"/>
          <p:cNvSpPr/>
          <p:nvPr/>
        </p:nvSpPr>
        <p:spPr bwMode="auto">
          <a:xfrm>
            <a:off x="2809" y="1618083"/>
            <a:ext cx="1736661" cy="232109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4" tIns="91403" rIns="18274" bIns="91365" numCol="1" spcCol="1270" anchor="t" anchorCtr="0">
            <a:noAutofit/>
          </a:bodyPr>
          <a:lstStyle/>
          <a:p>
            <a:pPr algn="ctr" defTabSz="724725">
              <a:spcBef>
                <a:spcPct val="0"/>
              </a:spcBef>
              <a:spcAft>
                <a:spcPct val="35000"/>
              </a:spcAft>
            </a:pPr>
            <a:r>
              <a:rPr lang="en-US" sz="1400" kern="0" dirty="0">
                <a:solidFill>
                  <a:schemeClr val="tx1"/>
                </a:solidFill>
                <a:latin typeface="Segoe UI Semibold" panose="020B0702040204020203" pitchFamily="34" charset="0"/>
                <a:cs typeface="Segoe UI Semibold" panose="020B0702040204020203" pitchFamily="34" charset="0"/>
              </a:rPr>
              <a:t>Intelligence</a:t>
            </a:r>
          </a:p>
        </p:txBody>
      </p:sp>
      <p:grpSp>
        <p:nvGrpSpPr>
          <p:cNvPr id="120" name="Group 119"/>
          <p:cNvGrpSpPr/>
          <p:nvPr/>
        </p:nvGrpSpPr>
        <p:grpSpPr>
          <a:xfrm>
            <a:off x="300403" y="3398122"/>
            <a:ext cx="315632" cy="315632"/>
            <a:chOff x="3236065" y="-9960864"/>
            <a:chExt cx="5641200" cy="5641200"/>
          </a:xfrm>
          <a:solidFill>
            <a:schemeClr val="accent2">
              <a:lumMod val="75000"/>
            </a:schemeClr>
          </a:solidFill>
        </p:grpSpPr>
        <p:sp>
          <p:nvSpPr>
            <p:cNvPr id="121" name="Freeform 120"/>
            <p:cNvSpPr/>
            <p:nvPr/>
          </p:nvSpPr>
          <p:spPr bwMode="auto">
            <a:xfrm>
              <a:off x="3236065" y="-9960864"/>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algn="ctr" defTabSz="932103" fontAlgn="base">
                <a:spcBef>
                  <a:spcPct val="0"/>
                </a:spcBef>
                <a:spcAft>
                  <a:spcPct val="0"/>
                </a:spcAft>
              </a:pPr>
              <a:endParaRPr lang="en-US" sz="3599" kern="0" dirty="0" err="1">
                <a:solidFill>
                  <a:schemeClr val="tx1"/>
                </a:solidFill>
                <a:ea typeface="Segoe UI" pitchFamily="34" charset="0"/>
                <a:cs typeface="Segoe UI" pitchFamily="34" charset="0"/>
              </a:endParaRPr>
            </a:p>
          </p:txBody>
        </p:sp>
        <p:sp>
          <p:nvSpPr>
            <p:cNvPr id="122" name="Freeform 121"/>
            <p:cNvSpPr/>
            <p:nvPr/>
          </p:nvSpPr>
          <p:spPr bwMode="auto">
            <a:xfrm>
              <a:off x="3615094" y="-9598196"/>
              <a:ext cx="4883195" cy="4883195"/>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algn="ctr" defTabSz="932103" fontAlgn="base">
                <a:spcBef>
                  <a:spcPct val="0"/>
                </a:spcBef>
                <a:spcAft>
                  <a:spcPct val="0"/>
                </a:spcAft>
              </a:pPr>
              <a:endParaRPr lang="en-US" sz="3599" kern="0" dirty="0" err="1">
                <a:solidFill>
                  <a:schemeClr val="tx1"/>
                </a:solidFill>
                <a:ea typeface="Segoe UI" pitchFamily="34" charset="0"/>
                <a:cs typeface="Segoe UI" pitchFamily="34" charset="0"/>
              </a:endParaRPr>
            </a:p>
          </p:txBody>
        </p:sp>
      </p:grpSp>
      <p:grpSp>
        <p:nvGrpSpPr>
          <p:cNvPr id="123" name="Group 122"/>
          <p:cNvGrpSpPr/>
          <p:nvPr/>
        </p:nvGrpSpPr>
        <p:grpSpPr>
          <a:xfrm>
            <a:off x="244590" y="2383096"/>
            <a:ext cx="427259" cy="273967"/>
            <a:chOff x="7822816" y="2717080"/>
            <a:chExt cx="427431" cy="274077"/>
          </a:xfrm>
          <a:solidFill>
            <a:schemeClr val="accent2">
              <a:lumMod val="75000"/>
            </a:schemeClr>
          </a:solidFill>
        </p:grpSpPr>
        <p:sp>
          <p:nvSpPr>
            <p:cNvPr id="124" name="Freeform 123"/>
            <p:cNvSpPr>
              <a:spLocks/>
            </p:cNvSpPr>
            <p:nvPr/>
          </p:nvSpPr>
          <p:spPr bwMode="auto">
            <a:xfrm flipH="1">
              <a:off x="782281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grpFill/>
            <a:ln>
              <a:noFill/>
            </a:ln>
          </p:spPr>
          <p:txBody>
            <a:bodyPr vert="horz" wrap="square" lIns="91403" tIns="45701" rIns="91403" bIns="45701" numCol="1" anchor="t" anchorCtr="0" compatLnSpc="1">
              <a:prstTxWarp prst="textNoShape">
                <a:avLst/>
              </a:prstTxWarp>
              <a:noAutofit/>
            </a:bodyPr>
            <a:lstStyle/>
            <a:p>
              <a:pPr defTabSz="896203"/>
              <a:endParaRPr lang="en-US" sz="1799" kern="0">
                <a:solidFill>
                  <a:sysClr val="windowText" lastClr="000000"/>
                </a:solidFill>
              </a:endParaRPr>
            </a:p>
          </p:txBody>
        </p:sp>
        <p:sp>
          <p:nvSpPr>
            <p:cNvPr id="125" name="Freeform 109"/>
            <p:cNvSpPr>
              <a:spLocks/>
            </p:cNvSpPr>
            <p:nvPr/>
          </p:nvSpPr>
          <p:spPr bwMode="auto">
            <a:xfrm>
              <a:off x="793668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grpFill/>
            <a:ln>
              <a:noFill/>
            </a:ln>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grpSp>
      <p:sp>
        <p:nvSpPr>
          <p:cNvPr id="126" name="Freeform 125"/>
          <p:cNvSpPr/>
          <p:nvPr/>
        </p:nvSpPr>
        <p:spPr bwMode="auto">
          <a:xfrm>
            <a:off x="271616" y="2915003"/>
            <a:ext cx="373208" cy="253694"/>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pPr>
            <a:endParaRPr lang="en-US" sz="2399" kern="0">
              <a:solidFill>
                <a:schemeClr val="tx1"/>
              </a:solidFill>
              <a:ea typeface="Segoe UI" pitchFamily="34" charset="0"/>
              <a:cs typeface="Segoe UI" pitchFamily="34" charset="0"/>
            </a:endParaRPr>
          </a:p>
        </p:txBody>
      </p:sp>
      <p:sp>
        <p:nvSpPr>
          <p:cNvPr id="127" name="Rectangle 126"/>
          <p:cNvSpPr/>
          <p:nvPr/>
        </p:nvSpPr>
        <p:spPr>
          <a:xfrm>
            <a:off x="696221" y="3426123"/>
            <a:ext cx="1268360" cy="264903"/>
          </a:xfrm>
          <a:prstGeom prst="rect">
            <a:avLst/>
          </a:prstGeom>
        </p:spPr>
        <p:txBody>
          <a:bodyPr wrap="square">
            <a:spAutoFit/>
          </a:bodyPr>
          <a:lstStyle/>
          <a:p>
            <a:pPr defTabSz="896203"/>
            <a:r>
              <a:rPr lang="en-US" sz="1100" kern="0" dirty="0">
                <a:solidFill>
                  <a:schemeClr val="accent2">
                    <a:lumMod val="75000"/>
                  </a:schemeClr>
                </a:solidFill>
                <a:cs typeface="Segoe UI Semilight" panose="020B0402040204020203" pitchFamily="34" charset="0"/>
              </a:rPr>
              <a:t>Cortana</a:t>
            </a:r>
          </a:p>
        </p:txBody>
      </p:sp>
      <p:sp>
        <p:nvSpPr>
          <p:cNvPr id="128" name="Rectangle 127"/>
          <p:cNvSpPr/>
          <p:nvPr/>
        </p:nvSpPr>
        <p:spPr>
          <a:xfrm>
            <a:off x="696221" y="2827257"/>
            <a:ext cx="1268360" cy="437508"/>
          </a:xfrm>
          <a:prstGeom prst="rect">
            <a:avLst/>
          </a:prstGeom>
        </p:spPr>
        <p:txBody>
          <a:bodyPr wrap="square" anchor="ctr">
            <a:spAutoFit/>
          </a:bodyPr>
          <a:lstStyle/>
          <a:p>
            <a:pPr defTabSz="896203"/>
            <a:r>
              <a:rPr lang="en-US" sz="1100" kern="0" dirty="0">
                <a:solidFill>
                  <a:sysClr val="windowText" lastClr="000000"/>
                </a:solidFill>
                <a:cs typeface="Segoe UI Semilight" panose="020B0402040204020203" pitchFamily="34" charset="0"/>
              </a:rPr>
              <a:t>Bot </a:t>
            </a:r>
            <a:br>
              <a:rPr lang="en-US" sz="1100" kern="0" dirty="0">
                <a:solidFill>
                  <a:sysClr val="windowText" lastClr="000000"/>
                </a:solidFill>
                <a:cs typeface="Segoe UI Semilight" panose="020B0402040204020203" pitchFamily="34" charset="0"/>
              </a:rPr>
            </a:br>
            <a:r>
              <a:rPr lang="en-US" sz="1100" kern="0" dirty="0">
                <a:solidFill>
                  <a:sysClr val="windowText" lastClr="000000"/>
                </a:solidFill>
                <a:cs typeface="Segoe UI Semilight" panose="020B0402040204020203" pitchFamily="34" charset="0"/>
              </a:rPr>
              <a:t>Framework</a:t>
            </a:r>
          </a:p>
        </p:txBody>
      </p:sp>
      <p:sp>
        <p:nvSpPr>
          <p:cNvPr id="129" name="Rectangle 128"/>
          <p:cNvSpPr/>
          <p:nvPr/>
        </p:nvSpPr>
        <p:spPr>
          <a:xfrm>
            <a:off x="696221" y="2304722"/>
            <a:ext cx="1268360" cy="437508"/>
          </a:xfrm>
          <a:prstGeom prst="rect">
            <a:avLst/>
          </a:prstGeom>
        </p:spPr>
        <p:txBody>
          <a:bodyPr wrap="square">
            <a:spAutoFit/>
          </a:bodyPr>
          <a:lstStyle/>
          <a:p>
            <a:pPr defTabSz="896203"/>
            <a:r>
              <a:rPr lang="en-US" sz="1100" kern="0" dirty="0">
                <a:solidFill>
                  <a:schemeClr val="accent2">
                    <a:lumMod val="75000"/>
                  </a:schemeClr>
                </a:solidFill>
                <a:cs typeface="Segoe UI Semilight" panose="020B0402040204020203" pitchFamily="34" charset="0"/>
              </a:rPr>
              <a:t>Cognitive Services</a:t>
            </a:r>
          </a:p>
        </p:txBody>
      </p:sp>
      <p:pic>
        <p:nvPicPr>
          <p:cNvPr id="43" name="Picture 4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374374" y="1284283"/>
            <a:ext cx="8687310" cy="3849828"/>
          </a:xfrm>
          <a:prstGeom prst="rect">
            <a:avLst/>
          </a:prstGeom>
        </p:spPr>
      </p:pic>
      <p:sp>
        <p:nvSpPr>
          <p:cNvPr id="52" name="Rectangle 51"/>
          <p:cNvSpPr/>
          <p:nvPr/>
        </p:nvSpPr>
        <p:spPr bwMode="auto">
          <a:xfrm>
            <a:off x="1" y="5171771"/>
            <a:ext cx="12188824" cy="1154529"/>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kern="0" dirty="0">
              <a:gradFill>
                <a:gsLst>
                  <a:gs pos="0">
                    <a:srgbClr val="FFFFFF"/>
                  </a:gs>
                  <a:gs pos="100000">
                    <a:srgbClr val="FFFFFF"/>
                  </a:gs>
                </a:gsLst>
                <a:lin ang="5400000" scaled="0"/>
              </a:gradFill>
            </a:endParaRPr>
          </a:p>
        </p:txBody>
      </p:sp>
      <p:sp>
        <p:nvSpPr>
          <p:cNvPr id="54" name="TextBox 53"/>
          <p:cNvSpPr txBox="1"/>
          <p:nvPr/>
        </p:nvSpPr>
        <p:spPr>
          <a:xfrm>
            <a:off x="1552006" y="5229692"/>
            <a:ext cx="10098732" cy="1568568"/>
          </a:xfrm>
          <a:prstGeom prst="rect">
            <a:avLst/>
          </a:prstGeom>
          <a:noFill/>
        </p:spPr>
        <p:txBody>
          <a:bodyPr wrap="square" lIns="179238" tIns="143391" rIns="179238" bIns="143391" rtlCol="0">
            <a:spAutoFit/>
          </a:bodyPr>
          <a:lstStyle/>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Bot Connector Service:  A service to register your bot, configure channels and publish to the Bot Directory. Connect your bot(s) seamlessly to text/</a:t>
            </a:r>
            <a:r>
              <a:rPr lang="en-US" sz="1176" kern="0" dirty="0" err="1">
                <a:solidFill>
                  <a:schemeClr val="bg1"/>
                </a:solidFill>
              </a:rPr>
              <a:t>sms</a:t>
            </a:r>
            <a:r>
              <a:rPr lang="en-US" sz="1176" kern="0" dirty="0">
                <a:solidFill>
                  <a:schemeClr val="bg1"/>
                </a:solidFill>
              </a:rPr>
              <a:t>, Office 365 mail, Skype, Slack, Twitter, and more. </a:t>
            </a:r>
          </a:p>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Bot Builder SDK: An open source SDK hosted on GitHub. Everything you need to build great dialogs within your Node.js or C# bot</a:t>
            </a:r>
          </a:p>
          <a:p>
            <a:pPr marL="174262" indent="-174262" defTabSz="896203">
              <a:lnSpc>
                <a:spcPct val="90000"/>
              </a:lnSpc>
              <a:spcAft>
                <a:spcPts val="588"/>
              </a:spcAft>
              <a:buClr>
                <a:schemeClr val="accent2"/>
              </a:buClr>
              <a:buFont typeface="Arial" panose="020B0604020202020204" pitchFamily="34" charset="0"/>
              <a:buChar char="•"/>
              <a:defRPr/>
            </a:pPr>
            <a:r>
              <a:rPr lang="en-US" sz="1176" kern="0" dirty="0">
                <a:solidFill>
                  <a:schemeClr val="bg1"/>
                </a:solidFill>
              </a:rPr>
              <a:t>Bot Directory: A public directory of bots registered through the Bot Connector Service. Discover, try, and add bots to conversation experiences</a:t>
            </a:r>
          </a:p>
          <a:p>
            <a:pPr marL="174262" indent="-174262" defTabSz="896203">
              <a:lnSpc>
                <a:spcPct val="90000"/>
              </a:lnSpc>
              <a:spcAft>
                <a:spcPts val="588"/>
              </a:spcAft>
              <a:buClr>
                <a:schemeClr val="accent2"/>
              </a:buClr>
              <a:buFont typeface="Arial" panose="020B0604020202020204" pitchFamily="34" charset="0"/>
              <a:buChar char="•"/>
              <a:defRPr/>
            </a:pPr>
            <a:endParaRPr lang="en-US" sz="1176" kern="0" dirty="0">
              <a:solidFill>
                <a:schemeClr val="bg1"/>
              </a:solidFill>
            </a:endParaRPr>
          </a:p>
          <a:p>
            <a:pPr marL="174262" indent="-174262" defTabSz="896203">
              <a:lnSpc>
                <a:spcPct val="90000"/>
              </a:lnSpc>
              <a:spcAft>
                <a:spcPts val="588"/>
              </a:spcAft>
              <a:buClr>
                <a:schemeClr val="accent2"/>
              </a:buClr>
              <a:buFont typeface="Arial" panose="020B0604020202020204" pitchFamily="34" charset="0"/>
              <a:buChar char="•"/>
              <a:defRPr/>
            </a:pPr>
            <a:endParaRPr lang="en-US" sz="1176" kern="0" dirty="0">
              <a:solidFill>
                <a:schemeClr val="bg1"/>
              </a:solidFill>
            </a:endParaRPr>
          </a:p>
        </p:txBody>
      </p:sp>
    </p:spTree>
    <p:extLst>
      <p:ext uri="{BB962C8B-B14F-4D97-AF65-F5344CB8AC3E}">
        <p14:creationId xmlns:p14="http://schemas.microsoft.com/office/powerpoint/2010/main" val="2758690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defTabSz="896203">
              <a:spcBef>
                <a:spcPts val="0"/>
              </a:spcBef>
              <a:spcAft>
                <a:spcPts val="588"/>
              </a:spcAft>
              <a:defRPr/>
            </a:pPr>
            <a:r>
              <a:rPr lang="en-US" kern="0" spc="0" dirty="0">
                <a:ln>
                  <a:noFill/>
                </a:ln>
              </a:rPr>
              <a:t>Get things done in more helpful, proactive and natural ways </a:t>
            </a:r>
          </a:p>
        </p:txBody>
      </p:sp>
      <p:grpSp>
        <p:nvGrpSpPr>
          <p:cNvPr id="3" name="Group 2"/>
          <p:cNvGrpSpPr/>
          <p:nvPr/>
        </p:nvGrpSpPr>
        <p:grpSpPr>
          <a:xfrm>
            <a:off x="1909864" y="1450403"/>
            <a:ext cx="10050663" cy="3628721"/>
            <a:chOff x="457200" y="1798776"/>
            <a:chExt cx="11283950" cy="4602024"/>
          </a:xfrm>
        </p:grpSpPr>
        <p:sp>
          <p:nvSpPr>
            <p:cNvPr id="143" name="Rectangle 142"/>
            <p:cNvSpPr/>
            <p:nvPr/>
          </p:nvSpPr>
          <p:spPr bwMode="auto">
            <a:xfrm>
              <a:off x="457200" y="1798776"/>
              <a:ext cx="3688781" cy="9144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6953" tIns="44810" rIns="0" bIns="44810" numCol="1" spcCol="0" rtlCol="0" fromWordArt="0" anchor="b" anchorCtr="0" forceAA="0" compatLnSpc="1">
              <a:prstTxWarp prst="textNoShape">
                <a:avLst/>
              </a:prstTxWarp>
              <a:noAutofit/>
            </a:bodyPr>
            <a:lstStyle/>
            <a:p>
              <a:pPr defTabSz="913916" fontAlgn="base">
                <a:spcBef>
                  <a:spcPct val="0"/>
                </a:spcBef>
                <a:spcAft>
                  <a:spcPct val="0"/>
                </a:spcAft>
                <a:defRPr/>
              </a:pPr>
              <a:r>
                <a:rPr lang="en-US" sz="1764" kern="0" dirty="0">
                  <a:solidFill>
                    <a:srgbClr val="0072C6"/>
                  </a:solidFill>
                  <a:latin typeface="+mj-lt"/>
                  <a:ea typeface="Segoe UI" pitchFamily="34" charset="0"/>
                  <a:cs typeface="Segoe UI" pitchFamily="34" charset="0"/>
                </a:rPr>
                <a:t>Here are some of the things I can help you with…</a:t>
              </a:r>
            </a:p>
          </p:txBody>
        </p:sp>
        <p:sp>
          <p:nvSpPr>
            <p:cNvPr id="144" name="Rectangle 143"/>
            <p:cNvSpPr/>
            <p:nvPr/>
          </p:nvSpPr>
          <p:spPr bwMode="auto">
            <a:xfrm>
              <a:off x="4254785" y="1798776"/>
              <a:ext cx="3688781" cy="9144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44810" rIns="89619" bIns="44810" numCol="1" spcCol="0" rtlCol="0" fromWordArt="0" anchor="b" anchorCtr="0" forceAA="0" compatLnSpc="1">
              <a:prstTxWarp prst="textNoShape">
                <a:avLst/>
              </a:prstTxWarp>
              <a:noAutofit/>
            </a:bodyPr>
            <a:lstStyle/>
            <a:p>
              <a:pPr algn="ctr" defTabSz="913916" fontAlgn="base">
                <a:spcBef>
                  <a:spcPct val="0"/>
                </a:spcBef>
                <a:spcAft>
                  <a:spcPct val="0"/>
                </a:spcAft>
                <a:defRPr/>
              </a:pPr>
              <a:r>
                <a:rPr lang="en-US" sz="1764" kern="0" dirty="0">
                  <a:solidFill>
                    <a:srgbClr val="0072C6"/>
                  </a:solidFill>
                  <a:latin typeface="+mj-lt"/>
                  <a:ea typeface="Segoe UI" pitchFamily="34" charset="0"/>
                  <a:cs typeface="Segoe UI" pitchFamily="34" charset="0"/>
                </a:rPr>
                <a:t>Cortana for</a:t>
              </a:r>
              <a:br>
                <a:rPr lang="en-US" sz="1764" kern="0" dirty="0">
                  <a:solidFill>
                    <a:srgbClr val="0072C6"/>
                  </a:solidFill>
                  <a:latin typeface="+mj-lt"/>
                  <a:ea typeface="Segoe UI" pitchFamily="34" charset="0"/>
                  <a:cs typeface="Segoe UI" pitchFamily="34" charset="0"/>
                </a:rPr>
              </a:br>
              <a:r>
                <a:rPr lang="en-US" sz="1764" kern="0" dirty="0">
                  <a:solidFill>
                    <a:srgbClr val="0072C6"/>
                  </a:solidFill>
                  <a:latin typeface="+mj-lt"/>
                  <a:ea typeface="Segoe UI" pitchFamily="34" charset="0"/>
                  <a:cs typeface="Segoe UI" pitchFamily="34" charset="0"/>
                </a:rPr>
                <a:t>Consumers (today)</a:t>
              </a:r>
            </a:p>
          </p:txBody>
        </p:sp>
        <p:sp>
          <p:nvSpPr>
            <p:cNvPr id="145" name="Rectangle 144"/>
            <p:cNvSpPr/>
            <p:nvPr/>
          </p:nvSpPr>
          <p:spPr bwMode="auto">
            <a:xfrm>
              <a:off x="8052369" y="1798776"/>
              <a:ext cx="3688781" cy="9144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44810" rIns="89619" bIns="44810" numCol="1" spcCol="0" rtlCol="0" fromWordArt="0" anchor="b" anchorCtr="0" forceAA="0" compatLnSpc="1">
              <a:prstTxWarp prst="textNoShape">
                <a:avLst/>
              </a:prstTxWarp>
              <a:noAutofit/>
            </a:bodyPr>
            <a:lstStyle/>
            <a:p>
              <a:pPr algn="ctr" defTabSz="913916" fontAlgn="base">
                <a:spcBef>
                  <a:spcPct val="0"/>
                </a:spcBef>
                <a:spcAft>
                  <a:spcPct val="0"/>
                </a:spcAft>
                <a:defRPr/>
              </a:pPr>
              <a:r>
                <a:rPr lang="en-US" sz="1764" kern="0" dirty="0">
                  <a:solidFill>
                    <a:srgbClr val="0072C6"/>
                  </a:solidFill>
                  <a:latin typeface="+mj-lt"/>
                  <a:ea typeface="Segoe UI" pitchFamily="34" charset="0"/>
                  <a:cs typeface="Segoe UI" pitchFamily="34" charset="0"/>
                </a:rPr>
                <a:t>With the Cortana</a:t>
              </a:r>
              <a:br>
                <a:rPr lang="en-US" sz="1764" kern="0" dirty="0">
                  <a:solidFill>
                    <a:srgbClr val="0072C6"/>
                  </a:solidFill>
                  <a:latin typeface="+mj-lt"/>
                  <a:ea typeface="Segoe UI" pitchFamily="34" charset="0"/>
                  <a:cs typeface="Segoe UI" pitchFamily="34" charset="0"/>
                </a:rPr>
              </a:br>
              <a:r>
                <a:rPr lang="en-US" sz="1764" kern="0" dirty="0">
                  <a:solidFill>
                    <a:srgbClr val="0072C6"/>
                  </a:solidFill>
                  <a:latin typeface="+mj-lt"/>
                  <a:ea typeface="Segoe UI" pitchFamily="34" charset="0"/>
                  <a:cs typeface="Segoe UI" pitchFamily="34" charset="0"/>
                </a:rPr>
                <a:t>Intelligence Suite</a:t>
              </a:r>
            </a:p>
          </p:txBody>
        </p:sp>
        <p:pic>
          <p:nvPicPr>
            <p:cNvPr id="146" name="Picture 145"/>
            <p:cNvPicPr>
              <a:picLocks/>
            </p:cNvPicPr>
            <p:nvPr/>
          </p:nvPicPr>
          <p:blipFill rotWithShape="1">
            <a:blip r:embed="rId3" cstate="email">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a:ext>
              </a:extLst>
            </a:blip>
            <a:srcRect/>
            <a:stretch/>
          </p:blipFill>
          <p:spPr>
            <a:xfrm>
              <a:off x="457200" y="1913076"/>
              <a:ext cx="604318" cy="685800"/>
            </a:xfrm>
            <a:prstGeom prst="rect">
              <a:avLst/>
            </a:prstGeom>
          </p:spPr>
        </p:pic>
        <p:sp>
          <p:nvSpPr>
            <p:cNvPr id="147" name="Rectangle 146"/>
            <p:cNvSpPr/>
            <p:nvPr/>
          </p:nvSpPr>
          <p:spPr bwMode="auto">
            <a:xfrm>
              <a:off x="457200" y="2789376"/>
              <a:ext cx="3688781" cy="817681"/>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44810" rIns="89619" bIns="44810" numCol="1" spcCol="0" rtlCol="0" fromWordArt="0" anchor="ctr" anchorCtr="0" forceAA="0" compatLnSpc="1">
              <a:prstTxWarp prst="textNoShape">
                <a:avLst/>
              </a:prstTxWarp>
              <a:noAutofit/>
            </a:bodyPr>
            <a:lstStyle/>
            <a:p>
              <a:pPr algn="ctr" defTabSz="913916" fontAlgn="base">
                <a:spcBef>
                  <a:spcPct val="0"/>
                </a:spcBef>
                <a:spcAft>
                  <a:spcPct val="0"/>
                </a:spcAft>
                <a:defRPr/>
              </a:pPr>
              <a:r>
                <a:rPr lang="en-US" sz="1764" kern="0" dirty="0">
                  <a:solidFill>
                    <a:schemeClr val="bg1"/>
                  </a:solidFill>
                  <a:latin typeface="Segoe UI Semibold" panose="020B0702040204020203" pitchFamily="34" charset="0"/>
                  <a:ea typeface="Segoe UI" pitchFamily="34" charset="0"/>
                  <a:cs typeface="Segoe UI Semibold" panose="020B0702040204020203" pitchFamily="34" charset="0"/>
                </a:rPr>
                <a:t>Answers</a:t>
              </a:r>
            </a:p>
          </p:txBody>
        </p:sp>
        <p:sp>
          <p:nvSpPr>
            <p:cNvPr id="148" name="Rectangle 147"/>
            <p:cNvSpPr/>
            <p:nvPr/>
          </p:nvSpPr>
          <p:spPr bwMode="auto">
            <a:xfrm>
              <a:off x="4254785" y="2789376"/>
              <a:ext cx="3688781" cy="817681"/>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44810" rIns="89619" bIns="44810" numCol="1" spcCol="0" rtlCol="0" fromWordArt="0" anchor="ctr" anchorCtr="0" forceAA="0" compatLnSpc="1">
              <a:prstTxWarp prst="textNoShape">
                <a:avLst/>
              </a:prstTxWarp>
              <a:noAutofit/>
            </a:bodyPr>
            <a:lstStyle/>
            <a:p>
              <a:pPr defTabSz="913916" fontAlgn="base">
                <a:spcBef>
                  <a:spcPct val="0"/>
                </a:spcBef>
                <a:spcAft>
                  <a:spcPct val="0"/>
                </a:spcAft>
                <a:defRPr/>
              </a:pPr>
              <a:r>
                <a:rPr lang="en-US" sz="1176" kern="0" dirty="0">
                  <a:solidFill>
                    <a:schemeClr val="bg1"/>
                  </a:solidFill>
                  <a:ea typeface="Segoe UI" pitchFamily="34" charset="0"/>
                  <a:cs typeface="Segoe UI" pitchFamily="34" charset="0"/>
                </a:rPr>
                <a:t>Public reference data answers – “</a:t>
              </a:r>
              <a:r>
                <a:rPr lang="en-US" sz="1176" i="1" kern="0" dirty="0">
                  <a:solidFill>
                    <a:schemeClr val="bg1"/>
                  </a:solidFill>
                  <a:ea typeface="Segoe UI" pitchFamily="34" charset="0"/>
                  <a:cs typeface="Segoe UI" pitchFamily="34" charset="0"/>
                </a:rPr>
                <a:t>How far is it from Los Angeles to San Francisco?”</a:t>
              </a:r>
            </a:p>
          </p:txBody>
        </p:sp>
        <p:sp>
          <p:nvSpPr>
            <p:cNvPr id="149" name="Rectangle 148"/>
            <p:cNvSpPr/>
            <p:nvPr/>
          </p:nvSpPr>
          <p:spPr bwMode="auto">
            <a:xfrm>
              <a:off x="8052369" y="2789376"/>
              <a:ext cx="3688781" cy="817681"/>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44810" rIns="89619" bIns="44810" numCol="1" spcCol="0" rtlCol="0" fromWordArt="0" anchor="ctr" anchorCtr="0" forceAA="0" compatLnSpc="1">
              <a:prstTxWarp prst="textNoShape">
                <a:avLst/>
              </a:prstTxWarp>
              <a:noAutofit/>
            </a:bodyPr>
            <a:lstStyle/>
            <a:p>
              <a:pPr defTabSz="913916" fontAlgn="base">
                <a:spcBef>
                  <a:spcPct val="0"/>
                </a:spcBef>
                <a:spcAft>
                  <a:spcPct val="0"/>
                </a:spcAft>
                <a:defRPr/>
              </a:pPr>
              <a:r>
                <a:rPr lang="en-US" sz="1176" kern="0" dirty="0">
                  <a:solidFill>
                    <a:schemeClr val="bg1"/>
                  </a:solidFill>
                  <a:ea typeface="Segoe UI" pitchFamily="34" charset="0"/>
                  <a:cs typeface="Segoe UI" pitchFamily="34" charset="0"/>
                </a:rPr>
                <a:t>Answers from organizational data in Power BI</a:t>
              </a:r>
            </a:p>
            <a:p>
              <a:pPr defTabSz="913916" fontAlgn="base">
                <a:spcBef>
                  <a:spcPct val="0"/>
                </a:spcBef>
                <a:spcAft>
                  <a:spcPct val="0"/>
                </a:spcAft>
                <a:defRPr/>
              </a:pPr>
              <a:r>
                <a:rPr lang="en-US" sz="1176" i="1" kern="0" dirty="0">
                  <a:solidFill>
                    <a:schemeClr val="bg1"/>
                  </a:solidFill>
                  <a:ea typeface="Segoe UI" pitchFamily="34" charset="0"/>
                  <a:cs typeface="Segoe UI" pitchFamily="34" charset="0"/>
                </a:rPr>
                <a:t>“What were our biggest deals that closed </a:t>
              </a:r>
              <a:br>
                <a:rPr lang="en-US" sz="1176" i="1" kern="0" dirty="0">
                  <a:solidFill>
                    <a:schemeClr val="bg1"/>
                  </a:solidFill>
                  <a:ea typeface="Segoe UI" pitchFamily="34" charset="0"/>
                  <a:cs typeface="Segoe UI" pitchFamily="34" charset="0"/>
                </a:rPr>
              </a:br>
              <a:r>
                <a:rPr lang="en-US" sz="1176" i="1" kern="0" dirty="0">
                  <a:solidFill>
                    <a:schemeClr val="bg1"/>
                  </a:solidFill>
                  <a:ea typeface="Segoe UI" pitchFamily="34" charset="0"/>
                  <a:cs typeface="Segoe UI" pitchFamily="34" charset="0"/>
                </a:rPr>
                <a:t>last month?”</a:t>
              </a:r>
            </a:p>
          </p:txBody>
        </p:sp>
        <p:sp>
          <p:nvSpPr>
            <p:cNvPr id="150" name="Rectangle 149"/>
            <p:cNvSpPr/>
            <p:nvPr/>
          </p:nvSpPr>
          <p:spPr bwMode="auto">
            <a:xfrm>
              <a:off x="457200" y="3720624"/>
              <a:ext cx="3688781" cy="817681"/>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44810" rIns="89619" bIns="44810" numCol="1" spcCol="0" rtlCol="0" fromWordArt="0" anchor="ctr" anchorCtr="0" forceAA="0" compatLnSpc="1">
              <a:prstTxWarp prst="textNoShape">
                <a:avLst/>
              </a:prstTxWarp>
              <a:noAutofit/>
            </a:bodyPr>
            <a:lstStyle/>
            <a:p>
              <a:pPr algn="ctr" defTabSz="913916" fontAlgn="base">
                <a:spcBef>
                  <a:spcPct val="0"/>
                </a:spcBef>
                <a:spcAft>
                  <a:spcPct val="0"/>
                </a:spcAft>
                <a:defRPr/>
              </a:pPr>
              <a:r>
                <a:rPr lang="en-US" sz="1764" kern="0" dirty="0">
                  <a:solidFill>
                    <a:schemeClr val="bg1"/>
                  </a:solidFill>
                  <a:latin typeface="Segoe UI Semibold" panose="020B0702040204020203" pitchFamily="34" charset="0"/>
                  <a:ea typeface="Segoe UI" pitchFamily="34" charset="0"/>
                  <a:cs typeface="Segoe UI Semibold" panose="020B0702040204020203" pitchFamily="34" charset="0"/>
                </a:rPr>
                <a:t>Predictions</a:t>
              </a:r>
            </a:p>
          </p:txBody>
        </p:sp>
        <p:sp>
          <p:nvSpPr>
            <p:cNvPr id="151" name="Rectangle 150"/>
            <p:cNvSpPr/>
            <p:nvPr/>
          </p:nvSpPr>
          <p:spPr bwMode="auto">
            <a:xfrm>
              <a:off x="4254785" y="3720624"/>
              <a:ext cx="3688781" cy="817681"/>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44810" rIns="89619" bIns="44810" numCol="1" spcCol="0" rtlCol="0" fromWordArt="0" anchor="ctr" anchorCtr="0" forceAA="0" compatLnSpc="1">
              <a:prstTxWarp prst="textNoShape">
                <a:avLst/>
              </a:prstTxWarp>
              <a:noAutofit/>
            </a:bodyPr>
            <a:lstStyle/>
            <a:p>
              <a:pPr defTabSz="913916" fontAlgn="base">
                <a:spcBef>
                  <a:spcPct val="0"/>
                </a:spcBef>
                <a:spcAft>
                  <a:spcPct val="0"/>
                </a:spcAft>
                <a:defRPr/>
              </a:pPr>
              <a:r>
                <a:rPr lang="en-US" sz="1176" kern="0" dirty="0">
                  <a:solidFill>
                    <a:schemeClr val="bg1"/>
                  </a:solidFill>
                  <a:ea typeface="Segoe UI" pitchFamily="34" charset="0"/>
                  <a:cs typeface="Segoe UI" pitchFamily="34" charset="0"/>
                </a:rPr>
                <a:t>Event predictions – </a:t>
              </a:r>
              <a:r>
                <a:rPr lang="en-US" sz="1176" i="1" kern="0" dirty="0">
                  <a:solidFill>
                    <a:schemeClr val="bg1"/>
                  </a:solidFill>
                  <a:ea typeface="Segoe UI" pitchFamily="34" charset="0"/>
                  <a:cs typeface="Segoe UI" pitchFamily="34" charset="0"/>
                </a:rPr>
                <a:t>“Who do you think is going to win the Germany Italy game?”</a:t>
              </a:r>
            </a:p>
          </p:txBody>
        </p:sp>
        <p:sp>
          <p:nvSpPr>
            <p:cNvPr id="152" name="Rectangle 151"/>
            <p:cNvSpPr/>
            <p:nvPr/>
          </p:nvSpPr>
          <p:spPr bwMode="auto">
            <a:xfrm>
              <a:off x="8052369" y="3720624"/>
              <a:ext cx="3688781" cy="817681"/>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44810" rIns="89619" bIns="44810" numCol="1" spcCol="0" rtlCol="0" fromWordArt="0" anchor="ctr" anchorCtr="0" forceAA="0" compatLnSpc="1">
              <a:prstTxWarp prst="textNoShape">
                <a:avLst/>
              </a:prstTxWarp>
              <a:noAutofit/>
            </a:bodyPr>
            <a:lstStyle/>
            <a:p>
              <a:pPr defTabSz="913916" fontAlgn="base">
                <a:spcBef>
                  <a:spcPct val="0"/>
                </a:spcBef>
                <a:spcAft>
                  <a:spcPct val="0"/>
                </a:spcAft>
                <a:defRPr/>
              </a:pPr>
              <a:r>
                <a:rPr lang="en-US" sz="1176" kern="0" dirty="0">
                  <a:solidFill>
                    <a:schemeClr val="bg1"/>
                  </a:solidFill>
                  <a:ea typeface="Segoe UI" pitchFamily="34" charset="0"/>
                  <a:cs typeface="Segoe UI" pitchFamily="34" charset="0"/>
                </a:rPr>
                <a:t>Integration with prediction solutions</a:t>
              </a:r>
            </a:p>
            <a:p>
              <a:pPr defTabSz="913916" fontAlgn="base">
                <a:spcBef>
                  <a:spcPct val="0"/>
                </a:spcBef>
                <a:spcAft>
                  <a:spcPct val="0"/>
                </a:spcAft>
                <a:defRPr/>
              </a:pPr>
              <a:r>
                <a:rPr lang="en-US" sz="1176" i="1" kern="0" dirty="0">
                  <a:solidFill>
                    <a:schemeClr val="bg1"/>
                  </a:solidFill>
                  <a:ea typeface="Segoe UI" pitchFamily="34" charset="0"/>
                  <a:cs typeface="Segoe UI" pitchFamily="34" charset="0"/>
                </a:rPr>
                <a:t>“Which of our customers are most likely to churn in the next quarter?”</a:t>
              </a:r>
            </a:p>
          </p:txBody>
        </p:sp>
        <p:sp>
          <p:nvSpPr>
            <p:cNvPr id="153" name="Rectangle 152"/>
            <p:cNvSpPr/>
            <p:nvPr/>
          </p:nvSpPr>
          <p:spPr bwMode="auto">
            <a:xfrm>
              <a:off x="457200" y="4651871"/>
              <a:ext cx="3688781" cy="817681"/>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44810" rIns="89619" bIns="44810" numCol="1" spcCol="0" rtlCol="0" fromWordArt="0" anchor="ctr" anchorCtr="0" forceAA="0" compatLnSpc="1">
              <a:prstTxWarp prst="textNoShape">
                <a:avLst/>
              </a:prstTxWarp>
              <a:noAutofit/>
            </a:bodyPr>
            <a:lstStyle/>
            <a:p>
              <a:pPr algn="ctr" defTabSz="913916" fontAlgn="base">
                <a:spcBef>
                  <a:spcPct val="0"/>
                </a:spcBef>
                <a:spcAft>
                  <a:spcPct val="0"/>
                </a:spcAft>
                <a:defRPr/>
              </a:pPr>
              <a:r>
                <a:rPr lang="en-US" sz="1764" kern="0" dirty="0">
                  <a:solidFill>
                    <a:schemeClr val="bg1"/>
                  </a:solidFill>
                  <a:latin typeface="Segoe UI Semibold" panose="020B0702040204020203" pitchFamily="34" charset="0"/>
                  <a:ea typeface="Segoe UI" pitchFamily="34" charset="0"/>
                  <a:cs typeface="Segoe UI Semibold" panose="020B0702040204020203" pitchFamily="34" charset="0"/>
                </a:rPr>
                <a:t>Monitoring &amp; Alerts</a:t>
              </a:r>
            </a:p>
          </p:txBody>
        </p:sp>
        <p:sp>
          <p:nvSpPr>
            <p:cNvPr id="154" name="Rectangle 153"/>
            <p:cNvSpPr/>
            <p:nvPr/>
          </p:nvSpPr>
          <p:spPr bwMode="auto">
            <a:xfrm>
              <a:off x="4254785" y="4651871"/>
              <a:ext cx="3688781" cy="817681"/>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44810" rIns="89619" bIns="44810" numCol="1" spcCol="0" rtlCol="0" fromWordArt="0" anchor="ctr" anchorCtr="0" forceAA="0" compatLnSpc="1">
              <a:prstTxWarp prst="textNoShape">
                <a:avLst/>
              </a:prstTxWarp>
              <a:noAutofit/>
            </a:bodyPr>
            <a:lstStyle/>
            <a:p>
              <a:pPr defTabSz="913916" fontAlgn="base">
                <a:spcBef>
                  <a:spcPct val="0"/>
                </a:spcBef>
                <a:spcAft>
                  <a:spcPct val="0"/>
                </a:spcAft>
                <a:defRPr/>
              </a:pPr>
              <a:r>
                <a:rPr lang="en-US" sz="1176" kern="0" dirty="0">
                  <a:solidFill>
                    <a:schemeClr val="bg1"/>
                  </a:solidFill>
                  <a:ea typeface="Segoe UI" pitchFamily="34" charset="0"/>
                  <a:cs typeface="Segoe UI" pitchFamily="34" charset="0"/>
                </a:rPr>
                <a:t>Flight status, traffic conditions, changes in weather, …</a:t>
              </a:r>
            </a:p>
          </p:txBody>
        </p:sp>
        <p:sp>
          <p:nvSpPr>
            <p:cNvPr id="155" name="Rectangle 154"/>
            <p:cNvSpPr/>
            <p:nvPr/>
          </p:nvSpPr>
          <p:spPr bwMode="auto">
            <a:xfrm>
              <a:off x="8052369" y="4651871"/>
              <a:ext cx="3688781" cy="817681"/>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44810" rIns="89619" bIns="44810" numCol="1" spcCol="0" rtlCol="0" fromWordArt="0" anchor="ctr" anchorCtr="0" forceAA="0" compatLnSpc="1">
              <a:prstTxWarp prst="textNoShape">
                <a:avLst/>
              </a:prstTxWarp>
              <a:noAutofit/>
            </a:bodyPr>
            <a:lstStyle/>
            <a:p>
              <a:pPr defTabSz="913916" fontAlgn="base">
                <a:spcBef>
                  <a:spcPct val="0"/>
                </a:spcBef>
                <a:spcAft>
                  <a:spcPct val="0"/>
                </a:spcAft>
                <a:defRPr/>
              </a:pPr>
              <a:r>
                <a:rPr lang="en-US" sz="1176" kern="0" dirty="0">
                  <a:solidFill>
                    <a:schemeClr val="bg1"/>
                  </a:solidFill>
                  <a:ea typeface="Segoe UI" pitchFamily="34" charset="0"/>
                  <a:cs typeface="Segoe UI" pitchFamily="34" charset="0"/>
                </a:rPr>
                <a:t>Monitoring KPIs and preemptive alerting</a:t>
              </a:r>
            </a:p>
            <a:p>
              <a:pPr defTabSz="913916" fontAlgn="base">
                <a:spcBef>
                  <a:spcPct val="0"/>
                </a:spcBef>
                <a:spcAft>
                  <a:spcPct val="0"/>
                </a:spcAft>
                <a:defRPr/>
              </a:pPr>
              <a:r>
                <a:rPr lang="en-US" sz="1176" i="1" kern="0" dirty="0">
                  <a:solidFill>
                    <a:schemeClr val="bg1"/>
                  </a:solidFill>
                  <a:ea typeface="Segoe UI" pitchFamily="34" charset="0"/>
                  <a:cs typeface="Segoe UI" pitchFamily="34" charset="0"/>
                </a:rPr>
                <a:t>“Alert me if this customer ever has a 90% chance of churn in the next 30 days”</a:t>
              </a:r>
            </a:p>
          </p:txBody>
        </p:sp>
        <p:sp>
          <p:nvSpPr>
            <p:cNvPr id="156" name="Rectangle 155"/>
            <p:cNvSpPr/>
            <p:nvPr/>
          </p:nvSpPr>
          <p:spPr bwMode="auto">
            <a:xfrm>
              <a:off x="457200" y="5583119"/>
              <a:ext cx="3688781" cy="817681"/>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44810" rIns="89619" bIns="44810" numCol="1" spcCol="0" rtlCol="0" fromWordArt="0" anchor="ctr" anchorCtr="0" forceAA="0" compatLnSpc="1">
              <a:prstTxWarp prst="textNoShape">
                <a:avLst/>
              </a:prstTxWarp>
              <a:noAutofit/>
            </a:bodyPr>
            <a:lstStyle/>
            <a:p>
              <a:pPr algn="ctr" defTabSz="913916" fontAlgn="base">
                <a:spcBef>
                  <a:spcPct val="0"/>
                </a:spcBef>
                <a:spcAft>
                  <a:spcPct val="0"/>
                </a:spcAft>
                <a:defRPr/>
              </a:pPr>
              <a:r>
                <a:rPr lang="en-US" sz="1764" kern="0" dirty="0">
                  <a:solidFill>
                    <a:schemeClr val="bg1"/>
                  </a:solidFill>
                  <a:latin typeface="Segoe UI Semibold" panose="020B0702040204020203" pitchFamily="34" charset="0"/>
                  <a:ea typeface="Segoe UI" pitchFamily="34" charset="0"/>
                  <a:cs typeface="Segoe UI Semibold" panose="020B0702040204020203" pitchFamily="34" charset="0"/>
                </a:rPr>
                <a:t>Task Completion</a:t>
              </a:r>
            </a:p>
          </p:txBody>
        </p:sp>
        <p:sp>
          <p:nvSpPr>
            <p:cNvPr id="157" name="Rectangle 156"/>
            <p:cNvSpPr/>
            <p:nvPr/>
          </p:nvSpPr>
          <p:spPr bwMode="auto">
            <a:xfrm>
              <a:off x="4254785" y="5583119"/>
              <a:ext cx="3688781" cy="817681"/>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44810" rIns="89619" bIns="44810" numCol="1" spcCol="0" rtlCol="0" fromWordArt="0" anchor="ctr" anchorCtr="0" forceAA="0" compatLnSpc="1">
              <a:prstTxWarp prst="textNoShape">
                <a:avLst/>
              </a:prstTxWarp>
              <a:noAutofit/>
            </a:bodyPr>
            <a:lstStyle/>
            <a:p>
              <a:pPr defTabSz="913916" fontAlgn="base">
                <a:spcBef>
                  <a:spcPct val="0"/>
                </a:spcBef>
                <a:spcAft>
                  <a:spcPct val="0"/>
                </a:spcAft>
                <a:defRPr/>
              </a:pPr>
              <a:r>
                <a:rPr lang="en-US" sz="1176" kern="0" dirty="0">
                  <a:solidFill>
                    <a:schemeClr val="bg1"/>
                  </a:solidFill>
                  <a:ea typeface="Segoe UI" pitchFamily="34" charset="0"/>
                  <a:cs typeface="Segoe UI" pitchFamily="34" charset="0"/>
                </a:rPr>
                <a:t>Setting reminders, scheduling meetings, getting directions, …</a:t>
              </a:r>
            </a:p>
          </p:txBody>
        </p:sp>
        <p:sp>
          <p:nvSpPr>
            <p:cNvPr id="158" name="Rectangle 157"/>
            <p:cNvSpPr/>
            <p:nvPr/>
          </p:nvSpPr>
          <p:spPr bwMode="auto">
            <a:xfrm>
              <a:off x="8052369" y="5583119"/>
              <a:ext cx="3688781" cy="817681"/>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44810" rIns="89619" bIns="44810" numCol="1" spcCol="0" rtlCol="0" fromWordArt="0" anchor="ctr" anchorCtr="0" forceAA="0" compatLnSpc="1">
              <a:prstTxWarp prst="textNoShape">
                <a:avLst/>
              </a:prstTxWarp>
              <a:noAutofit/>
            </a:bodyPr>
            <a:lstStyle/>
            <a:p>
              <a:pPr defTabSz="913916" fontAlgn="base">
                <a:spcBef>
                  <a:spcPct val="0"/>
                </a:spcBef>
                <a:spcAft>
                  <a:spcPct val="0"/>
                </a:spcAft>
                <a:defRPr/>
              </a:pPr>
              <a:r>
                <a:rPr lang="en-US" sz="1176" kern="0" dirty="0">
                  <a:solidFill>
                    <a:schemeClr val="bg1"/>
                  </a:solidFill>
                  <a:ea typeface="Segoe UI" pitchFamily="34" charset="0"/>
                  <a:cs typeface="Segoe UI" pitchFamily="34" charset="0"/>
                </a:rPr>
                <a:t>Line of business process integration</a:t>
              </a:r>
            </a:p>
            <a:p>
              <a:pPr defTabSz="913916" fontAlgn="base">
                <a:spcBef>
                  <a:spcPct val="0"/>
                </a:spcBef>
                <a:spcAft>
                  <a:spcPct val="0"/>
                </a:spcAft>
                <a:defRPr/>
              </a:pPr>
              <a:r>
                <a:rPr lang="en-US" sz="1176" i="1" kern="0" dirty="0">
                  <a:solidFill>
                    <a:schemeClr val="bg1"/>
                  </a:solidFill>
                  <a:ea typeface="Segoe UI" pitchFamily="34" charset="0"/>
                  <a:cs typeface="Segoe UI" pitchFamily="34" charset="0"/>
                </a:rPr>
                <a:t>Assistance with expense report submission </a:t>
              </a:r>
              <a:br>
                <a:rPr lang="en-US" sz="1176" i="1" kern="0" dirty="0">
                  <a:solidFill>
                    <a:schemeClr val="bg1"/>
                  </a:solidFill>
                  <a:ea typeface="Segoe UI" pitchFamily="34" charset="0"/>
                  <a:cs typeface="Segoe UI" pitchFamily="34" charset="0"/>
                </a:rPr>
              </a:br>
              <a:r>
                <a:rPr lang="en-US" sz="1176" i="1" kern="0" dirty="0">
                  <a:solidFill>
                    <a:schemeClr val="bg1"/>
                  </a:solidFill>
                  <a:ea typeface="Segoe UI" pitchFamily="34" charset="0"/>
                  <a:cs typeface="Segoe UI" pitchFamily="34" charset="0"/>
                </a:rPr>
                <a:t>on-time within policy</a:t>
              </a:r>
            </a:p>
          </p:txBody>
        </p:sp>
        <p:cxnSp>
          <p:nvCxnSpPr>
            <p:cNvPr id="159" name="Straight Connector 158"/>
            <p:cNvCxnSpPr/>
            <p:nvPr/>
          </p:nvCxnSpPr>
          <p:spPr>
            <a:xfrm>
              <a:off x="457200" y="2713176"/>
              <a:ext cx="3688781" cy="0"/>
            </a:xfrm>
            <a:prstGeom prst="line">
              <a:avLst/>
            </a:prstGeom>
            <a:ln w="3810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0" name="Straight Connector 159"/>
            <p:cNvCxnSpPr/>
            <p:nvPr/>
          </p:nvCxnSpPr>
          <p:spPr>
            <a:xfrm>
              <a:off x="4254785" y="2713176"/>
              <a:ext cx="3688781" cy="0"/>
            </a:xfrm>
            <a:prstGeom prst="line">
              <a:avLst/>
            </a:prstGeom>
            <a:ln w="3810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1" name="Straight Connector 160"/>
            <p:cNvCxnSpPr/>
            <p:nvPr/>
          </p:nvCxnSpPr>
          <p:spPr>
            <a:xfrm>
              <a:off x="8052369" y="2713176"/>
              <a:ext cx="3688781" cy="0"/>
            </a:xfrm>
            <a:prstGeom prst="line">
              <a:avLst/>
            </a:prstGeom>
            <a:ln w="3810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24" name="Group 123"/>
          <p:cNvGrpSpPr/>
          <p:nvPr/>
        </p:nvGrpSpPr>
        <p:grpSpPr>
          <a:xfrm>
            <a:off x="1463232" y="2318407"/>
            <a:ext cx="196751" cy="206848"/>
            <a:chOff x="4106551" y="3401141"/>
            <a:chExt cx="254631" cy="267699"/>
          </a:xfrm>
        </p:grpSpPr>
        <p:sp>
          <p:nvSpPr>
            <p:cNvPr id="125" name="Rectangle 124"/>
            <p:cNvSpPr/>
            <p:nvPr/>
          </p:nvSpPr>
          <p:spPr bwMode="auto">
            <a:xfrm>
              <a:off x="4106551"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6" name="Rectangle 125"/>
            <p:cNvSpPr/>
            <p:nvPr/>
          </p:nvSpPr>
          <p:spPr bwMode="auto">
            <a:xfrm>
              <a:off x="4245904"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7" name="Oval 126"/>
            <p:cNvSpPr/>
            <p:nvPr/>
          </p:nvSpPr>
          <p:spPr bwMode="auto">
            <a:xfrm>
              <a:off x="4174625"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8" name="Oval 127"/>
            <p:cNvSpPr/>
            <p:nvPr/>
          </p:nvSpPr>
          <p:spPr bwMode="auto">
            <a:xfrm>
              <a:off x="4313978"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9" name="Rectangle 128"/>
            <p:cNvSpPr/>
            <p:nvPr/>
          </p:nvSpPr>
          <p:spPr bwMode="auto">
            <a:xfrm>
              <a:off x="4106551"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0" name="Rectangle 129"/>
            <p:cNvSpPr/>
            <p:nvPr/>
          </p:nvSpPr>
          <p:spPr bwMode="auto">
            <a:xfrm>
              <a:off x="4245904"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1" name="Oval 130"/>
            <p:cNvSpPr/>
            <p:nvPr/>
          </p:nvSpPr>
          <p:spPr bwMode="auto">
            <a:xfrm>
              <a:off x="4174625"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2" name="Oval 131"/>
            <p:cNvSpPr/>
            <p:nvPr/>
          </p:nvSpPr>
          <p:spPr bwMode="auto">
            <a:xfrm>
              <a:off x="4313978"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3" name="Rectangle 132"/>
            <p:cNvSpPr/>
            <p:nvPr/>
          </p:nvSpPr>
          <p:spPr bwMode="auto">
            <a:xfrm>
              <a:off x="4178218"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4" name="Rectangle 133"/>
            <p:cNvSpPr/>
            <p:nvPr/>
          </p:nvSpPr>
          <p:spPr bwMode="auto">
            <a:xfrm>
              <a:off x="4317571"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5" name="Oval 134"/>
            <p:cNvSpPr/>
            <p:nvPr/>
          </p:nvSpPr>
          <p:spPr bwMode="auto">
            <a:xfrm>
              <a:off x="4106939"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6" name="Oval 135"/>
            <p:cNvSpPr/>
            <p:nvPr/>
          </p:nvSpPr>
          <p:spPr bwMode="auto">
            <a:xfrm>
              <a:off x="4246293"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7" name="Rectangle 136"/>
            <p:cNvSpPr/>
            <p:nvPr/>
          </p:nvSpPr>
          <p:spPr bwMode="auto">
            <a:xfrm>
              <a:off x="4178218"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8" name="Rectangle 137"/>
            <p:cNvSpPr/>
            <p:nvPr/>
          </p:nvSpPr>
          <p:spPr bwMode="auto">
            <a:xfrm>
              <a:off x="4317571"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9" name="Oval 138"/>
            <p:cNvSpPr/>
            <p:nvPr/>
          </p:nvSpPr>
          <p:spPr bwMode="auto">
            <a:xfrm>
              <a:off x="4106939"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40" name="Oval 139"/>
            <p:cNvSpPr/>
            <p:nvPr/>
          </p:nvSpPr>
          <p:spPr bwMode="auto">
            <a:xfrm>
              <a:off x="4246293"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41" name="Rectangle 140"/>
          <p:cNvSpPr/>
          <p:nvPr/>
        </p:nvSpPr>
        <p:spPr bwMode="auto">
          <a:xfrm>
            <a:off x="2809" y="1618083"/>
            <a:ext cx="1736661" cy="232109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4" tIns="91403" rIns="18274" bIns="91365" numCol="1" spcCol="1270" anchor="t" anchorCtr="0">
            <a:noAutofit/>
          </a:bodyPr>
          <a:lstStyle/>
          <a:p>
            <a:pPr algn="ctr" defTabSz="724725">
              <a:spcBef>
                <a:spcPct val="0"/>
              </a:spcBef>
              <a:spcAft>
                <a:spcPct val="35000"/>
              </a:spcAft>
            </a:pPr>
            <a:r>
              <a:rPr lang="en-US" sz="1400" kern="0" dirty="0">
                <a:solidFill>
                  <a:schemeClr val="tx1"/>
                </a:solidFill>
                <a:latin typeface="Segoe UI Semibold" panose="020B0702040204020203" pitchFamily="34" charset="0"/>
                <a:cs typeface="Segoe UI Semibold" panose="020B0702040204020203" pitchFamily="34" charset="0"/>
              </a:rPr>
              <a:t>Intelligence</a:t>
            </a:r>
          </a:p>
        </p:txBody>
      </p:sp>
      <p:grpSp>
        <p:nvGrpSpPr>
          <p:cNvPr id="142" name="Group 141"/>
          <p:cNvGrpSpPr/>
          <p:nvPr/>
        </p:nvGrpSpPr>
        <p:grpSpPr>
          <a:xfrm>
            <a:off x="300403" y="3398122"/>
            <a:ext cx="315632" cy="315632"/>
            <a:chOff x="3236065" y="-9960864"/>
            <a:chExt cx="5641200" cy="5641200"/>
          </a:xfrm>
          <a:solidFill>
            <a:schemeClr val="tx1"/>
          </a:solidFill>
        </p:grpSpPr>
        <p:sp>
          <p:nvSpPr>
            <p:cNvPr id="162" name="Freeform 161"/>
            <p:cNvSpPr/>
            <p:nvPr/>
          </p:nvSpPr>
          <p:spPr bwMode="auto">
            <a:xfrm>
              <a:off x="3236065" y="-9960864"/>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algn="ctr" defTabSz="932103" fontAlgn="base">
                <a:spcBef>
                  <a:spcPct val="0"/>
                </a:spcBef>
                <a:spcAft>
                  <a:spcPct val="0"/>
                </a:spcAft>
              </a:pPr>
              <a:endParaRPr lang="en-US" sz="3599" kern="0" dirty="0" err="1">
                <a:solidFill>
                  <a:schemeClr val="tx1"/>
                </a:solidFill>
                <a:ea typeface="Segoe UI" pitchFamily="34" charset="0"/>
                <a:cs typeface="Segoe UI" pitchFamily="34" charset="0"/>
              </a:endParaRPr>
            </a:p>
          </p:txBody>
        </p:sp>
        <p:sp>
          <p:nvSpPr>
            <p:cNvPr id="163" name="Freeform 162"/>
            <p:cNvSpPr/>
            <p:nvPr/>
          </p:nvSpPr>
          <p:spPr bwMode="auto">
            <a:xfrm>
              <a:off x="3615094" y="-9598196"/>
              <a:ext cx="4883195" cy="4883195"/>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algn="ctr" defTabSz="932103" fontAlgn="base">
                <a:spcBef>
                  <a:spcPct val="0"/>
                </a:spcBef>
                <a:spcAft>
                  <a:spcPct val="0"/>
                </a:spcAft>
              </a:pPr>
              <a:endParaRPr lang="en-US" sz="3599" kern="0" dirty="0" err="1">
                <a:solidFill>
                  <a:schemeClr val="tx1"/>
                </a:solidFill>
                <a:ea typeface="Segoe UI" pitchFamily="34" charset="0"/>
                <a:cs typeface="Segoe UI" pitchFamily="34" charset="0"/>
              </a:endParaRPr>
            </a:p>
          </p:txBody>
        </p:sp>
      </p:grpSp>
      <p:grpSp>
        <p:nvGrpSpPr>
          <p:cNvPr id="164" name="Group 163"/>
          <p:cNvGrpSpPr/>
          <p:nvPr/>
        </p:nvGrpSpPr>
        <p:grpSpPr>
          <a:xfrm>
            <a:off x="244590" y="2383096"/>
            <a:ext cx="427259" cy="273967"/>
            <a:chOff x="7822816" y="2717080"/>
            <a:chExt cx="427431" cy="274077"/>
          </a:xfrm>
          <a:solidFill>
            <a:schemeClr val="accent2">
              <a:lumMod val="75000"/>
            </a:schemeClr>
          </a:solidFill>
        </p:grpSpPr>
        <p:sp>
          <p:nvSpPr>
            <p:cNvPr id="165" name="Freeform 164"/>
            <p:cNvSpPr>
              <a:spLocks/>
            </p:cNvSpPr>
            <p:nvPr/>
          </p:nvSpPr>
          <p:spPr bwMode="auto">
            <a:xfrm flipH="1">
              <a:off x="782281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grpFill/>
            <a:ln>
              <a:noFill/>
            </a:ln>
          </p:spPr>
          <p:txBody>
            <a:bodyPr vert="horz" wrap="square" lIns="91403" tIns="45701" rIns="91403" bIns="45701" numCol="1" anchor="t" anchorCtr="0" compatLnSpc="1">
              <a:prstTxWarp prst="textNoShape">
                <a:avLst/>
              </a:prstTxWarp>
              <a:noAutofit/>
            </a:bodyPr>
            <a:lstStyle/>
            <a:p>
              <a:pPr defTabSz="896203"/>
              <a:endParaRPr lang="en-US" sz="1799" kern="0">
                <a:solidFill>
                  <a:sysClr val="windowText" lastClr="000000"/>
                </a:solidFill>
              </a:endParaRPr>
            </a:p>
          </p:txBody>
        </p:sp>
        <p:sp>
          <p:nvSpPr>
            <p:cNvPr id="166" name="Freeform 109"/>
            <p:cNvSpPr>
              <a:spLocks/>
            </p:cNvSpPr>
            <p:nvPr/>
          </p:nvSpPr>
          <p:spPr bwMode="auto">
            <a:xfrm>
              <a:off x="793668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grpFill/>
            <a:ln>
              <a:noFill/>
            </a:ln>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grpSp>
      <p:sp>
        <p:nvSpPr>
          <p:cNvPr id="167" name="Freeform 166"/>
          <p:cNvSpPr/>
          <p:nvPr/>
        </p:nvSpPr>
        <p:spPr bwMode="auto">
          <a:xfrm>
            <a:off x="271616" y="2915003"/>
            <a:ext cx="373208" cy="253694"/>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pPr>
            <a:endParaRPr lang="en-US" sz="2399" kern="0">
              <a:solidFill>
                <a:schemeClr val="tx1"/>
              </a:solidFill>
              <a:ea typeface="Segoe UI" pitchFamily="34" charset="0"/>
              <a:cs typeface="Segoe UI" pitchFamily="34" charset="0"/>
            </a:endParaRPr>
          </a:p>
        </p:txBody>
      </p:sp>
      <p:sp>
        <p:nvSpPr>
          <p:cNvPr id="168" name="Rectangle 167"/>
          <p:cNvSpPr/>
          <p:nvPr/>
        </p:nvSpPr>
        <p:spPr>
          <a:xfrm>
            <a:off x="696221" y="3426123"/>
            <a:ext cx="1268360" cy="264903"/>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Cortana</a:t>
            </a:r>
          </a:p>
        </p:txBody>
      </p:sp>
      <p:sp>
        <p:nvSpPr>
          <p:cNvPr id="169" name="Rectangle 168"/>
          <p:cNvSpPr/>
          <p:nvPr/>
        </p:nvSpPr>
        <p:spPr>
          <a:xfrm>
            <a:off x="696221" y="2827257"/>
            <a:ext cx="1268360" cy="437508"/>
          </a:xfrm>
          <a:prstGeom prst="rect">
            <a:avLst/>
          </a:prstGeom>
        </p:spPr>
        <p:txBody>
          <a:bodyPr wrap="square" anchor="ctr">
            <a:spAutoFit/>
          </a:bodyPr>
          <a:lstStyle/>
          <a:p>
            <a:pPr defTabSz="896203"/>
            <a:r>
              <a:rPr lang="en-US" sz="1100" kern="0" dirty="0">
                <a:solidFill>
                  <a:schemeClr val="accent2">
                    <a:lumMod val="75000"/>
                  </a:schemeClr>
                </a:solidFill>
                <a:cs typeface="Segoe UI Semilight" panose="020B0402040204020203" pitchFamily="34" charset="0"/>
              </a:rPr>
              <a:t>Bot </a:t>
            </a:r>
            <a:br>
              <a:rPr lang="en-US" sz="1100" kern="0" dirty="0">
                <a:solidFill>
                  <a:schemeClr val="accent2">
                    <a:lumMod val="75000"/>
                  </a:schemeClr>
                </a:solidFill>
                <a:cs typeface="Segoe UI Semilight" panose="020B0402040204020203" pitchFamily="34" charset="0"/>
              </a:rPr>
            </a:br>
            <a:r>
              <a:rPr lang="en-US" sz="1100" kern="0" dirty="0">
                <a:solidFill>
                  <a:schemeClr val="accent2">
                    <a:lumMod val="75000"/>
                  </a:schemeClr>
                </a:solidFill>
                <a:cs typeface="Segoe UI Semilight" panose="020B0402040204020203" pitchFamily="34" charset="0"/>
              </a:rPr>
              <a:t>Framework</a:t>
            </a:r>
          </a:p>
        </p:txBody>
      </p:sp>
      <p:sp>
        <p:nvSpPr>
          <p:cNvPr id="170" name="Rectangle 169"/>
          <p:cNvSpPr/>
          <p:nvPr/>
        </p:nvSpPr>
        <p:spPr>
          <a:xfrm>
            <a:off x="696221" y="2304722"/>
            <a:ext cx="1268360" cy="437508"/>
          </a:xfrm>
          <a:prstGeom prst="rect">
            <a:avLst/>
          </a:prstGeom>
        </p:spPr>
        <p:txBody>
          <a:bodyPr wrap="square">
            <a:spAutoFit/>
          </a:bodyPr>
          <a:lstStyle/>
          <a:p>
            <a:pPr defTabSz="896203"/>
            <a:r>
              <a:rPr lang="en-US" sz="1100" kern="0" dirty="0">
                <a:solidFill>
                  <a:schemeClr val="accent2">
                    <a:lumMod val="75000"/>
                  </a:schemeClr>
                </a:solidFill>
                <a:cs typeface="Segoe UI Semilight" panose="020B0402040204020203" pitchFamily="34" charset="0"/>
              </a:rPr>
              <a:t>Cognitive Services</a:t>
            </a:r>
          </a:p>
        </p:txBody>
      </p:sp>
    </p:spTree>
    <p:extLst>
      <p:ext uri="{BB962C8B-B14F-4D97-AF65-F5344CB8AC3E}">
        <p14:creationId xmlns:p14="http://schemas.microsoft.com/office/powerpoint/2010/main" val="1282829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spcAft>
                <a:spcPts val="588"/>
              </a:spcAft>
            </a:pPr>
            <a:r>
              <a:rPr lang="en-US" dirty="0">
                <a:solidFill>
                  <a:schemeClr val="bg1"/>
                </a:solidFill>
              </a:rPr>
              <a:t>Dashboards &amp; Visualizations</a:t>
            </a:r>
          </a:p>
        </p:txBody>
      </p:sp>
      <p:grpSp>
        <p:nvGrpSpPr>
          <p:cNvPr id="5" name="Group 4"/>
          <p:cNvGrpSpPr/>
          <p:nvPr/>
        </p:nvGrpSpPr>
        <p:grpSpPr>
          <a:xfrm>
            <a:off x="7846517" y="4184119"/>
            <a:ext cx="1642449" cy="1267260"/>
            <a:chOff x="8005941" y="4267723"/>
            <a:chExt cx="1675820" cy="1293008"/>
          </a:xfrm>
        </p:grpSpPr>
        <p:sp>
          <p:nvSpPr>
            <p:cNvPr id="358" name="Rectangle 357"/>
            <p:cNvSpPr/>
            <p:nvPr/>
          </p:nvSpPr>
          <p:spPr bwMode="auto">
            <a:xfrm>
              <a:off x="8005941" y="4267723"/>
              <a:ext cx="1660373" cy="1293008"/>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4" tIns="91403" rIns="18274" bIns="91365" numCol="1" spcCol="1270" anchor="t" anchorCtr="0">
              <a:noAutofit/>
            </a:bodyPr>
            <a:lstStyle/>
            <a:p>
              <a:pPr algn="ctr" defTabSz="724725">
                <a:spcBef>
                  <a:spcPct val="0"/>
                </a:spcBef>
                <a:spcAft>
                  <a:spcPct val="35000"/>
                </a:spcAft>
              </a:pPr>
              <a:r>
                <a:rPr lang="en-US" sz="1400" kern="0" dirty="0">
                  <a:solidFill>
                    <a:schemeClr val="tx1"/>
                  </a:solidFill>
                  <a:latin typeface="Segoe UI Semibold" panose="020B0702040204020203" pitchFamily="34" charset="0"/>
                  <a:cs typeface="Segoe UI Semibold" panose="020B0702040204020203" pitchFamily="34" charset="0"/>
                </a:rPr>
                <a:t>Dashboards &amp; Visualizations</a:t>
              </a:r>
            </a:p>
          </p:txBody>
        </p:sp>
        <p:sp>
          <p:nvSpPr>
            <p:cNvPr id="444" name="Rectangle 443"/>
            <p:cNvSpPr/>
            <p:nvPr/>
          </p:nvSpPr>
          <p:spPr>
            <a:xfrm>
              <a:off x="8467067" y="5017712"/>
              <a:ext cx="1214694" cy="266925"/>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Power BI</a:t>
              </a:r>
            </a:p>
          </p:txBody>
        </p:sp>
        <p:grpSp>
          <p:nvGrpSpPr>
            <p:cNvPr id="445" name="Group 444"/>
            <p:cNvGrpSpPr/>
            <p:nvPr/>
          </p:nvGrpSpPr>
          <p:grpSpPr>
            <a:xfrm>
              <a:off x="8125156" y="5043491"/>
              <a:ext cx="310508" cy="198461"/>
              <a:chOff x="7884058" y="5368509"/>
              <a:chExt cx="324905" cy="207663"/>
            </a:xfrm>
          </p:grpSpPr>
          <p:sp>
            <p:nvSpPr>
              <p:cNvPr id="446"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chemeClr val="tx1"/>
              </a:solidFill>
              <a:ln>
                <a:noFill/>
              </a:ln>
            </p:spPr>
            <p:txBody>
              <a:bodyPr vert="horz" wrap="square" lIns="89606" tIns="44803" rIns="89606" bIns="44803" numCol="1" anchor="t" anchorCtr="0" compatLnSpc="1">
                <a:prstTxWarp prst="textNoShape">
                  <a:avLst/>
                </a:prstTxWarp>
              </a:bodyPr>
              <a:lstStyle/>
              <a:p>
                <a:pPr defTabSz="896203"/>
                <a:endParaRPr lang="en-US" sz="1764" kern="0">
                  <a:solidFill>
                    <a:srgbClr val="FFFFFF"/>
                  </a:solidFill>
                </a:endParaRPr>
              </a:p>
            </p:txBody>
          </p:sp>
          <p:sp>
            <p:nvSpPr>
              <p:cNvPr id="447"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chemeClr val="tx1"/>
              </a:solidFill>
              <a:ln>
                <a:noFill/>
              </a:ln>
            </p:spPr>
            <p:txBody>
              <a:bodyPr vert="horz" wrap="square" lIns="89606" tIns="44803" rIns="89606" bIns="44803" numCol="1" anchor="t" anchorCtr="0" compatLnSpc="1">
                <a:prstTxWarp prst="textNoShape">
                  <a:avLst/>
                </a:prstTxWarp>
              </a:bodyPr>
              <a:lstStyle/>
              <a:p>
                <a:pPr defTabSz="896203"/>
                <a:endParaRPr lang="en-US" sz="1764" kern="0">
                  <a:solidFill>
                    <a:srgbClr val="FFFFFF"/>
                  </a:solidFill>
                </a:endParaRPr>
              </a:p>
            </p:txBody>
          </p:sp>
          <p:sp>
            <p:nvSpPr>
              <p:cNvPr id="448"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chemeClr val="tx1"/>
              </a:solidFill>
              <a:ln>
                <a:noFill/>
              </a:ln>
            </p:spPr>
            <p:txBody>
              <a:bodyPr vert="horz" wrap="square" lIns="89606" tIns="44803" rIns="89606" bIns="44803" numCol="1" anchor="t" anchorCtr="0" compatLnSpc="1">
                <a:prstTxWarp prst="textNoShape">
                  <a:avLst/>
                </a:prstTxWarp>
              </a:bodyPr>
              <a:lstStyle/>
              <a:p>
                <a:pPr defTabSz="896203"/>
                <a:endParaRPr lang="en-US" sz="1764" kern="0">
                  <a:solidFill>
                    <a:srgbClr val="FFFFFF"/>
                  </a:solidFill>
                </a:endParaRPr>
              </a:p>
            </p:txBody>
          </p:sp>
          <p:sp>
            <p:nvSpPr>
              <p:cNvPr id="449"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chemeClr val="tx1"/>
              </a:solidFill>
              <a:ln>
                <a:noFill/>
              </a:ln>
            </p:spPr>
            <p:txBody>
              <a:bodyPr vert="horz" wrap="square" lIns="89606" tIns="44803" rIns="89606" bIns="44803" numCol="1" anchor="t" anchorCtr="0" compatLnSpc="1">
                <a:prstTxWarp prst="textNoShape">
                  <a:avLst/>
                </a:prstTxWarp>
              </a:bodyPr>
              <a:lstStyle/>
              <a:p>
                <a:pPr defTabSz="896203"/>
                <a:endParaRPr lang="en-US" sz="1764" kern="0">
                  <a:solidFill>
                    <a:srgbClr val="FFFFFF"/>
                  </a:solidFill>
                </a:endParaRPr>
              </a:p>
            </p:txBody>
          </p:sp>
          <p:sp>
            <p:nvSpPr>
              <p:cNvPr id="450"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chemeClr val="tx1"/>
              </a:solidFill>
              <a:ln>
                <a:noFill/>
              </a:ln>
            </p:spPr>
            <p:txBody>
              <a:bodyPr vert="horz" wrap="square" lIns="89606" tIns="44803" rIns="89606" bIns="44803" numCol="1" anchor="t" anchorCtr="0" compatLnSpc="1">
                <a:prstTxWarp prst="textNoShape">
                  <a:avLst/>
                </a:prstTxWarp>
              </a:bodyPr>
              <a:lstStyle/>
              <a:p>
                <a:pPr defTabSz="896203"/>
                <a:endParaRPr lang="en-US" sz="1764" kern="0">
                  <a:solidFill>
                    <a:srgbClr val="FFFFFF"/>
                  </a:solidFill>
                </a:endParaRPr>
              </a:p>
            </p:txBody>
          </p:sp>
        </p:grpSp>
      </p:grpSp>
      <p:grpSp>
        <p:nvGrpSpPr>
          <p:cNvPr id="4" name="Group 3"/>
          <p:cNvGrpSpPr/>
          <p:nvPr/>
        </p:nvGrpSpPr>
        <p:grpSpPr>
          <a:xfrm>
            <a:off x="806941" y="1190078"/>
            <a:ext cx="8856790" cy="4873727"/>
            <a:chOff x="823336" y="1212849"/>
            <a:chExt cx="9036740" cy="4972751"/>
          </a:xfrm>
        </p:grpSpPr>
        <p:sp>
          <p:nvSpPr>
            <p:cNvPr id="357" name="Rectangle 356"/>
            <p:cNvSpPr/>
            <p:nvPr/>
          </p:nvSpPr>
          <p:spPr bwMode="auto">
            <a:xfrm>
              <a:off x="8005941" y="1212849"/>
              <a:ext cx="1660373" cy="2928083"/>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4" tIns="91403" rIns="18274" bIns="91365" numCol="1" spcCol="1270" anchor="t" anchorCtr="0">
              <a:noAutofit/>
            </a:bodyPr>
            <a:lstStyle/>
            <a:p>
              <a:pPr algn="ctr" defTabSz="724725">
                <a:spcBef>
                  <a:spcPct val="0"/>
                </a:spcBef>
                <a:spcAft>
                  <a:spcPct val="35000"/>
                </a:spcAft>
              </a:pPr>
              <a:r>
                <a:rPr lang="en-US" sz="1400" kern="0" dirty="0">
                  <a:solidFill>
                    <a:schemeClr val="tx1"/>
                  </a:solidFill>
                  <a:latin typeface="Segoe UI Semibold" panose="020B0702040204020203" pitchFamily="34" charset="0"/>
                  <a:cs typeface="Segoe UI Semibold" panose="020B0702040204020203" pitchFamily="34" charset="0"/>
                </a:rPr>
                <a:t>Intelligence</a:t>
              </a:r>
            </a:p>
          </p:txBody>
        </p:sp>
        <p:sp>
          <p:nvSpPr>
            <p:cNvPr id="359" name="Rectangle 358"/>
            <p:cNvSpPr/>
            <p:nvPr/>
          </p:nvSpPr>
          <p:spPr bwMode="auto">
            <a:xfrm>
              <a:off x="2679611" y="1212849"/>
              <a:ext cx="1660373" cy="434788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4" tIns="91403" rIns="18274" bIns="91365" numCol="1" spcCol="1270" anchor="t" anchorCtr="0">
              <a:noAutofit/>
            </a:bodyPr>
            <a:lstStyle/>
            <a:p>
              <a:pPr algn="ctr" defTabSz="724725">
                <a:spcBef>
                  <a:spcPct val="0"/>
                </a:spcBef>
                <a:spcAft>
                  <a:spcPct val="35000"/>
                </a:spcAft>
              </a:pPr>
              <a:r>
                <a:rPr lang="en-US" sz="1400" kern="0" dirty="0">
                  <a:solidFill>
                    <a:schemeClr val="tx1"/>
                  </a:solidFill>
                  <a:latin typeface="Segoe UI Semibold" panose="020B0702040204020203" pitchFamily="34" charset="0"/>
                  <a:cs typeface="Segoe UI Semibold" panose="020B0702040204020203" pitchFamily="34" charset="0"/>
                </a:rPr>
                <a:t>Information Management</a:t>
              </a:r>
            </a:p>
          </p:txBody>
        </p:sp>
        <p:sp>
          <p:nvSpPr>
            <p:cNvPr id="360" name="Rectangle 359"/>
            <p:cNvSpPr/>
            <p:nvPr/>
          </p:nvSpPr>
          <p:spPr bwMode="auto">
            <a:xfrm>
              <a:off x="4455055" y="1212850"/>
              <a:ext cx="1660373" cy="434788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4" tIns="91403" rIns="18274" bIns="91365" numCol="1" spcCol="1270" anchor="t" anchorCtr="0">
              <a:noAutofit/>
            </a:bodyPr>
            <a:lstStyle/>
            <a:p>
              <a:pPr algn="ctr" defTabSz="724725">
                <a:spcBef>
                  <a:spcPct val="0"/>
                </a:spcBef>
                <a:spcAft>
                  <a:spcPct val="35000"/>
                </a:spcAft>
              </a:pPr>
              <a:r>
                <a:rPr lang="en-US" sz="1400" kern="0" dirty="0">
                  <a:solidFill>
                    <a:schemeClr val="tx1"/>
                  </a:solidFill>
                  <a:latin typeface="Segoe UI Semibold" panose="020B0702040204020203" pitchFamily="34" charset="0"/>
                  <a:cs typeface="Segoe UI Semibold" panose="020B0702040204020203" pitchFamily="34" charset="0"/>
                </a:rPr>
                <a:t>Big Data Stores</a:t>
              </a:r>
            </a:p>
          </p:txBody>
        </p:sp>
        <p:sp>
          <p:nvSpPr>
            <p:cNvPr id="361" name="Rectangle 360"/>
            <p:cNvSpPr/>
            <p:nvPr/>
          </p:nvSpPr>
          <p:spPr bwMode="auto">
            <a:xfrm>
              <a:off x="6230498" y="1212850"/>
              <a:ext cx="1660373" cy="434788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4" tIns="91403" rIns="18274" bIns="91365" numCol="1" spcCol="1270" anchor="t" anchorCtr="0">
              <a:noAutofit/>
            </a:bodyPr>
            <a:lstStyle/>
            <a:p>
              <a:pPr algn="ctr" defTabSz="724725">
                <a:spcBef>
                  <a:spcPct val="0"/>
                </a:spcBef>
                <a:spcAft>
                  <a:spcPct val="35000"/>
                </a:spcAft>
              </a:pPr>
              <a:r>
                <a:rPr lang="en-US" sz="1400" kern="0" dirty="0">
                  <a:solidFill>
                    <a:schemeClr val="tx1"/>
                  </a:solidFill>
                  <a:latin typeface="Segoe UI Semibold" panose="020B0702040204020203" pitchFamily="34" charset="0"/>
                  <a:cs typeface="Segoe UI Semibold" panose="020B0702040204020203" pitchFamily="34" charset="0"/>
                </a:rPr>
                <a:t>Machine Learning and Analytics</a:t>
              </a:r>
            </a:p>
          </p:txBody>
        </p:sp>
        <p:sp>
          <p:nvSpPr>
            <p:cNvPr id="362" name="Rectangle 361"/>
            <p:cNvSpPr/>
            <p:nvPr/>
          </p:nvSpPr>
          <p:spPr>
            <a:xfrm>
              <a:off x="8647433" y="3601914"/>
              <a:ext cx="1212643" cy="266925"/>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Cortana</a:t>
              </a:r>
            </a:p>
          </p:txBody>
        </p:sp>
        <p:grpSp>
          <p:nvGrpSpPr>
            <p:cNvPr id="363" name="Group 362"/>
            <p:cNvGrpSpPr/>
            <p:nvPr/>
          </p:nvGrpSpPr>
          <p:grpSpPr>
            <a:xfrm>
              <a:off x="8269003" y="3574270"/>
              <a:ext cx="301767" cy="301767"/>
              <a:chOff x="3236100" y="589298"/>
              <a:chExt cx="5641200" cy="5641200"/>
            </a:xfrm>
          </p:grpSpPr>
          <p:sp>
            <p:nvSpPr>
              <p:cNvPr id="364" name="Freeform 363"/>
              <p:cNvSpPr/>
              <p:nvPr/>
            </p:nvSpPr>
            <p:spPr bwMode="auto">
              <a:xfrm>
                <a:off x="3236100" y="589298"/>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algn="ctr" defTabSz="932103" fontAlgn="base">
                  <a:spcBef>
                    <a:spcPct val="0"/>
                  </a:spcBef>
                  <a:spcAft>
                    <a:spcPct val="0"/>
                  </a:spcAft>
                </a:pPr>
                <a:endParaRPr lang="en-US" sz="3599" kern="0" dirty="0" err="1">
                  <a:solidFill>
                    <a:schemeClr val="tx1"/>
                  </a:solidFill>
                  <a:ea typeface="Segoe UI" pitchFamily="34" charset="0"/>
                  <a:cs typeface="Segoe UI" pitchFamily="34" charset="0"/>
                </a:endParaRPr>
              </a:p>
            </p:txBody>
          </p:sp>
          <p:sp>
            <p:nvSpPr>
              <p:cNvPr id="365" name="Freeform 364"/>
              <p:cNvSpPr/>
              <p:nvPr/>
            </p:nvSpPr>
            <p:spPr bwMode="auto">
              <a:xfrm>
                <a:off x="3615099" y="968297"/>
                <a:ext cx="4883202" cy="4883202"/>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algn="ctr" defTabSz="932103" fontAlgn="base">
                  <a:spcBef>
                    <a:spcPct val="0"/>
                  </a:spcBef>
                  <a:spcAft>
                    <a:spcPct val="0"/>
                  </a:spcAft>
                </a:pPr>
                <a:endParaRPr lang="en-US" sz="3599" kern="0" dirty="0" err="1">
                  <a:solidFill>
                    <a:schemeClr val="tx1"/>
                  </a:solidFill>
                  <a:ea typeface="Segoe UI" pitchFamily="34" charset="0"/>
                  <a:cs typeface="Segoe UI" pitchFamily="34" charset="0"/>
                </a:endParaRPr>
              </a:p>
            </p:txBody>
          </p:sp>
        </p:grpSp>
        <p:sp>
          <p:nvSpPr>
            <p:cNvPr id="366" name="Rectangle 365"/>
            <p:cNvSpPr/>
            <p:nvPr/>
          </p:nvSpPr>
          <p:spPr>
            <a:xfrm>
              <a:off x="3208175" y="3601914"/>
              <a:ext cx="1214695" cy="265009"/>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Event Hubs</a:t>
              </a:r>
              <a:endParaRPr lang="en-US" sz="1100" kern="0" dirty="0">
                <a:solidFill>
                  <a:sysClr val="windowText" lastClr="000000"/>
                </a:solidFill>
              </a:endParaRPr>
            </a:p>
          </p:txBody>
        </p:sp>
        <p:sp>
          <p:nvSpPr>
            <p:cNvPr id="367" name="Rectangle 366"/>
            <p:cNvSpPr/>
            <p:nvPr/>
          </p:nvSpPr>
          <p:spPr>
            <a:xfrm>
              <a:off x="6831635" y="3440138"/>
              <a:ext cx="1212643" cy="612358"/>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HDInsight </a:t>
              </a:r>
            </a:p>
            <a:p>
              <a:pPr defTabSz="896203"/>
              <a:r>
                <a:rPr lang="en-US" sz="1100" kern="0" dirty="0">
                  <a:solidFill>
                    <a:sysClr val="windowText" lastClr="000000"/>
                  </a:solidFill>
                  <a:cs typeface="Segoe UI Semilight" panose="020B0402040204020203" pitchFamily="34" charset="0"/>
                </a:rPr>
                <a:t>(Hadoop and Spark)</a:t>
              </a:r>
            </a:p>
          </p:txBody>
        </p:sp>
        <p:sp>
          <p:nvSpPr>
            <p:cNvPr id="368" name="Rectangle 367"/>
            <p:cNvSpPr/>
            <p:nvPr/>
          </p:nvSpPr>
          <p:spPr>
            <a:xfrm>
              <a:off x="6831635" y="4394524"/>
              <a:ext cx="866840" cy="439642"/>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Stream Analytics</a:t>
              </a:r>
            </a:p>
          </p:txBody>
        </p:sp>
        <p:sp>
          <p:nvSpPr>
            <p:cNvPr id="369" name="Rectangle 368"/>
            <p:cNvSpPr/>
            <p:nvPr/>
          </p:nvSpPr>
          <p:spPr>
            <a:xfrm>
              <a:off x="2169343" y="5843791"/>
              <a:ext cx="892227" cy="306913"/>
            </a:xfrm>
            <a:prstGeom prst="rect">
              <a:avLst/>
            </a:prstGeom>
          </p:spPr>
          <p:txBody>
            <a:bodyPr wrap="none" lIns="0" tIns="0" rIns="0" bIns="0" anchor="ctr">
              <a:noAutofit/>
            </a:bodyPr>
            <a:lstStyle/>
            <a:p>
              <a:pPr defTabSz="896203">
                <a:lnSpc>
                  <a:spcPct val="90000"/>
                </a:lnSpc>
              </a:pPr>
              <a:r>
                <a:rPr lang="en-US" sz="2399" kern="0" dirty="0">
                  <a:solidFill>
                    <a:schemeClr val="bg2"/>
                  </a:solidFill>
                  <a:latin typeface="+mj-lt"/>
                </a:rPr>
                <a:t>Data</a:t>
              </a:r>
            </a:p>
          </p:txBody>
        </p:sp>
        <p:sp>
          <p:nvSpPr>
            <p:cNvPr id="370" name="Rectangle 369"/>
            <p:cNvSpPr/>
            <p:nvPr/>
          </p:nvSpPr>
          <p:spPr>
            <a:xfrm>
              <a:off x="5440297" y="5808895"/>
              <a:ext cx="1483464" cy="376705"/>
            </a:xfrm>
            <a:prstGeom prst="rect">
              <a:avLst/>
            </a:prstGeom>
          </p:spPr>
          <p:txBody>
            <a:bodyPr wrap="none" lIns="0" tIns="0" rIns="0" bIns="0" anchor="ctr">
              <a:spAutoFit/>
            </a:bodyPr>
            <a:lstStyle/>
            <a:p>
              <a:pPr algn="ctr" defTabSz="724725">
                <a:spcBef>
                  <a:spcPct val="0"/>
                </a:spcBef>
                <a:spcAft>
                  <a:spcPct val="35000"/>
                </a:spcAft>
              </a:pPr>
              <a:r>
                <a:rPr lang="en-US" sz="2399" kern="0" dirty="0">
                  <a:solidFill>
                    <a:schemeClr val="bg2"/>
                  </a:solidFill>
                  <a:latin typeface="+mj-lt"/>
                </a:rPr>
                <a:t>Intelligence</a:t>
              </a:r>
              <a:endParaRPr lang="en-US" sz="1799" b="1" kern="0" spc="-30" dirty="0">
                <a:solidFill>
                  <a:schemeClr val="bg2"/>
                </a:solidFill>
                <a:latin typeface="Segoe UI Semilight" panose="020B0402040204020203" pitchFamily="34" charset="0"/>
                <a:cs typeface="Segoe UI Semilight" panose="020B0402040204020203" pitchFamily="34" charset="0"/>
              </a:endParaRPr>
            </a:p>
          </p:txBody>
        </p:sp>
        <p:cxnSp>
          <p:nvCxnSpPr>
            <p:cNvPr id="371" name="Straight Connector 370"/>
            <p:cNvCxnSpPr/>
            <p:nvPr/>
          </p:nvCxnSpPr>
          <p:spPr>
            <a:xfrm>
              <a:off x="3506929" y="5997833"/>
              <a:ext cx="1296574" cy="0"/>
            </a:xfrm>
            <a:prstGeom prst="line">
              <a:avLst/>
            </a:prstGeom>
            <a:solidFill>
              <a:schemeClr val="tx1">
                <a:lumMod val="85000"/>
              </a:schemeClr>
            </a:solid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72" name="Group 371"/>
            <p:cNvGrpSpPr/>
            <p:nvPr/>
          </p:nvGrpSpPr>
          <p:grpSpPr>
            <a:xfrm rot="13500000">
              <a:off x="4602109" y="5911816"/>
              <a:ext cx="173455" cy="170863"/>
              <a:chOff x="402446" y="5872915"/>
              <a:chExt cx="292608" cy="288235"/>
            </a:xfrm>
            <a:solidFill>
              <a:schemeClr val="tx1">
                <a:lumMod val="85000"/>
              </a:schemeClr>
            </a:solidFill>
          </p:grpSpPr>
          <p:cxnSp>
            <p:nvCxnSpPr>
              <p:cNvPr id="373" name="Straight Connector 372"/>
              <p:cNvCxnSpPr/>
              <p:nvPr/>
            </p:nvCxnSpPr>
            <p:spPr>
              <a:xfrm>
                <a:off x="412598" y="5872915"/>
                <a:ext cx="0" cy="288235"/>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4" name="Straight Connector 373"/>
              <p:cNvCxnSpPr/>
              <p:nvPr/>
            </p:nvCxnSpPr>
            <p:spPr>
              <a:xfrm>
                <a:off x="402446" y="6148978"/>
                <a:ext cx="292608" cy="0"/>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80" name="Freeform 379"/>
            <p:cNvSpPr/>
            <p:nvPr/>
          </p:nvSpPr>
          <p:spPr bwMode="auto">
            <a:xfrm>
              <a:off x="2476641" y="1221590"/>
              <a:ext cx="118369" cy="4360661"/>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203"/>
              <a:endParaRPr lang="en-US" sz="1799" kern="0">
                <a:solidFill>
                  <a:sysClr val="windowText" lastClr="000000"/>
                </a:solidFill>
              </a:endParaRPr>
            </a:p>
          </p:txBody>
        </p:sp>
        <p:sp>
          <p:nvSpPr>
            <p:cNvPr id="407" name="Rectangle 406"/>
            <p:cNvSpPr/>
            <p:nvPr/>
          </p:nvSpPr>
          <p:spPr>
            <a:xfrm>
              <a:off x="8647433" y="2728843"/>
              <a:ext cx="1212643" cy="439642"/>
            </a:xfrm>
            <a:prstGeom prst="rect">
              <a:avLst/>
            </a:prstGeom>
          </p:spPr>
          <p:txBody>
            <a:bodyPr wrap="square" anchor="ctr">
              <a:spAutoFit/>
            </a:bodyPr>
            <a:lstStyle/>
            <a:p>
              <a:pPr defTabSz="896203"/>
              <a:r>
                <a:rPr lang="en-US" sz="1100" kern="0" dirty="0">
                  <a:solidFill>
                    <a:sysClr val="windowText" lastClr="000000"/>
                  </a:solidFill>
                  <a:cs typeface="Segoe UI Semilight" panose="020B0402040204020203" pitchFamily="34" charset="0"/>
                </a:rPr>
                <a:t>Bot </a:t>
              </a:r>
              <a:br>
                <a:rPr lang="en-US" sz="1100" kern="0" dirty="0">
                  <a:solidFill>
                    <a:sysClr val="windowText" lastClr="000000"/>
                  </a:solidFill>
                  <a:cs typeface="Segoe UI Semilight" panose="020B0402040204020203" pitchFamily="34" charset="0"/>
                </a:rPr>
              </a:br>
              <a:r>
                <a:rPr lang="en-US" sz="1100" kern="0" dirty="0">
                  <a:solidFill>
                    <a:sysClr val="windowText" lastClr="000000"/>
                  </a:solidFill>
                  <a:cs typeface="Segoe UI Semilight" panose="020B0402040204020203" pitchFamily="34" charset="0"/>
                </a:rPr>
                <a:t>Framework</a:t>
              </a:r>
            </a:p>
          </p:txBody>
        </p:sp>
        <p:sp>
          <p:nvSpPr>
            <p:cNvPr id="408" name="Rectangle 407"/>
            <p:cNvSpPr/>
            <p:nvPr/>
          </p:nvSpPr>
          <p:spPr>
            <a:xfrm>
              <a:off x="4944592" y="2742767"/>
              <a:ext cx="1214695" cy="439642"/>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SQL Data </a:t>
              </a:r>
            </a:p>
            <a:p>
              <a:pPr defTabSz="896203"/>
              <a:r>
                <a:rPr lang="en-US" sz="1100" kern="0" dirty="0">
                  <a:solidFill>
                    <a:sysClr val="windowText" lastClr="000000"/>
                  </a:solidFill>
                  <a:cs typeface="Segoe UI Semilight" panose="020B0402040204020203" pitchFamily="34" charset="0"/>
                </a:rPr>
                <a:t>Warehouse</a:t>
              </a:r>
            </a:p>
          </p:txBody>
        </p:sp>
        <p:sp>
          <p:nvSpPr>
            <p:cNvPr id="409" name="Rectangle 408"/>
            <p:cNvSpPr/>
            <p:nvPr/>
          </p:nvSpPr>
          <p:spPr>
            <a:xfrm>
              <a:off x="3208175" y="2843937"/>
              <a:ext cx="1214695" cy="266925"/>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Data Catalog</a:t>
              </a:r>
            </a:p>
          </p:txBody>
        </p:sp>
        <p:grpSp>
          <p:nvGrpSpPr>
            <p:cNvPr id="410" name="Group 409"/>
            <p:cNvGrpSpPr/>
            <p:nvPr/>
          </p:nvGrpSpPr>
          <p:grpSpPr>
            <a:xfrm>
              <a:off x="2907222" y="2803374"/>
              <a:ext cx="262811" cy="279564"/>
              <a:chOff x="3232150" y="382588"/>
              <a:chExt cx="5727700" cy="6092825"/>
            </a:xfrm>
            <a:solidFill>
              <a:schemeClr val="tx1"/>
            </a:solidFill>
          </p:grpSpPr>
          <p:sp>
            <p:nvSpPr>
              <p:cNvPr id="411"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412"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413"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grpSp>
        <p:sp>
          <p:nvSpPr>
            <p:cNvPr id="414" name="Rectangle 413"/>
            <p:cNvSpPr/>
            <p:nvPr/>
          </p:nvSpPr>
          <p:spPr>
            <a:xfrm>
              <a:off x="6831635" y="2742767"/>
              <a:ext cx="1212643" cy="439642"/>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Data Lake Analytics</a:t>
              </a:r>
            </a:p>
          </p:txBody>
        </p:sp>
        <p:grpSp>
          <p:nvGrpSpPr>
            <p:cNvPr id="415" name="Group 414"/>
            <p:cNvGrpSpPr/>
            <p:nvPr/>
          </p:nvGrpSpPr>
          <p:grpSpPr>
            <a:xfrm>
              <a:off x="6477230" y="2822135"/>
              <a:ext cx="210864" cy="275835"/>
              <a:chOff x="3473450" y="4579938"/>
              <a:chExt cx="1741488" cy="2278062"/>
            </a:xfrm>
            <a:solidFill>
              <a:schemeClr val="tx1"/>
            </a:solidFill>
          </p:grpSpPr>
          <p:sp>
            <p:nvSpPr>
              <p:cNvPr id="416" name="Freeform 16"/>
              <p:cNvSpPr>
                <a:spLocks/>
              </p:cNvSpPr>
              <p:nvPr/>
            </p:nvSpPr>
            <p:spPr bwMode="auto">
              <a:xfrm>
                <a:off x="3575050" y="4579938"/>
                <a:ext cx="1493838" cy="403225"/>
              </a:xfrm>
              <a:custGeom>
                <a:avLst/>
                <a:gdLst>
                  <a:gd name="T0" fmla="*/ 2 w 1883"/>
                  <a:gd name="T1" fmla="*/ 263 h 508"/>
                  <a:gd name="T2" fmla="*/ 17 w 1883"/>
                  <a:gd name="T3" fmla="*/ 290 h 508"/>
                  <a:gd name="T4" fmla="*/ 51 w 1883"/>
                  <a:gd name="T5" fmla="*/ 321 h 508"/>
                  <a:gd name="T6" fmla="*/ 101 w 1883"/>
                  <a:gd name="T7" fmla="*/ 352 h 508"/>
                  <a:gd name="T8" fmla="*/ 169 w 1883"/>
                  <a:gd name="T9" fmla="*/ 384 h 508"/>
                  <a:gd name="T10" fmla="*/ 253 w 1883"/>
                  <a:gd name="T11" fmla="*/ 414 h 508"/>
                  <a:gd name="T12" fmla="*/ 351 w 1883"/>
                  <a:gd name="T13" fmla="*/ 442 h 508"/>
                  <a:gd name="T14" fmla="*/ 465 w 1883"/>
                  <a:gd name="T15" fmla="*/ 467 h 508"/>
                  <a:gd name="T16" fmla="*/ 592 w 1883"/>
                  <a:gd name="T17" fmla="*/ 486 h 508"/>
                  <a:gd name="T18" fmla="*/ 733 w 1883"/>
                  <a:gd name="T19" fmla="*/ 500 h 508"/>
                  <a:gd name="T20" fmla="*/ 887 w 1883"/>
                  <a:gd name="T21" fmla="*/ 508 h 508"/>
                  <a:gd name="T22" fmla="*/ 996 w 1883"/>
                  <a:gd name="T23" fmla="*/ 508 h 508"/>
                  <a:gd name="T24" fmla="*/ 1150 w 1883"/>
                  <a:gd name="T25" fmla="*/ 500 h 508"/>
                  <a:gd name="T26" fmla="*/ 1291 w 1883"/>
                  <a:gd name="T27" fmla="*/ 486 h 508"/>
                  <a:gd name="T28" fmla="*/ 1419 w 1883"/>
                  <a:gd name="T29" fmla="*/ 467 h 508"/>
                  <a:gd name="T30" fmla="*/ 1532 w 1883"/>
                  <a:gd name="T31" fmla="*/ 442 h 508"/>
                  <a:gd name="T32" fmla="*/ 1632 w 1883"/>
                  <a:gd name="T33" fmla="*/ 414 h 508"/>
                  <a:gd name="T34" fmla="*/ 1715 w 1883"/>
                  <a:gd name="T35" fmla="*/ 384 h 508"/>
                  <a:gd name="T36" fmla="*/ 1782 w 1883"/>
                  <a:gd name="T37" fmla="*/ 352 h 508"/>
                  <a:gd name="T38" fmla="*/ 1834 w 1883"/>
                  <a:gd name="T39" fmla="*/ 321 h 508"/>
                  <a:gd name="T40" fmla="*/ 1866 w 1883"/>
                  <a:gd name="T41" fmla="*/ 290 h 508"/>
                  <a:gd name="T42" fmla="*/ 1882 w 1883"/>
                  <a:gd name="T43" fmla="*/ 263 h 508"/>
                  <a:gd name="T44" fmla="*/ 1882 w 1883"/>
                  <a:gd name="T45" fmla="*/ 245 h 508"/>
                  <a:gd name="T46" fmla="*/ 1866 w 1883"/>
                  <a:gd name="T47" fmla="*/ 217 h 508"/>
                  <a:gd name="T48" fmla="*/ 1834 w 1883"/>
                  <a:gd name="T49" fmla="*/ 187 h 508"/>
                  <a:gd name="T50" fmla="*/ 1782 w 1883"/>
                  <a:gd name="T51" fmla="*/ 155 h 508"/>
                  <a:gd name="T52" fmla="*/ 1715 w 1883"/>
                  <a:gd name="T53" fmla="*/ 124 h 508"/>
                  <a:gd name="T54" fmla="*/ 1632 w 1883"/>
                  <a:gd name="T55" fmla="*/ 93 h 508"/>
                  <a:gd name="T56" fmla="*/ 1532 w 1883"/>
                  <a:gd name="T57" fmla="*/ 64 h 508"/>
                  <a:gd name="T58" fmla="*/ 1419 w 1883"/>
                  <a:gd name="T59" fmla="*/ 40 h 508"/>
                  <a:gd name="T60" fmla="*/ 1291 w 1883"/>
                  <a:gd name="T61" fmla="*/ 20 h 508"/>
                  <a:gd name="T62" fmla="*/ 1150 w 1883"/>
                  <a:gd name="T63" fmla="*/ 6 h 508"/>
                  <a:gd name="T64" fmla="*/ 996 w 1883"/>
                  <a:gd name="T65" fmla="*/ 0 h 508"/>
                  <a:gd name="T66" fmla="*/ 887 w 1883"/>
                  <a:gd name="T67" fmla="*/ 0 h 508"/>
                  <a:gd name="T68" fmla="*/ 733 w 1883"/>
                  <a:gd name="T69" fmla="*/ 6 h 508"/>
                  <a:gd name="T70" fmla="*/ 592 w 1883"/>
                  <a:gd name="T71" fmla="*/ 20 h 508"/>
                  <a:gd name="T72" fmla="*/ 465 w 1883"/>
                  <a:gd name="T73" fmla="*/ 40 h 508"/>
                  <a:gd name="T74" fmla="*/ 351 w 1883"/>
                  <a:gd name="T75" fmla="*/ 64 h 508"/>
                  <a:gd name="T76" fmla="*/ 253 w 1883"/>
                  <a:gd name="T77" fmla="*/ 93 h 508"/>
                  <a:gd name="T78" fmla="*/ 169 w 1883"/>
                  <a:gd name="T79" fmla="*/ 124 h 508"/>
                  <a:gd name="T80" fmla="*/ 101 w 1883"/>
                  <a:gd name="T81" fmla="*/ 155 h 508"/>
                  <a:gd name="T82" fmla="*/ 51 w 1883"/>
                  <a:gd name="T83" fmla="*/ 187 h 508"/>
                  <a:gd name="T84" fmla="*/ 17 w 1883"/>
                  <a:gd name="T85" fmla="*/ 217 h 508"/>
                  <a:gd name="T86" fmla="*/ 2 w 1883"/>
                  <a:gd name="T87" fmla="*/ 245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3" h="508">
                    <a:moveTo>
                      <a:pt x="0" y="254"/>
                    </a:moveTo>
                    <a:lnTo>
                      <a:pt x="0" y="254"/>
                    </a:lnTo>
                    <a:lnTo>
                      <a:pt x="2" y="263"/>
                    </a:lnTo>
                    <a:lnTo>
                      <a:pt x="5" y="271"/>
                    </a:lnTo>
                    <a:lnTo>
                      <a:pt x="11" y="280"/>
                    </a:lnTo>
                    <a:lnTo>
                      <a:pt x="17" y="290"/>
                    </a:lnTo>
                    <a:lnTo>
                      <a:pt x="27" y="301"/>
                    </a:lnTo>
                    <a:lnTo>
                      <a:pt x="37" y="311"/>
                    </a:lnTo>
                    <a:lnTo>
                      <a:pt x="51" y="321"/>
                    </a:lnTo>
                    <a:lnTo>
                      <a:pt x="66" y="331"/>
                    </a:lnTo>
                    <a:lnTo>
                      <a:pt x="82" y="342"/>
                    </a:lnTo>
                    <a:lnTo>
                      <a:pt x="101" y="352"/>
                    </a:lnTo>
                    <a:lnTo>
                      <a:pt x="122" y="362"/>
                    </a:lnTo>
                    <a:lnTo>
                      <a:pt x="144" y="374"/>
                    </a:lnTo>
                    <a:lnTo>
                      <a:pt x="169" y="384"/>
                    </a:lnTo>
                    <a:lnTo>
                      <a:pt x="195" y="394"/>
                    </a:lnTo>
                    <a:lnTo>
                      <a:pt x="222" y="404"/>
                    </a:lnTo>
                    <a:lnTo>
                      <a:pt x="253" y="414"/>
                    </a:lnTo>
                    <a:lnTo>
                      <a:pt x="284" y="424"/>
                    </a:lnTo>
                    <a:lnTo>
                      <a:pt x="317" y="433"/>
                    </a:lnTo>
                    <a:lnTo>
                      <a:pt x="351" y="442"/>
                    </a:lnTo>
                    <a:lnTo>
                      <a:pt x="388" y="451"/>
                    </a:lnTo>
                    <a:lnTo>
                      <a:pt x="426" y="460"/>
                    </a:lnTo>
                    <a:lnTo>
                      <a:pt x="465" y="467"/>
                    </a:lnTo>
                    <a:lnTo>
                      <a:pt x="506" y="473"/>
                    </a:lnTo>
                    <a:lnTo>
                      <a:pt x="549" y="481"/>
                    </a:lnTo>
                    <a:lnTo>
                      <a:pt x="592" y="486"/>
                    </a:lnTo>
                    <a:lnTo>
                      <a:pt x="639" y="492"/>
                    </a:lnTo>
                    <a:lnTo>
                      <a:pt x="685" y="496"/>
                    </a:lnTo>
                    <a:lnTo>
                      <a:pt x="733" y="500"/>
                    </a:lnTo>
                    <a:lnTo>
                      <a:pt x="784" y="504"/>
                    </a:lnTo>
                    <a:lnTo>
                      <a:pt x="836" y="506"/>
                    </a:lnTo>
                    <a:lnTo>
                      <a:pt x="887" y="508"/>
                    </a:lnTo>
                    <a:lnTo>
                      <a:pt x="942" y="508"/>
                    </a:lnTo>
                    <a:lnTo>
                      <a:pt x="942" y="508"/>
                    </a:lnTo>
                    <a:lnTo>
                      <a:pt x="996" y="508"/>
                    </a:lnTo>
                    <a:lnTo>
                      <a:pt x="1049" y="506"/>
                    </a:lnTo>
                    <a:lnTo>
                      <a:pt x="1101" y="504"/>
                    </a:lnTo>
                    <a:lnTo>
                      <a:pt x="1150" y="500"/>
                    </a:lnTo>
                    <a:lnTo>
                      <a:pt x="1199" y="496"/>
                    </a:lnTo>
                    <a:lnTo>
                      <a:pt x="1246" y="492"/>
                    </a:lnTo>
                    <a:lnTo>
                      <a:pt x="1291" y="486"/>
                    </a:lnTo>
                    <a:lnTo>
                      <a:pt x="1335" y="481"/>
                    </a:lnTo>
                    <a:lnTo>
                      <a:pt x="1378" y="473"/>
                    </a:lnTo>
                    <a:lnTo>
                      <a:pt x="1419" y="467"/>
                    </a:lnTo>
                    <a:lnTo>
                      <a:pt x="1459" y="460"/>
                    </a:lnTo>
                    <a:lnTo>
                      <a:pt x="1497" y="451"/>
                    </a:lnTo>
                    <a:lnTo>
                      <a:pt x="1532" y="442"/>
                    </a:lnTo>
                    <a:lnTo>
                      <a:pt x="1567" y="433"/>
                    </a:lnTo>
                    <a:lnTo>
                      <a:pt x="1600" y="424"/>
                    </a:lnTo>
                    <a:lnTo>
                      <a:pt x="1632" y="414"/>
                    </a:lnTo>
                    <a:lnTo>
                      <a:pt x="1661" y="404"/>
                    </a:lnTo>
                    <a:lnTo>
                      <a:pt x="1689" y="394"/>
                    </a:lnTo>
                    <a:lnTo>
                      <a:pt x="1715" y="384"/>
                    </a:lnTo>
                    <a:lnTo>
                      <a:pt x="1739" y="374"/>
                    </a:lnTo>
                    <a:lnTo>
                      <a:pt x="1762" y="362"/>
                    </a:lnTo>
                    <a:lnTo>
                      <a:pt x="1782" y="352"/>
                    </a:lnTo>
                    <a:lnTo>
                      <a:pt x="1801" y="342"/>
                    </a:lnTo>
                    <a:lnTo>
                      <a:pt x="1818" y="331"/>
                    </a:lnTo>
                    <a:lnTo>
                      <a:pt x="1834" y="321"/>
                    </a:lnTo>
                    <a:lnTo>
                      <a:pt x="1846" y="311"/>
                    </a:lnTo>
                    <a:lnTo>
                      <a:pt x="1858" y="301"/>
                    </a:lnTo>
                    <a:lnTo>
                      <a:pt x="1866" y="290"/>
                    </a:lnTo>
                    <a:lnTo>
                      <a:pt x="1874" y="280"/>
                    </a:lnTo>
                    <a:lnTo>
                      <a:pt x="1879" y="271"/>
                    </a:lnTo>
                    <a:lnTo>
                      <a:pt x="1882" y="263"/>
                    </a:lnTo>
                    <a:lnTo>
                      <a:pt x="1883" y="254"/>
                    </a:lnTo>
                    <a:lnTo>
                      <a:pt x="1883" y="254"/>
                    </a:lnTo>
                    <a:lnTo>
                      <a:pt x="1882" y="245"/>
                    </a:lnTo>
                    <a:lnTo>
                      <a:pt x="1879" y="236"/>
                    </a:lnTo>
                    <a:lnTo>
                      <a:pt x="1874" y="226"/>
                    </a:lnTo>
                    <a:lnTo>
                      <a:pt x="1866" y="217"/>
                    </a:lnTo>
                    <a:lnTo>
                      <a:pt x="1858" y="207"/>
                    </a:lnTo>
                    <a:lnTo>
                      <a:pt x="1846" y="197"/>
                    </a:lnTo>
                    <a:lnTo>
                      <a:pt x="1834" y="187"/>
                    </a:lnTo>
                    <a:lnTo>
                      <a:pt x="1818" y="176"/>
                    </a:lnTo>
                    <a:lnTo>
                      <a:pt x="1801" y="165"/>
                    </a:lnTo>
                    <a:lnTo>
                      <a:pt x="1782" y="155"/>
                    </a:lnTo>
                    <a:lnTo>
                      <a:pt x="1762" y="144"/>
                    </a:lnTo>
                    <a:lnTo>
                      <a:pt x="1739" y="134"/>
                    </a:lnTo>
                    <a:lnTo>
                      <a:pt x="1715" y="124"/>
                    </a:lnTo>
                    <a:lnTo>
                      <a:pt x="1689" y="114"/>
                    </a:lnTo>
                    <a:lnTo>
                      <a:pt x="1661" y="102"/>
                    </a:lnTo>
                    <a:lnTo>
                      <a:pt x="1632" y="93"/>
                    </a:lnTo>
                    <a:lnTo>
                      <a:pt x="1600" y="83"/>
                    </a:lnTo>
                    <a:lnTo>
                      <a:pt x="1567" y="74"/>
                    </a:lnTo>
                    <a:lnTo>
                      <a:pt x="1532" y="64"/>
                    </a:lnTo>
                    <a:lnTo>
                      <a:pt x="1497" y="57"/>
                    </a:lnTo>
                    <a:lnTo>
                      <a:pt x="1459" y="48"/>
                    </a:lnTo>
                    <a:lnTo>
                      <a:pt x="1419" y="40"/>
                    </a:lnTo>
                    <a:lnTo>
                      <a:pt x="1378" y="33"/>
                    </a:lnTo>
                    <a:lnTo>
                      <a:pt x="1335" y="27"/>
                    </a:lnTo>
                    <a:lnTo>
                      <a:pt x="1291" y="20"/>
                    </a:lnTo>
                    <a:lnTo>
                      <a:pt x="1246" y="15"/>
                    </a:lnTo>
                    <a:lnTo>
                      <a:pt x="1199" y="10"/>
                    </a:lnTo>
                    <a:lnTo>
                      <a:pt x="1150" y="6"/>
                    </a:lnTo>
                    <a:lnTo>
                      <a:pt x="1101" y="4"/>
                    </a:lnTo>
                    <a:lnTo>
                      <a:pt x="1049" y="1"/>
                    </a:lnTo>
                    <a:lnTo>
                      <a:pt x="996" y="0"/>
                    </a:lnTo>
                    <a:lnTo>
                      <a:pt x="942" y="0"/>
                    </a:lnTo>
                    <a:lnTo>
                      <a:pt x="942" y="0"/>
                    </a:lnTo>
                    <a:lnTo>
                      <a:pt x="887" y="0"/>
                    </a:lnTo>
                    <a:lnTo>
                      <a:pt x="836" y="1"/>
                    </a:lnTo>
                    <a:lnTo>
                      <a:pt x="784" y="4"/>
                    </a:lnTo>
                    <a:lnTo>
                      <a:pt x="733" y="6"/>
                    </a:lnTo>
                    <a:lnTo>
                      <a:pt x="685" y="10"/>
                    </a:lnTo>
                    <a:lnTo>
                      <a:pt x="639" y="15"/>
                    </a:lnTo>
                    <a:lnTo>
                      <a:pt x="592" y="20"/>
                    </a:lnTo>
                    <a:lnTo>
                      <a:pt x="549" y="27"/>
                    </a:lnTo>
                    <a:lnTo>
                      <a:pt x="506" y="33"/>
                    </a:lnTo>
                    <a:lnTo>
                      <a:pt x="465" y="40"/>
                    </a:lnTo>
                    <a:lnTo>
                      <a:pt x="426" y="48"/>
                    </a:lnTo>
                    <a:lnTo>
                      <a:pt x="388" y="57"/>
                    </a:lnTo>
                    <a:lnTo>
                      <a:pt x="351" y="64"/>
                    </a:lnTo>
                    <a:lnTo>
                      <a:pt x="317" y="74"/>
                    </a:lnTo>
                    <a:lnTo>
                      <a:pt x="284" y="83"/>
                    </a:lnTo>
                    <a:lnTo>
                      <a:pt x="253" y="93"/>
                    </a:lnTo>
                    <a:lnTo>
                      <a:pt x="222" y="102"/>
                    </a:lnTo>
                    <a:lnTo>
                      <a:pt x="195" y="114"/>
                    </a:lnTo>
                    <a:lnTo>
                      <a:pt x="169" y="124"/>
                    </a:lnTo>
                    <a:lnTo>
                      <a:pt x="144" y="134"/>
                    </a:lnTo>
                    <a:lnTo>
                      <a:pt x="122" y="144"/>
                    </a:lnTo>
                    <a:lnTo>
                      <a:pt x="101" y="155"/>
                    </a:lnTo>
                    <a:lnTo>
                      <a:pt x="82" y="165"/>
                    </a:lnTo>
                    <a:lnTo>
                      <a:pt x="66" y="176"/>
                    </a:lnTo>
                    <a:lnTo>
                      <a:pt x="51" y="187"/>
                    </a:lnTo>
                    <a:lnTo>
                      <a:pt x="37" y="197"/>
                    </a:lnTo>
                    <a:lnTo>
                      <a:pt x="27" y="207"/>
                    </a:lnTo>
                    <a:lnTo>
                      <a:pt x="17" y="217"/>
                    </a:lnTo>
                    <a:lnTo>
                      <a:pt x="11" y="226"/>
                    </a:lnTo>
                    <a:lnTo>
                      <a:pt x="5" y="236"/>
                    </a:lnTo>
                    <a:lnTo>
                      <a:pt x="2" y="245"/>
                    </a:lnTo>
                    <a:lnTo>
                      <a:pt x="0" y="254"/>
                    </a:lnTo>
                    <a:lnTo>
                      <a:pt x="0" y="2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417" name="Freeform 17"/>
              <p:cNvSpPr>
                <a:spLocks/>
              </p:cNvSpPr>
              <p:nvPr/>
            </p:nvSpPr>
            <p:spPr bwMode="auto">
              <a:xfrm>
                <a:off x="3473450" y="4781550"/>
                <a:ext cx="1741488" cy="1411287"/>
              </a:xfrm>
              <a:custGeom>
                <a:avLst/>
                <a:gdLst>
                  <a:gd name="T0" fmla="*/ 280 w 2194"/>
                  <a:gd name="T1" fmla="*/ 1778 h 1779"/>
                  <a:gd name="T2" fmla="*/ 363 w 2194"/>
                  <a:gd name="T3" fmla="*/ 1764 h 1779"/>
                  <a:gd name="T4" fmla="*/ 440 w 2194"/>
                  <a:gd name="T5" fmla="*/ 1736 h 1779"/>
                  <a:gd name="T6" fmla="*/ 511 w 2194"/>
                  <a:gd name="T7" fmla="*/ 1693 h 1779"/>
                  <a:gd name="T8" fmla="*/ 573 w 2194"/>
                  <a:gd name="T9" fmla="*/ 1637 h 1779"/>
                  <a:gd name="T10" fmla="*/ 625 w 2194"/>
                  <a:gd name="T11" fmla="*/ 1569 h 1779"/>
                  <a:gd name="T12" fmla="*/ 633 w 2194"/>
                  <a:gd name="T13" fmla="*/ 1558 h 1779"/>
                  <a:gd name="T14" fmla="*/ 652 w 2194"/>
                  <a:gd name="T15" fmla="*/ 1547 h 1779"/>
                  <a:gd name="T16" fmla="*/ 675 w 2194"/>
                  <a:gd name="T17" fmla="*/ 1543 h 1779"/>
                  <a:gd name="T18" fmla="*/ 696 w 2194"/>
                  <a:gd name="T19" fmla="*/ 1547 h 1779"/>
                  <a:gd name="T20" fmla="*/ 715 w 2194"/>
                  <a:gd name="T21" fmla="*/ 1558 h 1779"/>
                  <a:gd name="T22" fmla="*/ 725 w 2194"/>
                  <a:gd name="T23" fmla="*/ 1569 h 1779"/>
                  <a:gd name="T24" fmla="*/ 776 w 2194"/>
                  <a:gd name="T25" fmla="*/ 1637 h 1779"/>
                  <a:gd name="T26" fmla="*/ 838 w 2194"/>
                  <a:gd name="T27" fmla="*/ 1693 h 1779"/>
                  <a:gd name="T28" fmla="*/ 908 w 2194"/>
                  <a:gd name="T29" fmla="*/ 1736 h 1779"/>
                  <a:gd name="T30" fmla="*/ 985 w 2194"/>
                  <a:gd name="T31" fmla="*/ 1764 h 1779"/>
                  <a:gd name="T32" fmla="*/ 1069 w 2194"/>
                  <a:gd name="T33" fmla="*/ 1778 h 1779"/>
                  <a:gd name="T34" fmla="*/ 1125 w 2194"/>
                  <a:gd name="T35" fmla="*/ 1778 h 1779"/>
                  <a:gd name="T36" fmla="*/ 1209 w 2194"/>
                  <a:gd name="T37" fmla="*/ 1764 h 1779"/>
                  <a:gd name="T38" fmla="*/ 1286 w 2194"/>
                  <a:gd name="T39" fmla="*/ 1736 h 1779"/>
                  <a:gd name="T40" fmla="*/ 1356 w 2194"/>
                  <a:gd name="T41" fmla="*/ 1693 h 1779"/>
                  <a:gd name="T42" fmla="*/ 1418 w 2194"/>
                  <a:gd name="T43" fmla="*/ 1637 h 1779"/>
                  <a:gd name="T44" fmla="*/ 1470 w 2194"/>
                  <a:gd name="T45" fmla="*/ 1569 h 1779"/>
                  <a:gd name="T46" fmla="*/ 1479 w 2194"/>
                  <a:gd name="T47" fmla="*/ 1558 h 1779"/>
                  <a:gd name="T48" fmla="*/ 1498 w 2194"/>
                  <a:gd name="T49" fmla="*/ 1547 h 1779"/>
                  <a:gd name="T50" fmla="*/ 1519 w 2194"/>
                  <a:gd name="T51" fmla="*/ 1543 h 1779"/>
                  <a:gd name="T52" fmla="*/ 1542 w 2194"/>
                  <a:gd name="T53" fmla="*/ 1547 h 1779"/>
                  <a:gd name="T54" fmla="*/ 1561 w 2194"/>
                  <a:gd name="T55" fmla="*/ 1558 h 1779"/>
                  <a:gd name="T56" fmla="*/ 1569 w 2194"/>
                  <a:gd name="T57" fmla="*/ 1569 h 1779"/>
                  <a:gd name="T58" fmla="*/ 1621 w 2194"/>
                  <a:gd name="T59" fmla="*/ 1637 h 1779"/>
                  <a:gd name="T60" fmla="*/ 1683 w 2194"/>
                  <a:gd name="T61" fmla="*/ 1693 h 1779"/>
                  <a:gd name="T62" fmla="*/ 1754 w 2194"/>
                  <a:gd name="T63" fmla="*/ 1736 h 1779"/>
                  <a:gd name="T64" fmla="*/ 1831 w 2194"/>
                  <a:gd name="T65" fmla="*/ 1764 h 1779"/>
                  <a:gd name="T66" fmla="*/ 1914 w 2194"/>
                  <a:gd name="T67" fmla="*/ 1778 h 1779"/>
                  <a:gd name="T68" fmla="*/ 1977 w 2194"/>
                  <a:gd name="T69" fmla="*/ 1778 h 1779"/>
                  <a:gd name="T70" fmla="*/ 2077 w 2194"/>
                  <a:gd name="T71" fmla="*/ 1757 h 1779"/>
                  <a:gd name="T72" fmla="*/ 2166 w 2194"/>
                  <a:gd name="T73" fmla="*/ 1716 h 1779"/>
                  <a:gd name="T74" fmla="*/ 2194 w 2194"/>
                  <a:gd name="T75" fmla="*/ 0 h 1779"/>
                  <a:gd name="T76" fmla="*/ 2190 w 2194"/>
                  <a:gd name="T77" fmla="*/ 39 h 1779"/>
                  <a:gd name="T78" fmla="*/ 2179 w 2194"/>
                  <a:gd name="T79" fmla="*/ 77 h 1779"/>
                  <a:gd name="T80" fmla="*/ 2154 w 2194"/>
                  <a:gd name="T81" fmla="*/ 125 h 1779"/>
                  <a:gd name="T82" fmla="*/ 2097 w 2194"/>
                  <a:gd name="T83" fmla="*/ 189 h 1779"/>
                  <a:gd name="T84" fmla="*/ 2016 w 2194"/>
                  <a:gd name="T85" fmla="*/ 247 h 1779"/>
                  <a:gd name="T86" fmla="*/ 1916 w 2194"/>
                  <a:gd name="T87" fmla="*/ 297 h 1779"/>
                  <a:gd name="T88" fmla="*/ 1800 w 2194"/>
                  <a:gd name="T89" fmla="*/ 339 h 1779"/>
                  <a:gd name="T90" fmla="*/ 1670 w 2194"/>
                  <a:gd name="T91" fmla="*/ 375 h 1779"/>
                  <a:gd name="T92" fmla="*/ 1529 w 2194"/>
                  <a:gd name="T93" fmla="*/ 401 h 1779"/>
                  <a:gd name="T94" fmla="*/ 1380 w 2194"/>
                  <a:gd name="T95" fmla="*/ 422 h 1779"/>
                  <a:gd name="T96" fmla="*/ 1226 w 2194"/>
                  <a:gd name="T97" fmla="*/ 433 h 1779"/>
                  <a:gd name="T98" fmla="*/ 1069 w 2194"/>
                  <a:gd name="T99" fmla="*/ 437 h 1779"/>
                  <a:gd name="T100" fmla="*/ 900 w 2194"/>
                  <a:gd name="T101" fmla="*/ 433 h 1779"/>
                  <a:gd name="T102" fmla="*/ 651 w 2194"/>
                  <a:gd name="T103" fmla="*/ 409 h 1779"/>
                  <a:gd name="T104" fmla="*/ 423 w 2194"/>
                  <a:gd name="T105" fmla="*/ 363 h 1779"/>
                  <a:gd name="T106" fmla="*/ 320 w 2194"/>
                  <a:gd name="T107" fmla="*/ 334 h 1779"/>
                  <a:gd name="T108" fmla="*/ 226 w 2194"/>
                  <a:gd name="T109" fmla="*/ 299 h 1779"/>
                  <a:gd name="T110" fmla="*/ 144 w 2194"/>
                  <a:gd name="T111" fmla="*/ 259 h 1779"/>
                  <a:gd name="T112" fmla="*/ 73 w 2194"/>
                  <a:gd name="T113" fmla="*/ 214 h 1779"/>
                  <a:gd name="T114" fmla="*/ 16 w 2194"/>
                  <a:gd name="T115" fmla="*/ 165 h 1779"/>
                  <a:gd name="T116" fmla="*/ 0 w 2194"/>
                  <a:gd name="T117" fmla="*/ 1698 h 1779"/>
                  <a:gd name="T118" fmla="*/ 87 w 2194"/>
                  <a:gd name="T119" fmla="*/ 1746 h 1779"/>
                  <a:gd name="T120" fmla="*/ 183 w 2194"/>
                  <a:gd name="T121" fmla="*/ 1773 h 1779"/>
                  <a:gd name="T122" fmla="*/ 252 w 2194"/>
                  <a:gd name="T123" fmla="*/ 1779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94" h="1779">
                    <a:moveTo>
                      <a:pt x="252" y="1779"/>
                    </a:moveTo>
                    <a:lnTo>
                      <a:pt x="252" y="1779"/>
                    </a:lnTo>
                    <a:lnTo>
                      <a:pt x="280" y="1778"/>
                    </a:lnTo>
                    <a:lnTo>
                      <a:pt x="308" y="1775"/>
                    </a:lnTo>
                    <a:lnTo>
                      <a:pt x="336" y="1770"/>
                    </a:lnTo>
                    <a:lnTo>
                      <a:pt x="363" y="1764"/>
                    </a:lnTo>
                    <a:lnTo>
                      <a:pt x="390" y="1756"/>
                    </a:lnTo>
                    <a:lnTo>
                      <a:pt x="415" y="1747"/>
                    </a:lnTo>
                    <a:lnTo>
                      <a:pt x="440" y="1736"/>
                    </a:lnTo>
                    <a:lnTo>
                      <a:pt x="466" y="1723"/>
                    </a:lnTo>
                    <a:lnTo>
                      <a:pt x="488" y="1709"/>
                    </a:lnTo>
                    <a:lnTo>
                      <a:pt x="511" y="1693"/>
                    </a:lnTo>
                    <a:lnTo>
                      <a:pt x="532" y="1675"/>
                    </a:lnTo>
                    <a:lnTo>
                      <a:pt x="554" y="1658"/>
                    </a:lnTo>
                    <a:lnTo>
                      <a:pt x="573" y="1637"/>
                    </a:lnTo>
                    <a:lnTo>
                      <a:pt x="592" y="1616"/>
                    </a:lnTo>
                    <a:lnTo>
                      <a:pt x="608" y="1593"/>
                    </a:lnTo>
                    <a:lnTo>
                      <a:pt x="625" y="1569"/>
                    </a:lnTo>
                    <a:lnTo>
                      <a:pt x="625" y="1569"/>
                    </a:lnTo>
                    <a:lnTo>
                      <a:pt x="628" y="1563"/>
                    </a:lnTo>
                    <a:lnTo>
                      <a:pt x="633" y="1558"/>
                    </a:lnTo>
                    <a:lnTo>
                      <a:pt x="640" y="1554"/>
                    </a:lnTo>
                    <a:lnTo>
                      <a:pt x="646" y="1550"/>
                    </a:lnTo>
                    <a:lnTo>
                      <a:pt x="652" y="1547"/>
                    </a:lnTo>
                    <a:lnTo>
                      <a:pt x="660" y="1545"/>
                    </a:lnTo>
                    <a:lnTo>
                      <a:pt x="667" y="1544"/>
                    </a:lnTo>
                    <a:lnTo>
                      <a:pt x="675" y="1543"/>
                    </a:lnTo>
                    <a:lnTo>
                      <a:pt x="681" y="1544"/>
                    </a:lnTo>
                    <a:lnTo>
                      <a:pt x="689" y="1545"/>
                    </a:lnTo>
                    <a:lnTo>
                      <a:pt x="696" y="1547"/>
                    </a:lnTo>
                    <a:lnTo>
                      <a:pt x="703" y="1550"/>
                    </a:lnTo>
                    <a:lnTo>
                      <a:pt x="709" y="1554"/>
                    </a:lnTo>
                    <a:lnTo>
                      <a:pt x="715" y="1558"/>
                    </a:lnTo>
                    <a:lnTo>
                      <a:pt x="720" y="1563"/>
                    </a:lnTo>
                    <a:lnTo>
                      <a:pt x="725" y="1569"/>
                    </a:lnTo>
                    <a:lnTo>
                      <a:pt x="725" y="1569"/>
                    </a:lnTo>
                    <a:lnTo>
                      <a:pt x="741" y="1593"/>
                    </a:lnTo>
                    <a:lnTo>
                      <a:pt x="758" y="1616"/>
                    </a:lnTo>
                    <a:lnTo>
                      <a:pt x="776" y="1637"/>
                    </a:lnTo>
                    <a:lnTo>
                      <a:pt x="796" y="1658"/>
                    </a:lnTo>
                    <a:lnTo>
                      <a:pt x="816" y="1675"/>
                    </a:lnTo>
                    <a:lnTo>
                      <a:pt x="838" y="1693"/>
                    </a:lnTo>
                    <a:lnTo>
                      <a:pt x="860" y="1709"/>
                    </a:lnTo>
                    <a:lnTo>
                      <a:pt x="884" y="1723"/>
                    </a:lnTo>
                    <a:lnTo>
                      <a:pt x="908" y="1736"/>
                    </a:lnTo>
                    <a:lnTo>
                      <a:pt x="934" y="1747"/>
                    </a:lnTo>
                    <a:lnTo>
                      <a:pt x="959" y="1756"/>
                    </a:lnTo>
                    <a:lnTo>
                      <a:pt x="985" y="1764"/>
                    </a:lnTo>
                    <a:lnTo>
                      <a:pt x="1013" y="1770"/>
                    </a:lnTo>
                    <a:lnTo>
                      <a:pt x="1041" y="1775"/>
                    </a:lnTo>
                    <a:lnTo>
                      <a:pt x="1069" y="1778"/>
                    </a:lnTo>
                    <a:lnTo>
                      <a:pt x="1098" y="1779"/>
                    </a:lnTo>
                    <a:lnTo>
                      <a:pt x="1098" y="1779"/>
                    </a:lnTo>
                    <a:lnTo>
                      <a:pt x="1125" y="1778"/>
                    </a:lnTo>
                    <a:lnTo>
                      <a:pt x="1153" y="1775"/>
                    </a:lnTo>
                    <a:lnTo>
                      <a:pt x="1181" y="1770"/>
                    </a:lnTo>
                    <a:lnTo>
                      <a:pt x="1209" y="1764"/>
                    </a:lnTo>
                    <a:lnTo>
                      <a:pt x="1235" y="1756"/>
                    </a:lnTo>
                    <a:lnTo>
                      <a:pt x="1260" y="1747"/>
                    </a:lnTo>
                    <a:lnTo>
                      <a:pt x="1286" y="1736"/>
                    </a:lnTo>
                    <a:lnTo>
                      <a:pt x="1310" y="1723"/>
                    </a:lnTo>
                    <a:lnTo>
                      <a:pt x="1334" y="1709"/>
                    </a:lnTo>
                    <a:lnTo>
                      <a:pt x="1356" y="1693"/>
                    </a:lnTo>
                    <a:lnTo>
                      <a:pt x="1378" y="1675"/>
                    </a:lnTo>
                    <a:lnTo>
                      <a:pt x="1399" y="1658"/>
                    </a:lnTo>
                    <a:lnTo>
                      <a:pt x="1418" y="1637"/>
                    </a:lnTo>
                    <a:lnTo>
                      <a:pt x="1436" y="1616"/>
                    </a:lnTo>
                    <a:lnTo>
                      <a:pt x="1453" y="1593"/>
                    </a:lnTo>
                    <a:lnTo>
                      <a:pt x="1470" y="1569"/>
                    </a:lnTo>
                    <a:lnTo>
                      <a:pt x="1470" y="1569"/>
                    </a:lnTo>
                    <a:lnTo>
                      <a:pt x="1474" y="1563"/>
                    </a:lnTo>
                    <a:lnTo>
                      <a:pt x="1479" y="1558"/>
                    </a:lnTo>
                    <a:lnTo>
                      <a:pt x="1485" y="1554"/>
                    </a:lnTo>
                    <a:lnTo>
                      <a:pt x="1491" y="1550"/>
                    </a:lnTo>
                    <a:lnTo>
                      <a:pt x="1498" y="1547"/>
                    </a:lnTo>
                    <a:lnTo>
                      <a:pt x="1505" y="1545"/>
                    </a:lnTo>
                    <a:lnTo>
                      <a:pt x="1513" y="1544"/>
                    </a:lnTo>
                    <a:lnTo>
                      <a:pt x="1519" y="1543"/>
                    </a:lnTo>
                    <a:lnTo>
                      <a:pt x="1527" y="1544"/>
                    </a:lnTo>
                    <a:lnTo>
                      <a:pt x="1534" y="1545"/>
                    </a:lnTo>
                    <a:lnTo>
                      <a:pt x="1542" y="1547"/>
                    </a:lnTo>
                    <a:lnTo>
                      <a:pt x="1548" y="1550"/>
                    </a:lnTo>
                    <a:lnTo>
                      <a:pt x="1554" y="1554"/>
                    </a:lnTo>
                    <a:lnTo>
                      <a:pt x="1561" y="1558"/>
                    </a:lnTo>
                    <a:lnTo>
                      <a:pt x="1566" y="1563"/>
                    </a:lnTo>
                    <a:lnTo>
                      <a:pt x="1569" y="1569"/>
                    </a:lnTo>
                    <a:lnTo>
                      <a:pt x="1569" y="1569"/>
                    </a:lnTo>
                    <a:lnTo>
                      <a:pt x="1586" y="1593"/>
                    </a:lnTo>
                    <a:lnTo>
                      <a:pt x="1602" y="1616"/>
                    </a:lnTo>
                    <a:lnTo>
                      <a:pt x="1621" y="1637"/>
                    </a:lnTo>
                    <a:lnTo>
                      <a:pt x="1640" y="1658"/>
                    </a:lnTo>
                    <a:lnTo>
                      <a:pt x="1662" y="1675"/>
                    </a:lnTo>
                    <a:lnTo>
                      <a:pt x="1683" y="1693"/>
                    </a:lnTo>
                    <a:lnTo>
                      <a:pt x="1706" y="1709"/>
                    </a:lnTo>
                    <a:lnTo>
                      <a:pt x="1728" y="1723"/>
                    </a:lnTo>
                    <a:lnTo>
                      <a:pt x="1754" y="1736"/>
                    </a:lnTo>
                    <a:lnTo>
                      <a:pt x="1779" y="1747"/>
                    </a:lnTo>
                    <a:lnTo>
                      <a:pt x="1804" y="1756"/>
                    </a:lnTo>
                    <a:lnTo>
                      <a:pt x="1831" y="1764"/>
                    </a:lnTo>
                    <a:lnTo>
                      <a:pt x="1858" y="1770"/>
                    </a:lnTo>
                    <a:lnTo>
                      <a:pt x="1886" y="1775"/>
                    </a:lnTo>
                    <a:lnTo>
                      <a:pt x="1914" y="1778"/>
                    </a:lnTo>
                    <a:lnTo>
                      <a:pt x="1942" y="1779"/>
                    </a:lnTo>
                    <a:lnTo>
                      <a:pt x="1942" y="1779"/>
                    </a:lnTo>
                    <a:lnTo>
                      <a:pt x="1977" y="1778"/>
                    </a:lnTo>
                    <a:lnTo>
                      <a:pt x="2011" y="1773"/>
                    </a:lnTo>
                    <a:lnTo>
                      <a:pt x="2044" y="1766"/>
                    </a:lnTo>
                    <a:lnTo>
                      <a:pt x="2077" y="1757"/>
                    </a:lnTo>
                    <a:lnTo>
                      <a:pt x="2107" y="1746"/>
                    </a:lnTo>
                    <a:lnTo>
                      <a:pt x="2137" y="1732"/>
                    </a:lnTo>
                    <a:lnTo>
                      <a:pt x="2166" y="1716"/>
                    </a:lnTo>
                    <a:lnTo>
                      <a:pt x="2194" y="1698"/>
                    </a:lnTo>
                    <a:lnTo>
                      <a:pt x="2194" y="0"/>
                    </a:lnTo>
                    <a:lnTo>
                      <a:pt x="2194" y="0"/>
                    </a:lnTo>
                    <a:lnTo>
                      <a:pt x="2193" y="12"/>
                    </a:lnTo>
                    <a:lnTo>
                      <a:pt x="2191" y="26"/>
                    </a:lnTo>
                    <a:lnTo>
                      <a:pt x="2190" y="39"/>
                    </a:lnTo>
                    <a:lnTo>
                      <a:pt x="2186" y="52"/>
                    </a:lnTo>
                    <a:lnTo>
                      <a:pt x="2184" y="64"/>
                    </a:lnTo>
                    <a:lnTo>
                      <a:pt x="2179" y="77"/>
                    </a:lnTo>
                    <a:lnTo>
                      <a:pt x="2174" y="89"/>
                    </a:lnTo>
                    <a:lnTo>
                      <a:pt x="2168" y="101"/>
                    </a:lnTo>
                    <a:lnTo>
                      <a:pt x="2154" y="125"/>
                    </a:lnTo>
                    <a:lnTo>
                      <a:pt x="2137" y="146"/>
                    </a:lnTo>
                    <a:lnTo>
                      <a:pt x="2118" y="169"/>
                    </a:lnTo>
                    <a:lnTo>
                      <a:pt x="2097" y="189"/>
                    </a:lnTo>
                    <a:lnTo>
                      <a:pt x="2072" y="209"/>
                    </a:lnTo>
                    <a:lnTo>
                      <a:pt x="2045" y="228"/>
                    </a:lnTo>
                    <a:lnTo>
                      <a:pt x="2016" y="247"/>
                    </a:lnTo>
                    <a:lnTo>
                      <a:pt x="1985" y="265"/>
                    </a:lnTo>
                    <a:lnTo>
                      <a:pt x="1952" y="281"/>
                    </a:lnTo>
                    <a:lnTo>
                      <a:pt x="1916" y="297"/>
                    </a:lnTo>
                    <a:lnTo>
                      <a:pt x="1880" y="312"/>
                    </a:lnTo>
                    <a:lnTo>
                      <a:pt x="1841" y="327"/>
                    </a:lnTo>
                    <a:lnTo>
                      <a:pt x="1800" y="339"/>
                    </a:lnTo>
                    <a:lnTo>
                      <a:pt x="1759" y="352"/>
                    </a:lnTo>
                    <a:lnTo>
                      <a:pt x="1715" y="363"/>
                    </a:lnTo>
                    <a:lnTo>
                      <a:pt x="1670" y="375"/>
                    </a:lnTo>
                    <a:lnTo>
                      <a:pt x="1625" y="385"/>
                    </a:lnTo>
                    <a:lnTo>
                      <a:pt x="1577" y="394"/>
                    </a:lnTo>
                    <a:lnTo>
                      <a:pt x="1529" y="401"/>
                    </a:lnTo>
                    <a:lnTo>
                      <a:pt x="1480" y="409"/>
                    </a:lnTo>
                    <a:lnTo>
                      <a:pt x="1431" y="415"/>
                    </a:lnTo>
                    <a:lnTo>
                      <a:pt x="1380" y="422"/>
                    </a:lnTo>
                    <a:lnTo>
                      <a:pt x="1330" y="427"/>
                    </a:lnTo>
                    <a:lnTo>
                      <a:pt x="1278" y="430"/>
                    </a:lnTo>
                    <a:lnTo>
                      <a:pt x="1226" y="433"/>
                    </a:lnTo>
                    <a:lnTo>
                      <a:pt x="1173" y="435"/>
                    </a:lnTo>
                    <a:lnTo>
                      <a:pt x="1122" y="437"/>
                    </a:lnTo>
                    <a:lnTo>
                      <a:pt x="1069" y="437"/>
                    </a:lnTo>
                    <a:lnTo>
                      <a:pt x="1069" y="437"/>
                    </a:lnTo>
                    <a:lnTo>
                      <a:pt x="984" y="437"/>
                    </a:lnTo>
                    <a:lnTo>
                      <a:pt x="900" y="433"/>
                    </a:lnTo>
                    <a:lnTo>
                      <a:pt x="815" y="427"/>
                    </a:lnTo>
                    <a:lnTo>
                      <a:pt x="733" y="419"/>
                    </a:lnTo>
                    <a:lnTo>
                      <a:pt x="651" y="409"/>
                    </a:lnTo>
                    <a:lnTo>
                      <a:pt x="573" y="396"/>
                    </a:lnTo>
                    <a:lnTo>
                      <a:pt x="496" y="381"/>
                    </a:lnTo>
                    <a:lnTo>
                      <a:pt x="423" y="363"/>
                    </a:lnTo>
                    <a:lnTo>
                      <a:pt x="387" y="355"/>
                    </a:lnTo>
                    <a:lnTo>
                      <a:pt x="353" y="344"/>
                    </a:lnTo>
                    <a:lnTo>
                      <a:pt x="320" y="334"/>
                    </a:lnTo>
                    <a:lnTo>
                      <a:pt x="288" y="323"/>
                    </a:lnTo>
                    <a:lnTo>
                      <a:pt x="256" y="312"/>
                    </a:lnTo>
                    <a:lnTo>
                      <a:pt x="226" y="299"/>
                    </a:lnTo>
                    <a:lnTo>
                      <a:pt x="197" y="286"/>
                    </a:lnTo>
                    <a:lnTo>
                      <a:pt x="169" y="273"/>
                    </a:lnTo>
                    <a:lnTo>
                      <a:pt x="144" y="259"/>
                    </a:lnTo>
                    <a:lnTo>
                      <a:pt x="119" y="245"/>
                    </a:lnTo>
                    <a:lnTo>
                      <a:pt x="95" y="230"/>
                    </a:lnTo>
                    <a:lnTo>
                      <a:pt x="73" y="214"/>
                    </a:lnTo>
                    <a:lnTo>
                      <a:pt x="52" y="198"/>
                    </a:lnTo>
                    <a:lnTo>
                      <a:pt x="33" y="182"/>
                    </a:lnTo>
                    <a:lnTo>
                      <a:pt x="16" y="165"/>
                    </a:lnTo>
                    <a:lnTo>
                      <a:pt x="0" y="148"/>
                    </a:lnTo>
                    <a:lnTo>
                      <a:pt x="0" y="1698"/>
                    </a:lnTo>
                    <a:lnTo>
                      <a:pt x="0" y="1698"/>
                    </a:lnTo>
                    <a:lnTo>
                      <a:pt x="28" y="1716"/>
                    </a:lnTo>
                    <a:lnTo>
                      <a:pt x="57" y="1732"/>
                    </a:lnTo>
                    <a:lnTo>
                      <a:pt x="87" y="1746"/>
                    </a:lnTo>
                    <a:lnTo>
                      <a:pt x="117" y="1757"/>
                    </a:lnTo>
                    <a:lnTo>
                      <a:pt x="150" y="1766"/>
                    </a:lnTo>
                    <a:lnTo>
                      <a:pt x="183" y="1773"/>
                    </a:lnTo>
                    <a:lnTo>
                      <a:pt x="217" y="1778"/>
                    </a:lnTo>
                    <a:lnTo>
                      <a:pt x="252" y="1779"/>
                    </a:lnTo>
                    <a:lnTo>
                      <a:pt x="252" y="17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418" name="Freeform 18"/>
              <p:cNvSpPr>
                <a:spLocks/>
              </p:cNvSpPr>
              <p:nvPr/>
            </p:nvSpPr>
            <p:spPr bwMode="auto">
              <a:xfrm>
                <a:off x="3473450" y="6130925"/>
                <a:ext cx="1741488" cy="727075"/>
              </a:xfrm>
              <a:custGeom>
                <a:avLst/>
                <a:gdLst>
                  <a:gd name="T0" fmla="*/ 1911 w 2194"/>
                  <a:gd name="T1" fmla="*/ 195 h 915"/>
                  <a:gd name="T2" fmla="*/ 1821 w 2194"/>
                  <a:gd name="T3" fmla="*/ 183 h 915"/>
                  <a:gd name="T4" fmla="*/ 1736 w 2194"/>
                  <a:gd name="T5" fmla="*/ 156 h 915"/>
                  <a:gd name="T6" fmla="*/ 1655 w 2194"/>
                  <a:gd name="T7" fmla="*/ 117 h 915"/>
                  <a:gd name="T8" fmla="*/ 1583 w 2194"/>
                  <a:gd name="T9" fmla="*/ 64 h 915"/>
                  <a:gd name="T10" fmla="*/ 1519 w 2194"/>
                  <a:gd name="T11" fmla="*/ 0 h 915"/>
                  <a:gd name="T12" fmla="*/ 1479 w 2194"/>
                  <a:gd name="T13" fmla="*/ 44 h 915"/>
                  <a:gd name="T14" fmla="*/ 1408 w 2194"/>
                  <a:gd name="T15" fmla="*/ 101 h 915"/>
                  <a:gd name="T16" fmla="*/ 1331 w 2194"/>
                  <a:gd name="T17" fmla="*/ 145 h 915"/>
                  <a:gd name="T18" fmla="*/ 1247 w 2194"/>
                  <a:gd name="T19" fmla="*/ 175 h 915"/>
                  <a:gd name="T20" fmla="*/ 1158 w 2194"/>
                  <a:gd name="T21" fmla="*/ 193 h 915"/>
                  <a:gd name="T22" fmla="*/ 1098 w 2194"/>
                  <a:gd name="T23" fmla="*/ 195 h 915"/>
                  <a:gd name="T24" fmla="*/ 1006 w 2194"/>
                  <a:gd name="T25" fmla="*/ 188 h 915"/>
                  <a:gd name="T26" fmla="*/ 918 w 2194"/>
                  <a:gd name="T27" fmla="*/ 166 h 915"/>
                  <a:gd name="T28" fmla="*/ 836 w 2194"/>
                  <a:gd name="T29" fmla="*/ 131 h 915"/>
                  <a:gd name="T30" fmla="*/ 762 w 2194"/>
                  <a:gd name="T31" fmla="*/ 83 h 915"/>
                  <a:gd name="T32" fmla="*/ 695 w 2194"/>
                  <a:gd name="T33" fmla="*/ 22 h 915"/>
                  <a:gd name="T34" fmla="*/ 655 w 2194"/>
                  <a:gd name="T35" fmla="*/ 22 h 915"/>
                  <a:gd name="T36" fmla="*/ 588 w 2194"/>
                  <a:gd name="T37" fmla="*/ 83 h 915"/>
                  <a:gd name="T38" fmla="*/ 512 w 2194"/>
                  <a:gd name="T39" fmla="*/ 131 h 915"/>
                  <a:gd name="T40" fmla="*/ 430 w 2194"/>
                  <a:gd name="T41" fmla="*/ 166 h 915"/>
                  <a:gd name="T42" fmla="*/ 343 w 2194"/>
                  <a:gd name="T43" fmla="*/ 188 h 915"/>
                  <a:gd name="T44" fmla="*/ 252 w 2194"/>
                  <a:gd name="T45" fmla="*/ 195 h 915"/>
                  <a:gd name="T46" fmla="*/ 185 w 2194"/>
                  <a:gd name="T47" fmla="*/ 192 h 915"/>
                  <a:gd name="T48" fmla="*/ 90 w 2194"/>
                  <a:gd name="T49" fmla="*/ 171 h 915"/>
                  <a:gd name="T50" fmla="*/ 0 w 2194"/>
                  <a:gd name="T51" fmla="*/ 135 h 915"/>
                  <a:gd name="T52" fmla="*/ 15 w 2194"/>
                  <a:gd name="T53" fmla="*/ 703 h 915"/>
                  <a:gd name="T54" fmla="*/ 69 w 2194"/>
                  <a:gd name="T55" fmla="*/ 737 h 915"/>
                  <a:gd name="T56" fmla="*/ 136 w 2194"/>
                  <a:gd name="T57" fmla="*/ 770 h 915"/>
                  <a:gd name="T58" fmla="*/ 274 w 2194"/>
                  <a:gd name="T59" fmla="*/ 819 h 915"/>
                  <a:gd name="T60" fmla="*/ 477 w 2194"/>
                  <a:gd name="T61" fmla="*/ 866 h 915"/>
                  <a:gd name="T62" fmla="*/ 713 w 2194"/>
                  <a:gd name="T63" fmla="*/ 899 h 915"/>
                  <a:gd name="T64" fmla="*/ 975 w 2194"/>
                  <a:gd name="T65" fmla="*/ 914 h 915"/>
                  <a:gd name="T66" fmla="*/ 1125 w 2194"/>
                  <a:gd name="T67" fmla="*/ 915 h 915"/>
                  <a:gd name="T68" fmla="*/ 1294 w 2194"/>
                  <a:gd name="T69" fmla="*/ 909 h 915"/>
                  <a:gd name="T70" fmla="*/ 1455 w 2194"/>
                  <a:gd name="T71" fmla="*/ 895 h 915"/>
                  <a:gd name="T72" fmla="*/ 1604 w 2194"/>
                  <a:gd name="T73" fmla="*/ 875 h 915"/>
                  <a:gd name="T74" fmla="*/ 1741 w 2194"/>
                  <a:gd name="T75" fmla="*/ 849 h 915"/>
                  <a:gd name="T76" fmla="*/ 1863 w 2194"/>
                  <a:gd name="T77" fmla="*/ 818 h 915"/>
                  <a:gd name="T78" fmla="*/ 1969 w 2194"/>
                  <a:gd name="T79" fmla="*/ 782 h 915"/>
                  <a:gd name="T80" fmla="*/ 2058 w 2194"/>
                  <a:gd name="T81" fmla="*/ 742 h 915"/>
                  <a:gd name="T82" fmla="*/ 2125 w 2194"/>
                  <a:gd name="T83" fmla="*/ 698 h 915"/>
                  <a:gd name="T84" fmla="*/ 2170 w 2194"/>
                  <a:gd name="T85" fmla="*/ 651 h 915"/>
                  <a:gd name="T86" fmla="*/ 2191 w 2194"/>
                  <a:gd name="T87" fmla="*/ 601 h 915"/>
                  <a:gd name="T88" fmla="*/ 2194 w 2194"/>
                  <a:gd name="T89" fmla="*/ 135 h 915"/>
                  <a:gd name="T90" fmla="*/ 2104 w 2194"/>
                  <a:gd name="T91" fmla="*/ 171 h 915"/>
                  <a:gd name="T92" fmla="*/ 2009 w 2194"/>
                  <a:gd name="T93" fmla="*/ 192 h 915"/>
                  <a:gd name="T94" fmla="*/ 1942 w 2194"/>
                  <a:gd name="T95" fmla="*/ 19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94" h="915">
                    <a:moveTo>
                      <a:pt x="1942" y="195"/>
                    </a:moveTo>
                    <a:lnTo>
                      <a:pt x="1942" y="195"/>
                    </a:lnTo>
                    <a:lnTo>
                      <a:pt x="1911" y="195"/>
                    </a:lnTo>
                    <a:lnTo>
                      <a:pt x="1881" y="193"/>
                    </a:lnTo>
                    <a:lnTo>
                      <a:pt x="1851" y="188"/>
                    </a:lnTo>
                    <a:lnTo>
                      <a:pt x="1821" y="183"/>
                    </a:lnTo>
                    <a:lnTo>
                      <a:pt x="1792" y="175"/>
                    </a:lnTo>
                    <a:lnTo>
                      <a:pt x="1764" y="166"/>
                    </a:lnTo>
                    <a:lnTo>
                      <a:pt x="1736" y="156"/>
                    </a:lnTo>
                    <a:lnTo>
                      <a:pt x="1708" y="145"/>
                    </a:lnTo>
                    <a:lnTo>
                      <a:pt x="1682" y="131"/>
                    </a:lnTo>
                    <a:lnTo>
                      <a:pt x="1655" y="117"/>
                    </a:lnTo>
                    <a:lnTo>
                      <a:pt x="1631" y="101"/>
                    </a:lnTo>
                    <a:lnTo>
                      <a:pt x="1606" y="83"/>
                    </a:lnTo>
                    <a:lnTo>
                      <a:pt x="1583" y="64"/>
                    </a:lnTo>
                    <a:lnTo>
                      <a:pt x="1561" y="44"/>
                    </a:lnTo>
                    <a:lnTo>
                      <a:pt x="1539" y="22"/>
                    </a:lnTo>
                    <a:lnTo>
                      <a:pt x="1519" y="0"/>
                    </a:lnTo>
                    <a:lnTo>
                      <a:pt x="1519" y="0"/>
                    </a:lnTo>
                    <a:lnTo>
                      <a:pt x="1499" y="22"/>
                    </a:lnTo>
                    <a:lnTo>
                      <a:pt x="1479" y="44"/>
                    </a:lnTo>
                    <a:lnTo>
                      <a:pt x="1456" y="64"/>
                    </a:lnTo>
                    <a:lnTo>
                      <a:pt x="1432" y="83"/>
                    </a:lnTo>
                    <a:lnTo>
                      <a:pt x="1408" y="101"/>
                    </a:lnTo>
                    <a:lnTo>
                      <a:pt x="1383" y="117"/>
                    </a:lnTo>
                    <a:lnTo>
                      <a:pt x="1358" y="131"/>
                    </a:lnTo>
                    <a:lnTo>
                      <a:pt x="1331" y="145"/>
                    </a:lnTo>
                    <a:lnTo>
                      <a:pt x="1303" y="156"/>
                    </a:lnTo>
                    <a:lnTo>
                      <a:pt x="1276" y="166"/>
                    </a:lnTo>
                    <a:lnTo>
                      <a:pt x="1247" y="175"/>
                    </a:lnTo>
                    <a:lnTo>
                      <a:pt x="1217" y="183"/>
                    </a:lnTo>
                    <a:lnTo>
                      <a:pt x="1188" y="188"/>
                    </a:lnTo>
                    <a:lnTo>
                      <a:pt x="1158" y="193"/>
                    </a:lnTo>
                    <a:lnTo>
                      <a:pt x="1128" y="195"/>
                    </a:lnTo>
                    <a:lnTo>
                      <a:pt x="1098" y="195"/>
                    </a:lnTo>
                    <a:lnTo>
                      <a:pt x="1098" y="195"/>
                    </a:lnTo>
                    <a:lnTo>
                      <a:pt x="1066" y="195"/>
                    </a:lnTo>
                    <a:lnTo>
                      <a:pt x="1036" y="193"/>
                    </a:lnTo>
                    <a:lnTo>
                      <a:pt x="1006" y="188"/>
                    </a:lnTo>
                    <a:lnTo>
                      <a:pt x="977" y="183"/>
                    </a:lnTo>
                    <a:lnTo>
                      <a:pt x="947" y="175"/>
                    </a:lnTo>
                    <a:lnTo>
                      <a:pt x="918" y="166"/>
                    </a:lnTo>
                    <a:lnTo>
                      <a:pt x="891" y="156"/>
                    </a:lnTo>
                    <a:lnTo>
                      <a:pt x="863" y="145"/>
                    </a:lnTo>
                    <a:lnTo>
                      <a:pt x="836" y="131"/>
                    </a:lnTo>
                    <a:lnTo>
                      <a:pt x="811" y="117"/>
                    </a:lnTo>
                    <a:lnTo>
                      <a:pt x="786" y="101"/>
                    </a:lnTo>
                    <a:lnTo>
                      <a:pt x="762" y="83"/>
                    </a:lnTo>
                    <a:lnTo>
                      <a:pt x="738" y="64"/>
                    </a:lnTo>
                    <a:lnTo>
                      <a:pt x="715" y="44"/>
                    </a:lnTo>
                    <a:lnTo>
                      <a:pt x="695" y="22"/>
                    </a:lnTo>
                    <a:lnTo>
                      <a:pt x="675" y="0"/>
                    </a:lnTo>
                    <a:lnTo>
                      <a:pt x="675" y="0"/>
                    </a:lnTo>
                    <a:lnTo>
                      <a:pt x="655" y="22"/>
                    </a:lnTo>
                    <a:lnTo>
                      <a:pt x="633" y="44"/>
                    </a:lnTo>
                    <a:lnTo>
                      <a:pt x="611" y="64"/>
                    </a:lnTo>
                    <a:lnTo>
                      <a:pt x="588" y="83"/>
                    </a:lnTo>
                    <a:lnTo>
                      <a:pt x="563" y="101"/>
                    </a:lnTo>
                    <a:lnTo>
                      <a:pt x="539" y="117"/>
                    </a:lnTo>
                    <a:lnTo>
                      <a:pt x="512" y="131"/>
                    </a:lnTo>
                    <a:lnTo>
                      <a:pt x="486" y="145"/>
                    </a:lnTo>
                    <a:lnTo>
                      <a:pt x="458" y="156"/>
                    </a:lnTo>
                    <a:lnTo>
                      <a:pt x="430" y="166"/>
                    </a:lnTo>
                    <a:lnTo>
                      <a:pt x="402" y="175"/>
                    </a:lnTo>
                    <a:lnTo>
                      <a:pt x="373" y="183"/>
                    </a:lnTo>
                    <a:lnTo>
                      <a:pt x="343" y="188"/>
                    </a:lnTo>
                    <a:lnTo>
                      <a:pt x="313" y="193"/>
                    </a:lnTo>
                    <a:lnTo>
                      <a:pt x="283" y="195"/>
                    </a:lnTo>
                    <a:lnTo>
                      <a:pt x="252" y="195"/>
                    </a:lnTo>
                    <a:lnTo>
                      <a:pt x="252" y="195"/>
                    </a:lnTo>
                    <a:lnTo>
                      <a:pt x="218" y="195"/>
                    </a:lnTo>
                    <a:lnTo>
                      <a:pt x="185" y="192"/>
                    </a:lnTo>
                    <a:lnTo>
                      <a:pt x="153" y="186"/>
                    </a:lnTo>
                    <a:lnTo>
                      <a:pt x="121" y="180"/>
                    </a:lnTo>
                    <a:lnTo>
                      <a:pt x="90" y="171"/>
                    </a:lnTo>
                    <a:lnTo>
                      <a:pt x="59" y="161"/>
                    </a:lnTo>
                    <a:lnTo>
                      <a:pt x="29" y="149"/>
                    </a:lnTo>
                    <a:lnTo>
                      <a:pt x="0" y="135"/>
                    </a:lnTo>
                    <a:lnTo>
                      <a:pt x="0" y="690"/>
                    </a:lnTo>
                    <a:lnTo>
                      <a:pt x="0" y="690"/>
                    </a:lnTo>
                    <a:lnTo>
                      <a:pt x="15" y="703"/>
                    </a:lnTo>
                    <a:lnTo>
                      <a:pt x="32" y="714"/>
                    </a:lnTo>
                    <a:lnTo>
                      <a:pt x="50" y="726"/>
                    </a:lnTo>
                    <a:lnTo>
                      <a:pt x="69" y="737"/>
                    </a:lnTo>
                    <a:lnTo>
                      <a:pt x="91" y="748"/>
                    </a:lnTo>
                    <a:lnTo>
                      <a:pt x="112" y="760"/>
                    </a:lnTo>
                    <a:lnTo>
                      <a:pt x="136" y="770"/>
                    </a:lnTo>
                    <a:lnTo>
                      <a:pt x="161" y="780"/>
                    </a:lnTo>
                    <a:lnTo>
                      <a:pt x="214" y="800"/>
                    </a:lnTo>
                    <a:lnTo>
                      <a:pt x="274" y="819"/>
                    </a:lnTo>
                    <a:lnTo>
                      <a:pt x="337" y="835"/>
                    </a:lnTo>
                    <a:lnTo>
                      <a:pt x="405" y="852"/>
                    </a:lnTo>
                    <a:lnTo>
                      <a:pt x="477" y="866"/>
                    </a:lnTo>
                    <a:lnTo>
                      <a:pt x="551" y="878"/>
                    </a:lnTo>
                    <a:lnTo>
                      <a:pt x="631" y="890"/>
                    </a:lnTo>
                    <a:lnTo>
                      <a:pt x="713" y="899"/>
                    </a:lnTo>
                    <a:lnTo>
                      <a:pt x="797" y="905"/>
                    </a:lnTo>
                    <a:lnTo>
                      <a:pt x="886" y="911"/>
                    </a:lnTo>
                    <a:lnTo>
                      <a:pt x="975" y="914"/>
                    </a:lnTo>
                    <a:lnTo>
                      <a:pt x="1067" y="915"/>
                    </a:lnTo>
                    <a:lnTo>
                      <a:pt x="1067" y="915"/>
                    </a:lnTo>
                    <a:lnTo>
                      <a:pt x="1125" y="915"/>
                    </a:lnTo>
                    <a:lnTo>
                      <a:pt x="1182" y="914"/>
                    </a:lnTo>
                    <a:lnTo>
                      <a:pt x="1239" y="911"/>
                    </a:lnTo>
                    <a:lnTo>
                      <a:pt x="1294" y="909"/>
                    </a:lnTo>
                    <a:lnTo>
                      <a:pt x="1349" y="905"/>
                    </a:lnTo>
                    <a:lnTo>
                      <a:pt x="1402" y="900"/>
                    </a:lnTo>
                    <a:lnTo>
                      <a:pt x="1455" y="895"/>
                    </a:lnTo>
                    <a:lnTo>
                      <a:pt x="1505" y="888"/>
                    </a:lnTo>
                    <a:lnTo>
                      <a:pt x="1556" y="882"/>
                    </a:lnTo>
                    <a:lnTo>
                      <a:pt x="1604" y="875"/>
                    </a:lnTo>
                    <a:lnTo>
                      <a:pt x="1651" y="867"/>
                    </a:lnTo>
                    <a:lnTo>
                      <a:pt x="1697" y="858"/>
                    </a:lnTo>
                    <a:lnTo>
                      <a:pt x="1741" y="849"/>
                    </a:lnTo>
                    <a:lnTo>
                      <a:pt x="1784" y="839"/>
                    </a:lnTo>
                    <a:lnTo>
                      <a:pt x="1824" y="829"/>
                    </a:lnTo>
                    <a:lnTo>
                      <a:pt x="1863" y="818"/>
                    </a:lnTo>
                    <a:lnTo>
                      <a:pt x="1901" y="806"/>
                    </a:lnTo>
                    <a:lnTo>
                      <a:pt x="1937" y="795"/>
                    </a:lnTo>
                    <a:lnTo>
                      <a:pt x="1969" y="782"/>
                    </a:lnTo>
                    <a:lnTo>
                      <a:pt x="2001" y="769"/>
                    </a:lnTo>
                    <a:lnTo>
                      <a:pt x="2030" y="756"/>
                    </a:lnTo>
                    <a:lnTo>
                      <a:pt x="2058" y="742"/>
                    </a:lnTo>
                    <a:lnTo>
                      <a:pt x="2083" y="727"/>
                    </a:lnTo>
                    <a:lnTo>
                      <a:pt x="2104" y="713"/>
                    </a:lnTo>
                    <a:lnTo>
                      <a:pt x="2125" y="698"/>
                    </a:lnTo>
                    <a:lnTo>
                      <a:pt x="2142" y="683"/>
                    </a:lnTo>
                    <a:lnTo>
                      <a:pt x="2157" y="666"/>
                    </a:lnTo>
                    <a:lnTo>
                      <a:pt x="2170" y="651"/>
                    </a:lnTo>
                    <a:lnTo>
                      <a:pt x="2180" y="635"/>
                    </a:lnTo>
                    <a:lnTo>
                      <a:pt x="2188" y="618"/>
                    </a:lnTo>
                    <a:lnTo>
                      <a:pt x="2191" y="601"/>
                    </a:lnTo>
                    <a:lnTo>
                      <a:pt x="2194" y="584"/>
                    </a:lnTo>
                    <a:lnTo>
                      <a:pt x="2194" y="135"/>
                    </a:lnTo>
                    <a:lnTo>
                      <a:pt x="2194" y="135"/>
                    </a:lnTo>
                    <a:lnTo>
                      <a:pt x="2165" y="149"/>
                    </a:lnTo>
                    <a:lnTo>
                      <a:pt x="2135" y="161"/>
                    </a:lnTo>
                    <a:lnTo>
                      <a:pt x="2104" y="171"/>
                    </a:lnTo>
                    <a:lnTo>
                      <a:pt x="2073" y="180"/>
                    </a:lnTo>
                    <a:lnTo>
                      <a:pt x="2041" y="186"/>
                    </a:lnTo>
                    <a:lnTo>
                      <a:pt x="2009" y="192"/>
                    </a:lnTo>
                    <a:lnTo>
                      <a:pt x="1976" y="195"/>
                    </a:lnTo>
                    <a:lnTo>
                      <a:pt x="1942" y="195"/>
                    </a:lnTo>
                    <a:lnTo>
                      <a:pt x="1942"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grpSp>
        <p:sp>
          <p:nvSpPr>
            <p:cNvPr id="419" name="Rectangle 418"/>
            <p:cNvSpPr/>
            <p:nvPr/>
          </p:nvSpPr>
          <p:spPr>
            <a:xfrm>
              <a:off x="3208175" y="2045424"/>
              <a:ext cx="1214695" cy="266925"/>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Data Factory </a:t>
              </a:r>
              <a:endParaRPr lang="en-US" sz="1100" kern="0" dirty="0">
                <a:solidFill>
                  <a:sysClr val="windowText" lastClr="000000"/>
                </a:solidFill>
              </a:endParaRPr>
            </a:p>
          </p:txBody>
        </p:sp>
        <p:sp>
          <p:nvSpPr>
            <p:cNvPr id="420" name="Rectangle 419"/>
            <p:cNvSpPr/>
            <p:nvPr/>
          </p:nvSpPr>
          <p:spPr>
            <a:xfrm>
              <a:off x="6831635" y="1964537"/>
              <a:ext cx="1212643" cy="439642"/>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Machine Learning</a:t>
              </a:r>
            </a:p>
          </p:txBody>
        </p:sp>
        <p:sp>
          <p:nvSpPr>
            <p:cNvPr id="421" name="Rectangle 420"/>
            <p:cNvSpPr/>
            <p:nvPr/>
          </p:nvSpPr>
          <p:spPr>
            <a:xfrm>
              <a:off x="4931387" y="2045424"/>
              <a:ext cx="1214695" cy="266925"/>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Data Lake Store</a:t>
              </a:r>
            </a:p>
          </p:txBody>
        </p:sp>
        <p:grpSp>
          <p:nvGrpSpPr>
            <p:cNvPr id="422" name="Group 421"/>
            <p:cNvGrpSpPr/>
            <p:nvPr/>
          </p:nvGrpSpPr>
          <p:grpSpPr>
            <a:xfrm>
              <a:off x="4636526" y="2050402"/>
              <a:ext cx="240061" cy="240061"/>
              <a:chOff x="4068192" y="3363795"/>
              <a:chExt cx="324957" cy="324957"/>
            </a:xfrm>
          </p:grpSpPr>
          <p:sp>
            <p:nvSpPr>
              <p:cNvPr id="423" name="Rounded Rectangle 422"/>
              <p:cNvSpPr/>
              <p:nvPr/>
            </p:nvSpPr>
            <p:spPr bwMode="auto">
              <a:xfrm>
                <a:off x="4068192" y="3363795"/>
                <a:ext cx="324957" cy="324957"/>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24" name="Rectangle 423"/>
              <p:cNvSpPr/>
              <p:nvPr/>
            </p:nvSpPr>
            <p:spPr bwMode="auto">
              <a:xfrm>
                <a:off x="4106551"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25" name="Rectangle 424"/>
              <p:cNvSpPr/>
              <p:nvPr/>
            </p:nvSpPr>
            <p:spPr bwMode="auto">
              <a:xfrm>
                <a:off x="4245904"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26" name="Oval 425"/>
              <p:cNvSpPr/>
              <p:nvPr/>
            </p:nvSpPr>
            <p:spPr bwMode="auto">
              <a:xfrm>
                <a:off x="4174625"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27" name="Oval 426"/>
              <p:cNvSpPr/>
              <p:nvPr/>
            </p:nvSpPr>
            <p:spPr bwMode="auto">
              <a:xfrm>
                <a:off x="4313978"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28" name="Rectangle 427"/>
              <p:cNvSpPr/>
              <p:nvPr/>
            </p:nvSpPr>
            <p:spPr bwMode="auto">
              <a:xfrm>
                <a:off x="4106551"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29" name="Rectangle 428"/>
              <p:cNvSpPr/>
              <p:nvPr/>
            </p:nvSpPr>
            <p:spPr bwMode="auto">
              <a:xfrm>
                <a:off x="4245904"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30" name="Oval 429"/>
              <p:cNvSpPr/>
              <p:nvPr/>
            </p:nvSpPr>
            <p:spPr bwMode="auto">
              <a:xfrm>
                <a:off x="4174625"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31" name="Oval 430"/>
              <p:cNvSpPr/>
              <p:nvPr/>
            </p:nvSpPr>
            <p:spPr bwMode="auto">
              <a:xfrm>
                <a:off x="4313978"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32" name="Rectangle 431"/>
              <p:cNvSpPr/>
              <p:nvPr/>
            </p:nvSpPr>
            <p:spPr bwMode="auto">
              <a:xfrm>
                <a:off x="4178218"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33" name="Rectangle 432"/>
              <p:cNvSpPr/>
              <p:nvPr/>
            </p:nvSpPr>
            <p:spPr bwMode="auto">
              <a:xfrm>
                <a:off x="4317571"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34" name="Oval 433"/>
              <p:cNvSpPr/>
              <p:nvPr/>
            </p:nvSpPr>
            <p:spPr bwMode="auto">
              <a:xfrm>
                <a:off x="4106939"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35" name="Oval 434"/>
              <p:cNvSpPr/>
              <p:nvPr/>
            </p:nvSpPr>
            <p:spPr bwMode="auto">
              <a:xfrm>
                <a:off x="4246293"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36" name="Rectangle 435"/>
              <p:cNvSpPr/>
              <p:nvPr/>
            </p:nvSpPr>
            <p:spPr bwMode="auto">
              <a:xfrm>
                <a:off x="4178218"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37" name="Rectangle 436"/>
              <p:cNvSpPr/>
              <p:nvPr/>
            </p:nvSpPr>
            <p:spPr bwMode="auto">
              <a:xfrm>
                <a:off x="4317571"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38" name="Oval 437"/>
              <p:cNvSpPr/>
              <p:nvPr/>
            </p:nvSpPr>
            <p:spPr bwMode="auto">
              <a:xfrm>
                <a:off x="4106939"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39" name="Oval 438"/>
              <p:cNvSpPr/>
              <p:nvPr/>
            </p:nvSpPr>
            <p:spPr bwMode="auto">
              <a:xfrm>
                <a:off x="4246293"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440" name="Rectangle 439"/>
            <p:cNvSpPr/>
            <p:nvPr/>
          </p:nvSpPr>
          <p:spPr>
            <a:xfrm>
              <a:off x="8647433" y="1964537"/>
              <a:ext cx="1212643" cy="439642"/>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Cognitive Services</a:t>
              </a:r>
            </a:p>
          </p:txBody>
        </p:sp>
        <p:grpSp>
          <p:nvGrpSpPr>
            <p:cNvPr id="441" name="Group 440"/>
            <p:cNvGrpSpPr/>
            <p:nvPr/>
          </p:nvGrpSpPr>
          <p:grpSpPr>
            <a:xfrm>
              <a:off x="8215641" y="2039467"/>
              <a:ext cx="408490" cy="261932"/>
              <a:chOff x="7822816" y="2717080"/>
              <a:chExt cx="427431" cy="274077"/>
            </a:xfrm>
          </p:grpSpPr>
          <p:sp>
            <p:nvSpPr>
              <p:cNvPr id="442" name="Freeform 441"/>
              <p:cNvSpPr>
                <a:spLocks/>
              </p:cNvSpPr>
              <p:nvPr/>
            </p:nvSpPr>
            <p:spPr bwMode="auto">
              <a:xfrm flipH="1">
                <a:off x="782281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solidFill>
                <a:schemeClr val="tx1"/>
              </a:solidFill>
              <a:ln>
                <a:noFill/>
              </a:ln>
            </p:spPr>
            <p:txBody>
              <a:bodyPr vert="horz" wrap="square" lIns="91403" tIns="45701" rIns="91403" bIns="45701" numCol="1" anchor="t" anchorCtr="0" compatLnSpc="1">
                <a:prstTxWarp prst="textNoShape">
                  <a:avLst/>
                </a:prstTxWarp>
                <a:noAutofit/>
              </a:bodyPr>
              <a:lstStyle/>
              <a:p>
                <a:pPr defTabSz="896203"/>
                <a:endParaRPr lang="en-US" sz="1799" kern="0">
                  <a:solidFill>
                    <a:sysClr val="windowText" lastClr="000000"/>
                  </a:solidFill>
                </a:endParaRPr>
              </a:p>
            </p:txBody>
          </p:sp>
          <p:sp>
            <p:nvSpPr>
              <p:cNvPr id="443" name="Freeform 109"/>
              <p:cNvSpPr>
                <a:spLocks/>
              </p:cNvSpPr>
              <p:nvPr/>
            </p:nvSpPr>
            <p:spPr bwMode="auto">
              <a:xfrm>
                <a:off x="793668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solidFill>
                <a:schemeClr val="tx1"/>
              </a:solidFill>
              <a:ln>
                <a:noFill/>
              </a:ln>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grpSp>
        <p:sp>
          <p:nvSpPr>
            <p:cNvPr id="451" name="Freeform 450"/>
            <p:cNvSpPr/>
            <p:nvPr/>
          </p:nvSpPr>
          <p:spPr bwMode="auto">
            <a:xfrm>
              <a:off x="8241479" y="2823412"/>
              <a:ext cx="356814" cy="242549"/>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pPr>
              <a:endParaRPr lang="en-US" sz="2399" kern="0">
                <a:solidFill>
                  <a:schemeClr val="tx1"/>
                </a:solidFill>
                <a:ea typeface="Segoe UI" pitchFamily="34" charset="0"/>
                <a:cs typeface="Segoe UI" pitchFamily="34" charset="0"/>
              </a:endParaRPr>
            </a:p>
          </p:txBody>
        </p:sp>
        <p:grpSp>
          <p:nvGrpSpPr>
            <p:cNvPr id="452" name="Group 451"/>
            <p:cNvGrpSpPr/>
            <p:nvPr/>
          </p:nvGrpSpPr>
          <p:grpSpPr>
            <a:xfrm>
              <a:off x="6416331" y="4396740"/>
              <a:ext cx="337028" cy="258901"/>
              <a:chOff x="1260022" y="5196402"/>
              <a:chExt cx="3273425" cy="2514600"/>
            </a:xfrm>
            <a:solidFill>
              <a:schemeClr val="tx1"/>
            </a:solidFill>
          </p:grpSpPr>
          <p:sp>
            <p:nvSpPr>
              <p:cNvPr id="453" name="Freeform 452"/>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endParaRPr lang="en-US" sz="1799" dirty="0"/>
              </a:p>
            </p:txBody>
          </p:sp>
          <p:sp>
            <p:nvSpPr>
              <p:cNvPr id="454" name="Freeform 453"/>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endParaRPr lang="en-US" sz="1799" dirty="0"/>
              </a:p>
            </p:txBody>
          </p:sp>
          <p:sp>
            <p:nvSpPr>
              <p:cNvPr id="455" name="Freeform 454"/>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endParaRPr lang="en-US" sz="1799" dirty="0"/>
              </a:p>
            </p:txBody>
          </p:sp>
          <p:sp>
            <p:nvSpPr>
              <p:cNvPr id="456" name="Freeform 455"/>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endParaRPr lang="en-US" sz="1799" dirty="0"/>
              </a:p>
            </p:txBody>
          </p:sp>
        </p:grpSp>
        <p:sp>
          <p:nvSpPr>
            <p:cNvPr id="457" name="Freeform 456"/>
            <p:cNvSpPr>
              <a:spLocks/>
            </p:cNvSpPr>
            <p:nvPr/>
          </p:nvSpPr>
          <p:spPr bwMode="auto">
            <a:xfrm>
              <a:off x="6417588" y="3594543"/>
              <a:ext cx="350145" cy="264972"/>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tx1"/>
            </a:solidFill>
            <a:ln w="6350">
              <a:noFill/>
            </a:ln>
          </p:spPr>
          <p:txBody>
            <a:bodyPr vert="horz" wrap="square" lIns="91403" tIns="45701" rIns="91403" bIns="45701" numCol="1" anchor="t" anchorCtr="0" compatLnSpc="1">
              <a:prstTxWarp prst="textNoShape">
                <a:avLst/>
              </a:prstTxWarp>
            </a:bodyPr>
            <a:lstStyle/>
            <a:p>
              <a:pPr defTabSz="896203"/>
              <a:endParaRPr lang="en-US" sz="1600" kern="0" dirty="0">
                <a:solidFill>
                  <a:sysClr val="windowText" lastClr="000000"/>
                </a:solidFill>
              </a:endParaRPr>
            </a:p>
          </p:txBody>
        </p:sp>
        <p:sp>
          <p:nvSpPr>
            <p:cNvPr id="458" name="Freeform 457"/>
            <p:cNvSpPr/>
            <p:nvPr/>
          </p:nvSpPr>
          <p:spPr bwMode="auto">
            <a:xfrm>
              <a:off x="2903392" y="1986875"/>
              <a:ext cx="273767" cy="287691"/>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pPr>
              <a:endParaRPr lang="en-US" sz="2399" kern="0">
                <a:solidFill>
                  <a:schemeClr val="tx1"/>
                </a:solidFill>
                <a:ea typeface="Segoe UI" pitchFamily="34" charset="0"/>
                <a:cs typeface="Segoe UI" pitchFamily="34" charset="0"/>
              </a:endParaRPr>
            </a:p>
          </p:txBody>
        </p:sp>
        <p:sp>
          <p:nvSpPr>
            <p:cNvPr id="459" name="Freeform 458"/>
            <p:cNvSpPr/>
            <p:nvPr/>
          </p:nvSpPr>
          <p:spPr bwMode="auto">
            <a:xfrm>
              <a:off x="2922814" y="3606622"/>
              <a:ext cx="221312" cy="231596"/>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pPr>
              <a:endParaRPr lang="en-US" sz="2399" kern="0" dirty="0">
                <a:solidFill>
                  <a:schemeClr val="tx1"/>
                </a:solidFill>
                <a:ea typeface="Segoe UI" pitchFamily="34" charset="0"/>
                <a:cs typeface="Segoe UI" pitchFamily="34" charset="0"/>
              </a:endParaRPr>
            </a:p>
          </p:txBody>
        </p:sp>
        <p:sp>
          <p:nvSpPr>
            <p:cNvPr id="460" name="Freeform 459"/>
            <p:cNvSpPr/>
            <p:nvPr/>
          </p:nvSpPr>
          <p:spPr bwMode="auto">
            <a:xfrm flipH="1">
              <a:off x="6458921" y="2039304"/>
              <a:ext cx="255409" cy="270286"/>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pPr>
              <a:endParaRPr lang="en-US" sz="2399" kern="0">
                <a:solidFill>
                  <a:schemeClr val="tx1"/>
                </a:solidFill>
                <a:ea typeface="Segoe UI" pitchFamily="34" charset="0"/>
                <a:cs typeface="Segoe UI" pitchFamily="34" charset="0"/>
              </a:endParaRPr>
            </a:p>
          </p:txBody>
        </p:sp>
        <p:grpSp>
          <p:nvGrpSpPr>
            <p:cNvPr id="461" name="Group 460"/>
            <p:cNvGrpSpPr/>
            <p:nvPr/>
          </p:nvGrpSpPr>
          <p:grpSpPr>
            <a:xfrm>
              <a:off x="4637144" y="2803373"/>
              <a:ext cx="237255" cy="290582"/>
              <a:chOff x="-3084513" y="3390510"/>
              <a:chExt cx="2716213" cy="3363913"/>
            </a:xfrm>
            <a:solidFill>
              <a:schemeClr val="tx1"/>
            </a:solidFill>
          </p:grpSpPr>
          <p:sp>
            <p:nvSpPr>
              <p:cNvPr id="462"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463"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grpSp>
        <p:sp>
          <p:nvSpPr>
            <p:cNvPr id="464" name="TextBox 463"/>
            <p:cNvSpPr txBox="1"/>
            <p:nvPr/>
          </p:nvSpPr>
          <p:spPr>
            <a:xfrm>
              <a:off x="1680530" y="1737754"/>
              <a:ext cx="495460" cy="323189"/>
            </a:xfrm>
            <a:prstGeom prst="rect">
              <a:avLst/>
            </a:prstGeom>
            <a:noFill/>
          </p:spPr>
          <p:txBody>
            <a:bodyPr wrap="square" lIns="0" tIns="0" rIns="0" bIns="0" rtlCol="0" anchor="ctr" anchorCtr="0">
              <a:spAutoFit/>
            </a:bodyPr>
            <a:lstStyle/>
            <a:p>
              <a:pPr defTabSz="914005">
                <a:spcAft>
                  <a:spcPts val="588"/>
                </a:spcAft>
              </a:pPr>
              <a:r>
                <a:rPr lang="en-US" sz="1029" kern="0" dirty="0">
                  <a:solidFill>
                    <a:schemeClr val="bg2"/>
                  </a:solidFill>
                  <a:cs typeface="Segoe UI Semilight" panose="020B0402040204020203" pitchFamily="34" charset="0"/>
                </a:rPr>
                <a:t>Data Sources</a:t>
              </a:r>
            </a:p>
          </p:txBody>
        </p:sp>
        <p:sp>
          <p:nvSpPr>
            <p:cNvPr id="465" name="TextBox 464"/>
            <p:cNvSpPr txBox="1"/>
            <p:nvPr/>
          </p:nvSpPr>
          <p:spPr>
            <a:xfrm>
              <a:off x="1680530" y="3047822"/>
              <a:ext cx="495460" cy="161595"/>
            </a:xfrm>
            <a:prstGeom prst="rect">
              <a:avLst/>
            </a:prstGeom>
            <a:noFill/>
          </p:spPr>
          <p:txBody>
            <a:bodyPr wrap="square" lIns="0" tIns="0" rIns="0" bIns="0" rtlCol="0" anchor="ctr" anchorCtr="0">
              <a:spAutoFit/>
            </a:bodyPr>
            <a:lstStyle/>
            <a:p>
              <a:pPr defTabSz="914005">
                <a:spcBef>
                  <a:spcPct val="0"/>
                </a:spcBef>
                <a:spcAft>
                  <a:spcPts val="588"/>
                </a:spcAft>
              </a:pPr>
              <a:r>
                <a:rPr lang="en-US" sz="1029" kern="0" dirty="0">
                  <a:solidFill>
                    <a:schemeClr val="bg2"/>
                  </a:solidFill>
                  <a:cs typeface="Segoe UI Semilight" panose="020B0402040204020203" pitchFamily="34" charset="0"/>
                </a:rPr>
                <a:t>Apps</a:t>
              </a:r>
            </a:p>
          </p:txBody>
        </p:sp>
        <p:sp>
          <p:nvSpPr>
            <p:cNvPr id="466" name="TextBox 465"/>
            <p:cNvSpPr txBox="1"/>
            <p:nvPr/>
          </p:nvSpPr>
          <p:spPr>
            <a:xfrm>
              <a:off x="1680530" y="4290366"/>
              <a:ext cx="689402" cy="484784"/>
            </a:xfrm>
            <a:prstGeom prst="rect">
              <a:avLst/>
            </a:prstGeom>
            <a:noFill/>
          </p:spPr>
          <p:txBody>
            <a:bodyPr wrap="square" lIns="0" tIns="0" rIns="0" bIns="0" rtlCol="0" anchor="ctr" anchorCtr="0">
              <a:spAutoFit/>
            </a:bodyPr>
            <a:lstStyle/>
            <a:p>
              <a:pPr defTabSz="914005">
                <a:spcBef>
                  <a:spcPct val="0"/>
                </a:spcBef>
                <a:spcAft>
                  <a:spcPts val="588"/>
                </a:spcAft>
              </a:pPr>
              <a:r>
                <a:rPr lang="en-US" sz="1029" kern="0" dirty="0">
                  <a:solidFill>
                    <a:schemeClr val="bg2"/>
                  </a:solidFill>
                  <a:cs typeface="Segoe UI Semilight" panose="020B0402040204020203" pitchFamily="34" charset="0"/>
                </a:rPr>
                <a:t>Sensors </a:t>
              </a:r>
              <a:br>
                <a:rPr lang="en-US" sz="1029" kern="0" dirty="0">
                  <a:solidFill>
                    <a:schemeClr val="bg2"/>
                  </a:solidFill>
                  <a:cs typeface="Segoe UI Semilight" panose="020B0402040204020203" pitchFamily="34" charset="0"/>
                </a:rPr>
              </a:br>
              <a:r>
                <a:rPr lang="en-US" sz="1029" kern="0" dirty="0">
                  <a:solidFill>
                    <a:schemeClr val="bg2"/>
                  </a:solidFill>
                  <a:cs typeface="Segoe UI Semilight" panose="020B0402040204020203" pitchFamily="34" charset="0"/>
                </a:rPr>
                <a:t>and devices</a:t>
              </a:r>
            </a:p>
          </p:txBody>
        </p:sp>
        <p:sp>
          <p:nvSpPr>
            <p:cNvPr id="467" name="TextBox 466"/>
            <p:cNvSpPr txBox="1"/>
            <p:nvPr/>
          </p:nvSpPr>
          <p:spPr>
            <a:xfrm>
              <a:off x="1329252" y="5212619"/>
              <a:ext cx="475952" cy="277001"/>
            </a:xfrm>
            <a:prstGeom prst="rect">
              <a:avLst/>
            </a:prstGeom>
            <a:noFill/>
          </p:spPr>
          <p:txBody>
            <a:bodyPr wrap="none" lIns="0" tIns="0" rIns="0" bIns="0" rtlCol="0" anchor="ctr">
              <a:spAutoFit/>
            </a:bodyPr>
            <a:lstStyle>
              <a:defPPr>
                <a:defRPr lang="en-US"/>
              </a:defPPr>
              <a:lvl1pPr algn="ctr" defTabSz="932563">
                <a:spcBef>
                  <a:spcPct val="0"/>
                </a:spcBef>
                <a:spcAft>
                  <a:spcPts val="600"/>
                </a:spcAft>
                <a:defRPr sz="1100">
                  <a:solidFill>
                    <a:schemeClr val="bg1"/>
                  </a:solidFill>
                  <a:latin typeface="Segoe UI Semilight" panose="020B0402040204020203" pitchFamily="34" charset="0"/>
                  <a:cs typeface="Segoe UI Semilight" panose="020B0402040204020203" pitchFamily="34" charset="0"/>
                </a:defRPr>
              </a:lvl1pPr>
            </a:lstStyle>
            <a:p>
              <a:pPr defTabSz="914005">
                <a:spcAft>
                  <a:spcPts val="588"/>
                </a:spcAft>
              </a:pPr>
              <a:r>
                <a:rPr lang="en-US" sz="1764" kern="0" dirty="0">
                  <a:solidFill>
                    <a:schemeClr val="bg2"/>
                  </a:solidFill>
                  <a:latin typeface="+mn-lt"/>
                </a:rPr>
                <a:t>Data</a:t>
              </a:r>
            </a:p>
          </p:txBody>
        </p:sp>
        <p:cxnSp>
          <p:nvCxnSpPr>
            <p:cNvPr id="468" name="Straight Connector 467"/>
            <p:cNvCxnSpPr/>
            <p:nvPr/>
          </p:nvCxnSpPr>
          <p:spPr>
            <a:xfrm>
              <a:off x="2254104" y="3145210"/>
              <a:ext cx="289049" cy="0"/>
            </a:xfrm>
            <a:prstGeom prst="line">
              <a:avLst/>
            </a:prstGeom>
            <a:solidFill>
              <a:srgbClr val="0078D7"/>
            </a:solidFill>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469" name="Picture 46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23336" y="2764378"/>
              <a:ext cx="727305" cy="850995"/>
            </a:xfrm>
            <a:prstGeom prst="rect">
              <a:avLst/>
            </a:prstGeom>
          </p:spPr>
        </p:pic>
        <p:pic>
          <p:nvPicPr>
            <p:cNvPr id="470" name="Picture 46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01500" y="4119978"/>
              <a:ext cx="705564" cy="825558"/>
            </a:xfrm>
            <a:prstGeom prst="rect">
              <a:avLst/>
            </a:prstGeom>
          </p:spPr>
        </p:pic>
        <p:pic>
          <p:nvPicPr>
            <p:cNvPr id="471" name="Picture 47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01636" y="1501621"/>
              <a:ext cx="642611" cy="751899"/>
            </a:xfrm>
            <a:prstGeom prst="rect">
              <a:avLst/>
            </a:prstGeom>
          </p:spPr>
        </p:pic>
      </p:grpSp>
    </p:spTree>
    <p:extLst>
      <p:ext uri="{BB962C8B-B14F-4D97-AF65-F5344CB8AC3E}">
        <p14:creationId xmlns:p14="http://schemas.microsoft.com/office/powerpoint/2010/main" val="294432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5" presetClass="path" presetSubtype="0" accel="50000" decel="50000" fill="hold" nodeType="clickEffect">
                                  <p:stCondLst>
                                    <p:cond delay="0"/>
                                  </p:stCondLst>
                                  <p:childTnLst>
                                    <p:animMotion origin="layout" path="M 2.08833E-6 -3.44076E-6 L -0.64348 -3.44076E-6 " pathEditMode="relative" rAng="0" ptsTypes="AA">
                                      <p:cBhvr>
                                        <p:cTn id="6" dur="2000" fill="hold"/>
                                        <p:tgtEl>
                                          <p:spTgt spid="4"/>
                                        </p:tgtEl>
                                        <p:attrNameLst>
                                          <p:attrName>ppt_x</p:attrName>
                                          <p:attrName>ppt_y</p:attrName>
                                        </p:attrNameLst>
                                      </p:cBhvr>
                                      <p:rCtr x="-32180" y="0"/>
                                    </p:animMotion>
                                  </p:childTnLst>
                                </p:cTn>
                              </p:par>
                              <p:par>
                                <p:cTn id="7" presetID="35" presetClass="path" presetSubtype="0" accel="50000" decel="50000" fill="hold" nodeType="withEffect">
                                  <p:stCondLst>
                                    <p:cond delay="0"/>
                                  </p:stCondLst>
                                  <p:childTnLst>
                                    <p:animMotion origin="layout" path="M -9.67577E-7 -1.20291E-6 L -0.64335 -1.20291E-6 " pathEditMode="relative" rAng="0" ptsTypes="AA">
                                      <p:cBhvr>
                                        <p:cTn id="8" dur="2000" fill="hold"/>
                                        <p:tgtEl>
                                          <p:spTgt spid="5"/>
                                        </p:tgtEl>
                                        <p:attrNameLst>
                                          <p:attrName>ppt_x</p:attrName>
                                          <p:attrName>ppt_y</p:attrName>
                                        </p:attrNameLst>
                                      </p:cBhvr>
                                      <p:rCtr x="-32167" y="0"/>
                                    </p:animMotion>
                                  </p:childTnLst>
                                </p:cTn>
                              </p:par>
                            </p:childTnLst>
                          </p:cTn>
                        </p:par>
                        <p:par>
                          <p:cTn id="9" fill="hold">
                            <p:stCondLst>
                              <p:cond delay="2000"/>
                            </p:stCondLst>
                            <p:childTnLst>
                              <p:par>
                                <p:cTn id="10" presetID="10" presetClass="exit" presetSubtype="0" fill="hold" nodeType="afterEffect">
                                  <p:stCondLst>
                                    <p:cond delay="0"/>
                                  </p:stCondLst>
                                  <p:childTnLst>
                                    <p:animEffect transition="out" filter="fade">
                                      <p:cBhvr>
                                        <p:cTn id="11" dur="500"/>
                                        <p:tgtEl>
                                          <p:spTgt spid="4"/>
                                        </p:tgtEl>
                                      </p:cBhvr>
                                    </p:animEffect>
                                    <p:set>
                                      <p:cBhvr>
                                        <p:cTn id="12" dur="1" fill="hold">
                                          <p:stCondLst>
                                            <p:cond delay="499"/>
                                          </p:stCondLst>
                                        </p:cTn>
                                        <p:tgtEl>
                                          <p:spTgt spid="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pic>
        <p:nvPicPr>
          <p:cNvPr id="26" name="Picture 25"/>
          <p:cNvPicPr>
            <a:picLocks noChangeAspect="1"/>
          </p:cNvPicPr>
          <p:nvPr/>
        </p:nvPicPr>
        <p:blipFill>
          <a:blip r:embed="rId3"/>
          <a:stretch>
            <a:fillRect/>
          </a:stretch>
        </p:blipFill>
        <p:spPr>
          <a:xfrm>
            <a:off x="2387013" y="2399333"/>
            <a:ext cx="2139743" cy="1853616"/>
          </a:xfrm>
          <a:prstGeom prst="rect">
            <a:avLst/>
          </a:prstGeom>
        </p:spPr>
      </p:pic>
      <p:pic>
        <p:nvPicPr>
          <p:cNvPr id="27" name="Picture 26"/>
          <p:cNvPicPr>
            <a:picLocks noChangeAspect="1"/>
          </p:cNvPicPr>
          <p:nvPr/>
        </p:nvPicPr>
        <p:blipFill>
          <a:blip r:embed="rId3"/>
          <a:stretch>
            <a:fillRect/>
          </a:stretch>
        </p:blipFill>
        <p:spPr>
          <a:xfrm>
            <a:off x="830077" y="3313373"/>
            <a:ext cx="2139743" cy="1853616"/>
          </a:xfrm>
          <a:prstGeom prst="rect">
            <a:avLst/>
          </a:prstGeom>
        </p:spPr>
      </p:pic>
      <p:pic>
        <p:nvPicPr>
          <p:cNvPr id="25" name="Picture 24"/>
          <p:cNvPicPr>
            <a:picLocks noChangeAspect="1"/>
          </p:cNvPicPr>
          <p:nvPr/>
        </p:nvPicPr>
        <p:blipFill>
          <a:blip r:embed="rId3"/>
          <a:stretch>
            <a:fillRect/>
          </a:stretch>
        </p:blipFill>
        <p:spPr>
          <a:xfrm>
            <a:off x="787145" y="1466332"/>
            <a:ext cx="2139743" cy="1853616"/>
          </a:xfrm>
          <a:prstGeom prst="rect">
            <a:avLst/>
          </a:prstGeom>
        </p:spPr>
      </p:pic>
      <p:pic>
        <p:nvPicPr>
          <p:cNvPr id="87" name="Picture 86"/>
          <p:cNvPicPr>
            <a:picLocks noChangeAspect="1"/>
          </p:cNvPicPr>
          <p:nvPr/>
        </p:nvPicPr>
        <p:blipFill>
          <a:blip r:embed="rId3"/>
          <a:stretch>
            <a:fillRect/>
          </a:stretch>
        </p:blipFill>
        <p:spPr>
          <a:xfrm>
            <a:off x="817696" y="5127192"/>
            <a:ext cx="2115708" cy="1832795"/>
          </a:xfrm>
          <a:prstGeom prst="rect">
            <a:avLst/>
          </a:prstGeom>
        </p:spPr>
      </p:pic>
      <p:pic>
        <p:nvPicPr>
          <p:cNvPr id="88" name="Picture 87"/>
          <p:cNvPicPr>
            <a:picLocks noChangeAspect="1"/>
          </p:cNvPicPr>
          <p:nvPr/>
        </p:nvPicPr>
        <p:blipFill>
          <a:blip r:embed="rId3"/>
          <a:stretch>
            <a:fillRect/>
          </a:stretch>
        </p:blipFill>
        <p:spPr>
          <a:xfrm>
            <a:off x="830077" y="-282401"/>
            <a:ext cx="2101262" cy="1820280"/>
          </a:xfrm>
          <a:prstGeom prst="rect">
            <a:avLst/>
          </a:prstGeom>
        </p:spPr>
      </p:pic>
      <p:pic>
        <p:nvPicPr>
          <p:cNvPr id="89" name="Picture 88"/>
          <p:cNvPicPr>
            <a:picLocks noChangeAspect="1"/>
          </p:cNvPicPr>
          <p:nvPr/>
        </p:nvPicPr>
        <p:blipFill>
          <a:blip r:embed="rId3"/>
          <a:stretch>
            <a:fillRect/>
          </a:stretch>
        </p:blipFill>
        <p:spPr>
          <a:xfrm>
            <a:off x="2398651" y="585753"/>
            <a:ext cx="2139743" cy="1853616"/>
          </a:xfrm>
          <a:prstGeom prst="rect">
            <a:avLst/>
          </a:prstGeom>
        </p:spPr>
      </p:pic>
      <p:pic>
        <p:nvPicPr>
          <p:cNvPr id="90" name="Picture 89"/>
          <p:cNvPicPr>
            <a:picLocks noChangeAspect="1"/>
          </p:cNvPicPr>
          <p:nvPr/>
        </p:nvPicPr>
        <p:blipFill>
          <a:blip r:embed="rId3"/>
          <a:stretch>
            <a:fillRect/>
          </a:stretch>
        </p:blipFill>
        <p:spPr>
          <a:xfrm>
            <a:off x="3966985" y="1492614"/>
            <a:ext cx="2139743" cy="1853616"/>
          </a:xfrm>
          <a:prstGeom prst="rect">
            <a:avLst/>
          </a:prstGeom>
        </p:spPr>
      </p:pic>
      <p:pic>
        <p:nvPicPr>
          <p:cNvPr id="91" name="Picture 90"/>
          <p:cNvPicPr>
            <a:picLocks noChangeAspect="1"/>
          </p:cNvPicPr>
          <p:nvPr/>
        </p:nvPicPr>
        <p:blipFill>
          <a:blip r:embed="rId3"/>
          <a:stretch>
            <a:fillRect/>
          </a:stretch>
        </p:blipFill>
        <p:spPr>
          <a:xfrm>
            <a:off x="3966985" y="3327673"/>
            <a:ext cx="2139743" cy="1853616"/>
          </a:xfrm>
          <a:prstGeom prst="rect">
            <a:avLst/>
          </a:prstGeom>
        </p:spPr>
      </p:pic>
      <p:pic>
        <p:nvPicPr>
          <p:cNvPr id="92" name="Picture 91"/>
          <p:cNvPicPr>
            <a:picLocks noChangeAspect="1"/>
          </p:cNvPicPr>
          <p:nvPr/>
        </p:nvPicPr>
        <p:blipFill>
          <a:blip r:embed="rId3"/>
          <a:stretch>
            <a:fillRect/>
          </a:stretch>
        </p:blipFill>
        <p:spPr>
          <a:xfrm>
            <a:off x="2398651" y="4223863"/>
            <a:ext cx="2139743" cy="1853616"/>
          </a:xfrm>
          <a:prstGeom prst="rect">
            <a:avLst/>
          </a:prstGeom>
        </p:spPr>
      </p:pic>
      <p:sp>
        <p:nvSpPr>
          <p:cNvPr id="45" name="Hexagon 44"/>
          <p:cNvSpPr/>
          <p:nvPr/>
        </p:nvSpPr>
        <p:spPr bwMode="auto">
          <a:xfrm>
            <a:off x="6413816" y="917787"/>
            <a:ext cx="2029150" cy="1749266"/>
          </a:xfrm>
          <a:prstGeom prst="hexagon">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554" eaLnBrk="0" fontAlgn="base" hangingPunct="0">
              <a:lnSpc>
                <a:spcPct val="90000"/>
              </a:lnSpc>
              <a:spcBef>
                <a:spcPct val="0"/>
              </a:spcBef>
              <a:spcAft>
                <a:spcPct val="0"/>
              </a:spcAft>
              <a:defRPr/>
            </a:pPr>
            <a:endParaRPr lang="en-US" sz="1469" kern="0" dirty="0">
              <a:solidFill>
                <a:srgbClr val="FFFFFF"/>
              </a:solidFill>
              <a:latin typeface="Segoe UI Semibold" panose="020B0702040204020203" pitchFamily="34" charset="0"/>
              <a:cs typeface="Segoe UI Semibold" panose="020B0702040204020203" pitchFamily="34" charset="0"/>
            </a:endParaRPr>
          </a:p>
        </p:txBody>
      </p:sp>
      <p:pic>
        <p:nvPicPr>
          <p:cNvPr id="63" name="Picture 62"/>
          <p:cNvPicPr>
            <a:picLocks noChangeAspect="1"/>
          </p:cNvPicPr>
          <p:nvPr/>
        </p:nvPicPr>
        <p:blipFill>
          <a:blip r:embed="rId3"/>
          <a:stretch>
            <a:fillRect/>
          </a:stretch>
        </p:blipFill>
        <p:spPr>
          <a:xfrm>
            <a:off x="-737992" y="607822"/>
            <a:ext cx="2101262" cy="1820280"/>
          </a:xfrm>
          <a:prstGeom prst="rect">
            <a:avLst/>
          </a:prstGeom>
        </p:spPr>
      </p:pic>
      <p:pic>
        <p:nvPicPr>
          <p:cNvPr id="73" name="Picture 72"/>
          <p:cNvPicPr>
            <a:picLocks noChangeAspect="1"/>
          </p:cNvPicPr>
          <p:nvPr/>
        </p:nvPicPr>
        <p:blipFill>
          <a:blip r:embed="rId3"/>
          <a:stretch>
            <a:fillRect/>
          </a:stretch>
        </p:blipFill>
        <p:spPr>
          <a:xfrm>
            <a:off x="-737991" y="-1184561"/>
            <a:ext cx="2101262" cy="1820280"/>
          </a:xfrm>
          <a:prstGeom prst="rect">
            <a:avLst/>
          </a:prstGeom>
        </p:spPr>
      </p:pic>
      <p:pic>
        <p:nvPicPr>
          <p:cNvPr id="74" name="Picture 73"/>
          <p:cNvPicPr>
            <a:picLocks noChangeAspect="1"/>
          </p:cNvPicPr>
          <p:nvPr/>
        </p:nvPicPr>
        <p:blipFill>
          <a:blip r:embed="rId3"/>
          <a:stretch>
            <a:fillRect/>
          </a:stretch>
        </p:blipFill>
        <p:spPr>
          <a:xfrm>
            <a:off x="-731935" y="4235933"/>
            <a:ext cx="2101262" cy="1820280"/>
          </a:xfrm>
          <a:prstGeom prst="rect">
            <a:avLst/>
          </a:prstGeom>
        </p:spPr>
      </p:pic>
      <p:pic>
        <p:nvPicPr>
          <p:cNvPr id="75" name="Picture 74"/>
          <p:cNvPicPr>
            <a:picLocks noChangeAspect="1"/>
          </p:cNvPicPr>
          <p:nvPr/>
        </p:nvPicPr>
        <p:blipFill>
          <a:blip r:embed="rId3"/>
          <a:stretch>
            <a:fillRect/>
          </a:stretch>
        </p:blipFill>
        <p:spPr>
          <a:xfrm>
            <a:off x="-731935" y="2414325"/>
            <a:ext cx="2101262" cy="1829690"/>
          </a:xfrm>
          <a:prstGeom prst="rect">
            <a:avLst/>
          </a:prstGeom>
        </p:spPr>
      </p:pic>
      <p:sp>
        <p:nvSpPr>
          <p:cNvPr id="76" name="Rectangle 75"/>
          <p:cNvSpPr/>
          <p:nvPr/>
        </p:nvSpPr>
        <p:spPr bwMode="auto">
          <a:xfrm>
            <a:off x="-1251663" y="0"/>
            <a:ext cx="8442966" cy="6855242"/>
          </a:xfrm>
          <a:prstGeom prst="rect">
            <a:avLst/>
          </a:prstGeom>
          <a:gradFill flip="none" rotWithShape="1">
            <a:gsLst>
              <a:gs pos="0">
                <a:schemeClr val="bg2">
                  <a:alpha val="0"/>
                </a:schemeClr>
              </a:gs>
              <a:gs pos="100000">
                <a:schemeClr val="bg2"/>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6" name="Picture 85"/>
          <p:cNvPicPr>
            <a:picLocks noChangeAspect="1"/>
          </p:cNvPicPr>
          <p:nvPr/>
        </p:nvPicPr>
        <p:blipFill>
          <a:blip r:embed="rId3"/>
          <a:stretch>
            <a:fillRect/>
          </a:stretch>
        </p:blipFill>
        <p:spPr>
          <a:xfrm>
            <a:off x="-733933" y="6033581"/>
            <a:ext cx="2101262" cy="1820280"/>
          </a:xfrm>
          <a:prstGeom prst="rect">
            <a:avLst/>
          </a:prstGeom>
        </p:spPr>
      </p:pic>
      <p:sp>
        <p:nvSpPr>
          <p:cNvPr id="32" name="TextBox 31"/>
          <p:cNvSpPr txBox="1"/>
          <p:nvPr/>
        </p:nvSpPr>
        <p:spPr>
          <a:xfrm>
            <a:off x="6741131" y="2264469"/>
            <a:ext cx="5188763" cy="2162814"/>
          </a:xfrm>
          <a:prstGeom prst="rect">
            <a:avLst/>
          </a:prstGeom>
          <a:noFill/>
        </p:spPr>
        <p:txBody>
          <a:bodyPr wrap="square" lIns="179238" tIns="143391" rIns="179238" bIns="143391" rtlCol="0">
            <a:spAutoFit/>
          </a:bodyPr>
          <a:lstStyle/>
          <a:p>
            <a:pPr defTabSz="913818" eaLnBrk="0" fontAlgn="base" hangingPunct="0">
              <a:lnSpc>
                <a:spcPct val="90000"/>
              </a:lnSpc>
              <a:spcBef>
                <a:spcPct val="0"/>
              </a:spcBef>
              <a:spcAft>
                <a:spcPts val="588"/>
              </a:spcAft>
              <a:defRPr/>
            </a:pPr>
            <a:r>
              <a:rPr lang="en-US" sz="13525" dirty="0">
                <a:solidFill>
                  <a:sysClr val="windowText" lastClr="000000"/>
                </a:solidFill>
                <a:latin typeface="Segoe UI Light"/>
                <a:ea typeface="MS PGothic" panose="020B0600070205080204" pitchFamily="34" charset="-128"/>
              </a:rPr>
              <a:t>Azure</a:t>
            </a:r>
          </a:p>
        </p:txBody>
      </p:sp>
    </p:spTree>
    <p:extLst>
      <p:ext uri="{BB962C8B-B14F-4D97-AF65-F5344CB8AC3E}">
        <p14:creationId xmlns:p14="http://schemas.microsoft.com/office/powerpoint/2010/main" val="11573092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9"/>
                                        </p:tgtEl>
                                        <p:attrNameLst>
                                          <p:attrName>style.visibility</p:attrName>
                                        </p:attrNameLst>
                                      </p:cBhvr>
                                      <p:to>
                                        <p:strVal val="visible"/>
                                      </p:to>
                                    </p:set>
                                    <p:animEffect transition="in" filter="fade">
                                      <p:cBhvr>
                                        <p:cTn id="11" dur="500"/>
                                        <p:tgtEl>
                                          <p:spTgt spid="89"/>
                                        </p:tgtEl>
                                      </p:cBhvr>
                                    </p:animEffect>
                                  </p:childTnLst>
                                </p:cTn>
                              </p:par>
                              <p:par>
                                <p:cTn id="12" presetID="10" presetClass="entr" presetSubtype="0" fill="hold" nodeType="withEffect">
                                  <p:stCondLst>
                                    <p:cond delay="0"/>
                                  </p:stCondLst>
                                  <p:childTnLst>
                                    <p:set>
                                      <p:cBhvr>
                                        <p:cTn id="13" dur="1" fill="hold">
                                          <p:stCondLst>
                                            <p:cond delay="0"/>
                                          </p:stCondLst>
                                        </p:cTn>
                                        <p:tgtEl>
                                          <p:spTgt spid="63"/>
                                        </p:tgtEl>
                                        <p:attrNameLst>
                                          <p:attrName>style.visibility</p:attrName>
                                        </p:attrNameLst>
                                      </p:cBhvr>
                                      <p:to>
                                        <p:strVal val="visible"/>
                                      </p:to>
                                    </p:set>
                                    <p:animEffect transition="in" filter="fade">
                                      <p:cBhvr>
                                        <p:cTn id="14" dur="250"/>
                                        <p:tgtEl>
                                          <p:spTgt spid="63"/>
                                        </p:tgtEl>
                                      </p:cBhvr>
                                    </p:animEffect>
                                  </p:childTnLst>
                                </p:cTn>
                              </p:par>
                              <p:par>
                                <p:cTn id="15" presetID="10" presetClass="entr" presetSubtype="0" fill="hold" nodeType="withEffect">
                                  <p:stCondLst>
                                    <p:cond delay="50"/>
                                  </p:stCondLst>
                                  <p:childTnLst>
                                    <p:set>
                                      <p:cBhvr>
                                        <p:cTn id="16" dur="1" fill="hold">
                                          <p:stCondLst>
                                            <p:cond delay="0"/>
                                          </p:stCondLst>
                                        </p:cTn>
                                        <p:tgtEl>
                                          <p:spTgt spid="92"/>
                                        </p:tgtEl>
                                        <p:attrNameLst>
                                          <p:attrName>style.visibility</p:attrName>
                                        </p:attrNameLst>
                                      </p:cBhvr>
                                      <p:to>
                                        <p:strVal val="visible"/>
                                      </p:to>
                                    </p:set>
                                    <p:animEffect transition="in" filter="fade">
                                      <p:cBhvr>
                                        <p:cTn id="17" dur="250"/>
                                        <p:tgtEl>
                                          <p:spTgt spid="92"/>
                                        </p:tgtEl>
                                      </p:cBhvr>
                                    </p:animEffect>
                                  </p:childTnLst>
                                </p:cTn>
                              </p:par>
                              <p:par>
                                <p:cTn id="18" presetID="10" presetClass="entr" presetSubtype="0" fill="hold" nodeType="withEffect">
                                  <p:stCondLst>
                                    <p:cond delay="100"/>
                                  </p:stCondLst>
                                  <p:childTnLst>
                                    <p:set>
                                      <p:cBhvr>
                                        <p:cTn id="19" dur="1" fill="hold">
                                          <p:stCondLst>
                                            <p:cond delay="0"/>
                                          </p:stCondLst>
                                        </p:cTn>
                                        <p:tgtEl>
                                          <p:spTgt spid="90"/>
                                        </p:tgtEl>
                                        <p:attrNameLst>
                                          <p:attrName>style.visibility</p:attrName>
                                        </p:attrNameLst>
                                      </p:cBhvr>
                                      <p:to>
                                        <p:strVal val="visible"/>
                                      </p:to>
                                    </p:set>
                                    <p:animEffect transition="in" filter="fade">
                                      <p:cBhvr>
                                        <p:cTn id="20" dur="250"/>
                                        <p:tgtEl>
                                          <p:spTgt spid="90"/>
                                        </p:tgtEl>
                                      </p:cBhvr>
                                    </p:animEffect>
                                  </p:childTnLst>
                                </p:cTn>
                              </p:par>
                              <p:par>
                                <p:cTn id="21" presetID="10" presetClass="entr" presetSubtype="0" fill="hold" nodeType="withEffect">
                                  <p:stCondLst>
                                    <p:cond delay="150"/>
                                  </p:stCondLst>
                                  <p:childTnLst>
                                    <p:set>
                                      <p:cBhvr>
                                        <p:cTn id="22" dur="1" fill="hold">
                                          <p:stCondLst>
                                            <p:cond delay="0"/>
                                          </p:stCondLst>
                                        </p:cTn>
                                        <p:tgtEl>
                                          <p:spTgt spid="75"/>
                                        </p:tgtEl>
                                        <p:attrNameLst>
                                          <p:attrName>style.visibility</p:attrName>
                                        </p:attrNameLst>
                                      </p:cBhvr>
                                      <p:to>
                                        <p:strVal val="visible"/>
                                      </p:to>
                                    </p:set>
                                    <p:animEffect transition="in" filter="fade">
                                      <p:cBhvr>
                                        <p:cTn id="23" dur="250"/>
                                        <p:tgtEl>
                                          <p:spTgt spid="75"/>
                                        </p:tgtEl>
                                      </p:cBhvr>
                                    </p:animEffect>
                                  </p:childTnLst>
                                </p:cTn>
                              </p:par>
                              <p:par>
                                <p:cTn id="24" presetID="10" presetClass="entr" presetSubtype="0" fill="hold" nodeType="withEffect">
                                  <p:stCondLst>
                                    <p:cond delay="200"/>
                                  </p:stCondLst>
                                  <p:childTnLst>
                                    <p:set>
                                      <p:cBhvr>
                                        <p:cTn id="25" dur="1" fill="hold">
                                          <p:stCondLst>
                                            <p:cond delay="0"/>
                                          </p:stCondLst>
                                        </p:cTn>
                                        <p:tgtEl>
                                          <p:spTgt spid="74"/>
                                        </p:tgtEl>
                                        <p:attrNameLst>
                                          <p:attrName>style.visibility</p:attrName>
                                        </p:attrNameLst>
                                      </p:cBhvr>
                                      <p:to>
                                        <p:strVal val="visible"/>
                                      </p:to>
                                    </p:set>
                                    <p:animEffect transition="in" filter="fade">
                                      <p:cBhvr>
                                        <p:cTn id="26" dur="250"/>
                                        <p:tgtEl>
                                          <p:spTgt spid="74"/>
                                        </p:tgtEl>
                                      </p:cBhvr>
                                    </p:animEffect>
                                  </p:childTnLst>
                                </p:cTn>
                              </p:par>
                              <p:par>
                                <p:cTn id="27" presetID="10" presetClass="entr" presetSubtype="0" fill="hold" nodeType="withEffect">
                                  <p:stCondLst>
                                    <p:cond delay="250"/>
                                  </p:stCondLst>
                                  <p:childTnLst>
                                    <p:set>
                                      <p:cBhvr>
                                        <p:cTn id="28" dur="1" fill="hold">
                                          <p:stCondLst>
                                            <p:cond delay="0"/>
                                          </p:stCondLst>
                                        </p:cTn>
                                        <p:tgtEl>
                                          <p:spTgt spid="91"/>
                                        </p:tgtEl>
                                        <p:attrNameLst>
                                          <p:attrName>style.visibility</p:attrName>
                                        </p:attrNameLst>
                                      </p:cBhvr>
                                      <p:to>
                                        <p:strVal val="visible"/>
                                      </p:to>
                                    </p:set>
                                    <p:animEffect transition="in" filter="fade">
                                      <p:cBhvr>
                                        <p:cTn id="29" dur="250"/>
                                        <p:tgtEl>
                                          <p:spTgt spid="91"/>
                                        </p:tgtEl>
                                      </p:cBhvr>
                                    </p:animEffect>
                                  </p:childTnLst>
                                </p:cTn>
                              </p:par>
                              <p:par>
                                <p:cTn id="30" presetID="10" presetClass="entr" presetSubtype="0" fill="hold" nodeType="withEffect">
                                  <p:stCondLst>
                                    <p:cond delay="300"/>
                                  </p:stCondLst>
                                  <p:childTnLst>
                                    <p:set>
                                      <p:cBhvr>
                                        <p:cTn id="31" dur="1" fill="hold">
                                          <p:stCondLst>
                                            <p:cond delay="0"/>
                                          </p:stCondLst>
                                        </p:cTn>
                                        <p:tgtEl>
                                          <p:spTgt spid="87"/>
                                        </p:tgtEl>
                                        <p:attrNameLst>
                                          <p:attrName>style.visibility</p:attrName>
                                        </p:attrNameLst>
                                      </p:cBhvr>
                                      <p:to>
                                        <p:strVal val="visible"/>
                                      </p:to>
                                    </p:set>
                                    <p:animEffect transition="in" filter="fade">
                                      <p:cBhvr>
                                        <p:cTn id="32" dur="250"/>
                                        <p:tgtEl>
                                          <p:spTgt spid="87"/>
                                        </p:tgtEl>
                                      </p:cBhvr>
                                    </p:animEffect>
                                  </p:childTnLst>
                                </p:cTn>
                              </p:par>
                              <p:par>
                                <p:cTn id="33" presetID="10" presetClass="entr" presetSubtype="0" fill="hold" nodeType="withEffect">
                                  <p:stCondLst>
                                    <p:cond delay="350"/>
                                  </p:stCondLst>
                                  <p:childTnLst>
                                    <p:set>
                                      <p:cBhvr>
                                        <p:cTn id="34" dur="1" fill="hold">
                                          <p:stCondLst>
                                            <p:cond delay="0"/>
                                          </p:stCondLst>
                                        </p:cTn>
                                        <p:tgtEl>
                                          <p:spTgt spid="88"/>
                                        </p:tgtEl>
                                        <p:attrNameLst>
                                          <p:attrName>style.visibility</p:attrName>
                                        </p:attrNameLst>
                                      </p:cBhvr>
                                      <p:to>
                                        <p:strVal val="visible"/>
                                      </p:to>
                                    </p:set>
                                    <p:animEffect transition="in" filter="fade">
                                      <p:cBhvr>
                                        <p:cTn id="35" dur="250"/>
                                        <p:tgtEl>
                                          <p:spTgt spid="88"/>
                                        </p:tgtEl>
                                      </p:cBhvr>
                                    </p:animEffect>
                                  </p:childTnLst>
                                </p:cTn>
                              </p:par>
                              <p:par>
                                <p:cTn id="36" presetID="10" presetClass="entr" presetSubtype="0" fill="hold" nodeType="withEffect">
                                  <p:stCondLst>
                                    <p:cond delay="400"/>
                                  </p:stCondLst>
                                  <p:childTnLst>
                                    <p:set>
                                      <p:cBhvr>
                                        <p:cTn id="37" dur="1" fill="hold">
                                          <p:stCondLst>
                                            <p:cond delay="0"/>
                                          </p:stCondLst>
                                        </p:cTn>
                                        <p:tgtEl>
                                          <p:spTgt spid="73"/>
                                        </p:tgtEl>
                                        <p:attrNameLst>
                                          <p:attrName>style.visibility</p:attrName>
                                        </p:attrNameLst>
                                      </p:cBhvr>
                                      <p:to>
                                        <p:strVal val="visible"/>
                                      </p:to>
                                    </p:set>
                                    <p:animEffect transition="in" filter="fade">
                                      <p:cBhvr>
                                        <p:cTn id="38" dur="250"/>
                                        <p:tgtEl>
                                          <p:spTgt spid="73"/>
                                        </p:tgtEl>
                                      </p:cBhvr>
                                    </p:animEffect>
                                  </p:childTnLst>
                                </p:cTn>
                              </p:par>
                              <p:par>
                                <p:cTn id="39" presetID="10" presetClass="entr" presetSubtype="0" fill="hold" nodeType="withEffect">
                                  <p:stCondLst>
                                    <p:cond delay="450"/>
                                  </p:stCondLst>
                                  <p:childTnLst>
                                    <p:set>
                                      <p:cBhvr>
                                        <p:cTn id="40" dur="1" fill="hold">
                                          <p:stCondLst>
                                            <p:cond delay="0"/>
                                          </p:stCondLst>
                                        </p:cTn>
                                        <p:tgtEl>
                                          <p:spTgt spid="86"/>
                                        </p:tgtEl>
                                        <p:attrNameLst>
                                          <p:attrName>style.visibility</p:attrName>
                                        </p:attrNameLst>
                                      </p:cBhvr>
                                      <p:to>
                                        <p:strVal val="visible"/>
                                      </p:to>
                                    </p:set>
                                    <p:animEffect transition="in" filter="fade">
                                      <p:cBhvr>
                                        <p:cTn id="41" dur="250"/>
                                        <p:tgtEl>
                                          <p:spTgt spid="86"/>
                                        </p:tgtEl>
                                      </p:cBhvr>
                                    </p:animEffect>
                                  </p:childTnLst>
                                </p:cTn>
                              </p:par>
                            </p:childTnLst>
                          </p:cTn>
                        </p:par>
                        <p:par>
                          <p:cTn id="42" fill="hold">
                            <p:stCondLst>
                              <p:cond delay="1200"/>
                            </p:stCondLst>
                            <p:childTnLst>
                              <p:par>
                                <p:cTn id="43" presetID="10" presetClass="entr" presetSubtype="0" fill="hold" nodeType="afterEffect">
                                  <p:stCondLst>
                                    <p:cond delay="0"/>
                                  </p:stCondLst>
                                  <p:childTnLst>
                                    <p:set>
                                      <p:cBhvr>
                                        <p:cTn id="44" dur="1" fill="hold">
                                          <p:stCondLst>
                                            <p:cond delay="0"/>
                                          </p:stCondLst>
                                        </p:cTn>
                                        <p:tgtEl>
                                          <p:spTgt spid="25"/>
                                        </p:tgtEl>
                                        <p:attrNameLst>
                                          <p:attrName>style.visibility</p:attrName>
                                        </p:attrNameLst>
                                      </p:cBhvr>
                                      <p:to>
                                        <p:strVal val="visible"/>
                                      </p:to>
                                    </p:set>
                                    <p:animEffect transition="in" filter="fade">
                                      <p:cBhvr>
                                        <p:cTn id="45" dur="500"/>
                                        <p:tgtEl>
                                          <p:spTgt spid="25"/>
                                        </p:tgtEl>
                                      </p:cBhvr>
                                    </p:animEffect>
                                  </p:childTnLst>
                                </p:cTn>
                              </p:par>
                            </p:childTnLst>
                          </p:cTn>
                        </p:par>
                        <p:par>
                          <p:cTn id="46" fill="hold">
                            <p:stCondLst>
                              <p:cond delay="1700"/>
                            </p:stCondLst>
                            <p:childTnLst>
                              <p:par>
                                <p:cTn id="47" presetID="10" presetClass="entr" presetSubtype="0" fill="hold" nodeType="afterEffect">
                                  <p:stCondLst>
                                    <p:cond delay="0"/>
                                  </p:stCondLst>
                                  <p:childTnLst>
                                    <p:set>
                                      <p:cBhvr>
                                        <p:cTn id="48" dur="1" fill="hold">
                                          <p:stCondLst>
                                            <p:cond delay="0"/>
                                          </p:stCondLst>
                                        </p:cTn>
                                        <p:tgtEl>
                                          <p:spTgt spid="26"/>
                                        </p:tgtEl>
                                        <p:attrNameLst>
                                          <p:attrName>style.visibility</p:attrName>
                                        </p:attrNameLst>
                                      </p:cBhvr>
                                      <p:to>
                                        <p:strVal val="visible"/>
                                      </p:to>
                                    </p:set>
                                    <p:animEffect transition="in" filter="fade">
                                      <p:cBhvr>
                                        <p:cTn id="49" dur="500"/>
                                        <p:tgtEl>
                                          <p:spTgt spid="26"/>
                                        </p:tgtEl>
                                      </p:cBhvr>
                                    </p:animEffect>
                                  </p:childTnLst>
                                </p:cTn>
                              </p:par>
                            </p:childTnLst>
                          </p:cTn>
                        </p:par>
                        <p:par>
                          <p:cTn id="50" fill="hold">
                            <p:stCondLst>
                              <p:cond delay="2200"/>
                            </p:stCondLst>
                            <p:childTnLst>
                              <p:par>
                                <p:cTn id="51" presetID="10" presetClass="entr" presetSubtype="0" fill="hold" nodeType="afterEffect">
                                  <p:stCondLst>
                                    <p:cond delay="0"/>
                                  </p:stCondLst>
                                  <p:childTnLst>
                                    <p:set>
                                      <p:cBhvr>
                                        <p:cTn id="52" dur="1" fill="hold">
                                          <p:stCondLst>
                                            <p:cond delay="0"/>
                                          </p:stCondLst>
                                        </p:cTn>
                                        <p:tgtEl>
                                          <p:spTgt spid="27"/>
                                        </p:tgtEl>
                                        <p:attrNameLst>
                                          <p:attrName>style.visibility</p:attrName>
                                        </p:attrNameLst>
                                      </p:cBhvr>
                                      <p:to>
                                        <p:strVal val="visible"/>
                                      </p:to>
                                    </p:set>
                                    <p:animEffect transition="in" filter="fade">
                                      <p:cBhvr>
                                        <p:cTn id="53"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Lst>
  </p:timing>
</p:sld>
</file>

<file path=ppt/slides/slide7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53" name="Rectangle 152"/>
          <p:cNvSpPr/>
          <p:nvPr/>
        </p:nvSpPr>
        <p:spPr bwMode="auto">
          <a:xfrm>
            <a:off x="1" y="5171771"/>
            <a:ext cx="12188824" cy="1154529"/>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kern="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pPr>
              <a:spcAft>
                <a:spcPts val="588"/>
              </a:spcAft>
            </a:pPr>
            <a:r>
              <a:rPr lang="en-US" dirty="0">
                <a:solidFill>
                  <a:schemeClr val="bg1"/>
                </a:solidFill>
              </a:rPr>
              <a:t>Keep a pulse on your business with live, interactive dashboards</a:t>
            </a:r>
          </a:p>
        </p:txBody>
      </p:sp>
      <p:sp>
        <p:nvSpPr>
          <p:cNvPr id="58" name="Freeform 57"/>
          <p:cNvSpPr/>
          <p:nvPr/>
        </p:nvSpPr>
        <p:spPr bwMode="auto">
          <a:xfrm>
            <a:off x="2200931" y="2533638"/>
            <a:ext cx="482042" cy="536925"/>
          </a:xfrm>
          <a:custGeom>
            <a:avLst/>
            <a:gdLst>
              <a:gd name="connsiteX0" fmla="*/ 840105 w 2099417"/>
              <a:gd name="connsiteY0" fmla="*/ 193365 h 2338449"/>
              <a:gd name="connsiteX1" fmla="*/ 840105 w 2099417"/>
              <a:gd name="connsiteY1" fmla="*/ 637578 h 2338449"/>
              <a:gd name="connsiteX2" fmla="*/ 706532 w 2099417"/>
              <a:gd name="connsiteY2" fmla="*/ 898901 h 2338449"/>
              <a:gd name="connsiteX3" fmla="*/ 170288 w 2099417"/>
              <a:gd name="connsiteY3" fmla="*/ 1975105 h 2338449"/>
              <a:gd name="connsiteX4" fmla="*/ 322383 w 2099417"/>
              <a:gd name="connsiteY4" fmla="*/ 2220285 h 2338449"/>
              <a:gd name="connsiteX5" fmla="*/ 1777036 w 2099417"/>
              <a:gd name="connsiteY5" fmla="*/ 2220285 h 2338449"/>
              <a:gd name="connsiteX6" fmla="*/ 1929130 w 2099417"/>
              <a:gd name="connsiteY6" fmla="*/ 1975105 h 2338449"/>
              <a:gd name="connsiteX7" fmla="*/ 1395989 w 2099417"/>
              <a:gd name="connsiteY7" fmla="*/ 905127 h 2338449"/>
              <a:gd name="connsiteX8" fmla="*/ 1261586 w 2099417"/>
              <a:gd name="connsiteY8" fmla="*/ 642306 h 2338449"/>
              <a:gd name="connsiteX9" fmla="*/ 1261586 w 2099417"/>
              <a:gd name="connsiteY9" fmla="*/ 193365 h 2338449"/>
              <a:gd name="connsiteX10" fmla="*/ 510540 w 2099417"/>
              <a:gd name="connsiteY10" fmla="*/ 0 h 2338449"/>
              <a:gd name="connsiteX11" fmla="*/ 1592580 w 2099417"/>
              <a:gd name="connsiteY11" fmla="*/ 0 h 2338449"/>
              <a:gd name="connsiteX12" fmla="*/ 1592580 w 2099417"/>
              <a:gd name="connsiteY12" fmla="*/ 193365 h 2338449"/>
              <a:gd name="connsiteX13" fmla="*/ 1463040 w 2099417"/>
              <a:gd name="connsiteY13" fmla="*/ 193365 h 2338449"/>
              <a:gd name="connsiteX14" fmla="*/ 1463040 w 2099417"/>
              <a:gd name="connsiteY14" fmla="*/ 620444 h 2338449"/>
              <a:gd name="connsiteX15" fmla="*/ 2099417 w 2099417"/>
              <a:gd name="connsiteY15" fmla="*/ 1991685 h 2338449"/>
              <a:gd name="connsiteX16" fmla="*/ 1901297 w 2099417"/>
              <a:gd name="connsiteY16" fmla="*/ 2334585 h 2338449"/>
              <a:gd name="connsiteX17" fmla="*/ 1463040 w 2099417"/>
              <a:gd name="connsiteY17" fmla="*/ 2338417 h 2338449"/>
              <a:gd name="connsiteX18" fmla="*/ 1463040 w 2099417"/>
              <a:gd name="connsiteY18" fmla="*/ 2338449 h 2338449"/>
              <a:gd name="connsiteX19" fmla="*/ 1459337 w 2099417"/>
              <a:gd name="connsiteY19" fmla="*/ 2338449 h 2338449"/>
              <a:gd name="connsiteX20" fmla="*/ 640080 w 2099417"/>
              <a:gd name="connsiteY20" fmla="*/ 2338449 h 2338449"/>
              <a:gd name="connsiteX21" fmla="*/ 198120 w 2099417"/>
              <a:gd name="connsiteY21" fmla="*/ 2334585 h 2338449"/>
              <a:gd name="connsiteX22" fmla="*/ 0 w 2099417"/>
              <a:gd name="connsiteY22" fmla="*/ 1991685 h 2338449"/>
              <a:gd name="connsiteX23" fmla="*/ 640080 w 2099417"/>
              <a:gd name="connsiteY23" fmla="*/ 612465 h 2338449"/>
              <a:gd name="connsiteX24" fmla="*/ 640080 w 2099417"/>
              <a:gd name="connsiteY24" fmla="*/ 193365 h 2338449"/>
              <a:gd name="connsiteX25" fmla="*/ 510540 w 2099417"/>
              <a:gd name="connsiteY25" fmla="*/ 193365 h 2338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099417" h="2338449">
                <a:moveTo>
                  <a:pt x="840105" y="193365"/>
                </a:moveTo>
                <a:lnTo>
                  <a:pt x="840105" y="637578"/>
                </a:lnTo>
                <a:lnTo>
                  <a:pt x="706532" y="898901"/>
                </a:lnTo>
                <a:lnTo>
                  <a:pt x="170288" y="1975105"/>
                </a:lnTo>
                <a:lnTo>
                  <a:pt x="322383" y="2220285"/>
                </a:lnTo>
                <a:lnTo>
                  <a:pt x="1777036" y="2220285"/>
                </a:lnTo>
                <a:lnTo>
                  <a:pt x="1929130" y="1975105"/>
                </a:lnTo>
                <a:lnTo>
                  <a:pt x="1395989" y="905127"/>
                </a:lnTo>
                <a:lnTo>
                  <a:pt x="1261586" y="642306"/>
                </a:lnTo>
                <a:lnTo>
                  <a:pt x="1261586" y="193365"/>
                </a:lnTo>
                <a:close/>
                <a:moveTo>
                  <a:pt x="510540" y="0"/>
                </a:moveTo>
                <a:lnTo>
                  <a:pt x="1592580" y="0"/>
                </a:lnTo>
                <a:lnTo>
                  <a:pt x="1592580" y="193365"/>
                </a:lnTo>
                <a:lnTo>
                  <a:pt x="1463040" y="193365"/>
                </a:lnTo>
                <a:lnTo>
                  <a:pt x="1463040" y="620444"/>
                </a:lnTo>
                <a:lnTo>
                  <a:pt x="2099417" y="1991685"/>
                </a:lnTo>
                <a:lnTo>
                  <a:pt x="1901297" y="2334585"/>
                </a:lnTo>
                <a:lnTo>
                  <a:pt x="1463040" y="2338417"/>
                </a:lnTo>
                <a:lnTo>
                  <a:pt x="1463040" y="2338449"/>
                </a:lnTo>
                <a:lnTo>
                  <a:pt x="1459337" y="2338449"/>
                </a:lnTo>
                <a:lnTo>
                  <a:pt x="640080" y="2338449"/>
                </a:lnTo>
                <a:lnTo>
                  <a:pt x="198120" y="2334585"/>
                </a:lnTo>
                <a:lnTo>
                  <a:pt x="0" y="1991685"/>
                </a:lnTo>
                <a:lnTo>
                  <a:pt x="640080" y="612465"/>
                </a:lnTo>
                <a:lnTo>
                  <a:pt x="640080" y="193365"/>
                </a:lnTo>
                <a:lnTo>
                  <a:pt x="510540" y="193365"/>
                </a:lnTo>
                <a:close/>
              </a:path>
            </a:pathLst>
          </a:custGeom>
          <a:solidFill>
            <a:schemeClr val="accent2"/>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spcBef>
                <a:spcPct val="0"/>
              </a:spcBef>
              <a:spcAft>
                <a:spcPct val="0"/>
              </a:spcAft>
            </a:pPr>
            <a:endParaRPr lang="en-US" sz="1960" kern="0" dirty="0" err="1">
              <a:solidFill>
                <a:schemeClr val="accent1"/>
              </a:solidFill>
              <a:ea typeface="Segoe UI" pitchFamily="34" charset="0"/>
              <a:cs typeface="Segoe UI" pitchFamily="34" charset="0"/>
            </a:endParaRPr>
          </a:p>
        </p:txBody>
      </p:sp>
      <p:grpSp>
        <p:nvGrpSpPr>
          <p:cNvPr id="60" name="Group 59"/>
          <p:cNvGrpSpPr/>
          <p:nvPr/>
        </p:nvGrpSpPr>
        <p:grpSpPr>
          <a:xfrm>
            <a:off x="2014297" y="3533610"/>
            <a:ext cx="636936" cy="445386"/>
            <a:chOff x="1182255" y="2216727"/>
            <a:chExt cx="5006109" cy="3500582"/>
          </a:xfrm>
          <a:solidFill>
            <a:srgbClr val="0078D7"/>
          </a:solidFill>
        </p:grpSpPr>
        <p:sp>
          <p:nvSpPr>
            <p:cNvPr id="63" name="Freeform 62"/>
            <p:cNvSpPr/>
            <p:nvPr/>
          </p:nvSpPr>
          <p:spPr bwMode="auto">
            <a:xfrm>
              <a:off x="1182255" y="2216727"/>
              <a:ext cx="5006109" cy="3500582"/>
            </a:xfrm>
            <a:custGeom>
              <a:avLst/>
              <a:gdLst>
                <a:gd name="connsiteX0" fmla="*/ 115224 w 5006109"/>
                <a:gd name="connsiteY0" fmla="*/ 113026 h 3500582"/>
                <a:gd name="connsiteX1" fmla="*/ 115224 w 5006109"/>
                <a:gd name="connsiteY1" fmla="*/ 3387556 h 3500582"/>
                <a:gd name="connsiteX2" fmla="*/ 4890886 w 5006109"/>
                <a:gd name="connsiteY2" fmla="*/ 3387556 h 3500582"/>
                <a:gd name="connsiteX3" fmla="*/ 4890886 w 5006109"/>
                <a:gd name="connsiteY3" fmla="*/ 113026 h 3500582"/>
                <a:gd name="connsiteX4" fmla="*/ 0 w 5006109"/>
                <a:gd name="connsiteY4" fmla="*/ 0 h 3500582"/>
                <a:gd name="connsiteX5" fmla="*/ 5006109 w 5006109"/>
                <a:gd name="connsiteY5" fmla="*/ 0 h 3500582"/>
                <a:gd name="connsiteX6" fmla="*/ 5006109 w 5006109"/>
                <a:gd name="connsiteY6" fmla="*/ 3500582 h 3500582"/>
                <a:gd name="connsiteX7" fmla="*/ 0 w 5006109"/>
                <a:gd name="connsiteY7" fmla="*/ 3500582 h 3500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06109" h="3500582">
                  <a:moveTo>
                    <a:pt x="115224" y="113026"/>
                  </a:moveTo>
                  <a:lnTo>
                    <a:pt x="115224" y="3387556"/>
                  </a:lnTo>
                  <a:lnTo>
                    <a:pt x="4890886" y="3387556"/>
                  </a:lnTo>
                  <a:lnTo>
                    <a:pt x="4890886" y="113026"/>
                  </a:lnTo>
                  <a:close/>
                  <a:moveTo>
                    <a:pt x="0" y="0"/>
                  </a:moveTo>
                  <a:lnTo>
                    <a:pt x="5006109" y="0"/>
                  </a:lnTo>
                  <a:lnTo>
                    <a:pt x="5006109" y="3500582"/>
                  </a:lnTo>
                  <a:lnTo>
                    <a:pt x="0" y="3500582"/>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kern="0" dirty="0">
                <a:solidFill>
                  <a:schemeClr val="accent1"/>
                </a:solidFill>
              </a:endParaRPr>
            </a:p>
          </p:txBody>
        </p:sp>
        <p:grpSp>
          <p:nvGrpSpPr>
            <p:cNvPr id="64" name="Group 63"/>
            <p:cNvGrpSpPr/>
            <p:nvPr/>
          </p:nvGrpSpPr>
          <p:grpSpPr>
            <a:xfrm>
              <a:off x="1371600" y="2904099"/>
              <a:ext cx="4622800" cy="2628550"/>
              <a:chOff x="1371600" y="3272399"/>
              <a:chExt cx="4622800" cy="2628550"/>
            </a:xfrm>
            <a:grpFill/>
          </p:grpSpPr>
          <p:grpSp>
            <p:nvGrpSpPr>
              <p:cNvPr id="65" name="Group 64"/>
              <p:cNvGrpSpPr/>
              <p:nvPr/>
            </p:nvGrpSpPr>
            <p:grpSpPr>
              <a:xfrm>
                <a:off x="1371600" y="3272399"/>
                <a:ext cx="4622800" cy="609250"/>
                <a:chOff x="1403350" y="3272399"/>
                <a:chExt cx="4216400" cy="609250"/>
              </a:xfrm>
              <a:grpFill/>
            </p:grpSpPr>
            <p:sp>
              <p:nvSpPr>
                <p:cNvPr id="81" name="Freeform 80"/>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kern="0" dirty="0">
                    <a:solidFill>
                      <a:schemeClr val="accent1"/>
                    </a:solidFill>
                  </a:endParaRPr>
                </a:p>
              </p:txBody>
            </p:sp>
            <p:sp>
              <p:nvSpPr>
                <p:cNvPr id="82" name="Freeform 81"/>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kern="0" dirty="0">
                    <a:solidFill>
                      <a:schemeClr val="accent1"/>
                    </a:solidFill>
                  </a:endParaRPr>
                </a:p>
              </p:txBody>
            </p:sp>
            <p:sp>
              <p:nvSpPr>
                <p:cNvPr id="83" name="Freeform 82"/>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kern="0" dirty="0">
                    <a:solidFill>
                      <a:schemeClr val="accent1"/>
                    </a:solidFill>
                  </a:endParaRPr>
                </a:p>
              </p:txBody>
            </p:sp>
            <p:sp>
              <p:nvSpPr>
                <p:cNvPr id="84" name="Freeform 83"/>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kern="0" dirty="0">
                    <a:solidFill>
                      <a:schemeClr val="accent1"/>
                    </a:solidFill>
                  </a:endParaRPr>
                </a:p>
              </p:txBody>
            </p:sp>
          </p:grpSp>
          <p:grpSp>
            <p:nvGrpSpPr>
              <p:cNvPr id="66" name="Group 65"/>
              <p:cNvGrpSpPr/>
              <p:nvPr/>
            </p:nvGrpSpPr>
            <p:grpSpPr>
              <a:xfrm>
                <a:off x="1371600" y="3945499"/>
                <a:ext cx="4622800" cy="609250"/>
                <a:chOff x="1403350" y="3272399"/>
                <a:chExt cx="4216400" cy="609250"/>
              </a:xfrm>
              <a:grpFill/>
            </p:grpSpPr>
            <p:sp>
              <p:nvSpPr>
                <p:cNvPr id="77" name="Freeform 76"/>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kern="0" dirty="0">
                    <a:solidFill>
                      <a:schemeClr val="accent1"/>
                    </a:solidFill>
                  </a:endParaRPr>
                </a:p>
              </p:txBody>
            </p:sp>
            <p:sp>
              <p:nvSpPr>
                <p:cNvPr id="78" name="Freeform 77"/>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kern="0" dirty="0">
                    <a:solidFill>
                      <a:schemeClr val="accent1"/>
                    </a:solidFill>
                  </a:endParaRPr>
                </a:p>
              </p:txBody>
            </p:sp>
            <p:sp>
              <p:nvSpPr>
                <p:cNvPr id="79" name="Freeform 78"/>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kern="0" dirty="0">
                    <a:solidFill>
                      <a:schemeClr val="accent1"/>
                    </a:solidFill>
                  </a:endParaRPr>
                </a:p>
              </p:txBody>
            </p:sp>
            <p:sp>
              <p:nvSpPr>
                <p:cNvPr id="80" name="Freeform 79"/>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kern="0" dirty="0">
                    <a:solidFill>
                      <a:schemeClr val="accent1"/>
                    </a:solidFill>
                  </a:endParaRPr>
                </a:p>
              </p:txBody>
            </p:sp>
          </p:grpSp>
          <p:grpSp>
            <p:nvGrpSpPr>
              <p:cNvPr id="67" name="Group 66"/>
              <p:cNvGrpSpPr/>
              <p:nvPr/>
            </p:nvGrpSpPr>
            <p:grpSpPr>
              <a:xfrm>
                <a:off x="1371600" y="4618599"/>
                <a:ext cx="4622800" cy="609250"/>
                <a:chOff x="1403350" y="3272399"/>
                <a:chExt cx="4216400" cy="609250"/>
              </a:xfrm>
              <a:grpFill/>
            </p:grpSpPr>
            <p:sp>
              <p:nvSpPr>
                <p:cNvPr id="73" name="Freeform 72"/>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kern="0" dirty="0">
                    <a:solidFill>
                      <a:schemeClr val="accent1"/>
                    </a:solidFill>
                  </a:endParaRPr>
                </a:p>
              </p:txBody>
            </p:sp>
            <p:sp>
              <p:nvSpPr>
                <p:cNvPr id="74" name="Freeform 73"/>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kern="0" dirty="0">
                    <a:solidFill>
                      <a:schemeClr val="accent1"/>
                    </a:solidFill>
                  </a:endParaRPr>
                </a:p>
              </p:txBody>
            </p:sp>
            <p:sp>
              <p:nvSpPr>
                <p:cNvPr id="75" name="Freeform 74"/>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kern="0" dirty="0">
                    <a:solidFill>
                      <a:schemeClr val="accent1"/>
                    </a:solidFill>
                  </a:endParaRPr>
                </a:p>
              </p:txBody>
            </p:sp>
            <p:sp>
              <p:nvSpPr>
                <p:cNvPr id="76" name="Freeform 75"/>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kern="0" dirty="0">
                    <a:solidFill>
                      <a:schemeClr val="accent1"/>
                    </a:solidFill>
                  </a:endParaRPr>
                </a:p>
              </p:txBody>
            </p:sp>
          </p:grpSp>
          <p:grpSp>
            <p:nvGrpSpPr>
              <p:cNvPr id="68" name="Group 67"/>
              <p:cNvGrpSpPr/>
              <p:nvPr/>
            </p:nvGrpSpPr>
            <p:grpSpPr>
              <a:xfrm>
                <a:off x="1371600" y="5291699"/>
                <a:ext cx="4622800" cy="609250"/>
                <a:chOff x="1403350" y="3272399"/>
                <a:chExt cx="4216400" cy="609250"/>
              </a:xfrm>
              <a:grpFill/>
            </p:grpSpPr>
            <p:sp>
              <p:nvSpPr>
                <p:cNvPr id="69" name="Freeform 68"/>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kern="0" dirty="0">
                    <a:solidFill>
                      <a:schemeClr val="accent1"/>
                    </a:solidFill>
                  </a:endParaRPr>
                </a:p>
              </p:txBody>
            </p:sp>
            <p:sp>
              <p:nvSpPr>
                <p:cNvPr id="70" name="Freeform 69"/>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kern="0" dirty="0">
                    <a:solidFill>
                      <a:schemeClr val="accent1"/>
                    </a:solidFill>
                  </a:endParaRPr>
                </a:p>
              </p:txBody>
            </p:sp>
            <p:sp>
              <p:nvSpPr>
                <p:cNvPr id="71" name="Freeform 70"/>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kern="0" dirty="0">
                    <a:solidFill>
                      <a:schemeClr val="accent1"/>
                    </a:solidFill>
                  </a:endParaRPr>
                </a:p>
              </p:txBody>
            </p:sp>
            <p:sp>
              <p:nvSpPr>
                <p:cNvPr id="72" name="Freeform 71"/>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kern="0" dirty="0">
                    <a:solidFill>
                      <a:schemeClr val="accent1"/>
                    </a:solidFill>
                  </a:endParaRPr>
                </a:p>
              </p:txBody>
            </p:sp>
          </p:grpSp>
        </p:grpSp>
      </p:grpSp>
      <p:sp>
        <p:nvSpPr>
          <p:cNvPr id="100" name="Rectangle 99"/>
          <p:cNvSpPr/>
          <p:nvPr/>
        </p:nvSpPr>
        <p:spPr bwMode="auto">
          <a:xfrm>
            <a:off x="6911072" y="2442012"/>
            <a:ext cx="4350262" cy="1994300"/>
          </a:xfrm>
          <a:prstGeom prst="rect">
            <a:avLst/>
          </a:prstGeom>
          <a:noFill/>
          <a:ln w="3175">
            <a:solidFill>
              <a:schemeClr val="bg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kern="0" dirty="0">
              <a:gradFill>
                <a:gsLst>
                  <a:gs pos="0">
                    <a:srgbClr val="FFFFFF"/>
                  </a:gs>
                  <a:gs pos="100000">
                    <a:srgbClr val="FFFFFF"/>
                  </a:gs>
                </a:gsLst>
                <a:lin ang="5400000" scaled="0"/>
              </a:gradFill>
            </a:endParaRPr>
          </a:p>
        </p:txBody>
      </p:sp>
      <p:cxnSp>
        <p:nvCxnSpPr>
          <p:cNvPr id="101" name="Straight Connector 100"/>
          <p:cNvCxnSpPr/>
          <p:nvPr/>
        </p:nvCxnSpPr>
        <p:spPr>
          <a:xfrm>
            <a:off x="2772592" y="3505410"/>
            <a:ext cx="2847275" cy="0"/>
          </a:xfrm>
          <a:prstGeom prst="line">
            <a:avLst/>
          </a:prstGeom>
          <a:ln w="12700">
            <a:solidFill>
              <a:schemeClr val="accent1"/>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02" name="Freeform 101"/>
          <p:cNvSpPr/>
          <p:nvPr/>
        </p:nvSpPr>
        <p:spPr bwMode="auto">
          <a:xfrm flipV="1">
            <a:off x="3317860" y="2536061"/>
            <a:ext cx="2302007" cy="719584"/>
          </a:xfrm>
          <a:custGeom>
            <a:avLst/>
            <a:gdLst>
              <a:gd name="connsiteX0" fmla="*/ 0 w 600364"/>
              <a:gd name="connsiteY0" fmla="*/ 886691 h 886691"/>
              <a:gd name="connsiteX1" fmla="*/ 0 w 600364"/>
              <a:gd name="connsiteY1" fmla="*/ 0 h 886691"/>
              <a:gd name="connsiteX2" fmla="*/ 600364 w 600364"/>
              <a:gd name="connsiteY2" fmla="*/ 0 h 886691"/>
            </a:gdLst>
            <a:ahLst/>
            <a:cxnLst>
              <a:cxn ang="0">
                <a:pos x="connsiteX0" y="connsiteY0"/>
              </a:cxn>
              <a:cxn ang="0">
                <a:pos x="connsiteX1" y="connsiteY1"/>
              </a:cxn>
              <a:cxn ang="0">
                <a:pos x="connsiteX2" y="connsiteY2"/>
              </a:cxn>
            </a:cxnLst>
            <a:rect l="l" t="t" r="r" b="b"/>
            <a:pathLst>
              <a:path w="600364" h="886691">
                <a:moveTo>
                  <a:pt x="0" y="886691"/>
                </a:moveTo>
                <a:lnTo>
                  <a:pt x="0" y="0"/>
                </a:lnTo>
                <a:lnTo>
                  <a:pt x="600364" y="0"/>
                </a:lnTo>
              </a:path>
            </a:pathLst>
          </a:custGeom>
          <a:ln w="12700">
            <a:solidFill>
              <a:schemeClr val="accent1"/>
            </a:solidFill>
            <a:headEnd type="none"/>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896203"/>
            <a:endParaRPr lang="en-US" sz="1764" kern="0">
              <a:solidFill>
                <a:schemeClr val="accent1"/>
              </a:solidFill>
            </a:endParaRPr>
          </a:p>
        </p:txBody>
      </p:sp>
      <p:grpSp>
        <p:nvGrpSpPr>
          <p:cNvPr id="104" name="Group 103"/>
          <p:cNvGrpSpPr/>
          <p:nvPr/>
        </p:nvGrpSpPr>
        <p:grpSpPr>
          <a:xfrm>
            <a:off x="5695071" y="3114711"/>
            <a:ext cx="1132057" cy="767081"/>
            <a:chOff x="4402138" y="2281238"/>
            <a:chExt cx="3387725" cy="2295525"/>
          </a:xfrm>
          <a:solidFill>
            <a:schemeClr val="accent2"/>
          </a:solidFill>
        </p:grpSpPr>
        <p:sp>
          <p:nvSpPr>
            <p:cNvPr id="105" name="Freeform 55"/>
            <p:cNvSpPr>
              <a:spLocks noEditPoints="1"/>
            </p:cNvSpPr>
            <p:nvPr/>
          </p:nvSpPr>
          <p:spPr bwMode="auto">
            <a:xfrm>
              <a:off x="4665663" y="2281238"/>
              <a:ext cx="2860675" cy="2024063"/>
            </a:xfrm>
            <a:custGeom>
              <a:avLst/>
              <a:gdLst>
                <a:gd name="T0" fmla="*/ 860 w 944"/>
                <a:gd name="T1" fmla="*/ 0 h 665"/>
                <a:gd name="T2" fmla="*/ 83 w 944"/>
                <a:gd name="T3" fmla="*/ 0 h 665"/>
                <a:gd name="T4" fmla="*/ 0 w 944"/>
                <a:gd name="T5" fmla="*/ 77 h 665"/>
                <a:gd name="T6" fmla="*/ 0 w 944"/>
                <a:gd name="T7" fmla="*/ 624 h 665"/>
                <a:gd name="T8" fmla="*/ 44 w 944"/>
                <a:gd name="T9" fmla="*/ 665 h 665"/>
                <a:gd name="T10" fmla="*/ 900 w 944"/>
                <a:gd name="T11" fmla="*/ 665 h 665"/>
                <a:gd name="T12" fmla="*/ 944 w 944"/>
                <a:gd name="T13" fmla="*/ 624 h 665"/>
                <a:gd name="T14" fmla="*/ 944 w 944"/>
                <a:gd name="T15" fmla="*/ 77 h 665"/>
                <a:gd name="T16" fmla="*/ 860 w 944"/>
                <a:gd name="T17" fmla="*/ 0 h 665"/>
                <a:gd name="T18" fmla="*/ 896 w 944"/>
                <a:gd name="T19" fmla="*/ 617 h 665"/>
                <a:gd name="T20" fmla="*/ 48 w 944"/>
                <a:gd name="T21" fmla="*/ 617 h 665"/>
                <a:gd name="T22" fmla="*/ 48 w 944"/>
                <a:gd name="T23" fmla="*/ 77 h 665"/>
                <a:gd name="T24" fmla="*/ 83 w 944"/>
                <a:gd name="T25" fmla="*/ 48 h 665"/>
                <a:gd name="T26" fmla="*/ 860 w 944"/>
                <a:gd name="T27" fmla="*/ 48 h 665"/>
                <a:gd name="T28" fmla="*/ 896 w 944"/>
                <a:gd name="T29" fmla="*/ 77 h 665"/>
                <a:gd name="T30" fmla="*/ 896 w 944"/>
                <a:gd name="T31" fmla="*/ 617 h 6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44" h="665">
                  <a:moveTo>
                    <a:pt x="860" y="0"/>
                  </a:moveTo>
                  <a:cubicBezTo>
                    <a:pt x="83" y="0"/>
                    <a:pt x="83" y="0"/>
                    <a:pt x="83" y="0"/>
                  </a:cubicBezTo>
                  <a:cubicBezTo>
                    <a:pt x="38" y="0"/>
                    <a:pt x="0" y="34"/>
                    <a:pt x="0" y="77"/>
                  </a:cubicBezTo>
                  <a:cubicBezTo>
                    <a:pt x="0" y="624"/>
                    <a:pt x="0" y="624"/>
                    <a:pt x="0" y="624"/>
                  </a:cubicBezTo>
                  <a:cubicBezTo>
                    <a:pt x="0" y="647"/>
                    <a:pt x="20" y="665"/>
                    <a:pt x="44" y="665"/>
                  </a:cubicBezTo>
                  <a:cubicBezTo>
                    <a:pt x="900" y="665"/>
                    <a:pt x="900" y="665"/>
                    <a:pt x="900" y="665"/>
                  </a:cubicBezTo>
                  <a:cubicBezTo>
                    <a:pt x="924" y="665"/>
                    <a:pt x="944" y="647"/>
                    <a:pt x="944" y="624"/>
                  </a:cubicBezTo>
                  <a:cubicBezTo>
                    <a:pt x="944" y="77"/>
                    <a:pt x="944" y="77"/>
                    <a:pt x="944" y="77"/>
                  </a:cubicBezTo>
                  <a:cubicBezTo>
                    <a:pt x="944" y="34"/>
                    <a:pt x="906" y="0"/>
                    <a:pt x="860" y="0"/>
                  </a:cubicBezTo>
                  <a:close/>
                  <a:moveTo>
                    <a:pt x="896" y="617"/>
                  </a:moveTo>
                  <a:cubicBezTo>
                    <a:pt x="48" y="617"/>
                    <a:pt x="48" y="617"/>
                    <a:pt x="48" y="617"/>
                  </a:cubicBezTo>
                  <a:cubicBezTo>
                    <a:pt x="48" y="77"/>
                    <a:pt x="48" y="77"/>
                    <a:pt x="48" y="77"/>
                  </a:cubicBezTo>
                  <a:cubicBezTo>
                    <a:pt x="48" y="61"/>
                    <a:pt x="64" y="48"/>
                    <a:pt x="83" y="48"/>
                  </a:cubicBezTo>
                  <a:cubicBezTo>
                    <a:pt x="860" y="48"/>
                    <a:pt x="860" y="48"/>
                    <a:pt x="860" y="48"/>
                  </a:cubicBezTo>
                  <a:cubicBezTo>
                    <a:pt x="880" y="48"/>
                    <a:pt x="896" y="61"/>
                    <a:pt x="896" y="77"/>
                  </a:cubicBezTo>
                  <a:lnTo>
                    <a:pt x="896" y="6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dirty="0">
                <a:solidFill>
                  <a:schemeClr val="accent1"/>
                </a:solidFill>
              </a:endParaRPr>
            </a:p>
          </p:txBody>
        </p:sp>
        <p:sp>
          <p:nvSpPr>
            <p:cNvPr id="106" name="Freeform 56"/>
            <p:cNvSpPr>
              <a:spLocks/>
            </p:cNvSpPr>
            <p:nvPr/>
          </p:nvSpPr>
          <p:spPr bwMode="auto">
            <a:xfrm>
              <a:off x="5195888" y="3332163"/>
              <a:ext cx="146050" cy="711200"/>
            </a:xfrm>
            <a:custGeom>
              <a:avLst/>
              <a:gdLst>
                <a:gd name="T0" fmla="*/ 24 w 48"/>
                <a:gd name="T1" fmla="*/ 234 h 234"/>
                <a:gd name="T2" fmla="*/ 0 w 48"/>
                <a:gd name="T3" fmla="*/ 210 h 234"/>
                <a:gd name="T4" fmla="*/ 0 w 48"/>
                <a:gd name="T5" fmla="*/ 24 h 234"/>
                <a:gd name="T6" fmla="*/ 24 w 48"/>
                <a:gd name="T7" fmla="*/ 0 h 234"/>
                <a:gd name="T8" fmla="*/ 48 w 48"/>
                <a:gd name="T9" fmla="*/ 24 h 234"/>
                <a:gd name="T10" fmla="*/ 48 w 48"/>
                <a:gd name="T11" fmla="*/ 210 h 234"/>
                <a:gd name="T12" fmla="*/ 24 w 48"/>
                <a:gd name="T13" fmla="*/ 234 h 234"/>
              </a:gdLst>
              <a:ahLst/>
              <a:cxnLst>
                <a:cxn ang="0">
                  <a:pos x="T0" y="T1"/>
                </a:cxn>
                <a:cxn ang="0">
                  <a:pos x="T2" y="T3"/>
                </a:cxn>
                <a:cxn ang="0">
                  <a:pos x="T4" y="T5"/>
                </a:cxn>
                <a:cxn ang="0">
                  <a:pos x="T6" y="T7"/>
                </a:cxn>
                <a:cxn ang="0">
                  <a:pos x="T8" y="T9"/>
                </a:cxn>
                <a:cxn ang="0">
                  <a:pos x="T10" y="T11"/>
                </a:cxn>
                <a:cxn ang="0">
                  <a:pos x="T12" y="T13"/>
                </a:cxn>
              </a:cxnLst>
              <a:rect l="0" t="0" r="r" b="b"/>
              <a:pathLst>
                <a:path w="48" h="234">
                  <a:moveTo>
                    <a:pt x="24" y="234"/>
                  </a:moveTo>
                  <a:cubicBezTo>
                    <a:pt x="10" y="234"/>
                    <a:pt x="0" y="224"/>
                    <a:pt x="0" y="210"/>
                  </a:cubicBezTo>
                  <a:cubicBezTo>
                    <a:pt x="0" y="24"/>
                    <a:pt x="0" y="24"/>
                    <a:pt x="0" y="24"/>
                  </a:cubicBezTo>
                  <a:cubicBezTo>
                    <a:pt x="0" y="10"/>
                    <a:pt x="10" y="0"/>
                    <a:pt x="24" y="0"/>
                  </a:cubicBezTo>
                  <a:cubicBezTo>
                    <a:pt x="37" y="0"/>
                    <a:pt x="48" y="10"/>
                    <a:pt x="48" y="24"/>
                  </a:cubicBezTo>
                  <a:cubicBezTo>
                    <a:pt x="48" y="210"/>
                    <a:pt x="48" y="210"/>
                    <a:pt x="48" y="210"/>
                  </a:cubicBezTo>
                  <a:cubicBezTo>
                    <a:pt x="48" y="224"/>
                    <a:pt x="37" y="234"/>
                    <a:pt x="24" y="2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chemeClr val="accent1"/>
                </a:solidFill>
              </a:endParaRPr>
            </a:p>
          </p:txBody>
        </p:sp>
        <p:sp>
          <p:nvSpPr>
            <p:cNvPr id="107" name="Freeform 57"/>
            <p:cNvSpPr>
              <a:spLocks/>
            </p:cNvSpPr>
            <p:nvPr/>
          </p:nvSpPr>
          <p:spPr bwMode="auto">
            <a:xfrm>
              <a:off x="5695951" y="2582863"/>
              <a:ext cx="146050" cy="1460500"/>
            </a:xfrm>
            <a:custGeom>
              <a:avLst/>
              <a:gdLst>
                <a:gd name="T0" fmla="*/ 24 w 48"/>
                <a:gd name="T1" fmla="*/ 480 h 480"/>
                <a:gd name="T2" fmla="*/ 0 w 48"/>
                <a:gd name="T3" fmla="*/ 456 h 480"/>
                <a:gd name="T4" fmla="*/ 0 w 48"/>
                <a:gd name="T5" fmla="*/ 24 h 480"/>
                <a:gd name="T6" fmla="*/ 24 w 48"/>
                <a:gd name="T7" fmla="*/ 0 h 480"/>
                <a:gd name="T8" fmla="*/ 48 w 48"/>
                <a:gd name="T9" fmla="*/ 24 h 480"/>
                <a:gd name="T10" fmla="*/ 48 w 48"/>
                <a:gd name="T11" fmla="*/ 456 h 480"/>
                <a:gd name="T12" fmla="*/ 24 w 48"/>
                <a:gd name="T13" fmla="*/ 480 h 480"/>
              </a:gdLst>
              <a:ahLst/>
              <a:cxnLst>
                <a:cxn ang="0">
                  <a:pos x="T0" y="T1"/>
                </a:cxn>
                <a:cxn ang="0">
                  <a:pos x="T2" y="T3"/>
                </a:cxn>
                <a:cxn ang="0">
                  <a:pos x="T4" y="T5"/>
                </a:cxn>
                <a:cxn ang="0">
                  <a:pos x="T6" y="T7"/>
                </a:cxn>
                <a:cxn ang="0">
                  <a:pos x="T8" y="T9"/>
                </a:cxn>
                <a:cxn ang="0">
                  <a:pos x="T10" y="T11"/>
                </a:cxn>
                <a:cxn ang="0">
                  <a:pos x="T12" y="T13"/>
                </a:cxn>
              </a:cxnLst>
              <a:rect l="0" t="0" r="r" b="b"/>
              <a:pathLst>
                <a:path w="48" h="480">
                  <a:moveTo>
                    <a:pt x="24" y="480"/>
                  </a:moveTo>
                  <a:cubicBezTo>
                    <a:pt x="11" y="480"/>
                    <a:pt x="0" y="470"/>
                    <a:pt x="0" y="456"/>
                  </a:cubicBezTo>
                  <a:cubicBezTo>
                    <a:pt x="0" y="24"/>
                    <a:pt x="0" y="24"/>
                    <a:pt x="0" y="24"/>
                  </a:cubicBezTo>
                  <a:cubicBezTo>
                    <a:pt x="0" y="11"/>
                    <a:pt x="11" y="0"/>
                    <a:pt x="24" y="0"/>
                  </a:cubicBezTo>
                  <a:cubicBezTo>
                    <a:pt x="37" y="0"/>
                    <a:pt x="48" y="11"/>
                    <a:pt x="48" y="24"/>
                  </a:cubicBezTo>
                  <a:cubicBezTo>
                    <a:pt x="48" y="456"/>
                    <a:pt x="48" y="456"/>
                    <a:pt x="48" y="456"/>
                  </a:cubicBezTo>
                  <a:cubicBezTo>
                    <a:pt x="48" y="470"/>
                    <a:pt x="37" y="480"/>
                    <a:pt x="24" y="4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chemeClr val="accent1"/>
                </a:solidFill>
              </a:endParaRPr>
            </a:p>
          </p:txBody>
        </p:sp>
        <p:sp>
          <p:nvSpPr>
            <p:cNvPr id="108" name="Freeform 58"/>
            <p:cNvSpPr>
              <a:spLocks/>
            </p:cNvSpPr>
            <p:nvPr/>
          </p:nvSpPr>
          <p:spPr bwMode="auto">
            <a:xfrm>
              <a:off x="6262688" y="2835276"/>
              <a:ext cx="146050" cy="1208088"/>
            </a:xfrm>
            <a:custGeom>
              <a:avLst/>
              <a:gdLst>
                <a:gd name="T0" fmla="*/ 24 w 48"/>
                <a:gd name="T1" fmla="*/ 397 h 397"/>
                <a:gd name="T2" fmla="*/ 0 w 48"/>
                <a:gd name="T3" fmla="*/ 373 h 397"/>
                <a:gd name="T4" fmla="*/ 0 w 48"/>
                <a:gd name="T5" fmla="*/ 24 h 397"/>
                <a:gd name="T6" fmla="*/ 24 w 48"/>
                <a:gd name="T7" fmla="*/ 0 h 397"/>
                <a:gd name="T8" fmla="*/ 48 w 48"/>
                <a:gd name="T9" fmla="*/ 24 h 397"/>
                <a:gd name="T10" fmla="*/ 48 w 48"/>
                <a:gd name="T11" fmla="*/ 373 h 397"/>
                <a:gd name="T12" fmla="*/ 24 w 48"/>
                <a:gd name="T13" fmla="*/ 397 h 397"/>
              </a:gdLst>
              <a:ahLst/>
              <a:cxnLst>
                <a:cxn ang="0">
                  <a:pos x="T0" y="T1"/>
                </a:cxn>
                <a:cxn ang="0">
                  <a:pos x="T2" y="T3"/>
                </a:cxn>
                <a:cxn ang="0">
                  <a:pos x="T4" y="T5"/>
                </a:cxn>
                <a:cxn ang="0">
                  <a:pos x="T6" y="T7"/>
                </a:cxn>
                <a:cxn ang="0">
                  <a:pos x="T8" y="T9"/>
                </a:cxn>
                <a:cxn ang="0">
                  <a:pos x="T10" y="T11"/>
                </a:cxn>
                <a:cxn ang="0">
                  <a:pos x="T12" y="T13"/>
                </a:cxn>
              </a:cxnLst>
              <a:rect l="0" t="0" r="r" b="b"/>
              <a:pathLst>
                <a:path w="48" h="397">
                  <a:moveTo>
                    <a:pt x="24" y="397"/>
                  </a:moveTo>
                  <a:cubicBezTo>
                    <a:pt x="10" y="397"/>
                    <a:pt x="0" y="387"/>
                    <a:pt x="0" y="373"/>
                  </a:cubicBezTo>
                  <a:cubicBezTo>
                    <a:pt x="0" y="24"/>
                    <a:pt x="0" y="24"/>
                    <a:pt x="0" y="24"/>
                  </a:cubicBezTo>
                  <a:cubicBezTo>
                    <a:pt x="0" y="11"/>
                    <a:pt x="10" y="0"/>
                    <a:pt x="24" y="0"/>
                  </a:cubicBezTo>
                  <a:cubicBezTo>
                    <a:pt x="37" y="0"/>
                    <a:pt x="48" y="11"/>
                    <a:pt x="48" y="24"/>
                  </a:cubicBezTo>
                  <a:cubicBezTo>
                    <a:pt x="48" y="373"/>
                    <a:pt x="48" y="373"/>
                    <a:pt x="48" y="373"/>
                  </a:cubicBezTo>
                  <a:cubicBezTo>
                    <a:pt x="48" y="387"/>
                    <a:pt x="37" y="397"/>
                    <a:pt x="24" y="3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chemeClr val="accent1"/>
                </a:solidFill>
              </a:endParaRPr>
            </a:p>
          </p:txBody>
        </p:sp>
        <p:sp>
          <p:nvSpPr>
            <p:cNvPr id="109" name="Freeform 59"/>
            <p:cNvSpPr>
              <a:spLocks/>
            </p:cNvSpPr>
            <p:nvPr/>
          </p:nvSpPr>
          <p:spPr bwMode="auto">
            <a:xfrm>
              <a:off x="6850063" y="3444876"/>
              <a:ext cx="146050" cy="598488"/>
            </a:xfrm>
            <a:custGeom>
              <a:avLst/>
              <a:gdLst>
                <a:gd name="T0" fmla="*/ 24 w 48"/>
                <a:gd name="T1" fmla="*/ 197 h 197"/>
                <a:gd name="T2" fmla="*/ 0 w 48"/>
                <a:gd name="T3" fmla="*/ 173 h 197"/>
                <a:gd name="T4" fmla="*/ 0 w 48"/>
                <a:gd name="T5" fmla="*/ 24 h 197"/>
                <a:gd name="T6" fmla="*/ 24 w 48"/>
                <a:gd name="T7" fmla="*/ 0 h 197"/>
                <a:gd name="T8" fmla="*/ 48 w 48"/>
                <a:gd name="T9" fmla="*/ 24 h 197"/>
                <a:gd name="T10" fmla="*/ 48 w 48"/>
                <a:gd name="T11" fmla="*/ 173 h 197"/>
                <a:gd name="T12" fmla="*/ 24 w 48"/>
                <a:gd name="T13" fmla="*/ 197 h 197"/>
              </a:gdLst>
              <a:ahLst/>
              <a:cxnLst>
                <a:cxn ang="0">
                  <a:pos x="T0" y="T1"/>
                </a:cxn>
                <a:cxn ang="0">
                  <a:pos x="T2" y="T3"/>
                </a:cxn>
                <a:cxn ang="0">
                  <a:pos x="T4" y="T5"/>
                </a:cxn>
                <a:cxn ang="0">
                  <a:pos x="T6" y="T7"/>
                </a:cxn>
                <a:cxn ang="0">
                  <a:pos x="T8" y="T9"/>
                </a:cxn>
                <a:cxn ang="0">
                  <a:pos x="T10" y="T11"/>
                </a:cxn>
                <a:cxn ang="0">
                  <a:pos x="T12" y="T13"/>
                </a:cxn>
              </a:cxnLst>
              <a:rect l="0" t="0" r="r" b="b"/>
              <a:pathLst>
                <a:path w="48" h="197">
                  <a:moveTo>
                    <a:pt x="24" y="197"/>
                  </a:moveTo>
                  <a:cubicBezTo>
                    <a:pt x="11" y="197"/>
                    <a:pt x="0" y="187"/>
                    <a:pt x="0" y="173"/>
                  </a:cubicBezTo>
                  <a:cubicBezTo>
                    <a:pt x="0" y="24"/>
                    <a:pt x="0" y="24"/>
                    <a:pt x="0" y="24"/>
                  </a:cubicBezTo>
                  <a:cubicBezTo>
                    <a:pt x="0" y="11"/>
                    <a:pt x="11" y="0"/>
                    <a:pt x="24" y="0"/>
                  </a:cubicBezTo>
                  <a:cubicBezTo>
                    <a:pt x="38" y="0"/>
                    <a:pt x="48" y="11"/>
                    <a:pt x="48" y="24"/>
                  </a:cubicBezTo>
                  <a:cubicBezTo>
                    <a:pt x="48" y="173"/>
                    <a:pt x="48" y="173"/>
                    <a:pt x="48" y="173"/>
                  </a:cubicBezTo>
                  <a:cubicBezTo>
                    <a:pt x="48" y="187"/>
                    <a:pt x="38" y="197"/>
                    <a:pt x="24" y="1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chemeClr val="accent1"/>
                </a:solidFill>
              </a:endParaRPr>
            </a:p>
          </p:txBody>
        </p:sp>
        <p:sp>
          <p:nvSpPr>
            <p:cNvPr id="110" name="Freeform 60"/>
            <p:cNvSpPr>
              <a:spLocks/>
            </p:cNvSpPr>
            <p:nvPr/>
          </p:nvSpPr>
          <p:spPr bwMode="auto">
            <a:xfrm>
              <a:off x="4402138" y="4430713"/>
              <a:ext cx="3387725" cy="146050"/>
            </a:xfrm>
            <a:custGeom>
              <a:avLst/>
              <a:gdLst>
                <a:gd name="T0" fmla="*/ 1099 w 1118"/>
                <a:gd name="T1" fmla="*/ 48 h 48"/>
                <a:gd name="T2" fmla="*/ 18 w 1118"/>
                <a:gd name="T3" fmla="*/ 48 h 48"/>
                <a:gd name="T4" fmla="*/ 0 w 1118"/>
                <a:gd name="T5" fmla="*/ 24 h 48"/>
                <a:gd name="T6" fmla="*/ 18 w 1118"/>
                <a:gd name="T7" fmla="*/ 0 h 48"/>
                <a:gd name="T8" fmla="*/ 1099 w 1118"/>
                <a:gd name="T9" fmla="*/ 0 h 48"/>
                <a:gd name="T10" fmla="*/ 1118 w 1118"/>
                <a:gd name="T11" fmla="*/ 24 h 48"/>
                <a:gd name="T12" fmla="*/ 1099 w 1118"/>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118" h="48">
                  <a:moveTo>
                    <a:pt x="1099" y="48"/>
                  </a:moveTo>
                  <a:cubicBezTo>
                    <a:pt x="18" y="48"/>
                    <a:pt x="18" y="48"/>
                    <a:pt x="18" y="48"/>
                  </a:cubicBezTo>
                  <a:cubicBezTo>
                    <a:pt x="8" y="48"/>
                    <a:pt x="0" y="38"/>
                    <a:pt x="0" y="24"/>
                  </a:cubicBezTo>
                  <a:cubicBezTo>
                    <a:pt x="0" y="11"/>
                    <a:pt x="8" y="0"/>
                    <a:pt x="18" y="0"/>
                  </a:cubicBezTo>
                  <a:cubicBezTo>
                    <a:pt x="1099" y="0"/>
                    <a:pt x="1099" y="0"/>
                    <a:pt x="1099" y="0"/>
                  </a:cubicBezTo>
                  <a:cubicBezTo>
                    <a:pt x="1110" y="0"/>
                    <a:pt x="1118" y="11"/>
                    <a:pt x="1118" y="24"/>
                  </a:cubicBezTo>
                  <a:cubicBezTo>
                    <a:pt x="1118" y="38"/>
                    <a:pt x="1110" y="48"/>
                    <a:pt x="1099"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chemeClr val="accent1"/>
                </a:solidFill>
              </a:endParaRPr>
            </a:p>
          </p:txBody>
        </p:sp>
      </p:grpSp>
      <p:pic>
        <p:nvPicPr>
          <p:cNvPr id="111" name="Picture 1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967915" y="2507293"/>
            <a:ext cx="4247845" cy="1882002"/>
          </a:xfrm>
          <a:prstGeom prst="rect">
            <a:avLst/>
          </a:prstGeom>
        </p:spPr>
      </p:pic>
      <p:sp>
        <p:nvSpPr>
          <p:cNvPr id="112" name="TextBox 111"/>
          <p:cNvSpPr txBox="1"/>
          <p:nvPr/>
        </p:nvSpPr>
        <p:spPr>
          <a:xfrm>
            <a:off x="3871049" y="2204517"/>
            <a:ext cx="748527" cy="180989"/>
          </a:xfrm>
          <a:prstGeom prst="rect">
            <a:avLst/>
          </a:prstGeom>
          <a:noFill/>
        </p:spPr>
        <p:txBody>
          <a:bodyPr wrap="none" lIns="0" tIns="0" rIns="0" bIns="0" rtlCol="0">
            <a:spAutoFit/>
          </a:bodyPr>
          <a:lstStyle/>
          <a:p>
            <a:pPr defTabSz="896203">
              <a:spcAft>
                <a:spcPts val="588"/>
              </a:spcAft>
            </a:pPr>
            <a:r>
              <a:rPr lang="en-US" sz="1176" kern="0" dirty="0">
                <a:solidFill>
                  <a:schemeClr val="accent1"/>
                </a:solidFill>
              </a:rPr>
              <a:t>Event Hubs</a:t>
            </a:r>
          </a:p>
        </p:txBody>
      </p:sp>
      <p:sp>
        <p:nvSpPr>
          <p:cNvPr id="113" name="TextBox 112"/>
          <p:cNvSpPr txBox="1"/>
          <p:nvPr/>
        </p:nvSpPr>
        <p:spPr>
          <a:xfrm>
            <a:off x="2651233" y="1594609"/>
            <a:ext cx="1093348" cy="180989"/>
          </a:xfrm>
          <a:prstGeom prst="rect">
            <a:avLst/>
          </a:prstGeom>
          <a:noFill/>
        </p:spPr>
        <p:txBody>
          <a:bodyPr wrap="none" lIns="0" tIns="0" rIns="0" bIns="0" rtlCol="0">
            <a:spAutoFit/>
          </a:bodyPr>
          <a:lstStyle/>
          <a:p>
            <a:pPr defTabSz="896203">
              <a:spcAft>
                <a:spcPts val="588"/>
              </a:spcAft>
            </a:pPr>
            <a:r>
              <a:rPr lang="en-US" sz="1176" kern="0" dirty="0">
                <a:solidFill>
                  <a:schemeClr val="accent1"/>
                </a:solidFill>
              </a:rPr>
              <a:t>Stream Analytics</a:t>
            </a:r>
          </a:p>
        </p:txBody>
      </p:sp>
      <p:sp>
        <p:nvSpPr>
          <p:cNvPr id="114" name="TextBox 113"/>
          <p:cNvSpPr txBox="1"/>
          <p:nvPr/>
        </p:nvSpPr>
        <p:spPr>
          <a:xfrm>
            <a:off x="1941748" y="3119379"/>
            <a:ext cx="1179569" cy="180989"/>
          </a:xfrm>
          <a:prstGeom prst="rect">
            <a:avLst/>
          </a:prstGeom>
          <a:noFill/>
        </p:spPr>
        <p:txBody>
          <a:bodyPr wrap="none" lIns="0" tIns="0" rIns="0" bIns="0" rtlCol="0">
            <a:spAutoFit/>
          </a:bodyPr>
          <a:lstStyle/>
          <a:p>
            <a:pPr defTabSz="896203">
              <a:spcAft>
                <a:spcPts val="588"/>
              </a:spcAft>
            </a:pPr>
            <a:r>
              <a:rPr lang="en-US" sz="1176" kern="0" dirty="0">
                <a:solidFill>
                  <a:schemeClr val="accent1"/>
                </a:solidFill>
              </a:rPr>
              <a:t>Machine Learning</a:t>
            </a:r>
          </a:p>
        </p:txBody>
      </p:sp>
      <p:sp>
        <p:nvSpPr>
          <p:cNvPr id="115" name="TextBox 114"/>
          <p:cNvSpPr txBox="1"/>
          <p:nvPr/>
        </p:nvSpPr>
        <p:spPr>
          <a:xfrm>
            <a:off x="2094470" y="4069767"/>
            <a:ext cx="516167" cy="180947"/>
          </a:xfrm>
          <a:prstGeom prst="rect">
            <a:avLst/>
          </a:prstGeom>
          <a:noFill/>
        </p:spPr>
        <p:txBody>
          <a:bodyPr wrap="none" lIns="0" tIns="0" rIns="0" bIns="0" rtlCol="0">
            <a:spAutoFit/>
          </a:bodyPr>
          <a:lstStyle/>
          <a:p>
            <a:pPr defTabSz="896203">
              <a:spcAft>
                <a:spcPts val="588"/>
              </a:spcAft>
            </a:pPr>
            <a:r>
              <a:rPr lang="en-US" sz="1176" kern="0" dirty="0">
                <a:solidFill>
                  <a:schemeClr val="accent1"/>
                </a:solidFill>
              </a:rPr>
              <a:t>Storage</a:t>
            </a:r>
          </a:p>
        </p:txBody>
      </p:sp>
      <p:sp>
        <p:nvSpPr>
          <p:cNvPr id="116" name="TextBox 115"/>
          <p:cNvSpPr txBox="1"/>
          <p:nvPr/>
        </p:nvSpPr>
        <p:spPr>
          <a:xfrm>
            <a:off x="2695375" y="4612839"/>
            <a:ext cx="906075" cy="180989"/>
          </a:xfrm>
          <a:prstGeom prst="rect">
            <a:avLst/>
          </a:prstGeom>
          <a:noFill/>
        </p:spPr>
        <p:txBody>
          <a:bodyPr wrap="none" lIns="0" tIns="0" rIns="0" bIns="0" rtlCol="0">
            <a:spAutoFit/>
          </a:bodyPr>
          <a:lstStyle/>
          <a:p>
            <a:pPr defTabSz="896203">
              <a:spcAft>
                <a:spcPts val="588"/>
              </a:spcAft>
            </a:pPr>
            <a:r>
              <a:rPr lang="en-US" sz="1176" kern="0" dirty="0">
                <a:solidFill>
                  <a:schemeClr val="accent1"/>
                </a:solidFill>
              </a:rPr>
              <a:t>SQL database</a:t>
            </a:r>
          </a:p>
        </p:txBody>
      </p:sp>
      <p:sp>
        <p:nvSpPr>
          <p:cNvPr id="117" name="TextBox 116"/>
          <p:cNvSpPr txBox="1"/>
          <p:nvPr/>
        </p:nvSpPr>
        <p:spPr>
          <a:xfrm>
            <a:off x="3989297" y="4756173"/>
            <a:ext cx="664568" cy="180989"/>
          </a:xfrm>
          <a:prstGeom prst="rect">
            <a:avLst/>
          </a:prstGeom>
          <a:noFill/>
        </p:spPr>
        <p:txBody>
          <a:bodyPr wrap="none" lIns="0" tIns="0" rIns="0" bIns="0" rtlCol="0">
            <a:spAutoFit/>
          </a:bodyPr>
          <a:lstStyle/>
          <a:p>
            <a:pPr defTabSz="896203">
              <a:spcAft>
                <a:spcPts val="588"/>
              </a:spcAft>
            </a:pPr>
            <a:r>
              <a:rPr lang="en-US" sz="1176" kern="0" dirty="0">
                <a:solidFill>
                  <a:schemeClr val="accent1"/>
                </a:solidFill>
              </a:rPr>
              <a:t>HDInsight</a:t>
            </a:r>
          </a:p>
        </p:txBody>
      </p:sp>
      <p:sp>
        <p:nvSpPr>
          <p:cNvPr id="119" name="Freeform 118"/>
          <p:cNvSpPr/>
          <p:nvPr/>
        </p:nvSpPr>
        <p:spPr bwMode="auto">
          <a:xfrm>
            <a:off x="4286471" y="3750118"/>
            <a:ext cx="1333396" cy="411507"/>
          </a:xfrm>
          <a:custGeom>
            <a:avLst/>
            <a:gdLst>
              <a:gd name="connsiteX0" fmla="*/ 0 w 600364"/>
              <a:gd name="connsiteY0" fmla="*/ 886691 h 886691"/>
              <a:gd name="connsiteX1" fmla="*/ 0 w 600364"/>
              <a:gd name="connsiteY1" fmla="*/ 0 h 886691"/>
              <a:gd name="connsiteX2" fmla="*/ 600364 w 600364"/>
              <a:gd name="connsiteY2" fmla="*/ 0 h 886691"/>
            </a:gdLst>
            <a:ahLst/>
            <a:cxnLst>
              <a:cxn ang="0">
                <a:pos x="connsiteX0" y="connsiteY0"/>
              </a:cxn>
              <a:cxn ang="0">
                <a:pos x="connsiteX1" y="connsiteY1"/>
              </a:cxn>
              <a:cxn ang="0">
                <a:pos x="connsiteX2" y="connsiteY2"/>
              </a:cxn>
            </a:cxnLst>
            <a:rect l="l" t="t" r="r" b="b"/>
            <a:pathLst>
              <a:path w="600364" h="886691">
                <a:moveTo>
                  <a:pt x="0" y="886691"/>
                </a:moveTo>
                <a:lnTo>
                  <a:pt x="0" y="0"/>
                </a:lnTo>
                <a:lnTo>
                  <a:pt x="600364" y="0"/>
                </a:lnTo>
              </a:path>
            </a:pathLst>
          </a:custGeom>
          <a:ln w="12700">
            <a:solidFill>
              <a:schemeClr val="accent1"/>
            </a:solidFill>
            <a:headEnd type="none"/>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896203"/>
            <a:endParaRPr lang="en-US" sz="1764" kern="0">
              <a:solidFill>
                <a:schemeClr val="accent1"/>
              </a:solidFill>
            </a:endParaRPr>
          </a:p>
        </p:txBody>
      </p:sp>
      <p:sp>
        <p:nvSpPr>
          <p:cNvPr id="120" name="TextBox 119"/>
          <p:cNvSpPr txBox="1"/>
          <p:nvPr/>
        </p:nvSpPr>
        <p:spPr>
          <a:xfrm>
            <a:off x="5877284" y="3934072"/>
            <a:ext cx="775853" cy="241285"/>
          </a:xfrm>
          <a:prstGeom prst="rect">
            <a:avLst/>
          </a:prstGeom>
          <a:noFill/>
        </p:spPr>
        <p:txBody>
          <a:bodyPr wrap="none" lIns="0" tIns="0" rIns="0" bIns="0" rtlCol="0">
            <a:spAutoFit/>
          </a:bodyPr>
          <a:lstStyle/>
          <a:p>
            <a:pPr defTabSz="896203">
              <a:spcAft>
                <a:spcPts val="588"/>
              </a:spcAft>
            </a:pPr>
            <a:r>
              <a:rPr lang="en-US" sz="1568" kern="0" dirty="0">
                <a:solidFill>
                  <a:schemeClr val="accent1"/>
                </a:solidFill>
              </a:rPr>
              <a:t>Power BI</a:t>
            </a:r>
          </a:p>
        </p:txBody>
      </p:sp>
      <p:sp>
        <p:nvSpPr>
          <p:cNvPr id="123" name="Rectangle 122"/>
          <p:cNvSpPr/>
          <p:nvPr/>
        </p:nvSpPr>
        <p:spPr>
          <a:xfrm>
            <a:off x="683147" y="2594925"/>
            <a:ext cx="1270505" cy="264903"/>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Power BI</a:t>
            </a:r>
          </a:p>
        </p:txBody>
      </p:sp>
      <p:grpSp>
        <p:nvGrpSpPr>
          <p:cNvPr id="124" name="Group 123"/>
          <p:cNvGrpSpPr/>
          <p:nvPr/>
        </p:nvGrpSpPr>
        <p:grpSpPr>
          <a:xfrm>
            <a:off x="325528" y="2621888"/>
            <a:ext cx="324774" cy="207579"/>
            <a:chOff x="7884058" y="5368509"/>
            <a:chExt cx="324905" cy="207663"/>
          </a:xfrm>
        </p:grpSpPr>
        <p:sp>
          <p:nvSpPr>
            <p:cNvPr id="125"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chemeClr val="tx1"/>
            </a:solidFill>
            <a:ln>
              <a:noFill/>
            </a:ln>
          </p:spPr>
          <p:txBody>
            <a:bodyPr vert="horz" wrap="square" lIns="89606" tIns="44803" rIns="89606" bIns="44803" numCol="1" anchor="t" anchorCtr="0" compatLnSpc="1">
              <a:prstTxWarp prst="textNoShape">
                <a:avLst/>
              </a:prstTxWarp>
            </a:bodyPr>
            <a:lstStyle/>
            <a:p>
              <a:pPr defTabSz="896203"/>
              <a:endParaRPr lang="en-US" sz="1764" kern="0">
                <a:solidFill>
                  <a:srgbClr val="FFFFFF"/>
                </a:solidFill>
              </a:endParaRPr>
            </a:p>
          </p:txBody>
        </p:sp>
        <p:sp>
          <p:nvSpPr>
            <p:cNvPr id="126"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chemeClr val="tx1"/>
            </a:solidFill>
            <a:ln>
              <a:noFill/>
            </a:ln>
          </p:spPr>
          <p:txBody>
            <a:bodyPr vert="horz" wrap="square" lIns="89606" tIns="44803" rIns="89606" bIns="44803" numCol="1" anchor="t" anchorCtr="0" compatLnSpc="1">
              <a:prstTxWarp prst="textNoShape">
                <a:avLst/>
              </a:prstTxWarp>
            </a:bodyPr>
            <a:lstStyle/>
            <a:p>
              <a:pPr defTabSz="896203"/>
              <a:endParaRPr lang="en-US" sz="1764" kern="0">
                <a:solidFill>
                  <a:srgbClr val="FFFFFF"/>
                </a:solidFill>
              </a:endParaRPr>
            </a:p>
          </p:txBody>
        </p:sp>
        <p:sp>
          <p:nvSpPr>
            <p:cNvPr id="127"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chemeClr val="tx1"/>
            </a:solidFill>
            <a:ln>
              <a:noFill/>
            </a:ln>
          </p:spPr>
          <p:txBody>
            <a:bodyPr vert="horz" wrap="square" lIns="89606" tIns="44803" rIns="89606" bIns="44803" numCol="1" anchor="t" anchorCtr="0" compatLnSpc="1">
              <a:prstTxWarp prst="textNoShape">
                <a:avLst/>
              </a:prstTxWarp>
            </a:bodyPr>
            <a:lstStyle/>
            <a:p>
              <a:pPr defTabSz="896203"/>
              <a:endParaRPr lang="en-US" sz="1764" kern="0">
                <a:solidFill>
                  <a:srgbClr val="FFFFFF"/>
                </a:solidFill>
              </a:endParaRPr>
            </a:p>
          </p:txBody>
        </p:sp>
        <p:sp>
          <p:nvSpPr>
            <p:cNvPr id="128"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chemeClr val="tx1"/>
            </a:solidFill>
            <a:ln>
              <a:noFill/>
            </a:ln>
          </p:spPr>
          <p:txBody>
            <a:bodyPr vert="horz" wrap="square" lIns="89606" tIns="44803" rIns="89606" bIns="44803" numCol="1" anchor="t" anchorCtr="0" compatLnSpc="1">
              <a:prstTxWarp prst="textNoShape">
                <a:avLst/>
              </a:prstTxWarp>
            </a:bodyPr>
            <a:lstStyle/>
            <a:p>
              <a:pPr defTabSz="896203"/>
              <a:endParaRPr lang="en-US" sz="1764" kern="0">
                <a:solidFill>
                  <a:srgbClr val="FFFFFF"/>
                </a:solidFill>
              </a:endParaRPr>
            </a:p>
          </p:txBody>
        </p:sp>
        <p:sp>
          <p:nvSpPr>
            <p:cNvPr id="129"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chemeClr val="tx1"/>
            </a:solidFill>
            <a:ln>
              <a:noFill/>
            </a:ln>
          </p:spPr>
          <p:txBody>
            <a:bodyPr vert="horz" wrap="square" lIns="89606" tIns="44803" rIns="89606" bIns="44803" numCol="1" anchor="t" anchorCtr="0" compatLnSpc="1">
              <a:prstTxWarp prst="textNoShape">
                <a:avLst/>
              </a:prstTxWarp>
            </a:bodyPr>
            <a:lstStyle/>
            <a:p>
              <a:pPr defTabSz="896203"/>
              <a:endParaRPr lang="en-US" sz="1764" kern="0">
                <a:solidFill>
                  <a:srgbClr val="FFFFFF"/>
                </a:solidFill>
              </a:endParaRPr>
            </a:p>
          </p:txBody>
        </p:sp>
      </p:grpSp>
      <p:grpSp>
        <p:nvGrpSpPr>
          <p:cNvPr id="3" name="Group 2"/>
          <p:cNvGrpSpPr/>
          <p:nvPr/>
        </p:nvGrpSpPr>
        <p:grpSpPr>
          <a:xfrm>
            <a:off x="1825981" y="5278662"/>
            <a:ext cx="8491411" cy="940748"/>
            <a:chOff x="2194921" y="5218949"/>
            <a:chExt cx="8663938" cy="959862"/>
          </a:xfrm>
        </p:grpSpPr>
        <p:sp>
          <p:nvSpPr>
            <p:cNvPr id="6" name="TextBox 5"/>
            <p:cNvSpPr txBox="1"/>
            <p:nvPr/>
          </p:nvSpPr>
          <p:spPr>
            <a:xfrm>
              <a:off x="2194921" y="5218949"/>
              <a:ext cx="6746753" cy="947952"/>
            </a:xfrm>
            <a:prstGeom prst="rect">
              <a:avLst/>
            </a:prstGeom>
            <a:noFill/>
          </p:spPr>
          <p:txBody>
            <a:bodyPr wrap="square" lIns="179238" tIns="143391" rIns="179238" bIns="143391" rtlCol="0">
              <a:spAutoFit/>
            </a:bodyPr>
            <a:lstStyle/>
            <a:p>
              <a:pPr marL="174262" indent="-174262" defTabSz="896203">
                <a:lnSpc>
                  <a:spcPct val="90000"/>
                </a:lnSpc>
                <a:spcAft>
                  <a:spcPts val="588"/>
                </a:spcAft>
                <a:buClr>
                  <a:schemeClr val="accent2"/>
                </a:buClr>
                <a:buFont typeface="Arial" panose="020B0604020202020204" pitchFamily="34" charset="0"/>
                <a:buChar char="•"/>
              </a:pPr>
              <a:r>
                <a:rPr lang="en-US" sz="1176" kern="0" dirty="0">
                  <a:solidFill>
                    <a:schemeClr val="bg1"/>
                  </a:solidFill>
                </a:rPr>
                <a:t>Analytics for everyone, even non-data experts </a:t>
              </a:r>
            </a:p>
            <a:p>
              <a:pPr marL="174262" indent="-174262" defTabSz="896203">
                <a:lnSpc>
                  <a:spcPct val="90000"/>
                </a:lnSpc>
                <a:spcAft>
                  <a:spcPts val="588"/>
                </a:spcAft>
                <a:buClr>
                  <a:schemeClr val="accent2"/>
                </a:buClr>
                <a:buFont typeface="Arial" panose="020B0604020202020204" pitchFamily="34" charset="0"/>
                <a:buChar char="•"/>
              </a:pPr>
              <a:r>
                <a:rPr lang="en-US" sz="1176" kern="0" dirty="0">
                  <a:solidFill>
                    <a:schemeClr val="bg1"/>
                  </a:solidFill>
                </a:rPr>
                <a:t>Your whole business on one dashboard</a:t>
              </a:r>
            </a:p>
            <a:p>
              <a:pPr marL="174262" indent="-174262" defTabSz="896203">
                <a:lnSpc>
                  <a:spcPct val="90000"/>
                </a:lnSpc>
                <a:spcAft>
                  <a:spcPts val="588"/>
                </a:spcAft>
                <a:buClr>
                  <a:schemeClr val="accent2"/>
                </a:buClr>
                <a:buFont typeface="Arial" panose="020B0604020202020204" pitchFamily="34" charset="0"/>
                <a:buChar char="•"/>
              </a:pPr>
              <a:r>
                <a:rPr lang="en-US" sz="1176" kern="0" dirty="0">
                  <a:solidFill>
                    <a:schemeClr val="bg1"/>
                  </a:solidFill>
                </a:rPr>
                <a:t>Create stunning, interactive reports</a:t>
              </a:r>
            </a:p>
          </p:txBody>
        </p:sp>
        <p:sp>
          <p:nvSpPr>
            <p:cNvPr id="7" name="TextBox 6"/>
            <p:cNvSpPr txBox="1"/>
            <p:nvPr/>
          </p:nvSpPr>
          <p:spPr>
            <a:xfrm>
              <a:off x="6377962" y="5230859"/>
              <a:ext cx="4480897" cy="947952"/>
            </a:xfrm>
            <a:prstGeom prst="rect">
              <a:avLst/>
            </a:prstGeom>
            <a:noFill/>
          </p:spPr>
          <p:txBody>
            <a:bodyPr wrap="square" lIns="179238" tIns="143391" rIns="179238" bIns="143391" rtlCol="0">
              <a:spAutoFit/>
            </a:bodyPr>
            <a:lstStyle/>
            <a:p>
              <a:pPr marL="174262" indent="-174262" defTabSz="896203">
                <a:lnSpc>
                  <a:spcPct val="90000"/>
                </a:lnSpc>
                <a:spcAft>
                  <a:spcPts val="588"/>
                </a:spcAft>
                <a:buClr>
                  <a:schemeClr val="accent2"/>
                </a:buClr>
                <a:buFont typeface="Arial" panose="020B0604020202020204" pitchFamily="34" charset="0"/>
                <a:buChar char="•"/>
              </a:pPr>
              <a:r>
                <a:rPr lang="en-US" sz="1176" kern="0" dirty="0">
                  <a:solidFill>
                    <a:schemeClr val="bg1"/>
                  </a:solidFill>
                </a:rPr>
                <a:t>Drive consistent analysis across your organization</a:t>
              </a:r>
            </a:p>
            <a:p>
              <a:pPr marL="174262" indent="-174262" defTabSz="896203">
                <a:lnSpc>
                  <a:spcPct val="90000"/>
                </a:lnSpc>
                <a:spcAft>
                  <a:spcPts val="588"/>
                </a:spcAft>
                <a:buClr>
                  <a:schemeClr val="accent2"/>
                </a:buClr>
                <a:buFont typeface="Arial" panose="020B0604020202020204" pitchFamily="34" charset="0"/>
                <a:buChar char="•"/>
              </a:pPr>
              <a:r>
                <a:rPr lang="en-US" sz="1176" kern="0" dirty="0">
                  <a:solidFill>
                    <a:schemeClr val="bg1"/>
                  </a:solidFill>
                </a:rPr>
                <a:t>Embed visuals in your applications</a:t>
              </a:r>
            </a:p>
            <a:p>
              <a:pPr marL="174262" indent="-174262" defTabSz="896203">
                <a:lnSpc>
                  <a:spcPct val="90000"/>
                </a:lnSpc>
                <a:spcAft>
                  <a:spcPts val="588"/>
                </a:spcAft>
                <a:buClr>
                  <a:schemeClr val="accent2"/>
                </a:buClr>
                <a:buFont typeface="Arial" panose="020B0604020202020204" pitchFamily="34" charset="0"/>
                <a:buChar char="•"/>
              </a:pPr>
              <a:r>
                <a:rPr lang="en-US" sz="1176" kern="0" dirty="0">
                  <a:solidFill>
                    <a:schemeClr val="bg1"/>
                  </a:solidFill>
                </a:rPr>
                <a:t>Get real-time alerts when things change</a:t>
              </a:r>
            </a:p>
          </p:txBody>
        </p:sp>
      </p:grpSp>
      <p:grpSp>
        <p:nvGrpSpPr>
          <p:cNvPr id="152" name="Group 151"/>
          <p:cNvGrpSpPr>
            <a:grpSpLocks noChangeAspect="1"/>
          </p:cNvGrpSpPr>
          <p:nvPr/>
        </p:nvGrpSpPr>
        <p:grpSpPr>
          <a:xfrm>
            <a:off x="2881118" y="3910271"/>
            <a:ext cx="532018" cy="651598"/>
            <a:chOff x="-3084513" y="3390510"/>
            <a:chExt cx="2716213" cy="3363913"/>
          </a:xfrm>
          <a:solidFill>
            <a:schemeClr val="accent2"/>
          </a:solidFill>
        </p:grpSpPr>
        <p:sp>
          <p:nvSpPr>
            <p:cNvPr id="154"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155"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grpSp>
      <p:sp>
        <p:nvSpPr>
          <p:cNvPr id="156" name="Freeform 155"/>
          <p:cNvSpPr>
            <a:spLocks noChangeAspect="1"/>
          </p:cNvSpPr>
          <p:nvPr/>
        </p:nvSpPr>
        <p:spPr bwMode="auto">
          <a:xfrm>
            <a:off x="3989990" y="1662560"/>
            <a:ext cx="474206" cy="496242"/>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defRPr/>
            </a:pPr>
            <a:endParaRPr lang="en-US" sz="2399" kern="0" dirty="0">
              <a:solidFill>
                <a:schemeClr val="tx1"/>
              </a:solidFill>
              <a:ea typeface="Segoe UI" pitchFamily="34" charset="0"/>
              <a:cs typeface="Segoe UI" pitchFamily="34" charset="0"/>
            </a:endParaRPr>
          </a:p>
        </p:txBody>
      </p:sp>
      <p:sp>
        <p:nvSpPr>
          <p:cNvPr id="157" name="Freeform 156"/>
          <p:cNvSpPr>
            <a:spLocks noChangeAspect="1"/>
          </p:cNvSpPr>
          <p:nvPr/>
        </p:nvSpPr>
        <p:spPr bwMode="auto">
          <a:xfrm>
            <a:off x="4081516" y="4287693"/>
            <a:ext cx="592134" cy="448096"/>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1"/>
          </a:solidFill>
          <a:ln w="6350">
            <a:noFill/>
          </a:ln>
        </p:spPr>
        <p:txBody>
          <a:bodyPr vert="horz" wrap="square" lIns="91403" tIns="45701" rIns="91403" bIns="45701" numCol="1" anchor="t" anchorCtr="0" compatLnSpc="1">
            <a:prstTxWarp prst="textNoShape">
              <a:avLst/>
            </a:prstTxWarp>
          </a:bodyPr>
          <a:lstStyle/>
          <a:p>
            <a:pPr defTabSz="896203"/>
            <a:endParaRPr lang="en-US" sz="1600" kern="0" dirty="0">
              <a:solidFill>
                <a:sysClr val="windowText" lastClr="000000"/>
              </a:solidFill>
            </a:endParaRPr>
          </a:p>
        </p:txBody>
      </p:sp>
      <p:grpSp>
        <p:nvGrpSpPr>
          <p:cNvPr id="158" name="Group 157"/>
          <p:cNvGrpSpPr>
            <a:grpSpLocks noChangeAspect="1"/>
          </p:cNvGrpSpPr>
          <p:nvPr/>
        </p:nvGrpSpPr>
        <p:grpSpPr>
          <a:xfrm>
            <a:off x="2768549" y="1843781"/>
            <a:ext cx="757155" cy="581639"/>
            <a:chOff x="1260022" y="5196402"/>
            <a:chExt cx="3273425" cy="2514600"/>
          </a:xfrm>
          <a:solidFill>
            <a:schemeClr val="accent1"/>
          </a:solidFill>
        </p:grpSpPr>
        <p:sp>
          <p:nvSpPr>
            <p:cNvPr id="159" name="Freeform 158"/>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endParaRPr lang="en-US" sz="1799" dirty="0"/>
            </a:p>
          </p:txBody>
        </p:sp>
        <p:sp>
          <p:nvSpPr>
            <p:cNvPr id="160" name="Freeform 159"/>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endParaRPr lang="en-US" sz="1799" dirty="0"/>
            </a:p>
          </p:txBody>
        </p:sp>
        <p:sp>
          <p:nvSpPr>
            <p:cNvPr id="161" name="Freeform 160"/>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endParaRPr lang="en-US" sz="1799" dirty="0"/>
            </a:p>
          </p:txBody>
        </p:sp>
        <p:sp>
          <p:nvSpPr>
            <p:cNvPr id="162" name="Freeform 161"/>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endParaRPr lang="en-US" sz="1799" dirty="0"/>
            </a:p>
          </p:txBody>
        </p:sp>
      </p:grpSp>
      <p:sp>
        <p:nvSpPr>
          <p:cNvPr id="136" name="Freeform 135"/>
          <p:cNvSpPr/>
          <p:nvPr/>
        </p:nvSpPr>
        <p:spPr bwMode="auto">
          <a:xfrm flipV="1">
            <a:off x="4181659" y="2460622"/>
            <a:ext cx="1438208" cy="671511"/>
          </a:xfrm>
          <a:custGeom>
            <a:avLst/>
            <a:gdLst>
              <a:gd name="connsiteX0" fmla="*/ 0 w 600364"/>
              <a:gd name="connsiteY0" fmla="*/ 886691 h 886691"/>
              <a:gd name="connsiteX1" fmla="*/ 0 w 600364"/>
              <a:gd name="connsiteY1" fmla="*/ 0 h 886691"/>
              <a:gd name="connsiteX2" fmla="*/ 600364 w 600364"/>
              <a:gd name="connsiteY2" fmla="*/ 0 h 886691"/>
            </a:gdLst>
            <a:ahLst/>
            <a:cxnLst>
              <a:cxn ang="0">
                <a:pos x="connsiteX0" y="connsiteY0"/>
              </a:cxn>
              <a:cxn ang="0">
                <a:pos x="connsiteX1" y="connsiteY1"/>
              </a:cxn>
              <a:cxn ang="0">
                <a:pos x="connsiteX2" y="connsiteY2"/>
              </a:cxn>
            </a:cxnLst>
            <a:rect l="l" t="t" r="r" b="b"/>
            <a:pathLst>
              <a:path w="600364" h="886691">
                <a:moveTo>
                  <a:pt x="0" y="886691"/>
                </a:moveTo>
                <a:lnTo>
                  <a:pt x="0" y="0"/>
                </a:lnTo>
                <a:lnTo>
                  <a:pt x="600364" y="0"/>
                </a:lnTo>
              </a:path>
            </a:pathLst>
          </a:custGeom>
          <a:ln w="12700">
            <a:solidFill>
              <a:schemeClr val="accent1"/>
            </a:solidFill>
            <a:headEnd type="none"/>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896203"/>
            <a:endParaRPr lang="en-US" sz="1764" kern="0">
              <a:solidFill>
                <a:schemeClr val="accent1"/>
              </a:solidFill>
            </a:endParaRPr>
          </a:p>
        </p:txBody>
      </p:sp>
      <p:sp>
        <p:nvSpPr>
          <p:cNvPr id="137" name="Freeform 136"/>
          <p:cNvSpPr/>
          <p:nvPr/>
        </p:nvSpPr>
        <p:spPr bwMode="auto">
          <a:xfrm>
            <a:off x="3188638" y="3629581"/>
            <a:ext cx="2431229" cy="185986"/>
          </a:xfrm>
          <a:custGeom>
            <a:avLst/>
            <a:gdLst>
              <a:gd name="connsiteX0" fmla="*/ 0 w 600364"/>
              <a:gd name="connsiteY0" fmla="*/ 886691 h 886691"/>
              <a:gd name="connsiteX1" fmla="*/ 0 w 600364"/>
              <a:gd name="connsiteY1" fmla="*/ 0 h 886691"/>
              <a:gd name="connsiteX2" fmla="*/ 600364 w 600364"/>
              <a:gd name="connsiteY2" fmla="*/ 0 h 886691"/>
            </a:gdLst>
            <a:ahLst/>
            <a:cxnLst>
              <a:cxn ang="0">
                <a:pos x="connsiteX0" y="connsiteY0"/>
              </a:cxn>
              <a:cxn ang="0">
                <a:pos x="connsiteX1" y="connsiteY1"/>
              </a:cxn>
              <a:cxn ang="0">
                <a:pos x="connsiteX2" y="connsiteY2"/>
              </a:cxn>
            </a:cxnLst>
            <a:rect l="l" t="t" r="r" b="b"/>
            <a:pathLst>
              <a:path w="600364" h="886691">
                <a:moveTo>
                  <a:pt x="0" y="886691"/>
                </a:moveTo>
                <a:lnTo>
                  <a:pt x="0" y="0"/>
                </a:lnTo>
                <a:lnTo>
                  <a:pt x="600364" y="0"/>
                </a:lnTo>
              </a:path>
            </a:pathLst>
          </a:custGeom>
          <a:ln w="12700">
            <a:solidFill>
              <a:schemeClr val="accent1"/>
            </a:solidFill>
            <a:headEnd type="none"/>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896203"/>
            <a:endParaRPr lang="en-US" sz="1764" kern="0">
              <a:solidFill>
                <a:schemeClr val="accent1"/>
              </a:solidFill>
            </a:endParaRPr>
          </a:p>
        </p:txBody>
      </p:sp>
      <p:cxnSp>
        <p:nvCxnSpPr>
          <p:cNvPr id="138" name="Straight Connector 137"/>
          <p:cNvCxnSpPr/>
          <p:nvPr/>
        </p:nvCxnSpPr>
        <p:spPr>
          <a:xfrm>
            <a:off x="2475216" y="3379710"/>
            <a:ext cx="3142716" cy="0"/>
          </a:xfrm>
          <a:prstGeom prst="line">
            <a:avLst/>
          </a:prstGeom>
          <a:ln w="12700">
            <a:solidFill>
              <a:schemeClr val="accent1"/>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251" name="Rectangle 250"/>
          <p:cNvSpPr/>
          <p:nvPr/>
        </p:nvSpPr>
        <p:spPr>
          <a:xfrm>
            <a:off x="645770" y="4777224"/>
            <a:ext cx="1270505" cy="264903"/>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Power BI</a:t>
            </a:r>
          </a:p>
        </p:txBody>
      </p:sp>
      <p:sp>
        <p:nvSpPr>
          <p:cNvPr id="252" name="Freeform 5"/>
          <p:cNvSpPr>
            <a:spLocks noEditPoints="1"/>
          </p:cNvSpPr>
          <p:nvPr/>
        </p:nvSpPr>
        <p:spPr bwMode="auto">
          <a:xfrm>
            <a:off x="288151" y="4804188"/>
            <a:ext cx="324774" cy="207579"/>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chemeClr val="tx1"/>
          </a:solidFill>
          <a:ln>
            <a:noFill/>
          </a:ln>
        </p:spPr>
        <p:txBody>
          <a:bodyPr vert="horz" wrap="square" lIns="89606" tIns="44803" rIns="89606" bIns="44803" numCol="1" anchor="t" anchorCtr="0" compatLnSpc="1">
            <a:prstTxWarp prst="textNoShape">
              <a:avLst/>
            </a:prstTxWarp>
          </a:bodyPr>
          <a:lstStyle/>
          <a:p>
            <a:pPr defTabSz="896203"/>
            <a:endParaRPr lang="en-US" sz="1764" kern="0">
              <a:solidFill>
                <a:srgbClr val="FFFFFF"/>
              </a:solidFill>
            </a:endParaRPr>
          </a:p>
        </p:txBody>
      </p:sp>
      <p:sp>
        <p:nvSpPr>
          <p:cNvPr id="253" name="Freeform 6"/>
          <p:cNvSpPr>
            <a:spLocks/>
          </p:cNvSpPr>
          <p:nvPr/>
        </p:nvSpPr>
        <p:spPr bwMode="auto">
          <a:xfrm>
            <a:off x="406876" y="4847849"/>
            <a:ext cx="35234" cy="12408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chemeClr val="tx1"/>
          </a:solidFill>
          <a:ln>
            <a:noFill/>
          </a:ln>
        </p:spPr>
        <p:txBody>
          <a:bodyPr vert="horz" wrap="square" lIns="89606" tIns="44803" rIns="89606" bIns="44803" numCol="1" anchor="t" anchorCtr="0" compatLnSpc="1">
            <a:prstTxWarp prst="textNoShape">
              <a:avLst/>
            </a:prstTxWarp>
          </a:bodyPr>
          <a:lstStyle/>
          <a:p>
            <a:pPr defTabSz="896203"/>
            <a:endParaRPr lang="en-US" sz="1764" kern="0">
              <a:solidFill>
                <a:srgbClr val="FFFFFF"/>
              </a:solidFill>
            </a:endParaRPr>
          </a:p>
        </p:txBody>
      </p:sp>
      <p:sp>
        <p:nvSpPr>
          <p:cNvPr id="254" name="Freeform 7"/>
          <p:cNvSpPr>
            <a:spLocks/>
          </p:cNvSpPr>
          <p:nvPr/>
        </p:nvSpPr>
        <p:spPr bwMode="auto">
          <a:xfrm>
            <a:off x="459729" y="4883083"/>
            <a:ext cx="36001" cy="88854"/>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chemeClr val="tx1"/>
          </a:solidFill>
          <a:ln>
            <a:noFill/>
          </a:ln>
        </p:spPr>
        <p:txBody>
          <a:bodyPr vert="horz" wrap="square" lIns="89606" tIns="44803" rIns="89606" bIns="44803" numCol="1" anchor="t" anchorCtr="0" compatLnSpc="1">
            <a:prstTxWarp prst="textNoShape">
              <a:avLst/>
            </a:prstTxWarp>
          </a:bodyPr>
          <a:lstStyle/>
          <a:p>
            <a:pPr defTabSz="896203"/>
            <a:endParaRPr lang="en-US" sz="1764" kern="0">
              <a:solidFill>
                <a:srgbClr val="FFFFFF"/>
              </a:solidFill>
            </a:endParaRPr>
          </a:p>
        </p:txBody>
      </p:sp>
      <p:sp>
        <p:nvSpPr>
          <p:cNvPr id="255" name="Freeform 8"/>
          <p:cNvSpPr>
            <a:spLocks/>
          </p:cNvSpPr>
          <p:nvPr/>
        </p:nvSpPr>
        <p:spPr bwMode="auto">
          <a:xfrm>
            <a:off x="347131" y="4914489"/>
            <a:ext cx="49788" cy="57448"/>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chemeClr val="tx1"/>
          </a:solidFill>
          <a:ln>
            <a:noFill/>
          </a:ln>
        </p:spPr>
        <p:txBody>
          <a:bodyPr vert="horz" wrap="square" lIns="89606" tIns="44803" rIns="89606" bIns="44803" numCol="1" anchor="t" anchorCtr="0" compatLnSpc="1">
            <a:prstTxWarp prst="textNoShape">
              <a:avLst/>
            </a:prstTxWarp>
          </a:bodyPr>
          <a:lstStyle/>
          <a:p>
            <a:pPr defTabSz="896203"/>
            <a:endParaRPr lang="en-US" sz="1764" kern="0">
              <a:solidFill>
                <a:srgbClr val="FFFFFF"/>
              </a:solidFill>
            </a:endParaRPr>
          </a:p>
        </p:txBody>
      </p:sp>
      <p:sp>
        <p:nvSpPr>
          <p:cNvPr id="256" name="Freeform 9"/>
          <p:cNvSpPr>
            <a:spLocks/>
          </p:cNvSpPr>
          <p:nvPr/>
        </p:nvSpPr>
        <p:spPr bwMode="auto">
          <a:xfrm>
            <a:off x="508752" y="4922912"/>
            <a:ext cx="42128" cy="4902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chemeClr val="tx1"/>
          </a:solidFill>
          <a:ln>
            <a:noFill/>
          </a:ln>
        </p:spPr>
        <p:txBody>
          <a:bodyPr vert="horz" wrap="square" lIns="89606" tIns="44803" rIns="89606" bIns="44803" numCol="1" anchor="t" anchorCtr="0" compatLnSpc="1">
            <a:prstTxWarp prst="textNoShape">
              <a:avLst/>
            </a:prstTxWarp>
          </a:bodyPr>
          <a:lstStyle/>
          <a:p>
            <a:pPr defTabSz="896203"/>
            <a:endParaRPr lang="en-US" sz="1764" kern="0">
              <a:solidFill>
                <a:srgbClr val="FFFFFF"/>
              </a:solidFill>
            </a:endParaRPr>
          </a:p>
        </p:txBody>
      </p:sp>
      <p:grpSp>
        <p:nvGrpSpPr>
          <p:cNvPr id="181" name="Group 180"/>
          <p:cNvGrpSpPr/>
          <p:nvPr/>
        </p:nvGrpSpPr>
        <p:grpSpPr>
          <a:xfrm>
            <a:off x="2718" y="4184119"/>
            <a:ext cx="1642449" cy="1267260"/>
            <a:chOff x="8005941" y="4267723"/>
            <a:chExt cx="1675820" cy="1293008"/>
          </a:xfrm>
        </p:grpSpPr>
        <p:sp>
          <p:nvSpPr>
            <p:cNvPr id="182" name="Rectangle 181"/>
            <p:cNvSpPr/>
            <p:nvPr/>
          </p:nvSpPr>
          <p:spPr bwMode="auto">
            <a:xfrm>
              <a:off x="8005941" y="4267723"/>
              <a:ext cx="1660373" cy="1293008"/>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4" tIns="91403" rIns="18274" bIns="91365" numCol="1" spcCol="1270" anchor="t" anchorCtr="0">
              <a:noAutofit/>
            </a:bodyPr>
            <a:lstStyle/>
            <a:p>
              <a:pPr algn="ctr" defTabSz="724725">
                <a:spcBef>
                  <a:spcPct val="0"/>
                </a:spcBef>
                <a:spcAft>
                  <a:spcPct val="35000"/>
                </a:spcAft>
              </a:pPr>
              <a:r>
                <a:rPr lang="en-US" sz="1400" kern="0" dirty="0">
                  <a:solidFill>
                    <a:schemeClr val="tx1"/>
                  </a:solidFill>
                  <a:latin typeface="Segoe UI Semibold" panose="020B0702040204020203" pitchFamily="34" charset="0"/>
                  <a:cs typeface="Segoe UI Semibold" panose="020B0702040204020203" pitchFamily="34" charset="0"/>
                </a:rPr>
                <a:t>Dashboards &amp; Visualizations</a:t>
              </a:r>
            </a:p>
          </p:txBody>
        </p:sp>
        <p:sp>
          <p:nvSpPr>
            <p:cNvPr id="183" name="Rectangle 182"/>
            <p:cNvSpPr/>
            <p:nvPr/>
          </p:nvSpPr>
          <p:spPr>
            <a:xfrm>
              <a:off x="8467067" y="5017712"/>
              <a:ext cx="1214694" cy="266925"/>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Power BI</a:t>
              </a:r>
            </a:p>
          </p:txBody>
        </p:sp>
        <p:grpSp>
          <p:nvGrpSpPr>
            <p:cNvPr id="184" name="Group 183"/>
            <p:cNvGrpSpPr/>
            <p:nvPr/>
          </p:nvGrpSpPr>
          <p:grpSpPr>
            <a:xfrm>
              <a:off x="8125156" y="5043491"/>
              <a:ext cx="310508" cy="198461"/>
              <a:chOff x="7884058" y="5368509"/>
              <a:chExt cx="324905" cy="207663"/>
            </a:xfrm>
          </p:grpSpPr>
          <p:sp>
            <p:nvSpPr>
              <p:cNvPr id="185"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chemeClr val="tx1"/>
              </a:solidFill>
              <a:ln>
                <a:noFill/>
              </a:ln>
            </p:spPr>
            <p:txBody>
              <a:bodyPr vert="horz" wrap="square" lIns="89606" tIns="44803" rIns="89606" bIns="44803" numCol="1" anchor="t" anchorCtr="0" compatLnSpc="1">
                <a:prstTxWarp prst="textNoShape">
                  <a:avLst/>
                </a:prstTxWarp>
              </a:bodyPr>
              <a:lstStyle/>
              <a:p>
                <a:pPr defTabSz="896203"/>
                <a:endParaRPr lang="en-US" sz="1764" kern="0">
                  <a:solidFill>
                    <a:srgbClr val="FFFFFF"/>
                  </a:solidFill>
                </a:endParaRPr>
              </a:p>
            </p:txBody>
          </p:sp>
          <p:sp>
            <p:nvSpPr>
              <p:cNvPr id="186"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chemeClr val="tx1"/>
              </a:solidFill>
              <a:ln>
                <a:noFill/>
              </a:ln>
            </p:spPr>
            <p:txBody>
              <a:bodyPr vert="horz" wrap="square" lIns="89606" tIns="44803" rIns="89606" bIns="44803" numCol="1" anchor="t" anchorCtr="0" compatLnSpc="1">
                <a:prstTxWarp prst="textNoShape">
                  <a:avLst/>
                </a:prstTxWarp>
              </a:bodyPr>
              <a:lstStyle/>
              <a:p>
                <a:pPr defTabSz="896203"/>
                <a:endParaRPr lang="en-US" sz="1764" kern="0">
                  <a:solidFill>
                    <a:srgbClr val="FFFFFF"/>
                  </a:solidFill>
                </a:endParaRPr>
              </a:p>
            </p:txBody>
          </p:sp>
          <p:sp>
            <p:nvSpPr>
              <p:cNvPr id="187"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chemeClr val="tx1"/>
              </a:solidFill>
              <a:ln>
                <a:noFill/>
              </a:ln>
            </p:spPr>
            <p:txBody>
              <a:bodyPr vert="horz" wrap="square" lIns="89606" tIns="44803" rIns="89606" bIns="44803" numCol="1" anchor="t" anchorCtr="0" compatLnSpc="1">
                <a:prstTxWarp prst="textNoShape">
                  <a:avLst/>
                </a:prstTxWarp>
              </a:bodyPr>
              <a:lstStyle/>
              <a:p>
                <a:pPr defTabSz="896203"/>
                <a:endParaRPr lang="en-US" sz="1764" kern="0">
                  <a:solidFill>
                    <a:srgbClr val="FFFFFF"/>
                  </a:solidFill>
                </a:endParaRPr>
              </a:p>
            </p:txBody>
          </p:sp>
          <p:sp>
            <p:nvSpPr>
              <p:cNvPr id="188"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chemeClr val="tx1"/>
              </a:solidFill>
              <a:ln>
                <a:noFill/>
              </a:ln>
            </p:spPr>
            <p:txBody>
              <a:bodyPr vert="horz" wrap="square" lIns="89606" tIns="44803" rIns="89606" bIns="44803" numCol="1" anchor="t" anchorCtr="0" compatLnSpc="1">
                <a:prstTxWarp prst="textNoShape">
                  <a:avLst/>
                </a:prstTxWarp>
              </a:bodyPr>
              <a:lstStyle/>
              <a:p>
                <a:pPr defTabSz="896203"/>
                <a:endParaRPr lang="en-US" sz="1764" kern="0">
                  <a:solidFill>
                    <a:srgbClr val="FFFFFF"/>
                  </a:solidFill>
                </a:endParaRPr>
              </a:p>
            </p:txBody>
          </p:sp>
          <p:sp>
            <p:nvSpPr>
              <p:cNvPr id="189"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chemeClr val="tx1"/>
              </a:solidFill>
              <a:ln>
                <a:noFill/>
              </a:ln>
            </p:spPr>
            <p:txBody>
              <a:bodyPr vert="horz" wrap="square" lIns="89606" tIns="44803" rIns="89606" bIns="44803" numCol="1" anchor="t" anchorCtr="0" compatLnSpc="1">
                <a:prstTxWarp prst="textNoShape">
                  <a:avLst/>
                </a:prstTxWarp>
              </a:bodyPr>
              <a:lstStyle/>
              <a:p>
                <a:pPr defTabSz="896203"/>
                <a:endParaRPr lang="en-US" sz="1764" kern="0">
                  <a:solidFill>
                    <a:srgbClr val="FFFFFF"/>
                  </a:solidFill>
                </a:endParaRPr>
              </a:p>
            </p:txBody>
          </p:sp>
        </p:grpSp>
      </p:grpSp>
    </p:spTree>
    <p:extLst>
      <p:ext uri="{BB962C8B-B14F-4D97-AF65-F5344CB8AC3E}">
        <p14:creationId xmlns:p14="http://schemas.microsoft.com/office/powerpoint/2010/main" val="3016341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26"/>
          <p:cNvSpPr>
            <a:spLocks noGrp="1"/>
          </p:cNvSpPr>
          <p:nvPr>
            <p:ph type="title"/>
          </p:nvPr>
        </p:nvSpPr>
        <p:spPr/>
        <p:txBody>
          <a:bodyPr/>
          <a:lstStyle/>
          <a:p>
            <a:r>
              <a:rPr lang="en-US" dirty="0"/>
              <a:t>Transform data into intelligent action</a:t>
            </a:r>
          </a:p>
        </p:txBody>
      </p:sp>
      <p:sp>
        <p:nvSpPr>
          <p:cNvPr id="134" name="Rectangle 133"/>
          <p:cNvSpPr/>
          <p:nvPr/>
        </p:nvSpPr>
        <p:spPr bwMode="auto">
          <a:xfrm>
            <a:off x="7846517" y="1361085"/>
            <a:ext cx="1627310" cy="2869776"/>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4" tIns="91403" rIns="18274" bIns="91365" numCol="1" spcCol="1270" anchor="t" anchorCtr="0">
            <a:noAutofit/>
          </a:bodyPr>
          <a:lstStyle/>
          <a:p>
            <a:pPr algn="ctr" defTabSz="724725">
              <a:spcBef>
                <a:spcPct val="0"/>
              </a:spcBef>
              <a:spcAft>
                <a:spcPct val="35000"/>
              </a:spcAft>
            </a:pPr>
            <a:r>
              <a:rPr lang="en-US" sz="1400" kern="0" dirty="0">
                <a:solidFill>
                  <a:schemeClr val="tx1"/>
                </a:solidFill>
                <a:latin typeface="Segoe UI Semibold" panose="020B0702040204020203" pitchFamily="34" charset="0"/>
                <a:cs typeface="Segoe UI Semibold" panose="020B0702040204020203" pitchFamily="34" charset="0"/>
              </a:rPr>
              <a:t>Intelligence</a:t>
            </a:r>
          </a:p>
        </p:txBody>
      </p:sp>
      <p:sp>
        <p:nvSpPr>
          <p:cNvPr id="142" name="Rectangle 141"/>
          <p:cNvSpPr/>
          <p:nvPr/>
        </p:nvSpPr>
        <p:spPr bwMode="auto">
          <a:xfrm>
            <a:off x="7846517" y="4355126"/>
            <a:ext cx="1627310" cy="1267260"/>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4" tIns="91403" rIns="18274" bIns="91365" numCol="1" spcCol="1270" anchor="t" anchorCtr="0">
            <a:noAutofit/>
          </a:bodyPr>
          <a:lstStyle/>
          <a:p>
            <a:pPr algn="ctr" defTabSz="724725">
              <a:spcBef>
                <a:spcPct val="0"/>
              </a:spcBef>
              <a:spcAft>
                <a:spcPct val="35000"/>
              </a:spcAft>
            </a:pPr>
            <a:r>
              <a:rPr lang="en-US" sz="1400" kern="0" dirty="0">
                <a:solidFill>
                  <a:schemeClr val="tx1"/>
                </a:solidFill>
                <a:latin typeface="Segoe UI Semibold" panose="020B0702040204020203" pitchFamily="34" charset="0"/>
                <a:cs typeface="Segoe UI Semibold" panose="020B0702040204020203" pitchFamily="34" charset="0"/>
              </a:rPr>
              <a:t>Dashboards &amp; Visualizations</a:t>
            </a:r>
          </a:p>
        </p:txBody>
      </p:sp>
      <p:sp>
        <p:nvSpPr>
          <p:cNvPr id="131" name="Rectangle 130"/>
          <p:cNvSpPr/>
          <p:nvPr/>
        </p:nvSpPr>
        <p:spPr bwMode="auto">
          <a:xfrm>
            <a:off x="2626252" y="1361084"/>
            <a:ext cx="1627310" cy="426130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4" tIns="91403" rIns="18274" bIns="91365" numCol="1" spcCol="1270" anchor="t" anchorCtr="0">
            <a:noAutofit/>
          </a:bodyPr>
          <a:lstStyle/>
          <a:p>
            <a:pPr algn="ctr" defTabSz="724725">
              <a:spcBef>
                <a:spcPct val="0"/>
              </a:spcBef>
              <a:spcAft>
                <a:spcPct val="35000"/>
              </a:spcAft>
            </a:pPr>
            <a:r>
              <a:rPr lang="en-US" sz="1400" kern="0" dirty="0">
                <a:solidFill>
                  <a:schemeClr val="tx1"/>
                </a:solidFill>
                <a:latin typeface="Segoe UI Semibold" panose="020B0702040204020203" pitchFamily="34" charset="0"/>
                <a:cs typeface="Segoe UI Semibold" panose="020B0702040204020203" pitchFamily="34" charset="0"/>
              </a:rPr>
              <a:t>Information Management</a:t>
            </a:r>
          </a:p>
        </p:txBody>
      </p:sp>
      <p:sp>
        <p:nvSpPr>
          <p:cNvPr id="132" name="Rectangle 131"/>
          <p:cNvSpPr/>
          <p:nvPr/>
        </p:nvSpPr>
        <p:spPr bwMode="auto">
          <a:xfrm>
            <a:off x="4366341" y="1361085"/>
            <a:ext cx="1627310" cy="426130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4" tIns="91403" rIns="18274" bIns="91365" numCol="1" spcCol="1270" anchor="t" anchorCtr="0">
            <a:noAutofit/>
          </a:bodyPr>
          <a:lstStyle/>
          <a:p>
            <a:pPr algn="ctr" defTabSz="724725">
              <a:spcBef>
                <a:spcPct val="0"/>
              </a:spcBef>
              <a:spcAft>
                <a:spcPct val="35000"/>
              </a:spcAft>
            </a:pPr>
            <a:r>
              <a:rPr lang="en-US" sz="1400" kern="0" dirty="0">
                <a:solidFill>
                  <a:schemeClr val="tx1"/>
                </a:solidFill>
                <a:latin typeface="Segoe UI Semibold" panose="020B0702040204020203" pitchFamily="34" charset="0"/>
                <a:cs typeface="Segoe UI Semibold" panose="020B0702040204020203" pitchFamily="34" charset="0"/>
              </a:rPr>
              <a:t>Big Data Stores</a:t>
            </a:r>
          </a:p>
        </p:txBody>
      </p:sp>
      <p:sp>
        <p:nvSpPr>
          <p:cNvPr id="133" name="Rectangle 132"/>
          <p:cNvSpPr/>
          <p:nvPr/>
        </p:nvSpPr>
        <p:spPr bwMode="auto">
          <a:xfrm>
            <a:off x="6106429" y="1361085"/>
            <a:ext cx="1627310" cy="426130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4" tIns="91403" rIns="18274" bIns="91365" numCol="1" spcCol="1270" anchor="t" anchorCtr="0">
            <a:noAutofit/>
          </a:bodyPr>
          <a:lstStyle/>
          <a:p>
            <a:pPr algn="ctr" defTabSz="724725">
              <a:spcBef>
                <a:spcPct val="0"/>
              </a:spcBef>
              <a:spcAft>
                <a:spcPct val="35000"/>
              </a:spcAft>
            </a:pPr>
            <a:r>
              <a:rPr lang="en-US" sz="1400" kern="0" dirty="0">
                <a:solidFill>
                  <a:schemeClr val="tx1"/>
                </a:solidFill>
                <a:latin typeface="Segoe UI Semibold" panose="020B0702040204020203" pitchFamily="34" charset="0"/>
                <a:cs typeface="Segoe UI Semibold" panose="020B0702040204020203" pitchFamily="34" charset="0"/>
              </a:rPr>
              <a:t>Machine Learning and Analytics</a:t>
            </a:r>
          </a:p>
        </p:txBody>
      </p:sp>
      <p:sp>
        <p:nvSpPr>
          <p:cNvPr id="135" name="Rectangle 134"/>
          <p:cNvSpPr/>
          <p:nvPr/>
        </p:nvSpPr>
        <p:spPr>
          <a:xfrm>
            <a:off x="8475236" y="3702575"/>
            <a:ext cx="1188495" cy="261610"/>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Cortana</a:t>
            </a:r>
          </a:p>
        </p:txBody>
      </p:sp>
      <p:grpSp>
        <p:nvGrpSpPr>
          <p:cNvPr id="136" name="Group 135"/>
          <p:cNvGrpSpPr/>
          <p:nvPr/>
        </p:nvGrpSpPr>
        <p:grpSpPr>
          <a:xfrm>
            <a:off x="8104341" y="3675482"/>
            <a:ext cx="295758" cy="295758"/>
            <a:chOff x="3236100" y="589298"/>
            <a:chExt cx="5641200" cy="5641200"/>
          </a:xfrm>
        </p:grpSpPr>
        <p:sp>
          <p:nvSpPr>
            <p:cNvPr id="137" name="Freeform 136"/>
            <p:cNvSpPr/>
            <p:nvPr/>
          </p:nvSpPr>
          <p:spPr bwMode="auto">
            <a:xfrm>
              <a:off x="3236100" y="589298"/>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algn="ctr" defTabSz="932103" fontAlgn="base">
                <a:spcBef>
                  <a:spcPct val="0"/>
                </a:spcBef>
                <a:spcAft>
                  <a:spcPct val="0"/>
                </a:spcAft>
              </a:pPr>
              <a:endParaRPr lang="en-US" sz="3599" kern="0" dirty="0" err="1">
                <a:solidFill>
                  <a:schemeClr val="tx1"/>
                </a:solidFill>
                <a:ea typeface="Segoe UI" pitchFamily="34" charset="0"/>
                <a:cs typeface="Segoe UI" pitchFamily="34" charset="0"/>
              </a:endParaRPr>
            </a:p>
          </p:txBody>
        </p:sp>
        <p:sp>
          <p:nvSpPr>
            <p:cNvPr id="138" name="Freeform 137"/>
            <p:cNvSpPr/>
            <p:nvPr/>
          </p:nvSpPr>
          <p:spPr bwMode="auto">
            <a:xfrm>
              <a:off x="3615099" y="968297"/>
              <a:ext cx="4883202" cy="4883202"/>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algn="ctr" defTabSz="932103" fontAlgn="base">
                <a:spcBef>
                  <a:spcPct val="0"/>
                </a:spcBef>
                <a:spcAft>
                  <a:spcPct val="0"/>
                </a:spcAft>
              </a:pPr>
              <a:endParaRPr lang="en-US" sz="3599" kern="0" dirty="0" err="1">
                <a:solidFill>
                  <a:schemeClr val="tx1"/>
                </a:solidFill>
                <a:ea typeface="Segoe UI" pitchFamily="34" charset="0"/>
                <a:cs typeface="Segoe UI" pitchFamily="34" charset="0"/>
              </a:endParaRPr>
            </a:p>
          </p:txBody>
        </p:sp>
      </p:grpSp>
      <p:sp>
        <p:nvSpPr>
          <p:cNvPr id="141" name="Rectangle 140"/>
          <p:cNvSpPr/>
          <p:nvPr/>
        </p:nvSpPr>
        <p:spPr>
          <a:xfrm>
            <a:off x="3144290" y="3702576"/>
            <a:ext cx="1190507" cy="259732"/>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Event Hubs</a:t>
            </a:r>
            <a:endParaRPr lang="en-US" sz="1100" kern="0" dirty="0">
              <a:solidFill>
                <a:sysClr val="windowText" lastClr="000000"/>
              </a:solidFill>
            </a:endParaRPr>
          </a:p>
        </p:txBody>
      </p:sp>
      <p:sp>
        <p:nvSpPr>
          <p:cNvPr id="143" name="Rectangle 142"/>
          <p:cNvSpPr/>
          <p:nvPr/>
        </p:nvSpPr>
        <p:spPr>
          <a:xfrm>
            <a:off x="6695596" y="3544021"/>
            <a:ext cx="1188495" cy="600164"/>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HDInsight </a:t>
            </a:r>
          </a:p>
          <a:p>
            <a:pPr defTabSz="896203"/>
            <a:r>
              <a:rPr lang="en-US" sz="1100" kern="0" dirty="0">
                <a:solidFill>
                  <a:sysClr val="windowText" lastClr="000000"/>
                </a:solidFill>
                <a:cs typeface="Segoe UI Semilight" panose="020B0402040204020203" pitchFamily="34" charset="0"/>
              </a:rPr>
              <a:t>(Hadoop and Spark)</a:t>
            </a:r>
          </a:p>
        </p:txBody>
      </p:sp>
      <p:sp>
        <p:nvSpPr>
          <p:cNvPr id="140" name="Rectangle 139"/>
          <p:cNvSpPr/>
          <p:nvPr/>
        </p:nvSpPr>
        <p:spPr>
          <a:xfrm>
            <a:off x="6695596" y="4479401"/>
            <a:ext cx="849577" cy="430887"/>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Stream Analytics</a:t>
            </a:r>
          </a:p>
        </p:txBody>
      </p:sp>
      <p:sp>
        <p:nvSpPr>
          <p:cNvPr id="189" name="Rectangle 188"/>
          <p:cNvSpPr/>
          <p:nvPr/>
        </p:nvSpPr>
        <p:spPr>
          <a:xfrm>
            <a:off x="2126145" y="5899810"/>
            <a:ext cx="874460" cy="300801"/>
          </a:xfrm>
          <a:prstGeom prst="rect">
            <a:avLst/>
          </a:prstGeom>
        </p:spPr>
        <p:txBody>
          <a:bodyPr wrap="none" lIns="0" tIns="0" rIns="0" bIns="0" anchor="ctr">
            <a:noAutofit/>
          </a:bodyPr>
          <a:lstStyle/>
          <a:p>
            <a:pPr defTabSz="896203">
              <a:lnSpc>
                <a:spcPct val="90000"/>
              </a:lnSpc>
            </a:pPr>
            <a:r>
              <a:rPr lang="en-US" sz="2399" kern="0" dirty="0">
                <a:solidFill>
                  <a:schemeClr val="bg2"/>
                </a:solidFill>
                <a:latin typeface="+mj-lt"/>
              </a:rPr>
              <a:t>Data</a:t>
            </a:r>
          </a:p>
        </p:txBody>
      </p:sp>
      <p:sp>
        <p:nvSpPr>
          <p:cNvPr id="190" name="Rectangle 189"/>
          <p:cNvSpPr/>
          <p:nvPr/>
        </p:nvSpPr>
        <p:spPr>
          <a:xfrm>
            <a:off x="5331963" y="5865609"/>
            <a:ext cx="1453924" cy="369204"/>
          </a:xfrm>
          <a:prstGeom prst="rect">
            <a:avLst/>
          </a:prstGeom>
        </p:spPr>
        <p:txBody>
          <a:bodyPr wrap="none" lIns="0" tIns="0" rIns="0" bIns="0" anchor="ctr">
            <a:spAutoFit/>
          </a:bodyPr>
          <a:lstStyle/>
          <a:p>
            <a:pPr algn="ctr" defTabSz="724725">
              <a:spcBef>
                <a:spcPct val="0"/>
              </a:spcBef>
              <a:spcAft>
                <a:spcPct val="35000"/>
              </a:spcAft>
            </a:pPr>
            <a:r>
              <a:rPr lang="en-US" sz="2399" kern="0" dirty="0">
                <a:solidFill>
                  <a:schemeClr val="bg2"/>
                </a:solidFill>
                <a:latin typeface="+mj-lt"/>
              </a:rPr>
              <a:t>Intelligence</a:t>
            </a:r>
            <a:endParaRPr lang="en-US" sz="1799" b="1" kern="0" spc="-30" dirty="0">
              <a:solidFill>
                <a:schemeClr val="bg2"/>
              </a:solidFill>
              <a:latin typeface="Segoe UI Semilight" panose="020B0402040204020203" pitchFamily="34" charset="0"/>
              <a:cs typeface="Segoe UI Semilight" panose="020B0402040204020203" pitchFamily="34" charset="0"/>
            </a:endParaRPr>
          </a:p>
        </p:txBody>
      </p:sp>
      <p:cxnSp>
        <p:nvCxnSpPr>
          <p:cNvPr id="192" name="Straight Connector 191"/>
          <p:cNvCxnSpPr/>
          <p:nvPr/>
        </p:nvCxnSpPr>
        <p:spPr>
          <a:xfrm>
            <a:off x="3437095" y="6050784"/>
            <a:ext cx="1270755" cy="0"/>
          </a:xfrm>
          <a:prstGeom prst="line">
            <a:avLst/>
          </a:prstGeom>
          <a:solidFill>
            <a:schemeClr val="tx1">
              <a:lumMod val="85000"/>
            </a:schemeClr>
          </a:solid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93" name="Group 192"/>
          <p:cNvGrpSpPr/>
          <p:nvPr/>
        </p:nvGrpSpPr>
        <p:grpSpPr>
          <a:xfrm rot="13500000">
            <a:off x="4510467" y="5966480"/>
            <a:ext cx="170001" cy="167461"/>
            <a:chOff x="402446" y="5872915"/>
            <a:chExt cx="292608" cy="288235"/>
          </a:xfrm>
          <a:solidFill>
            <a:schemeClr val="tx1">
              <a:lumMod val="85000"/>
            </a:schemeClr>
          </a:solidFill>
        </p:grpSpPr>
        <p:cxnSp>
          <p:nvCxnSpPr>
            <p:cNvPr id="194" name="Straight Connector 193"/>
            <p:cNvCxnSpPr/>
            <p:nvPr/>
          </p:nvCxnSpPr>
          <p:spPr>
            <a:xfrm>
              <a:off x="412598" y="5872915"/>
              <a:ext cx="0" cy="288235"/>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5" name="Straight Connector 194"/>
            <p:cNvCxnSpPr/>
            <p:nvPr/>
          </p:nvCxnSpPr>
          <p:spPr>
            <a:xfrm>
              <a:off x="402446" y="6148978"/>
              <a:ext cx="292608" cy="0"/>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197" name="Straight Connector 196"/>
          <p:cNvCxnSpPr/>
          <p:nvPr/>
        </p:nvCxnSpPr>
        <p:spPr>
          <a:xfrm>
            <a:off x="7574734" y="6050784"/>
            <a:ext cx="1270755" cy="0"/>
          </a:xfrm>
          <a:prstGeom prst="line">
            <a:avLst/>
          </a:prstGeom>
          <a:solidFill>
            <a:schemeClr val="tx1">
              <a:lumMod val="85000"/>
            </a:schemeClr>
          </a:solid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98" name="Group 197"/>
          <p:cNvGrpSpPr/>
          <p:nvPr/>
        </p:nvGrpSpPr>
        <p:grpSpPr>
          <a:xfrm rot="13500000">
            <a:off x="8648106" y="5966480"/>
            <a:ext cx="170001" cy="167461"/>
            <a:chOff x="402446" y="5872915"/>
            <a:chExt cx="292608" cy="288235"/>
          </a:xfrm>
          <a:solidFill>
            <a:schemeClr val="tx1">
              <a:lumMod val="85000"/>
            </a:schemeClr>
          </a:solidFill>
        </p:grpSpPr>
        <p:cxnSp>
          <p:nvCxnSpPr>
            <p:cNvPr id="199" name="Straight Connector 198"/>
            <p:cNvCxnSpPr/>
            <p:nvPr/>
          </p:nvCxnSpPr>
          <p:spPr>
            <a:xfrm>
              <a:off x="412598" y="5872915"/>
              <a:ext cx="0" cy="288235"/>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0" name="Straight Connector 199"/>
            <p:cNvCxnSpPr/>
            <p:nvPr/>
          </p:nvCxnSpPr>
          <p:spPr>
            <a:xfrm>
              <a:off x="402446" y="6148978"/>
              <a:ext cx="292608" cy="0"/>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01" name="Rectangle 200"/>
          <p:cNvSpPr/>
          <p:nvPr/>
        </p:nvSpPr>
        <p:spPr>
          <a:xfrm>
            <a:off x="9580615" y="5896640"/>
            <a:ext cx="1405553" cy="307142"/>
          </a:xfrm>
          <a:prstGeom prst="rect">
            <a:avLst/>
          </a:prstGeom>
        </p:spPr>
        <p:txBody>
          <a:bodyPr wrap="none" lIns="0" tIns="0" rIns="0" bIns="0" anchor="ctr">
            <a:noAutofit/>
          </a:bodyPr>
          <a:lstStyle/>
          <a:p>
            <a:pPr defTabSz="896203">
              <a:lnSpc>
                <a:spcPct val="90000"/>
              </a:lnSpc>
            </a:pPr>
            <a:r>
              <a:rPr lang="en-US" sz="2399" kern="0" dirty="0">
                <a:solidFill>
                  <a:schemeClr val="bg2"/>
                </a:solidFill>
                <a:latin typeface="+mj-lt"/>
              </a:rPr>
              <a:t>Action</a:t>
            </a:r>
          </a:p>
        </p:txBody>
      </p:sp>
      <p:sp>
        <p:nvSpPr>
          <p:cNvPr id="203" name="Freeform 202"/>
          <p:cNvSpPr/>
          <p:nvPr/>
        </p:nvSpPr>
        <p:spPr bwMode="auto">
          <a:xfrm>
            <a:off x="2427324" y="1369652"/>
            <a:ext cx="116012" cy="4273826"/>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203"/>
            <a:endParaRPr lang="en-US" sz="1799" kern="0">
              <a:solidFill>
                <a:sysClr val="windowText" lastClr="000000"/>
              </a:solidFill>
            </a:endParaRPr>
          </a:p>
        </p:txBody>
      </p:sp>
      <p:sp>
        <p:nvSpPr>
          <p:cNvPr id="206" name="Freeform 205"/>
          <p:cNvSpPr/>
          <p:nvPr/>
        </p:nvSpPr>
        <p:spPr bwMode="auto">
          <a:xfrm flipH="1">
            <a:off x="9560038" y="1369652"/>
            <a:ext cx="116012" cy="4273826"/>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203"/>
            <a:endParaRPr lang="en-US" sz="1799" kern="0">
              <a:solidFill>
                <a:sysClr val="windowText" lastClr="000000"/>
              </a:solidFill>
            </a:endParaRPr>
          </a:p>
        </p:txBody>
      </p:sp>
      <p:cxnSp>
        <p:nvCxnSpPr>
          <p:cNvPr id="207" name="Straight Connector 206"/>
          <p:cNvCxnSpPr/>
          <p:nvPr/>
        </p:nvCxnSpPr>
        <p:spPr>
          <a:xfrm flipH="1">
            <a:off x="9560037" y="3506563"/>
            <a:ext cx="288933"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08" name="TextBox 207"/>
          <p:cNvSpPr txBox="1"/>
          <p:nvPr/>
        </p:nvSpPr>
        <p:spPr>
          <a:xfrm>
            <a:off x="10302745" y="1662436"/>
            <a:ext cx="1021010" cy="458194"/>
          </a:xfrm>
          <a:prstGeom prst="rect">
            <a:avLst/>
          </a:prstGeom>
          <a:noFill/>
        </p:spPr>
        <p:txBody>
          <a:bodyPr wrap="square" lIns="182780" tIns="146224" rIns="182780" bIns="146224" rtlCol="0">
            <a:spAutoFit/>
          </a:bodyPr>
          <a:lstStyle/>
          <a:p>
            <a:pPr defTabSz="932194">
              <a:lnSpc>
                <a:spcPct val="90000"/>
              </a:lnSpc>
              <a:spcBef>
                <a:spcPct val="0"/>
              </a:spcBef>
              <a:spcAft>
                <a:spcPts val="600"/>
              </a:spcAft>
            </a:pPr>
            <a:r>
              <a:rPr lang="en-US" sz="1200" kern="0" spc="-30" dirty="0">
                <a:solidFill>
                  <a:schemeClr val="bg2"/>
                </a:solidFill>
                <a:latin typeface="Segoe UI Semilight" panose="020B0402040204020203" pitchFamily="34" charset="0"/>
                <a:cs typeface="Segoe UI Semilight" panose="020B0402040204020203" pitchFamily="34" charset="0"/>
              </a:rPr>
              <a:t>People</a:t>
            </a:r>
          </a:p>
        </p:txBody>
      </p:sp>
      <p:sp>
        <p:nvSpPr>
          <p:cNvPr id="209" name="TextBox 208"/>
          <p:cNvSpPr txBox="1"/>
          <p:nvPr/>
        </p:nvSpPr>
        <p:spPr>
          <a:xfrm>
            <a:off x="10554510" y="4763326"/>
            <a:ext cx="813272" cy="332399"/>
          </a:xfrm>
          <a:prstGeom prst="rect">
            <a:avLst/>
          </a:prstGeom>
          <a:noFill/>
        </p:spPr>
        <p:txBody>
          <a:bodyPr wrap="square" lIns="0" tIns="0" rIns="0" bIns="0" rtlCol="0">
            <a:spAutoFit/>
          </a:bodyPr>
          <a:lstStyle/>
          <a:p>
            <a:pPr defTabSz="932194">
              <a:lnSpc>
                <a:spcPct val="90000"/>
              </a:lnSpc>
              <a:spcBef>
                <a:spcPct val="0"/>
              </a:spcBef>
              <a:spcAft>
                <a:spcPts val="600"/>
              </a:spcAft>
            </a:pPr>
            <a:r>
              <a:rPr lang="en-US" sz="1200" kern="0" spc="-30" dirty="0">
                <a:solidFill>
                  <a:schemeClr val="bg2"/>
                </a:solidFill>
                <a:latin typeface="Segoe UI Semilight" panose="020B0402040204020203" pitchFamily="34" charset="0"/>
                <a:cs typeface="Segoe UI Semilight" panose="020B0402040204020203" pitchFamily="34" charset="0"/>
              </a:rPr>
              <a:t>Automated </a:t>
            </a:r>
            <a:br>
              <a:rPr lang="en-US" sz="1200" kern="0" spc="-30" dirty="0">
                <a:solidFill>
                  <a:schemeClr val="bg2"/>
                </a:solidFill>
                <a:latin typeface="Segoe UI Semilight" panose="020B0402040204020203" pitchFamily="34" charset="0"/>
                <a:cs typeface="Segoe UI Semilight" panose="020B0402040204020203" pitchFamily="34" charset="0"/>
              </a:rPr>
            </a:br>
            <a:r>
              <a:rPr lang="en-US" sz="1200" kern="0" spc="-30" dirty="0">
                <a:solidFill>
                  <a:schemeClr val="bg2"/>
                </a:solidFill>
                <a:latin typeface="Segoe UI Semilight" panose="020B0402040204020203" pitchFamily="34" charset="0"/>
                <a:cs typeface="Segoe UI Semilight" panose="020B0402040204020203" pitchFamily="34" charset="0"/>
              </a:rPr>
              <a:t>Systems</a:t>
            </a:r>
          </a:p>
        </p:txBody>
      </p:sp>
      <p:grpSp>
        <p:nvGrpSpPr>
          <p:cNvPr id="210" name="Group 209"/>
          <p:cNvGrpSpPr/>
          <p:nvPr/>
        </p:nvGrpSpPr>
        <p:grpSpPr>
          <a:xfrm>
            <a:off x="9930395" y="1698161"/>
            <a:ext cx="353333" cy="360932"/>
            <a:chOff x="6112510" y="6954657"/>
            <a:chExt cx="1181100" cy="1206500"/>
          </a:xfrm>
          <a:solidFill>
            <a:schemeClr val="accent2"/>
          </a:solidFill>
        </p:grpSpPr>
        <p:sp>
          <p:nvSpPr>
            <p:cNvPr id="211" name="Freeform 5"/>
            <p:cNvSpPr>
              <a:spLocks noEditPoints="1"/>
            </p:cNvSpPr>
            <p:nvPr/>
          </p:nvSpPr>
          <p:spPr bwMode="auto">
            <a:xfrm>
              <a:off x="6233160" y="6954657"/>
              <a:ext cx="485775" cy="482600"/>
            </a:xfrm>
            <a:custGeom>
              <a:avLst/>
              <a:gdLst>
                <a:gd name="T0" fmla="*/ 154 w 306"/>
                <a:gd name="T1" fmla="*/ 304 h 304"/>
                <a:gd name="T2" fmla="*/ 122 w 306"/>
                <a:gd name="T3" fmla="*/ 302 h 304"/>
                <a:gd name="T4" fmla="*/ 94 w 306"/>
                <a:gd name="T5" fmla="*/ 292 h 304"/>
                <a:gd name="T6" fmla="*/ 68 w 306"/>
                <a:gd name="T7" fmla="*/ 278 h 304"/>
                <a:gd name="T8" fmla="*/ 46 w 306"/>
                <a:gd name="T9" fmla="*/ 260 h 304"/>
                <a:gd name="T10" fmla="*/ 26 w 306"/>
                <a:gd name="T11" fmla="*/ 238 h 304"/>
                <a:gd name="T12" fmla="*/ 12 w 306"/>
                <a:gd name="T13" fmla="*/ 212 h 304"/>
                <a:gd name="T14" fmla="*/ 4 w 306"/>
                <a:gd name="T15" fmla="*/ 182 h 304"/>
                <a:gd name="T16" fmla="*/ 0 w 306"/>
                <a:gd name="T17" fmla="*/ 152 h 304"/>
                <a:gd name="T18" fmla="*/ 2 w 306"/>
                <a:gd name="T19" fmla="*/ 136 h 304"/>
                <a:gd name="T20" fmla="*/ 8 w 306"/>
                <a:gd name="T21" fmla="*/ 106 h 304"/>
                <a:gd name="T22" fmla="*/ 20 w 306"/>
                <a:gd name="T23" fmla="*/ 80 h 304"/>
                <a:gd name="T24" fmla="*/ 36 w 306"/>
                <a:gd name="T25" fmla="*/ 56 h 304"/>
                <a:gd name="T26" fmla="*/ 56 w 306"/>
                <a:gd name="T27" fmla="*/ 34 h 304"/>
                <a:gd name="T28" fmla="*/ 80 w 306"/>
                <a:gd name="T29" fmla="*/ 18 h 304"/>
                <a:gd name="T30" fmla="*/ 108 w 306"/>
                <a:gd name="T31" fmla="*/ 6 h 304"/>
                <a:gd name="T32" fmla="*/ 138 w 306"/>
                <a:gd name="T33" fmla="*/ 0 h 304"/>
                <a:gd name="T34" fmla="*/ 154 w 306"/>
                <a:gd name="T35" fmla="*/ 0 h 304"/>
                <a:gd name="T36" fmla="*/ 184 w 306"/>
                <a:gd name="T37" fmla="*/ 2 h 304"/>
                <a:gd name="T38" fmla="*/ 212 w 306"/>
                <a:gd name="T39" fmla="*/ 12 h 304"/>
                <a:gd name="T40" fmla="*/ 238 w 306"/>
                <a:gd name="T41" fmla="*/ 26 h 304"/>
                <a:gd name="T42" fmla="*/ 260 w 306"/>
                <a:gd name="T43" fmla="*/ 44 h 304"/>
                <a:gd name="T44" fmla="*/ 280 w 306"/>
                <a:gd name="T45" fmla="*/ 66 h 304"/>
                <a:gd name="T46" fmla="*/ 294 w 306"/>
                <a:gd name="T47" fmla="*/ 92 h 304"/>
                <a:gd name="T48" fmla="*/ 302 w 306"/>
                <a:gd name="T49" fmla="*/ 122 h 304"/>
                <a:gd name="T50" fmla="*/ 306 w 306"/>
                <a:gd name="T51" fmla="*/ 152 h 304"/>
                <a:gd name="T52" fmla="*/ 304 w 306"/>
                <a:gd name="T53" fmla="*/ 168 h 304"/>
                <a:gd name="T54" fmla="*/ 298 w 306"/>
                <a:gd name="T55" fmla="*/ 198 h 304"/>
                <a:gd name="T56" fmla="*/ 288 w 306"/>
                <a:gd name="T57" fmla="*/ 224 h 304"/>
                <a:gd name="T58" fmla="*/ 270 w 306"/>
                <a:gd name="T59" fmla="*/ 248 h 304"/>
                <a:gd name="T60" fmla="*/ 250 w 306"/>
                <a:gd name="T61" fmla="*/ 270 h 304"/>
                <a:gd name="T62" fmla="*/ 226 w 306"/>
                <a:gd name="T63" fmla="*/ 286 h 304"/>
                <a:gd name="T64" fmla="*/ 198 w 306"/>
                <a:gd name="T65" fmla="*/ 298 h 304"/>
                <a:gd name="T66" fmla="*/ 168 w 306"/>
                <a:gd name="T67" fmla="*/ 304 h 304"/>
                <a:gd name="T68" fmla="*/ 154 w 306"/>
                <a:gd name="T69" fmla="*/ 304 h 304"/>
                <a:gd name="T70" fmla="*/ 154 w 306"/>
                <a:gd name="T71" fmla="*/ 28 h 304"/>
                <a:gd name="T72" fmla="*/ 128 w 306"/>
                <a:gd name="T73" fmla="*/ 30 h 304"/>
                <a:gd name="T74" fmla="*/ 104 w 306"/>
                <a:gd name="T75" fmla="*/ 38 h 304"/>
                <a:gd name="T76" fmla="*/ 66 w 306"/>
                <a:gd name="T77" fmla="*/ 64 h 304"/>
                <a:gd name="T78" fmla="*/ 38 w 306"/>
                <a:gd name="T79" fmla="*/ 104 h 304"/>
                <a:gd name="T80" fmla="*/ 32 w 306"/>
                <a:gd name="T81" fmla="*/ 128 h 304"/>
                <a:gd name="T82" fmla="*/ 28 w 306"/>
                <a:gd name="T83" fmla="*/ 152 h 304"/>
                <a:gd name="T84" fmla="*/ 30 w 306"/>
                <a:gd name="T85" fmla="*/ 164 h 304"/>
                <a:gd name="T86" fmla="*/ 34 w 306"/>
                <a:gd name="T87" fmla="*/ 190 h 304"/>
                <a:gd name="T88" fmla="*/ 50 w 306"/>
                <a:gd name="T89" fmla="*/ 222 h 304"/>
                <a:gd name="T90" fmla="*/ 84 w 306"/>
                <a:gd name="T91" fmla="*/ 256 h 304"/>
                <a:gd name="T92" fmla="*/ 116 w 306"/>
                <a:gd name="T93" fmla="*/ 270 h 304"/>
                <a:gd name="T94" fmla="*/ 140 w 306"/>
                <a:gd name="T95" fmla="*/ 276 h 304"/>
                <a:gd name="T96" fmla="*/ 154 w 306"/>
                <a:gd name="T97" fmla="*/ 276 h 304"/>
                <a:gd name="T98" fmla="*/ 178 w 306"/>
                <a:gd name="T99" fmla="*/ 274 h 304"/>
                <a:gd name="T100" fmla="*/ 202 w 306"/>
                <a:gd name="T101" fmla="*/ 266 h 304"/>
                <a:gd name="T102" fmla="*/ 242 w 306"/>
                <a:gd name="T103" fmla="*/ 240 h 304"/>
                <a:gd name="T104" fmla="*/ 268 w 306"/>
                <a:gd name="T105" fmla="*/ 200 h 304"/>
                <a:gd name="T106" fmla="*/ 274 w 306"/>
                <a:gd name="T107" fmla="*/ 178 h 304"/>
                <a:gd name="T108" fmla="*/ 278 w 306"/>
                <a:gd name="T109" fmla="*/ 152 h 304"/>
                <a:gd name="T110" fmla="*/ 276 w 306"/>
                <a:gd name="T111" fmla="*/ 140 h 304"/>
                <a:gd name="T112" fmla="*/ 272 w 306"/>
                <a:gd name="T113" fmla="*/ 116 h 304"/>
                <a:gd name="T114" fmla="*/ 256 w 306"/>
                <a:gd name="T115" fmla="*/ 82 h 304"/>
                <a:gd name="T116" fmla="*/ 222 w 306"/>
                <a:gd name="T117" fmla="*/ 50 h 304"/>
                <a:gd name="T118" fmla="*/ 190 w 306"/>
                <a:gd name="T119" fmla="*/ 34 h 304"/>
                <a:gd name="T120" fmla="*/ 166 w 306"/>
                <a:gd name="T121" fmla="*/ 28 h 304"/>
                <a:gd name="T122" fmla="*/ 154 w 306"/>
                <a:gd name="T123" fmla="*/ 28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6" h="304">
                  <a:moveTo>
                    <a:pt x="154" y="304"/>
                  </a:moveTo>
                  <a:lnTo>
                    <a:pt x="154" y="304"/>
                  </a:lnTo>
                  <a:lnTo>
                    <a:pt x="138" y="304"/>
                  </a:lnTo>
                  <a:lnTo>
                    <a:pt x="122" y="302"/>
                  </a:lnTo>
                  <a:lnTo>
                    <a:pt x="108" y="298"/>
                  </a:lnTo>
                  <a:lnTo>
                    <a:pt x="94" y="292"/>
                  </a:lnTo>
                  <a:lnTo>
                    <a:pt x="80" y="286"/>
                  </a:lnTo>
                  <a:lnTo>
                    <a:pt x="68" y="278"/>
                  </a:lnTo>
                  <a:lnTo>
                    <a:pt x="56" y="270"/>
                  </a:lnTo>
                  <a:lnTo>
                    <a:pt x="46" y="260"/>
                  </a:lnTo>
                  <a:lnTo>
                    <a:pt x="36" y="248"/>
                  </a:lnTo>
                  <a:lnTo>
                    <a:pt x="26" y="238"/>
                  </a:lnTo>
                  <a:lnTo>
                    <a:pt x="20" y="224"/>
                  </a:lnTo>
                  <a:lnTo>
                    <a:pt x="12" y="212"/>
                  </a:lnTo>
                  <a:lnTo>
                    <a:pt x="8" y="198"/>
                  </a:lnTo>
                  <a:lnTo>
                    <a:pt x="4" y="182"/>
                  </a:lnTo>
                  <a:lnTo>
                    <a:pt x="2" y="168"/>
                  </a:lnTo>
                  <a:lnTo>
                    <a:pt x="0" y="152"/>
                  </a:lnTo>
                  <a:lnTo>
                    <a:pt x="0" y="152"/>
                  </a:lnTo>
                  <a:lnTo>
                    <a:pt x="2" y="136"/>
                  </a:lnTo>
                  <a:lnTo>
                    <a:pt x="4" y="122"/>
                  </a:lnTo>
                  <a:lnTo>
                    <a:pt x="8" y="106"/>
                  </a:lnTo>
                  <a:lnTo>
                    <a:pt x="12" y="92"/>
                  </a:lnTo>
                  <a:lnTo>
                    <a:pt x="20" y="80"/>
                  </a:lnTo>
                  <a:lnTo>
                    <a:pt x="26" y="66"/>
                  </a:lnTo>
                  <a:lnTo>
                    <a:pt x="36" y="56"/>
                  </a:lnTo>
                  <a:lnTo>
                    <a:pt x="46" y="44"/>
                  </a:lnTo>
                  <a:lnTo>
                    <a:pt x="56" y="34"/>
                  </a:lnTo>
                  <a:lnTo>
                    <a:pt x="68" y="26"/>
                  </a:lnTo>
                  <a:lnTo>
                    <a:pt x="80" y="18"/>
                  </a:lnTo>
                  <a:lnTo>
                    <a:pt x="94" y="12"/>
                  </a:lnTo>
                  <a:lnTo>
                    <a:pt x="108" y="6"/>
                  </a:lnTo>
                  <a:lnTo>
                    <a:pt x="122" y="2"/>
                  </a:lnTo>
                  <a:lnTo>
                    <a:pt x="138" y="0"/>
                  </a:lnTo>
                  <a:lnTo>
                    <a:pt x="154" y="0"/>
                  </a:lnTo>
                  <a:lnTo>
                    <a:pt x="154" y="0"/>
                  </a:lnTo>
                  <a:lnTo>
                    <a:pt x="168" y="0"/>
                  </a:lnTo>
                  <a:lnTo>
                    <a:pt x="184" y="2"/>
                  </a:lnTo>
                  <a:lnTo>
                    <a:pt x="198" y="6"/>
                  </a:lnTo>
                  <a:lnTo>
                    <a:pt x="212" y="12"/>
                  </a:lnTo>
                  <a:lnTo>
                    <a:pt x="226" y="18"/>
                  </a:lnTo>
                  <a:lnTo>
                    <a:pt x="238" y="26"/>
                  </a:lnTo>
                  <a:lnTo>
                    <a:pt x="250" y="34"/>
                  </a:lnTo>
                  <a:lnTo>
                    <a:pt x="260" y="44"/>
                  </a:lnTo>
                  <a:lnTo>
                    <a:pt x="270" y="56"/>
                  </a:lnTo>
                  <a:lnTo>
                    <a:pt x="280" y="66"/>
                  </a:lnTo>
                  <a:lnTo>
                    <a:pt x="288" y="80"/>
                  </a:lnTo>
                  <a:lnTo>
                    <a:pt x="294" y="92"/>
                  </a:lnTo>
                  <a:lnTo>
                    <a:pt x="298" y="106"/>
                  </a:lnTo>
                  <a:lnTo>
                    <a:pt x="302" y="122"/>
                  </a:lnTo>
                  <a:lnTo>
                    <a:pt x="304" y="136"/>
                  </a:lnTo>
                  <a:lnTo>
                    <a:pt x="306" y="152"/>
                  </a:lnTo>
                  <a:lnTo>
                    <a:pt x="306" y="152"/>
                  </a:lnTo>
                  <a:lnTo>
                    <a:pt x="304" y="168"/>
                  </a:lnTo>
                  <a:lnTo>
                    <a:pt x="302" y="182"/>
                  </a:lnTo>
                  <a:lnTo>
                    <a:pt x="298" y="198"/>
                  </a:lnTo>
                  <a:lnTo>
                    <a:pt x="294" y="212"/>
                  </a:lnTo>
                  <a:lnTo>
                    <a:pt x="288" y="224"/>
                  </a:lnTo>
                  <a:lnTo>
                    <a:pt x="280" y="238"/>
                  </a:lnTo>
                  <a:lnTo>
                    <a:pt x="270" y="248"/>
                  </a:lnTo>
                  <a:lnTo>
                    <a:pt x="260" y="260"/>
                  </a:lnTo>
                  <a:lnTo>
                    <a:pt x="250" y="270"/>
                  </a:lnTo>
                  <a:lnTo>
                    <a:pt x="238" y="278"/>
                  </a:lnTo>
                  <a:lnTo>
                    <a:pt x="226" y="286"/>
                  </a:lnTo>
                  <a:lnTo>
                    <a:pt x="212" y="292"/>
                  </a:lnTo>
                  <a:lnTo>
                    <a:pt x="198" y="298"/>
                  </a:lnTo>
                  <a:lnTo>
                    <a:pt x="184" y="302"/>
                  </a:lnTo>
                  <a:lnTo>
                    <a:pt x="168" y="304"/>
                  </a:lnTo>
                  <a:lnTo>
                    <a:pt x="154" y="304"/>
                  </a:lnTo>
                  <a:lnTo>
                    <a:pt x="154" y="304"/>
                  </a:lnTo>
                  <a:close/>
                  <a:moveTo>
                    <a:pt x="154" y="28"/>
                  </a:moveTo>
                  <a:lnTo>
                    <a:pt x="154" y="28"/>
                  </a:lnTo>
                  <a:lnTo>
                    <a:pt x="140" y="28"/>
                  </a:lnTo>
                  <a:lnTo>
                    <a:pt x="128" y="30"/>
                  </a:lnTo>
                  <a:lnTo>
                    <a:pt x="116" y="34"/>
                  </a:lnTo>
                  <a:lnTo>
                    <a:pt x="104" y="38"/>
                  </a:lnTo>
                  <a:lnTo>
                    <a:pt x="84" y="50"/>
                  </a:lnTo>
                  <a:lnTo>
                    <a:pt x="66" y="64"/>
                  </a:lnTo>
                  <a:lnTo>
                    <a:pt x="50" y="82"/>
                  </a:lnTo>
                  <a:lnTo>
                    <a:pt x="38" y="104"/>
                  </a:lnTo>
                  <a:lnTo>
                    <a:pt x="34" y="116"/>
                  </a:lnTo>
                  <a:lnTo>
                    <a:pt x="32" y="128"/>
                  </a:lnTo>
                  <a:lnTo>
                    <a:pt x="30" y="140"/>
                  </a:lnTo>
                  <a:lnTo>
                    <a:pt x="28" y="152"/>
                  </a:lnTo>
                  <a:lnTo>
                    <a:pt x="28" y="152"/>
                  </a:lnTo>
                  <a:lnTo>
                    <a:pt x="30" y="164"/>
                  </a:lnTo>
                  <a:lnTo>
                    <a:pt x="32" y="178"/>
                  </a:lnTo>
                  <a:lnTo>
                    <a:pt x="34" y="190"/>
                  </a:lnTo>
                  <a:lnTo>
                    <a:pt x="38" y="200"/>
                  </a:lnTo>
                  <a:lnTo>
                    <a:pt x="50" y="222"/>
                  </a:lnTo>
                  <a:lnTo>
                    <a:pt x="66" y="240"/>
                  </a:lnTo>
                  <a:lnTo>
                    <a:pt x="84" y="256"/>
                  </a:lnTo>
                  <a:lnTo>
                    <a:pt x="104" y="266"/>
                  </a:lnTo>
                  <a:lnTo>
                    <a:pt x="116" y="270"/>
                  </a:lnTo>
                  <a:lnTo>
                    <a:pt x="128" y="274"/>
                  </a:lnTo>
                  <a:lnTo>
                    <a:pt x="140" y="276"/>
                  </a:lnTo>
                  <a:lnTo>
                    <a:pt x="154" y="276"/>
                  </a:lnTo>
                  <a:lnTo>
                    <a:pt x="154" y="276"/>
                  </a:lnTo>
                  <a:lnTo>
                    <a:pt x="166" y="276"/>
                  </a:lnTo>
                  <a:lnTo>
                    <a:pt x="178" y="274"/>
                  </a:lnTo>
                  <a:lnTo>
                    <a:pt x="190" y="270"/>
                  </a:lnTo>
                  <a:lnTo>
                    <a:pt x="202" y="266"/>
                  </a:lnTo>
                  <a:lnTo>
                    <a:pt x="222" y="256"/>
                  </a:lnTo>
                  <a:lnTo>
                    <a:pt x="242" y="240"/>
                  </a:lnTo>
                  <a:lnTo>
                    <a:pt x="256" y="222"/>
                  </a:lnTo>
                  <a:lnTo>
                    <a:pt x="268" y="200"/>
                  </a:lnTo>
                  <a:lnTo>
                    <a:pt x="272" y="190"/>
                  </a:lnTo>
                  <a:lnTo>
                    <a:pt x="274" y="178"/>
                  </a:lnTo>
                  <a:lnTo>
                    <a:pt x="276" y="164"/>
                  </a:lnTo>
                  <a:lnTo>
                    <a:pt x="278" y="152"/>
                  </a:lnTo>
                  <a:lnTo>
                    <a:pt x="278" y="152"/>
                  </a:lnTo>
                  <a:lnTo>
                    <a:pt x="276" y="140"/>
                  </a:lnTo>
                  <a:lnTo>
                    <a:pt x="274" y="128"/>
                  </a:lnTo>
                  <a:lnTo>
                    <a:pt x="272" y="116"/>
                  </a:lnTo>
                  <a:lnTo>
                    <a:pt x="268" y="104"/>
                  </a:lnTo>
                  <a:lnTo>
                    <a:pt x="256" y="82"/>
                  </a:lnTo>
                  <a:lnTo>
                    <a:pt x="242" y="64"/>
                  </a:lnTo>
                  <a:lnTo>
                    <a:pt x="222" y="50"/>
                  </a:lnTo>
                  <a:lnTo>
                    <a:pt x="202" y="38"/>
                  </a:lnTo>
                  <a:lnTo>
                    <a:pt x="190" y="34"/>
                  </a:lnTo>
                  <a:lnTo>
                    <a:pt x="178" y="30"/>
                  </a:lnTo>
                  <a:lnTo>
                    <a:pt x="166" y="28"/>
                  </a:lnTo>
                  <a:lnTo>
                    <a:pt x="154" y="28"/>
                  </a:lnTo>
                  <a:lnTo>
                    <a:pt x="154"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212" name="Freeform 6"/>
            <p:cNvSpPr>
              <a:spLocks noEditPoints="1"/>
            </p:cNvSpPr>
            <p:nvPr/>
          </p:nvSpPr>
          <p:spPr bwMode="auto">
            <a:xfrm>
              <a:off x="6112510" y="7481707"/>
              <a:ext cx="727075" cy="679450"/>
            </a:xfrm>
            <a:custGeom>
              <a:avLst/>
              <a:gdLst>
                <a:gd name="T0" fmla="*/ 0 w 458"/>
                <a:gd name="T1" fmla="*/ 428 h 428"/>
                <a:gd name="T2" fmla="*/ 16 w 458"/>
                <a:gd name="T3" fmla="*/ 210 h 428"/>
                <a:gd name="T4" fmla="*/ 22 w 458"/>
                <a:gd name="T5" fmla="*/ 166 h 428"/>
                <a:gd name="T6" fmla="*/ 36 w 458"/>
                <a:gd name="T7" fmla="*/ 126 h 428"/>
                <a:gd name="T8" fmla="*/ 56 w 458"/>
                <a:gd name="T9" fmla="*/ 90 h 428"/>
                <a:gd name="T10" fmla="*/ 82 w 458"/>
                <a:gd name="T11" fmla="*/ 60 h 428"/>
                <a:gd name="T12" fmla="*/ 112 w 458"/>
                <a:gd name="T13" fmla="*/ 34 h 428"/>
                <a:gd name="T14" fmla="*/ 148 w 458"/>
                <a:gd name="T15" fmla="*/ 16 h 428"/>
                <a:gd name="T16" fmla="*/ 186 w 458"/>
                <a:gd name="T17" fmla="*/ 4 h 428"/>
                <a:gd name="T18" fmla="*/ 226 w 458"/>
                <a:gd name="T19" fmla="*/ 0 h 428"/>
                <a:gd name="T20" fmla="*/ 248 w 458"/>
                <a:gd name="T21" fmla="*/ 0 h 428"/>
                <a:gd name="T22" fmla="*/ 286 w 458"/>
                <a:gd name="T23" fmla="*/ 8 h 428"/>
                <a:gd name="T24" fmla="*/ 322 w 458"/>
                <a:gd name="T25" fmla="*/ 24 h 428"/>
                <a:gd name="T26" fmla="*/ 356 w 458"/>
                <a:gd name="T27" fmla="*/ 48 h 428"/>
                <a:gd name="T28" fmla="*/ 384 w 458"/>
                <a:gd name="T29" fmla="*/ 76 h 428"/>
                <a:gd name="T30" fmla="*/ 408 w 458"/>
                <a:gd name="T31" fmla="*/ 108 h 428"/>
                <a:gd name="T32" fmla="*/ 424 w 458"/>
                <a:gd name="T33" fmla="*/ 146 h 428"/>
                <a:gd name="T34" fmla="*/ 436 w 458"/>
                <a:gd name="T35" fmla="*/ 188 h 428"/>
                <a:gd name="T36" fmla="*/ 458 w 458"/>
                <a:gd name="T37" fmla="*/ 428 h 428"/>
                <a:gd name="T38" fmla="*/ 428 w 458"/>
                <a:gd name="T39" fmla="*/ 400 h 428"/>
                <a:gd name="T40" fmla="*/ 410 w 458"/>
                <a:gd name="T41" fmla="*/ 212 h 428"/>
                <a:gd name="T42" fmla="*/ 404 w 458"/>
                <a:gd name="T43" fmla="*/ 174 h 428"/>
                <a:gd name="T44" fmla="*/ 392 w 458"/>
                <a:gd name="T45" fmla="*/ 140 h 428"/>
                <a:gd name="T46" fmla="*/ 374 w 458"/>
                <a:gd name="T47" fmla="*/ 108 h 428"/>
                <a:gd name="T48" fmla="*/ 352 w 458"/>
                <a:gd name="T49" fmla="*/ 82 h 428"/>
                <a:gd name="T50" fmla="*/ 324 w 458"/>
                <a:gd name="T51" fmla="*/ 58 h 428"/>
                <a:gd name="T52" fmla="*/ 294 w 458"/>
                <a:gd name="T53" fmla="*/ 42 h 428"/>
                <a:gd name="T54" fmla="*/ 262 w 458"/>
                <a:gd name="T55" fmla="*/ 32 h 428"/>
                <a:gd name="T56" fmla="*/ 226 w 458"/>
                <a:gd name="T57" fmla="*/ 28 h 428"/>
                <a:gd name="T58" fmla="*/ 208 w 458"/>
                <a:gd name="T59" fmla="*/ 28 h 428"/>
                <a:gd name="T60" fmla="*/ 174 w 458"/>
                <a:gd name="T61" fmla="*/ 36 h 428"/>
                <a:gd name="T62" fmla="*/ 142 w 458"/>
                <a:gd name="T63" fmla="*/ 50 h 428"/>
                <a:gd name="T64" fmla="*/ 114 w 458"/>
                <a:gd name="T65" fmla="*/ 68 h 428"/>
                <a:gd name="T66" fmla="*/ 90 w 458"/>
                <a:gd name="T67" fmla="*/ 94 h 428"/>
                <a:gd name="T68" fmla="*/ 70 w 458"/>
                <a:gd name="T69" fmla="*/ 122 h 428"/>
                <a:gd name="T70" fmla="*/ 54 w 458"/>
                <a:gd name="T71" fmla="*/ 156 h 428"/>
                <a:gd name="T72" fmla="*/ 46 w 458"/>
                <a:gd name="T73" fmla="*/ 192 h 428"/>
                <a:gd name="T74" fmla="*/ 30 w 458"/>
                <a:gd name="T75" fmla="*/ 40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8" h="428">
                  <a:moveTo>
                    <a:pt x="458" y="428"/>
                  </a:moveTo>
                  <a:lnTo>
                    <a:pt x="0" y="428"/>
                  </a:lnTo>
                  <a:lnTo>
                    <a:pt x="16" y="210"/>
                  </a:lnTo>
                  <a:lnTo>
                    <a:pt x="16" y="210"/>
                  </a:lnTo>
                  <a:lnTo>
                    <a:pt x="18" y="188"/>
                  </a:lnTo>
                  <a:lnTo>
                    <a:pt x="22" y="166"/>
                  </a:lnTo>
                  <a:lnTo>
                    <a:pt x="28" y="146"/>
                  </a:lnTo>
                  <a:lnTo>
                    <a:pt x="36" y="126"/>
                  </a:lnTo>
                  <a:lnTo>
                    <a:pt x="46" y="108"/>
                  </a:lnTo>
                  <a:lnTo>
                    <a:pt x="56" y="90"/>
                  </a:lnTo>
                  <a:lnTo>
                    <a:pt x="68" y="74"/>
                  </a:lnTo>
                  <a:lnTo>
                    <a:pt x="82" y="60"/>
                  </a:lnTo>
                  <a:lnTo>
                    <a:pt x="98" y="46"/>
                  </a:lnTo>
                  <a:lnTo>
                    <a:pt x="112" y="34"/>
                  </a:lnTo>
                  <a:lnTo>
                    <a:pt x="130" y="24"/>
                  </a:lnTo>
                  <a:lnTo>
                    <a:pt x="148" y="16"/>
                  </a:lnTo>
                  <a:lnTo>
                    <a:pt x="166" y="8"/>
                  </a:lnTo>
                  <a:lnTo>
                    <a:pt x="186" y="4"/>
                  </a:lnTo>
                  <a:lnTo>
                    <a:pt x="206" y="0"/>
                  </a:lnTo>
                  <a:lnTo>
                    <a:pt x="226" y="0"/>
                  </a:lnTo>
                  <a:lnTo>
                    <a:pt x="226" y="0"/>
                  </a:lnTo>
                  <a:lnTo>
                    <a:pt x="248" y="0"/>
                  </a:lnTo>
                  <a:lnTo>
                    <a:pt x="268" y="4"/>
                  </a:lnTo>
                  <a:lnTo>
                    <a:pt x="286" y="8"/>
                  </a:lnTo>
                  <a:lnTo>
                    <a:pt x="306" y="16"/>
                  </a:lnTo>
                  <a:lnTo>
                    <a:pt x="322" y="24"/>
                  </a:lnTo>
                  <a:lnTo>
                    <a:pt x="340" y="36"/>
                  </a:lnTo>
                  <a:lnTo>
                    <a:pt x="356" y="48"/>
                  </a:lnTo>
                  <a:lnTo>
                    <a:pt x="370" y="60"/>
                  </a:lnTo>
                  <a:lnTo>
                    <a:pt x="384" y="76"/>
                  </a:lnTo>
                  <a:lnTo>
                    <a:pt x="396" y="92"/>
                  </a:lnTo>
                  <a:lnTo>
                    <a:pt x="408" y="108"/>
                  </a:lnTo>
                  <a:lnTo>
                    <a:pt x="418" y="128"/>
                  </a:lnTo>
                  <a:lnTo>
                    <a:pt x="424" y="146"/>
                  </a:lnTo>
                  <a:lnTo>
                    <a:pt x="432" y="168"/>
                  </a:lnTo>
                  <a:lnTo>
                    <a:pt x="436" y="188"/>
                  </a:lnTo>
                  <a:lnTo>
                    <a:pt x="438" y="210"/>
                  </a:lnTo>
                  <a:lnTo>
                    <a:pt x="458" y="428"/>
                  </a:lnTo>
                  <a:close/>
                  <a:moveTo>
                    <a:pt x="30" y="400"/>
                  </a:moveTo>
                  <a:lnTo>
                    <a:pt x="428" y="400"/>
                  </a:lnTo>
                  <a:lnTo>
                    <a:pt x="410" y="212"/>
                  </a:lnTo>
                  <a:lnTo>
                    <a:pt x="410" y="212"/>
                  </a:lnTo>
                  <a:lnTo>
                    <a:pt x="408" y="194"/>
                  </a:lnTo>
                  <a:lnTo>
                    <a:pt x="404" y="174"/>
                  </a:lnTo>
                  <a:lnTo>
                    <a:pt x="398" y="156"/>
                  </a:lnTo>
                  <a:lnTo>
                    <a:pt x="392" y="140"/>
                  </a:lnTo>
                  <a:lnTo>
                    <a:pt x="384" y="124"/>
                  </a:lnTo>
                  <a:lnTo>
                    <a:pt x="374" y="108"/>
                  </a:lnTo>
                  <a:lnTo>
                    <a:pt x="364" y="94"/>
                  </a:lnTo>
                  <a:lnTo>
                    <a:pt x="352" y="82"/>
                  </a:lnTo>
                  <a:lnTo>
                    <a:pt x="338" y="70"/>
                  </a:lnTo>
                  <a:lnTo>
                    <a:pt x="324" y="58"/>
                  </a:lnTo>
                  <a:lnTo>
                    <a:pt x="310" y="50"/>
                  </a:lnTo>
                  <a:lnTo>
                    <a:pt x="294" y="42"/>
                  </a:lnTo>
                  <a:lnTo>
                    <a:pt x="278" y="36"/>
                  </a:lnTo>
                  <a:lnTo>
                    <a:pt x="262" y="32"/>
                  </a:lnTo>
                  <a:lnTo>
                    <a:pt x="244" y="28"/>
                  </a:lnTo>
                  <a:lnTo>
                    <a:pt x="226" y="28"/>
                  </a:lnTo>
                  <a:lnTo>
                    <a:pt x="226" y="28"/>
                  </a:lnTo>
                  <a:lnTo>
                    <a:pt x="208" y="28"/>
                  </a:lnTo>
                  <a:lnTo>
                    <a:pt x="192" y="32"/>
                  </a:lnTo>
                  <a:lnTo>
                    <a:pt x="174" y="36"/>
                  </a:lnTo>
                  <a:lnTo>
                    <a:pt x="158" y="42"/>
                  </a:lnTo>
                  <a:lnTo>
                    <a:pt x="142" y="50"/>
                  </a:lnTo>
                  <a:lnTo>
                    <a:pt x="128" y="58"/>
                  </a:lnTo>
                  <a:lnTo>
                    <a:pt x="114" y="68"/>
                  </a:lnTo>
                  <a:lnTo>
                    <a:pt x="102" y="80"/>
                  </a:lnTo>
                  <a:lnTo>
                    <a:pt x="90" y="94"/>
                  </a:lnTo>
                  <a:lnTo>
                    <a:pt x="80" y="108"/>
                  </a:lnTo>
                  <a:lnTo>
                    <a:pt x="70" y="122"/>
                  </a:lnTo>
                  <a:lnTo>
                    <a:pt x="62" y="138"/>
                  </a:lnTo>
                  <a:lnTo>
                    <a:pt x="54" y="156"/>
                  </a:lnTo>
                  <a:lnTo>
                    <a:pt x="50" y="174"/>
                  </a:lnTo>
                  <a:lnTo>
                    <a:pt x="46" y="192"/>
                  </a:lnTo>
                  <a:lnTo>
                    <a:pt x="44" y="212"/>
                  </a:lnTo>
                  <a:lnTo>
                    <a:pt x="30" y="4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213" name="Freeform 7"/>
            <p:cNvSpPr>
              <a:spLocks noEditPoints="1"/>
            </p:cNvSpPr>
            <p:nvPr/>
          </p:nvSpPr>
          <p:spPr bwMode="auto">
            <a:xfrm>
              <a:off x="6826885" y="7173732"/>
              <a:ext cx="374650" cy="374650"/>
            </a:xfrm>
            <a:custGeom>
              <a:avLst/>
              <a:gdLst>
                <a:gd name="T0" fmla="*/ 118 w 236"/>
                <a:gd name="T1" fmla="*/ 236 h 236"/>
                <a:gd name="T2" fmla="*/ 94 w 236"/>
                <a:gd name="T3" fmla="*/ 234 h 236"/>
                <a:gd name="T4" fmla="*/ 52 w 236"/>
                <a:gd name="T5" fmla="*/ 216 h 236"/>
                <a:gd name="T6" fmla="*/ 20 w 236"/>
                <a:gd name="T7" fmla="*/ 184 h 236"/>
                <a:gd name="T8" fmla="*/ 2 w 236"/>
                <a:gd name="T9" fmla="*/ 142 h 236"/>
                <a:gd name="T10" fmla="*/ 0 w 236"/>
                <a:gd name="T11" fmla="*/ 118 h 236"/>
                <a:gd name="T12" fmla="*/ 2 w 236"/>
                <a:gd name="T13" fmla="*/ 106 h 236"/>
                <a:gd name="T14" fmla="*/ 10 w 236"/>
                <a:gd name="T15" fmla="*/ 72 h 236"/>
                <a:gd name="T16" fmla="*/ 34 w 236"/>
                <a:gd name="T17" fmla="*/ 34 h 236"/>
                <a:gd name="T18" fmla="*/ 72 w 236"/>
                <a:gd name="T19" fmla="*/ 10 h 236"/>
                <a:gd name="T20" fmla="*/ 106 w 236"/>
                <a:gd name="T21" fmla="*/ 0 h 236"/>
                <a:gd name="T22" fmla="*/ 118 w 236"/>
                <a:gd name="T23" fmla="*/ 0 h 236"/>
                <a:gd name="T24" fmla="*/ 142 w 236"/>
                <a:gd name="T25" fmla="*/ 2 h 236"/>
                <a:gd name="T26" fmla="*/ 184 w 236"/>
                <a:gd name="T27" fmla="*/ 20 h 236"/>
                <a:gd name="T28" fmla="*/ 216 w 236"/>
                <a:gd name="T29" fmla="*/ 52 h 236"/>
                <a:gd name="T30" fmla="*/ 234 w 236"/>
                <a:gd name="T31" fmla="*/ 94 h 236"/>
                <a:gd name="T32" fmla="*/ 236 w 236"/>
                <a:gd name="T33" fmla="*/ 118 h 236"/>
                <a:gd name="T34" fmla="*/ 236 w 236"/>
                <a:gd name="T35" fmla="*/ 130 h 236"/>
                <a:gd name="T36" fmla="*/ 226 w 236"/>
                <a:gd name="T37" fmla="*/ 164 h 236"/>
                <a:gd name="T38" fmla="*/ 202 w 236"/>
                <a:gd name="T39" fmla="*/ 200 h 236"/>
                <a:gd name="T40" fmla="*/ 164 w 236"/>
                <a:gd name="T41" fmla="*/ 226 h 236"/>
                <a:gd name="T42" fmla="*/ 130 w 236"/>
                <a:gd name="T43" fmla="*/ 234 h 236"/>
                <a:gd name="T44" fmla="*/ 118 w 236"/>
                <a:gd name="T45" fmla="*/ 236 h 236"/>
                <a:gd name="T46" fmla="*/ 118 w 236"/>
                <a:gd name="T47" fmla="*/ 28 h 236"/>
                <a:gd name="T48" fmla="*/ 84 w 236"/>
                <a:gd name="T49" fmla="*/ 36 h 236"/>
                <a:gd name="T50" fmla="*/ 54 w 236"/>
                <a:gd name="T51" fmla="*/ 54 h 236"/>
                <a:gd name="T52" fmla="*/ 36 w 236"/>
                <a:gd name="T53" fmla="*/ 82 h 236"/>
                <a:gd name="T54" fmla="*/ 28 w 236"/>
                <a:gd name="T55" fmla="*/ 118 h 236"/>
                <a:gd name="T56" fmla="*/ 30 w 236"/>
                <a:gd name="T57" fmla="*/ 136 h 236"/>
                <a:gd name="T58" fmla="*/ 44 w 236"/>
                <a:gd name="T59" fmla="*/ 168 h 236"/>
                <a:gd name="T60" fmla="*/ 68 w 236"/>
                <a:gd name="T61" fmla="*/ 192 h 236"/>
                <a:gd name="T62" fmla="*/ 100 w 236"/>
                <a:gd name="T63" fmla="*/ 206 h 236"/>
                <a:gd name="T64" fmla="*/ 118 w 236"/>
                <a:gd name="T65" fmla="*/ 208 h 236"/>
                <a:gd name="T66" fmla="*/ 154 w 236"/>
                <a:gd name="T67" fmla="*/ 200 h 236"/>
                <a:gd name="T68" fmla="*/ 182 w 236"/>
                <a:gd name="T69" fmla="*/ 182 h 236"/>
                <a:gd name="T70" fmla="*/ 200 w 236"/>
                <a:gd name="T71" fmla="*/ 152 h 236"/>
                <a:gd name="T72" fmla="*/ 208 w 236"/>
                <a:gd name="T73" fmla="*/ 118 h 236"/>
                <a:gd name="T74" fmla="*/ 206 w 236"/>
                <a:gd name="T75" fmla="*/ 100 h 236"/>
                <a:gd name="T76" fmla="*/ 192 w 236"/>
                <a:gd name="T77" fmla="*/ 68 h 236"/>
                <a:gd name="T78" fmla="*/ 168 w 236"/>
                <a:gd name="T79" fmla="*/ 44 h 236"/>
                <a:gd name="T80" fmla="*/ 136 w 236"/>
                <a:gd name="T81" fmla="*/ 30 h 236"/>
                <a:gd name="T82" fmla="*/ 118 w 236"/>
                <a:gd name="T83" fmla="*/ 2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6" h="236">
                  <a:moveTo>
                    <a:pt x="118" y="236"/>
                  </a:moveTo>
                  <a:lnTo>
                    <a:pt x="118" y="236"/>
                  </a:lnTo>
                  <a:lnTo>
                    <a:pt x="106" y="234"/>
                  </a:lnTo>
                  <a:lnTo>
                    <a:pt x="94" y="234"/>
                  </a:lnTo>
                  <a:lnTo>
                    <a:pt x="72" y="226"/>
                  </a:lnTo>
                  <a:lnTo>
                    <a:pt x="52" y="216"/>
                  </a:lnTo>
                  <a:lnTo>
                    <a:pt x="34" y="200"/>
                  </a:lnTo>
                  <a:lnTo>
                    <a:pt x="20" y="184"/>
                  </a:lnTo>
                  <a:lnTo>
                    <a:pt x="10" y="164"/>
                  </a:lnTo>
                  <a:lnTo>
                    <a:pt x="2" y="142"/>
                  </a:lnTo>
                  <a:lnTo>
                    <a:pt x="2" y="130"/>
                  </a:lnTo>
                  <a:lnTo>
                    <a:pt x="0" y="118"/>
                  </a:lnTo>
                  <a:lnTo>
                    <a:pt x="0" y="118"/>
                  </a:lnTo>
                  <a:lnTo>
                    <a:pt x="2" y="106"/>
                  </a:lnTo>
                  <a:lnTo>
                    <a:pt x="2" y="94"/>
                  </a:lnTo>
                  <a:lnTo>
                    <a:pt x="10" y="72"/>
                  </a:lnTo>
                  <a:lnTo>
                    <a:pt x="20" y="52"/>
                  </a:lnTo>
                  <a:lnTo>
                    <a:pt x="34" y="34"/>
                  </a:lnTo>
                  <a:lnTo>
                    <a:pt x="52" y="20"/>
                  </a:lnTo>
                  <a:lnTo>
                    <a:pt x="72" y="10"/>
                  </a:lnTo>
                  <a:lnTo>
                    <a:pt x="94" y="2"/>
                  </a:lnTo>
                  <a:lnTo>
                    <a:pt x="106" y="0"/>
                  </a:lnTo>
                  <a:lnTo>
                    <a:pt x="118" y="0"/>
                  </a:lnTo>
                  <a:lnTo>
                    <a:pt x="118" y="0"/>
                  </a:lnTo>
                  <a:lnTo>
                    <a:pt x="130" y="0"/>
                  </a:lnTo>
                  <a:lnTo>
                    <a:pt x="142" y="2"/>
                  </a:lnTo>
                  <a:lnTo>
                    <a:pt x="164" y="10"/>
                  </a:lnTo>
                  <a:lnTo>
                    <a:pt x="184" y="20"/>
                  </a:lnTo>
                  <a:lnTo>
                    <a:pt x="202" y="34"/>
                  </a:lnTo>
                  <a:lnTo>
                    <a:pt x="216" y="52"/>
                  </a:lnTo>
                  <a:lnTo>
                    <a:pt x="226" y="72"/>
                  </a:lnTo>
                  <a:lnTo>
                    <a:pt x="234" y="94"/>
                  </a:lnTo>
                  <a:lnTo>
                    <a:pt x="236" y="106"/>
                  </a:lnTo>
                  <a:lnTo>
                    <a:pt x="236" y="118"/>
                  </a:lnTo>
                  <a:lnTo>
                    <a:pt x="236" y="118"/>
                  </a:lnTo>
                  <a:lnTo>
                    <a:pt x="236" y="130"/>
                  </a:lnTo>
                  <a:lnTo>
                    <a:pt x="234" y="142"/>
                  </a:lnTo>
                  <a:lnTo>
                    <a:pt x="226" y="164"/>
                  </a:lnTo>
                  <a:lnTo>
                    <a:pt x="216" y="184"/>
                  </a:lnTo>
                  <a:lnTo>
                    <a:pt x="202" y="200"/>
                  </a:lnTo>
                  <a:lnTo>
                    <a:pt x="184" y="216"/>
                  </a:lnTo>
                  <a:lnTo>
                    <a:pt x="164" y="226"/>
                  </a:lnTo>
                  <a:lnTo>
                    <a:pt x="142" y="234"/>
                  </a:lnTo>
                  <a:lnTo>
                    <a:pt x="130" y="234"/>
                  </a:lnTo>
                  <a:lnTo>
                    <a:pt x="118" y="236"/>
                  </a:lnTo>
                  <a:lnTo>
                    <a:pt x="118" y="236"/>
                  </a:lnTo>
                  <a:close/>
                  <a:moveTo>
                    <a:pt x="118" y="28"/>
                  </a:moveTo>
                  <a:lnTo>
                    <a:pt x="118" y="28"/>
                  </a:lnTo>
                  <a:lnTo>
                    <a:pt x="100" y="30"/>
                  </a:lnTo>
                  <a:lnTo>
                    <a:pt x="84" y="36"/>
                  </a:lnTo>
                  <a:lnTo>
                    <a:pt x="68" y="44"/>
                  </a:lnTo>
                  <a:lnTo>
                    <a:pt x="54" y="54"/>
                  </a:lnTo>
                  <a:lnTo>
                    <a:pt x="44" y="68"/>
                  </a:lnTo>
                  <a:lnTo>
                    <a:pt x="36" y="82"/>
                  </a:lnTo>
                  <a:lnTo>
                    <a:pt x="30" y="100"/>
                  </a:lnTo>
                  <a:lnTo>
                    <a:pt x="28" y="118"/>
                  </a:lnTo>
                  <a:lnTo>
                    <a:pt x="28" y="118"/>
                  </a:lnTo>
                  <a:lnTo>
                    <a:pt x="30" y="136"/>
                  </a:lnTo>
                  <a:lnTo>
                    <a:pt x="36" y="152"/>
                  </a:lnTo>
                  <a:lnTo>
                    <a:pt x="44" y="168"/>
                  </a:lnTo>
                  <a:lnTo>
                    <a:pt x="54" y="182"/>
                  </a:lnTo>
                  <a:lnTo>
                    <a:pt x="68" y="192"/>
                  </a:lnTo>
                  <a:lnTo>
                    <a:pt x="84" y="200"/>
                  </a:lnTo>
                  <a:lnTo>
                    <a:pt x="100" y="206"/>
                  </a:lnTo>
                  <a:lnTo>
                    <a:pt x="118" y="208"/>
                  </a:lnTo>
                  <a:lnTo>
                    <a:pt x="118" y="208"/>
                  </a:lnTo>
                  <a:lnTo>
                    <a:pt x="136" y="206"/>
                  </a:lnTo>
                  <a:lnTo>
                    <a:pt x="154" y="200"/>
                  </a:lnTo>
                  <a:lnTo>
                    <a:pt x="168" y="192"/>
                  </a:lnTo>
                  <a:lnTo>
                    <a:pt x="182" y="182"/>
                  </a:lnTo>
                  <a:lnTo>
                    <a:pt x="192" y="168"/>
                  </a:lnTo>
                  <a:lnTo>
                    <a:pt x="200" y="152"/>
                  </a:lnTo>
                  <a:lnTo>
                    <a:pt x="206" y="136"/>
                  </a:lnTo>
                  <a:lnTo>
                    <a:pt x="208" y="118"/>
                  </a:lnTo>
                  <a:lnTo>
                    <a:pt x="208" y="118"/>
                  </a:lnTo>
                  <a:lnTo>
                    <a:pt x="206" y="100"/>
                  </a:lnTo>
                  <a:lnTo>
                    <a:pt x="200" y="82"/>
                  </a:lnTo>
                  <a:lnTo>
                    <a:pt x="192" y="68"/>
                  </a:lnTo>
                  <a:lnTo>
                    <a:pt x="182" y="54"/>
                  </a:lnTo>
                  <a:lnTo>
                    <a:pt x="168" y="44"/>
                  </a:lnTo>
                  <a:lnTo>
                    <a:pt x="154" y="36"/>
                  </a:lnTo>
                  <a:lnTo>
                    <a:pt x="136" y="30"/>
                  </a:lnTo>
                  <a:lnTo>
                    <a:pt x="118" y="28"/>
                  </a:lnTo>
                  <a:lnTo>
                    <a:pt x="11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214" name="Freeform 8"/>
            <p:cNvSpPr>
              <a:spLocks noEditPoints="1"/>
            </p:cNvSpPr>
            <p:nvPr/>
          </p:nvSpPr>
          <p:spPr bwMode="auto">
            <a:xfrm>
              <a:off x="6817360" y="7567432"/>
              <a:ext cx="476250" cy="523875"/>
            </a:xfrm>
            <a:custGeom>
              <a:avLst/>
              <a:gdLst>
                <a:gd name="T0" fmla="*/ 46 w 300"/>
                <a:gd name="T1" fmla="*/ 330 h 330"/>
                <a:gd name="T2" fmla="*/ 32 w 300"/>
                <a:gd name="T3" fmla="*/ 158 h 330"/>
                <a:gd name="T4" fmla="*/ 22 w 300"/>
                <a:gd name="T5" fmla="*/ 114 h 330"/>
                <a:gd name="T6" fmla="*/ 4 w 300"/>
                <a:gd name="T7" fmla="*/ 70 h 330"/>
                <a:gd name="T8" fmla="*/ 6 w 300"/>
                <a:gd name="T9" fmla="*/ 54 h 330"/>
                <a:gd name="T10" fmla="*/ 18 w 300"/>
                <a:gd name="T11" fmla="*/ 42 h 330"/>
                <a:gd name="T12" fmla="*/ 44 w 300"/>
                <a:gd name="T13" fmla="*/ 22 h 330"/>
                <a:gd name="T14" fmla="*/ 74 w 300"/>
                <a:gd name="T15" fmla="*/ 8 h 330"/>
                <a:gd name="T16" fmla="*/ 106 w 300"/>
                <a:gd name="T17" fmla="*/ 2 h 330"/>
                <a:gd name="T18" fmla="*/ 122 w 300"/>
                <a:gd name="T19" fmla="*/ 0 h 330"/>
                <a:gd name="T20" fmla="*/ 154 w 300"/>
                <a:gd name="T21" fmla="*/ 4 h 330"/>
                <a:gd name="T22" fmla="*/ 182 w 300"/>
                <a:gd name="T23" fmla="*/ 14 h 330"/>
                <a:gd name="T24" fmla="*/ 210 w 300"/>
                <a:gd name="T25" fmla="*/ 28 h 330"/>
                <a:gd name="T26" fmla="*/ 232 w 300"/>
                <a:gd name="T27" fmla="*/ 48 h 330"/>
                <a:gd name="T28" fmla="*/ 252 w 300"/>
                <a:gd name="T29" fmla="*/ 72 h 330"/>
                <a:gd name="T30" fmla="*/ 268 w 300"/>
                <a:gd name="T31" fmla="*/ 98 h 330"/>
                <a:gd name="T32" fmla="*/ 280 w 300"/>
                <a:gd name="T33" fmla="*/ 130 h 330"/>
                <a:gd name="T34" fmla="*/ 284 w 300"/>
                <a:gd name="T35" fmla="*/ 162 h 330"/>
                <a:gd name="T36" fmla="*/ 72 w 300"/>
                <a:gd name="T37" fmla="*/ 302 h 330"/>
                <a:gd name="T38" fmla="*/ 256 w 300"/>
                <a:gd name="T39" fmla="*/ 164 h 330"/>
                <a:gd name="T40" fmla="*/ 252 w 300"/>
                <a:gd name="T41" fmla="*/ 140 h 330"/>
                <a:gd name="T42" fmla="*/ 232 w 300"/>
                <a:gd name="T43" fmla="*/ 92 h 330"/>
                <a:gd name="T44" fmla="*/ 208 w 300"/>
                <a:gd name="T45" fmla="*/ 62 h 330"/>
                <a:gd name="T46" fmla="*/ 188 w 300"/>
                <a:gd name="T47" fmla="*/ 46 h 330"/>
                <a:gd name="T48" fmla="*/ 164 w 300"/>
                <a:gd name="T49" fmla="*/ 36 h 330"/>
                <a:gd name="T50" fmla="*/ 136 w 300"/>
                <a:gd name="T51" fmla="*/ 30 h 330"/>
                <a:gd name="T52" fmla="*/ 122 w 300"/>
                <a:gd name="T53" fmla="*/ 28 h 330"/>
                <a:gd name="T54" fmla="*/ 98 w 300"/>
                <a:gd name="T55" fmla="*/ 32 h 330"/>
                <a:gd name="T56" fmla="*/ 52 w 300"/>
                <a:gd name="T57" fmla="*/ 50 h 330"/>
                <a:gd name="T58" fmla="*/ 34 w 300"/>
                <a:gd name="T59" fmla="*/ 66 h 330"/>
                <a:gd name="T60" fmla="*/ 52 w 300"/>
                <a:gd name="T61" fmla="*/ 110 h 330"/>
                <a:gd name="T62" fmla="*/ 60 w 300"/>
                <a:gd name="T63" fmla="*/ 15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0" h="330">
                  <a:moveTo>
                    <a:pt x="300" y="330"/>
                  </a:moveTo>
                  <a:lnTo>
                    <a:pt x="46" y="330"/>
                  </a:lnTo>
                  <a:lnTo>
                    <a:pt x="32" y="158"/>
                  </a:lnTo>
                  <a:lnTo>
                    <a:pt x="32" y="158"/>
                  </a:lnTo>
                  <a:lnTo>
                    <a:pt x="28" y="136"/>
                  </a:lnTo>
                  <a:lnTo>
                    <a:pt x="22" y="114"/>
                  </a:lnTo>
                  <a:lnTo>
                    <a:pt x="14" y="92"/>
                  </a:lnTo>
                  <a:lnTo>
                    <a:pt x="4" y="70"/>
                  </a:lnTo>
                  <a:lnTo>
                    <a:pt x="0" y="62"/>
                  </a:lnTo>
                  <a:lnTo>
                    <a:pt x="6" y="54"/>
                  </a:lnTo>
                  <a:lnTo>
                    <a:pt x="6" y="54"/>
                  </a:lnTo>
                  <a:lnTo>
                    <a:pt x="18" y="42"/>
                  </a:lnTo>
                  <a:lnTo>
                    <a:pt x="30" y="32"/>
                  </a:lnTo>
                  <a:lnTo>
                    <a:pt x="44" y="22"/>
                  </a:lnTo>
                  <a:lnTo>
                    <a:pt x="58" y="14"/>
                  </a:lnTo>
                  <a:lnTo>
                    <a:pt x="74" y="8"/>
                  </a:lnTo>
                  <a:lnTo>
                    <a:pt x="90" y="4"/>
                  </a:lnTo>
                  <a:lnTo>
                    <a:pt x="106" y="2"/>
                  </a:lnTo>
                  <a:lnTo>
                    <a:pt x="122" y="0"/>
                  </a:lnTo>
                  <a:lnTo>
                    <a:pt x="122" y="0"/>
                  </a:lnTo>
                  <a:lnTo>
                    <a:pt x="138" y="2"/>
                  </a:lnTo>
                  <a:lnTo>
                    <a:pt x="154" y="4"/>
                  </a:lnTo>
                  <a:lnTo>
                    <a:pt x="168" y="8"/>
                  </a:lnTo>
                  <a:lnTo>
                    <a:pt x="182" y="14"/>
                  </a:lnTo>
                  <a:lnTo>
                    <a:pt x="196" y="20"/>
                  </a:lnTo>
                  <a:lnTo>
                    <a:pt x="210" y="28"/>
                  </a:lnTo>
                  <a:lnTo>
                    <a:pt x="222" y="38"/>
                  </a:lnTo>
                  <a:lnTo>
                    <a:pt x="232" y="48"/>
                  </a:lnTo>
                  <a:lnTo>
                    <a:pt x="244" y="58"/>
                  </a:lnTo>
                  <a:lnTo>
                    <a:pt x="252" y="72"/>
                  </a:lnTo>
                  <a:lnTo>
                    <a:pt x="260" y="84"/>
                  </a:lnTo>
                  <a:lnTo>
                    <a:pt x="268" y="98"/>
                  </a:lnTo>
                  <a:lnTo>
                    <a:pt x="274" y="114"/>
                  </a:lnTo>
                  <a:lnTo>
                    <a:pt x="280" y="130"/>
                  </a:lnTo>
                  <a:lnTo>
                    <a:pt x="282" y="146"/>
                  </a:lnTo>
                  <a:lnTo>
                    <a:pt x="284" y="162"/>
                  </a:lnTo>
                  <a:lnTo>
                    <a:pt x="300" y="330"/>
                  </a:lnTo>
                  <a:close/>
                  <a:moveTo>
                    <a:pt x="72" y="302"/>
                  </a:moveTo>
                  <a:lnTo>
                    <a:pt x="268" y="302"/>
                  </a:lnTo>
                  <a:lnTo>
                    <a:pt x="256" y="164"/>
                  </a:lnTo>
                  <a:lnTo>
                    <a:pt x="256" y="164"/>
                  </a:lnTo>
                  <a:lnTo>
                    <a:pt x="252" y="140"/>
                  </a:lnTo>
                  <a:lnTo>
                    <a:pt x="244" y="114"/>
                  </a:lnTo>
                  <a:lnTo>
                    <a:pt x="232" y="92"/>
                  </a:lnTo>
                  <a:lnTo>
                    <a:pt x="216" y="72"/>
                  </a:lnTo>
                  <a:lnTo>
                    <a:pt x="208" y="62"/>
                  </a:lnTo>
                  <a:lnTo>
                    <a:pt x="198" y="54"/>
                  </a:lnTo>
                  <a:lnTo>
                    <a:pt x="188" y="46"/>
                  </a:lnTo>
                  <a:lnTo>
                    <a:pt x="176" y="40"/>
                  </a:lnTo>
                  <a:lnTo>
                    <a:pt x="164" y="36"/>
                  </a:lnTo>
                  <a:lnTo>
                    <a:pt x="150" y="32"/>
                  </a:lnTo>
                  <a:lnTo>
                    <a:pt x="136" y="30"/>
                  </a:lnTo>
                  <a:lnTo>
                    <a:pt x="122" y="28"/>
                  </a:lnTo>
                  <a:lnTo>
                    <a:pt x="122" y="28"/>
                  </a:lnTo>
                  <a:lnTo>
                    <a:pt x="110" y="30"/>
                  </a:lnTo>
                  <a:lnTo>
                    <a:pt x="98" y="32"/>
                  </a:lnTo>
                  <a:lnTo>
                    <a:pt x="74" y="38"/>
                  </a:lnTo>
                  <a:lnTo>
                    <a:pt x="52" y="50"/>
                  </a:lnTo>
                  <a:lnTo>
                    <a:pt x="34" y="66"/>
                  </a:lnTo>
                  <a:lnTo>
                    <a:pt x="34" y="66"/>
                  </a:lnTo>
                  <a:lnTo>
                    <a:pt x="44" y="88"/>
                  </a:lnTo>
                  <a:lnTo>
                    <a:pt x="52" y="110"/>
                  </a:lnTo>
                  <a:lnTo>
                    <a:pt x="56" y="132"/>
                  </a:lnTo>
                  <a:lnTo>
                    <a:pt x="60" y="156"/>
                  </a:lnTo>
                  <a:lnTo>
                    <a:pt x="72" y="3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grpSp>
      <p:grpSp>
        <p:nvGrpSpPr>
          <p:cNvPr id="215" name="Group 214"/>
          <p:cNvGrpSpPr/>
          <p:nvPr/>
        </p:nvGrpSpPr>
        <p:grpSpPr>
          <a:xfrm>
            <a:off x="9977394" y="4693175"/>
            <a:ext cx="361316" cy="451645"/>
            <a:chOff x="2954338" y="6831013"/>
            <a:chExt cx="1041400" cy="1301750"/>
          </a:xfrm>
          <a:solidFill>
            <a:schemeClr val="accent2"/>
          </a:solidFill>
        </p:grpSpPr>
        <p:sp>
          <p:nvSpPr>
            <p:cNvPr id="216" name="Freeform 36"/>
            <p:cNvSpPr>
              <a:spLocks noEditPoints="1"/>
            </p:cNvSpPr>
            <p:nvPr/>
          </p:nvSpPr>
          <p:spPr bwMode="auto">
            <a:xfrm>
              <a:off x="3195638" y="7329488"/>
              <a:ext cx="390525" cy="393700"/>
            </a:xfrm>
            <a:custGeom>
              <a:avLst/>
              <a:gdLst>
                <a:gd name="T0" fmla="*/ 122 w 246"/>
                <a:gd name="T1" fmla="*/ 248 h 248"/>
                <a:gd name="T2" fmla="*/ 98 w 246"/>
                <a:gd name="T3" fmla="*/ 244 h 248"/>
                <a:gd name="T4" fmla="*/ 74 w 246"/>
                <a:gd name="T5" fmla="*/ 238 h 248"/>
                <a:gd name="T6" fmla="*/ 36 w 246"/>
                <a:gd name="T7" fmla="*/ 210 h 248"/>
                <a:gd name="T8" fmla="*/ 8 w 246"/>
                <a:gd name="T9" fmla="*/ 172 h 248"/>
                <a:gd name="T10" fmla="*/ 2 w 246"/>
                <a:gd name="T11" fmla="*/ 148 h 248"/>
                <a:gd name="T12" fmla="*/ 0 w 246"/>
                <a:gd name="T13" fmla="*/ 124 h 248"/>
                <a:gd name="T14" fmla="*/ 0 w 246"/>
                <a:gd name="T15" fmla="*/ 112 h 248"/>
                <a:gd name="T16" fmla="*/ 4 w 246"/>
                <a:gd name="T17" fmla="*/ 88 h 248"/>
                <a:gd name="T18" fmla="*/ 20 w 246"/>
                <a:gd name="T19" fmla="*/ 56 h 248"/>
                <a:gd name="T20" fmla="*/ 54 w 246"/>
                <a:gd name="T21" fmla="*/ 22 h 248"/>
                <a:gd name="T22" fmla="*/ 86 w 246"/>
                <a:gd name="T23" fmla="*/ 6 h 248"/>
                <a:gd name="T24" fmla="*/ 110 w 246"/>
                <a:gd name="T25" fmla="*/ 2 h 248"/>
                <a:gd name="T26" fmla="*/ 122 w 246"/>
                <a:gd name="T27" fmla="*/ 0 h 248"/>
                <a:gd name="T28" fmla="*/ 148 w 246"/>
                <a:gd name="T29" fmla="*/ 4 h 248"/>
                <a:gd name="T30" fmla="*/ 170 w 246"/>
                <a:gd name="T31" fmla="*/ 10 h 248"/>
                <a:gd name="T32" fmla="*/ 210 w 246"/>
                <a:gd name="T33" fmla="*/ 36 h 248"/>
                <a:gd name="T34" fmla="*/ 236 w 246"/>
                <a:gd name="T35" fmla="*/ 76 h 248"/>
                <a:gd name="T36" fmla="*/ 242 w 246"/>
                <a:gd name="T37" fmla="*/ 100 h 248"/>
                <a:gd name="T38" fmla="*/ 246 w 246"/>
                <a:gd name="T39" fmla="*/ 124 h 248"/>
                <a:gd name="T40" fmla="*/ 244 w 246"/>
                <a:gd name="T41" fmla="*/ 136 h 248"/>
                <a:gd name="T42" fmla="*/ 240 w 246"/>
                <a:gd name="T43" fmla="*/ 160 h 248"/>
                <a:gd name="T44" fmla="*/ 224 w 246"/>
                <a:gd name="T45" fmla="*/ 192 h 248"/>
                <a:gd name="T46" fmla="*/ 192 w 246"/>
                <a:gd name="T47" fmla="*/ 226 h 248"/>
                <a:gd name="T48" fmla="*/ 158 w 246"/>
                <a:gd name="T49" fmla="*/ 242 h 248"/>
                <a:gd name="T50" fmla="*/ 134 w 246"/>
                <a:gd name="T51" fmla="*/ 246 h 248"/>
                <a:gd name="T52" fmla="*/ 122 w 246"/>
                <a:gd name="T53" fmla="*/ 248 h 248"/>
                <a:gd name="T54" fmla="*/ 122 w 246"/>
                <a:gd name="T55" fmla="*/ 28 h 248"/>
                <a:gd name="T56" fmla="*/ 86 w 246"/>
                <a:gd name="T57" fmla="*/ 36 h 248"/>
                <a:gd name="T58" fmla="*/ 56 w 246"/>
                <a:gd name="T59" fmla="*/ 56 h 248"/>
                <a:gd name="T60" fmla="*/ 34 w 246"/>
                <a:gd name="T61" fmla="*/ 86 h 248"/>
                <a:gd name="T62" fmla="*/ 28 w 246"/>
                <a:gd name="T63" fmla="*/ 124 h 248"/>
                <a:gd name="T64" fmla="*/ 30 w 246"/>
                <a:gd name="T65" fmla="*/ 144 h 248"/>
                <a:gd name="T66" fmla="*/ 44 w 246"/>
                <a:gd name="T67" fmla="*/ 178 h 248"/>
                <a:gd name="T68" fmla="*/ 70 w 246"/>
                <a:gd name="T69" fmla="*/ 202 h 248"/>
                <a:gd name="T70" fmla="*/ 104 w 246"/>
                <a:gd name="T71" fmla="*/ 218 h 248"/>
                <a:gd name="T72" fmla="*/ 122 w 246"/>
                <a:gd name="T73" fmla="*/ 220 h 248"/>
                <a:gd name="T74" fmla="*/ 160 w 246"/>
                <a:gd name="T75" fmla="*/ 212 h 248"/>
                <a:gd name="T76" fmla="*/ 190 w 246"/>
                <a:gd name="T77" fmla="*/ 192 h 248"/>
                <a:gd name="T78" fmla="*/ 210 w 246"/>
                <a:gd name="T79" fmla="*/ 160 h 248"/>
                <a:gd name="T80" fmla="*/ 218 w 246"/>
                <a:gd name="T81" fmla="*/ 124 h 248"/>
                <a:gd name="T82" fmla="*/ 216 w 246"/>
                <a:gd name="T83" fmla="*/ 104 h 248"/>
                <a:gd name="T84" fmla="*/ 202 w 246"/>
                <a:gd name="T85" fmla="*/ 70 h 248"/>
                <a:gd name="T86" fmla="*/ 176 w 246"/>
                <a:gd name="T87" fmla="*/ 46 h 248"/>
                <a:gd name="T88" fmla="*/ 142 w 246"/>
                <a:gd name="T89" fmla="*/ 30 h 248"/>
                <a:gd name="T90" fmla="*/ 122 w 246"/>
                <a:gd name="T91" fmla="*/ 2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6" h="248">
                  <a:moveTo>
                    <a:pt x="122" y="248"/>
                  </a:moveTo>
                  <a:lnTo>
                    <a:pt x="122" y="248"/>
                  </a:lnTo>
                  <a:lnTo>
                    <a:pt x="110" y="246"/>
                  </a:lnTo>
                  <a:lnTo>
                    <a:pt x="98" y="244"/>
                  </a:lnTo>
                  <a:lnTo>
                    <a:pt x="86" y="242"/>
                  </a:lnTo>
                  <a:lnTo>
                    <a:pt x="74" y="238"/>
                  </a:lnTo>
                  <a:lnTo>
                    <a:pt x="54" y="226"/>
                  </a:lnTo>
                  <a:lnTo>
                    <a:pt x="36" y="210"/>
                  </a:lnTo>
                  <a:lnTo>
                    <a:pt x="20" y="192"/>
                  </a:lnTo>
                  <a:lnTo>
                    <a:pt x="8" y="172"/>
                  </a:lnTo>
                  <a:lnTo>
                    <a:pt x="4" y="160"/>
                  </a:lnTo>
                  <a:lnTo>
                    <a:pt x="2" y="148"/>
                  </a:lnTo>
                  <a:lnTo>
                    <a:pt x="0" y="136"/>
                  </a:lnTo>
                  <a:lnTo>
                    <a:pt x="0" y="124"/>
                  </a:lnTo>
                  <a:lnTo>
                    <a:pt x="0" y="124"/>
                  </a:lnTo>
                  <a:lnTo>
                    <a:pt x="0" y="112"/>
                  </a:lnTo>
                  <a:lnTo>
                    <a:pt x="2" y="100"/>
                  </a:lnTo>
                  <a:lnTo>
                    <a:pt x="4" y="88"/>
                  </a:lnTo>
                  <a:lnTo>
                    <a:pt x="8" y="76"/>
                  </a:lnTo>
                  <a:lnTo>
                    <a:pt x="20" y="56"/>
                  </a:lnTo>
                  <a:lnTo>
                    <a:pt x="36" y="36"/>
                  </a:lnTo>
                  <a:lnTo>
                    <a:pt x="54" y="22"/>
                  </a:lnTo>
                  <a:lnTo>
                    <a:pt x="74" y="10"/>
                  </a:lnTo>
                  <a:lnTo>
                    <a:pt x="86" y="6"/>
                  </a:lnTo>
                  <a:lnTo>
                    <a:pt x="98" y="4"/>
                  </a:lnTo>
                  <a:lnTo>
                    <a:pt x="110" y="2"/>
                  </a:lnTo>
                  <a:lnTo>
                    <a:pt x="122" y="0"/>
                  </a:lnTo>
                  <a:lnTo>
                    <a:pt x="122" y="0"/>
                  </a:lnTo>
                  <a:lnTo>
                    <a:pt x="134" y="2"/>
                  </a:lnTo>
                  <a:lnTo>
                    <a:pt x="148" y="4"/>
                  </a:lnTo>
                  <a:lnTo>
                    <a:pt x="158" y="6"/>
                  </a:lnTo>
                  <a:lnTo>
                    <a:pt x="170" y="10"/>
                  </a:lnTo>
                  <a:lnTo>
                    <a:pt x="192" y="22"/>
                  </a:lnTo>
                  <a:lnTo>
                    <a:pt x="210" y="36"/>
                  </a:lnTo>
                  <a:lnTo>
                    <a:pt x="224" y="56"/>
                  </a:lnTo>
                  <a:lnTo>
                    <a:pt x="236" y="76"/>
                  </a:lnTo>
                  <a:lnTo>
                    <a:pt x="240" y="88"/>
                  </a:lnTo>
                  <a:lnTo>
                    <a:pt x="242" y="100"/>
                  </a:lnTo>
                  <a:lnTo>
                    <a:pt x="244" y="112"/>
                  </a:lnTo>
                  <a:lnTo>
                    <a:pt x="246" y="124"/>
                  </a:lnTo>
                  <a:lnTo>
                    <a:pt x="246" y="124"/>
                  </a:lnTo>
                  <a:lnTo>
                    <a:pt x="244" y="136"/>
                  </a:lnTo>
                  <a:lnTo>
                    <a:pt x="242" y="148"/>
                  </a:lnTo>
                  <a:lnTo>
                    <a:pt x="240" y="160"/>
                  </a:lnTo>
                  <a:lnTo>
                    <a:pt x="236" y="172"/>
                  </a:lnTo>
                  <a:lnTo>
                    <a:pt x="224" y="192"/>
                  </a:lnTo>
                  <a:lnTo>
                    <a:pt x="210" y="210"/>
                  </a:lnTo>
                  <a:lnTo>
                    <a:pt x="192" y="226"/>
                  </a:lnTo>
                  <a:lnTo>
                    <a:pt x="170" y="238"/>
                  </a:lnTo>
                  <a:lnTo>
                    <a:pt x="158" y="242"/>
                  </a:lnTo>
                  <a:lnTo>
                    <a:pt x="148" y="244"/>
                  </a:lnTo>
                  <a:lnTo>
                    <a:pt x="134" y="246"/>
                  </a:lnTo>
                  <a:lnTo>
                    <a:pt x="122" y="248"/>
                  </a:lnTo>
                  <a:lnTo>
                    <a:pt x="122" y="248"/>
                  </a:lnTo>
                  <a:close/>
                  <a:moveTo>
                    <a:pt x="122" y="28"/>
                  </a:moveTo>
                  <a:lnTo>
                    <a:pt x="122" y="28"/>
                  </a:lnTo>
                  <a:lnTo>
                    <a:pt x="104" y="30"/>
                  </a:lnTo>
                  <a:lnTo>
                    <a:pt x="86" y="36"/>
                  </a:lnTo>
                  <a:lnTo>
                    <a:pt x="70" y="46"/>
                  </a:lnTo>
                  <a:lnTo>
                    <a:pt x="56" y="56"/>
                  </a:lnTo>
                  <a:lnTo>
                    <a:pt x="44" y="70"/>
                  </a:lnTo>
                  <a:lnTo>
                    <a:pt x="34" y="86"/>
                  </a:lnTo>
                  <a:lnTo>
                    <a:pt x="30" y="104"/>
                  </a:lnTo>
                  <a:lnTo>
                    <a:pt x="28" y="124"/>
                  </a:lnTo>
                  <a:lnTo>
                    <a:pt x="28" y="124"/>
                  </a:lnTo>
                  <a:lnTo>
                    <a:pt x="30" y="144"/>
                  </a:lnTo>
                  <a:lnTo>
                    <a:pt x="34" y="160"/>
                  </a:lnTo>
                  <a:lnTo>
                    <a:pt x="44" y="178"/>
                  </a:lnTo>
                  <a:lnTo>
                    <a:pt x="56" y="192"/>
                  </a:lnTo>
                  <a:lnTo>
                    <a:pt x="70" y="202"/>
                  </a:lnTo>
                  <a:lnTo>
                    <a:pt x="86" y="212"/>
                  </a:lnTo>
                  <a:lnTo>
                    <a:pt x="104" y="218"/>
                  </a:lnTo>
                  <a:lnTo>
                    <a:pt x="122" y="220"/>
                  </a:lnTo>
                  <a:lnTo>
                    <a:pt x="122" y="220"/>
                  </a:lnTo>
                  <a:lnTo>
                    <a:pt x="142" y="218"/>
                  </a:lnTo>
                  <a:lnTo>
                    <a:pt x="160" y="212"/>
                  </a:lnTo>
                  <a:lnTo>
                    <a:pt x="176" y="202"/>
                  </a:lnTo>
                  <a:lnTo>
                    <a:pt x="190" y="192"/>
                  </a:lnTo>
                  <a:lnTo>
                    <a:pt x="202" y="178"/>
                  </a:lnTo>
                  <a:lnTo>
                    <a:pt x="210" y="160"/>
                  </a:lnTo>
                  <a:lnTo>
                    <a:pt x="216" y="144"/>
                  </a:lnTo>
                  <a:lnTo>
                    <a:pt x="218" y="124"/>
                  </a:lnTo>
                  <a:lnTo>
                    <a:pt x="218" y="124"/>
                  </a:lnTo>
                  <a:lnTo>
                    <a:pt x="216" y="104"/>
                  </a:lnTo>
                  <a:lnTo>
                    <a:pt x="210" y="86"/>
                  </a:lnTo>
                  <a:lnTo>
                    <a:pt x="202" y="70"/>
                  </a:lnTo>
                  <a:lnTo>
                    <a:pt x="190" y="56"/>
                  </a:lnTo>
                  <a:lnTo>
                    <a:pt x="176" y="46"/>
                  </a:lnTo>
                  <a:lnTo>
                    <a:pt x="160" y="36"/>
                  </a:lnTo>
                  <a:lnTo>
                    <a:pt x="142" y="30"/>
                  </a:lnTo>
                  <a:lnTo>
                    <a:pt x="122" y="28"/>
                  </a:lnTo>
                  <a:lnTo>
                    <a:pt x="122" y="28"/>
                  </a:lnTo>
                  <a:close/>
                </a:path>
              </a:pathLst>
            </a:custGeom>
            <a:grpFill/>
            <a:ln>
              <a:noFill/>
            </a:ln>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217" name="Freeform 37"/>
            <p:cNvSpPr>
              <a:spLocks/>
            </p:cNvSpPr>
            <p:nvPr/>
          </p:nvSpPr>
          <p:spPr bwMode="auto">
            <a:xfrm>
              <a:off x="2954338" y="6831013"/>
              <a:ext cx="1041400" cy="1301750"/>
            </a:xfrm>
            <a:custGeom>
              <a:avLst/>
              <a:gdLst>
                <a:gd name="T0" fmla="*/ 114 w 656"/>
                <a:gd name="T1" fmla="*/ 784 h 820"/>
                <a:gd name="T2" fmla="*/ 80 w 656"/>
                <a:gd name="T3" fmla="*/ 760 h 820"/>
                <a:gd name="T4" fmla="*/ 172 w 656"/>
                <a:gd name="T5" fmla="*/ 608 h 820"/>
                <a:gd name="T6" fmla="*/ 238 w 656"/>
                <a:gd name="T7" fmla="*/ 672 h 820"/>
                <a:gd name="T8" fmla="*/ 300 w 656"/>
                <a:gd name="T9" fmla="*/ 684 h 820"/>
                <a:gd name="T10" fmla="*/ 328 w 656"/>
                <a:gd name="T11" fmla="*/ 628 h 820"/>
                <a:gd name="T12" fmla="*/ 416 w 656"/>
                <a:gd name="T13" fmla="*/ 630 h 820"/>
                <a:gd name="T14" fmla="*/ 466 w 656"/>
                <a:gd name="T15" fmla="*/ 592 h 820"/>
                <a:gd name="T16" fmla="*/ 446 w 656"/>
                <a:gd name="T17" fmla="*/ 536 h 820"/>
                <a:gd name="T18" fmla="*/ 512 w 656"/>
                <a:gd name="T19" fmla="*/ 474 h 820"/>
                <a:gd name="T20" fmla="*/ 518 w 656"/>
                <a:gd name="T21" fmla="*/ 406 h 820"/>
                <a:gd name="T22" fmla="*/ 464 w 656"/>
                <a:gd name="T23" fmla="*/ 386 h 820"/>
                <a:gd name="T24" fmla="*/ 466 w 656"/>
                <a:gd name="T25" fmla="*/ 296 h 820"/>
                <a:gd name="T26" fmla="*/ 424 w 656"/>
                <a:gd name="T27" fmla="*/ 244 h 820"/>
                <a:gd name="T28" fmla="*/ 372 w 656"/>
                <a:gd name="T29" fmla="*/ 266 h 820"/>
                <a:gd name="T30" fmla="*/ 310 w 656"/>
                <a:gd name="T31" fmla="*/ 200 h 820"/>
                <a:gd name="T32" fmla="*/ 240 w 656"/>
                <a:gd name="T33" fmla="*/ 198 h 820"/>
                <a:gd name="T34" fmla="*/ 198 w 656"/>
                <a:gd name="T35" fmla="*/ 256 h 820"/>
                <a:gd name="T36" fmla="*/ 128 w 656"/>
                <a:gd name="T37" fmla="*/ 244 h 820"/>
                <a:gd name="T38" fmla="*/ 82 w 656"/>
                <a:gd name="T39" fmla="*/ 296 h 820"/>
                <a:gd name="T40" fmla="*/ 84 w 656"/>
                <a:gd name="T41" fmla="*/ 386 h 820"/>
                <a:gd name="T42" fmla="*/ 32 w 656"/>
                <a:gd name="T43" fmla="*/ 406 h 820"/>
                <a:gd name="T44" fmla="*/ 38 w 656"/>
                <a:gd name="T45" fmla="*/ 474 h 820"/>
                <a:gd name="T46" fmla="*/ 102 w 656"/>
                <a:gd name="T47" fmla="*/ 536 h 820"/>
                <a:gd name="T48" fmla="*/ 78 w 656"/>
                <a:gd name="T49" fmla="*/ 550 h 820"/>
                <a:gd name="T50" fmla="*/ 10 w 656"/>
                <a:gd name="T51" fmla="*/ 488 h 820"/>
                <a:gd name="T52" fmla="*/ 6 w 656"/>
                <a:gd name="T53" fmla="*/ 394 h 820"/>
                <a:gd name="T54" fmla="*/ 74 w 656"/>
                <a:gd name="T55" fmla="*/ 334 h 820"/>
                <a:gd name="T56" fmla="*/ 60 w 656"/>
                <a:gd name="T57" fmla="*/ 264 h 820"/>
                <a:gd name="T58" fmla="*/ 138 w 656"/>
                <a:gd name="T59" fmla="*/ 218 h 820"/>
                <a:gd name="T60" fmla="*/ 212 w 656"/>
                <a:gd name="T61" fmla="*/ 192 h 820"/>
                <a:gd name="T62" fmla="*/ 296 w 656"/>
                <a:gd name="T63" fmla="*/ 164 h 820"/>
                <a:gd name="T64" fmla="*/ 342 w 656"/>
                <a:gd name="T65" fmla="*/ 222 h 820"/>
                <a:gd name="T66" fmla="*/ 426 w 656"/>
                <a:gd name="T67" fmla="*/ 216 h 820"/>
                <a:gd name="T68" fmla="*/ 494 w 656"/>
                <a:gd name="T69" fmla="*/ 278 h 820"/>
                <a:gd name="T70" fmla="*/ 490 w 656"/>
                <a:gd name="T71" fmla="*/ 370 h 820"/>
                <a:gd name="T72" fmla="*/ 548 w 656"/>
                <a:gd name="T73" fmla="*/ 410 h 820"/>
                <a:gd name="T74" fmla="*/ 528 w 656"/>
                <a:gd name="T75" fmla="*/ 498 h 820"/>
                <a:gd name="T76" fmla="*/ 492 w 656"/>
                <a:gd name="T77" fmla="*/ 568 h 820"/>
                <a:gd name="T78" fmla="*/ 452 w 656"/>
                <a:gd name="T79" fmla="*/ 646 h 820"/>
                <a:gd name="T80" fmla="*/ 398 w 656"/>
                <a:gd name="T81" fmla="*/ 652 h 820"/>
                <a:gd name="T82" fmla="*/ 330 w 656"/>
                <a:gd name="T83" fmla="*/ 696 h 820"/>
                <a:gd name="T84" fmla="*/ 238 w 656"/>
                <a:gd name="T85" fmla="*/ 710 h 820"/>
                <a:gd name="T86" fmla="*/ 176 w 656"/>
                <a:gd name="T87" fmla="*/ 640 h 820"/>
                <a:gd name="T88" fmla="*/ 232 w 656"/>
                <a:gd name="T89" fmla="*/ 788 h 820"/>
                <a:gd name="T90" fmla="*/ 472 w 656"/>
                <a:gd name="T91" fmla="*/ 730 h 820"/>
                <a:gd name="T92" fmla="*/ 626 w 656"/>
                <a:gd name="T93" fmla="*/ 474 h 820"/>
                <a:gd name="T94" fmla="*/ 546 w 656"/>
                <a:gd name="T95" fmla="*/ 214 h 820"/>
                <a:gd name="T96" fmla="*/ 274 w 656"/>
                <a:gd name="T97" fmla="*/ 84 h 820"/>
                <a:gd name="T98" fmla="*/ 186 w 656"/>
                <a:gd name="T99" fmla="*/ 170 h 820"/>
                <a:gd name="T100" fmla="*/ 30 w 656"/>
                <a:gd name="T101" fmla="*/ 136 h 820"/>
                <a:gd name="T102" fmla="*/ 124 w 656"/>
                <a:gd name="T103" fmla="*/ 2 h 820"/>
                <a:gd name="T104" fmla="*/ 130 w 656"/>
                <a:gd name="T105" fmla="*/ 100 h 820"/>
                <a:gd name="T106" fmla="*/ 240 w 656"/>
                <a:gd name="T107" fmla="*/ 58 h 820"/>
                <a:gd name="T108" fmla="*/ 516 w 656"/>
                <a:gd name="T109" fmla="*/ 144 h 820"/>
                <a:gd name="T110" fmla="*/ 656 w 656"/>
                <a:gd name="T111" fmla="*/ 438 h 820"/>
                <a:gd name="T112" fmla="*/ 544 w 656"/>
                <a:gd name="T113" fmla="*/ 708 h 820"/>
                <a:gd name="T114" fmla="*/ 274 w 656"/>
                <a:gd name="T115" fmla="*/ 820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56" h="820">
                  <a:moveTo>
                    <a:pt x="274" y="820"/>
                  </a:moveTo>
                  <a:lnTo>
                    <a:pt x="274" y="820"/>
                  </a:lnTo>
                  <a:lnTo>
                    <a:pt x="250" y="818"/>
                  </a:lnTo>
                  <a:lnTo>
                    <a:pt x="228" y="816"/>
                  </a:lnTo>
                  <a:lnTo>
                    <a:pt x="204" y="812"/>
                  </a:lnTo>
                  <a:lnTo>
                    <a:pt x="182" y="808"/>
                  </a:lnTo>
                  <a:lnTo>
                    <a:pt x="158" y="802"/>
                  </a:lnTo>
                  <a:lnTo>
                    <a:pt x="136" y="794"/>
                  </a:lnTo>
                  <a:lnTo>
                    <a:pt x="114" y="784"/>
                  </a:lnTo>
                  <a:lnTo>
                    <a:pt x="94" y="774"/>
                  </a:lnTo>
                  <a:lnTo>
                    <a:pt x="94" y="774"/>
                  </a:lnTo>
                  <a:lnTo>
                    <a:pt x="88" y="770"/>
                  </a:lnTo>
                  <a:lnTo>
                    <a:pt x="88" y="770"/>
                  </a:lnTo>
                  <a:lnTo>
                    <a:pt x="86" y="768"/>
                  </a:lnTo>
                  <a:lnTo>
                    <a:pt x="86" y="768"/>
                  </a:lnTo>
                  <a:lnTo>
                    <a:pt x="82" y="766"/>
                  </a:lnTo>
                  <a:lnTo>
                    <a:pt x="80" y="760"/>
                  </a:lnTo>
                  <a:lnTo>
                    <a:pt x="80" y="760"/>
                  </a:lnTo>
                  <a:lnTo>
                    <a:pt x="80" y="754"/>
                  </a:lnTo>
                  <a:lnTo>
                    <a:pt x="82" y="750"/>
                  </a:lnTo>
                  <a:lnTo>
                    <a:pt x="94" y="730"/>
                  </a:lnTo>
                  <a:lnTo>
                    <a:pt x="158" y="616"/>
                  </a:lnTo>
                  <a:lnTo>
                    <a:pt x="158" y="616"/>
                  </a:lnTo>
                  <a:lnTo>
                    <a:pt x="162" y="612"/>
                  </a:lnTo>
                  <a:lnTo>
                    <a:pt x="166" y="608"/>
                  </a:lnTo>
                  <a:lnTo>
                    <a:pt x="166" y="608"/>
                  </a:lnTo>
                  <a:lnTo>
                    <a:pt x="172" y="608"/>
                  </a:lnTo>
                  <a:lnTo>
                    <a:pt x="176" y="610"/>
                  </a:lnTo>
                  <a:lnTo>
                    <a:pt x="176" y="610"/>
                  </a:lnTo>
                  <a:lnTo>
                    <a:pt x="198" y="620"/>
                  </a:lnTo>
                  <a:lnTo>
                    <a:pt x="222" y="628"/>
                  </a:lnTo>
                  <a:lnTo>
                    <a:pt x="222" y="628"/>
                  </a:lnTo>
                  <a:lnTo>
                    <a:pt x="228" y="632"/>
                  </a:lnTo>
                  <a:lnTo>
                    <a:pt x="232" y="638"/>
                  </a:lnTo>
                  <a:lnTo>
                    <a:pt x="238" y="672"/>
                  </a:lnTo>
                  <a:lnTo>
                    <a:pt x="238" y="672"/>
                  </a:lnTo>
                  <a:lnTo>
                    <a:pt x="238" y="674"/>
                  </a:lnTo>
                  <a:lnTo>
                    <a:pt x="238" y="674"/>
                  </a:lnTo>
                  <a:lnTo>
                    <a:pt x="240" y="678"/>
                  </a:lnTo>
                  <a:lnTo>
                    <a:pt x="244" y="680"/>
                  </a:lnTo>
                  <a:lnTo>
                    <a:pt x="248" y="684"/>
                  </a:lnTo>
                  <a:lnTo>
                    <a:pt x="252" y="684"/>
                  </a:lnTo>
                  <a:lnTo>
                    <a:pt x="296" y="684"/>
                  </a:lnTo>
                  <a:lnTo>
                    <a:pt x="296" y="684"/>
                  </a:lnTo>
                  <a:lnTo>
                    <a:pt x="300" y="684"/>
                  </a:lnTo>
                  <a:lnTo>
                    <a:pt x="306" y="680"/>
                  </a:lnTo>
                  <a:lnTo>
                    <a:pt x="308" y="678"/>
                  </a:lnTo>
                  <a:lnTo>
                    <a:pt x="310" y="674"/>
                  </a:lnTo>
                  <a:lnTo>
                    <a:pt x="310" y="674"/>
                  </a:lnTo>
                  <a:lnTo>
                    <a:pt x="310" y="672"/>
                  </a:lnTo>
                  <a:lnTo>
                    <a:pt x="318" y="638"/>
                  </a:lnTo>
                  <a:lnTo>
                    <a:pt x="318" y="638"/>
                  </a:lnTo>
                  <a:lnTo>
                    <a:pt x="320" y="632"/>
                  </a:lnTo>
                  <a:lnTo>
                    <a:pt x="328" y="628"/>
                  </a:lnTo>
                  <a:lnTo>
                    <a:pt x="328" y="628"/>
                  </a:lnTo>
                  <a:lnTo>
                    <a:pt x="350" y="620"/>
                  </a:lnTo>
                  <a:lnTo>
                    <a:pt x="372" y="610"/>
                  </a:lnTo>
                  <a:lnTo>
                    <a:pt x="372" y="610"/>
                  </a:lnTo>
                  <a:lnTo>
                    <a:pt x="380" y="608"/>
                  </a:lnTo>
                  <a:lnTo>
                    <a:pt x="386" y="610"/>
                  </a:lnTo>
                  <a:lnTo>
                    <a:pt x="414" y="628"/>
                  </a:lnTo>
                  <a:lnTo>
                    <a:pt x="414" y="628"/>
                  </a:lnTo>
                  <a:lnTo>
                    <a:pt x="416" y="630"/>
                  </a:lnTo>
                  <a:lnTo>
                    <a:pt x="416" y="630"/>
                  </a:lnTo>
                  <a:lnTo>
                    <a:pt x="420" y="632"/>
                  </a:lnTo>
                  <a:lnTo>
                    <a:pt x="424" y="632"/>
                  </a:lnTo>
                  <a:lnTo>
                    <a:pt x="424" y="632"/>
                  </a:lnTo>
                  <a:lnTo>
                    <a:pt x="428" y="630"/>
                  </a:lnTo>
                  <a:lnTo>
                    <a:pt x="434" y="628"/>
                  </a:lnTo>
                  <a:lnTo>
                    <a:pt x="464" y="596"/>
                  </a:lnTo>
                  <a:lnTo>
                    <a:pt x="464" y="596"/>
                  </a:lnTo>
                  <a:lnTo>
                    <a:pt x="466" y="592"/>
                  </a:lnTo>
                  <a:lnTo>
                    <a:pt x="468" y="588"/>
                  </a:lnTo>
                  <a:lnTo>
                    <a:pt x="468" y="584"/>
                  </a:lnTo>
                  <a:lnTo>
                    <a:pt x="466" y="580"/>
                  </a:lnTo>
                  <a:lnTo>
                    <a:pt x="466" y="580"/>
                  </a:lnTo>
                  <a:lnTo>
                    <a:pt x="466" y="578"/>
                  </a:lnTo>
                  <a:lnTo>
                    <a:pt x="446" y="550"/>
                  </a:lnTo>
                  <a:lnTo>
                    <a:pt x="446" y="550"/>
                  </a:lnTo>
                  <a:lnTo>
                    <a:pt x="444" y="542"/>
                  </a:lnTo>
                  <a:lnTo>
                    <a:pt x="446" y="536"/>
                  </a:lnTo>
                  <a:lnTo>
                    <a:pt x="446" y="536"/>
                  </a:lnTo>
                  <a:lnTo>
                    <a:pt x="456" y="514"/>
                  </a:lnTo>
                  <a:lnTo>
                    <a:pt x="464" y="490"/>
                  </a:lnTo>
                  <a:lnTo>
                    <a:pt x="464" y="490"/>
                  </a:lnTo>
                  <a:lnTo>
                    <a:pt x="468" y="484"/>
                  </a:lnTo>
                  <a:lnTo>
                    <a:pt x="476" y="480"/>
                  </a:lnTo>
                  <a:lnTo>
                    <a:pt x="508" y="474"/>
                  </a:lnTo>
                  <a:lnTo>
                    <a:pt x="508" y="474"/>
                  </a:lnTo>
                  <a:lnTo>
                    <a:pt x="512" y="474"/>
                  </a:lnTo>
                  <a:lnTo>
                    <a:pt x="512" y="474"/>
                  </a:lnTo>
                  <a:lnTo>
                    <a:pt x="514" y="472"/>
                  </a:lnTo>
                  <a:lnTo>
                    <a:pt x="518" y="468"/>
                  </a:lnTo>
                  <a:lnTo>
                    <a:pt x="520" y="464"/>
                  </a:lnTo>
                  <a:lnTo>
                    <a:pt x="520" y="460"/>
                  </a:lnTo>
                  <a:lnTo>
                    <a:pt x="520" y="416"/>
                  </a:lnTo>
                  <a:lnTo>
                    <a:pt x="520" y="416"/>
                  </a:lnTo>
                  <a:lnTo>
                    <a:pt x="520" y="412"/>
                  </a:lnTo>
                  <a:lnTo>
                    <a:pt x="518" y="406"/>
                  </a:lnTo>
                  <a:lnTo>
                    <a:pt x="514" y="404"/>
                  </a:lnTo>
                  <a:lnTo>
                    <a:pt x="512" y="402"/>
                  </a:lnTo>
                  <a:lnTo>
                    <a:pt x="512" y="402"/>
                  </a:lnTo>
                  <a:lnTo>
                    <a:pt x="508" y="402"/>
                  </a:lnTo>
                  <a:lnTo>
                    <a:pt x="476" y="396"/>
                  </a:lnTo>
                  <a:lnTo>
                    <a:pt x="476" y="396"/>
                  </a:lnTo>
                  <a:lnTo>
                    <a:pt x="468" y="392"/>
                  </a:lnTo>
                  <a:lnTo>
                    <a:pt x="464" y="386"/>
                  </a:lnTo>
                  <a:lnTo>
                    <a:pt x="464" y="386"/>
                  </a:lnTo>
                  <a:lnTo>
                    <a:pt x="456" y="362"/>
                  </a:lnTo>
                  <a:lnTo>
                    <a:pt x="446" y="340"/>
                  </a:lnTo>
                  <a:lnTo>
                    <a:pt x="446" y="340"/>
                  </a:lnTo>
                  <a:lnTo>
                    <a:pt x="444" y="334"/>
                  </a:lnTo>
                  <a:lnTo>
                    <a:pt x="446" y="326"/>
                  </a:lnTo>
                  <a:lnTo>
                    <a:pt x="466" y="298"/>
                  </a:lnTo>
                  <a:lnTo>
                    <a:pt x="466" y="298"/>
                  </a:lnTo>
                  <a:lnTo>
                    <a:pt x="466" y="296"/>
                  </a:lnTo>
                  <a:lnTo>
                    <a:pt x="466" y="296"/>
                  </a:lnTo>
                  <a:lnTo>
                    <a:pt x="468" y="292"/>
                  </a:lnTo>
                  <a:lnTo>
                    <a:pt x="468" y="288"/>
                  </a:lnTo>
                  <a:lnTo>
                    <a:pt x="466" y="284"/>
                  </a:lnTo>
                  <a:lnTo>
                    <a:pt x="464" y="280"/>
                  </a:lnTo>
                  <a:lnTo>
                    <a:pt x="434" y="248"/>
                  </a:lnTo>
                  <a:lnTo>
                    <a:pt x="434" y="248"/>
                  </a:lnTo>
                  <a:lnTo>
                    <a:pt x="428" y="246"/>
                  </a:lnTo>
                  <a:lnTo>
                    <a:pt x="424" y="244"/>
                  </a:lnTo>
                  <a:lnTo>
                    <a:pt x="424" y="244"/>
                  </a:lnTo>
                  <a:lnTo>
                    <a:pt x="420" y="244"/>
                  </a:lnTo>
                  <a:lnTo>
                    <a:pt x="416" y="246"/>
                  </a:lnTo>
                  <a:lnTo>
                    <a:pt x="416" y="246"/>
                  </a:lnTo>
                  <a:lnTo>
                    <a:pt x="414" y="248"/>
                  </a:lnTo>
                  <a:lnTo>
                    <a:pt x="386" y="266"/>
                  </a:lnTo>
                  <a:lnTo>
                    <a:pt x="386" y="266"/>
                  </a:lnTo>
                  <a:lnTo>
                    <a:pt x="380" y="268"/>
                  </a:lnTo>
                  <a:lnTo>
                    <a:pt x="372" y="266"/>
                  </a:lnTo>
                  <a:lnTo>
                    <a:pt x="372" y="266"/>
                  </a:lnTo>
                  <a:lnTo>
                    <a:pt x="350" y="256"/>
                  </a:lnTo>
                  <a:lnTo>
                    <a:pt x="328" y="248"/>
                  </a:lnTo>
                  <a:lnTo>
                    <a:pt x="328" y="248"/>
                  </a:lnTo>
                  <a:lnTo>
                    <a:pt x="320" y="244"/>
                  </a:lnTo>
                  <a:lnTo>
                    <a:pt x="318" y="236"/>
                  </a:lnTo>
                  <a:lnTo>
                    <a:pt x="310" y="204"/>
                  </a:lnTo>
                  <a:lnTo>
                    <a:pt x="310" y="204"/>
                  </a:lnTo>
                  <a:lnTo>
                    <a:pt x="310" y="200"/>
                  </a:lnTo>
                  <a:lnTo>
                    <a:pt x="310" y="200"/>
                  </a:lnTo>
                  <a:lnTo>
                    <a:pt x="308" y="198"/>
                  </a:lnTo>
                  <a:lnTo>
                    <a:pt x="306" y="196"/>
                  </a:lnTo>
                  <a:lnTo>
                    <a:pt x="300" y="192"/>
                  </a:lnTo>
                  <a:lnTo>
                    <a:pt x="296" y="192"/>
                  </a:lnTo>
                  <a:lnTo>
                    <a:pt x="254" y="192"/>
                  </a:lnTo>
                  <a:lnTo>
                    <a:pt x="254" y="192"/>
                  </a:lnTo>
                  <a:lnTo>
                    <a:pt x="248" y="192"/>
                  </a:lnTo>
                  <a:lnTo>
                    <a:pt x="244" y="196"/>
                  </a:lnTo>
                  <a:lnTo>
                    <a:pt x="240" y="198"/>
                  </a:lnTo>
                  <a:lnTo>
                    <a:pt x="238" y="200"/>
                  </a:lnTo>
                  <a:lnTo>
                    <a:pt x="238" y="200"/>
                  </a:lnTo>
                  <a:lnTo>
                    <a:pt x="238" y="204"/>
                  </a:lnTo>
                  <a:lnTo>
                    <a:pt x="232" y="236"/>
                  </a:lnTo>
                  <a:lnTo>
                    <a:pt x="232" y="236"/>
                  </a:lnTo>
                  <a:lnTo>
                    <a:pt x="228" y="244"/>
                  </a:lnTo>
                  <a:lnTo>
                    <a:pt x="222" y="248"/>
                  </a:lnTo>
                  <a:lnTo>
                    <a:pt x="222" y="248"/>
                  </a:lnTo>
                  <a:lnTo>
                    <a:pt x="198" y="256"/>
                  </a:lnTo>
                  <a:lnTo>
                    <a:pt x="176" y="266"/>
                  </a:lnTo>
                  <a:lnTo>
                    <a:pt x="176" y="266"/>
                  </a:lnTo>
                  <a:lnTo>
                    <a:pt x="170" y="268"/>
                  </a:lnTo>
                  <a:lnTo>
                    <a:pt x="162" y="266"/>
                  </a:lnTo>
                  <a:lnTo>
                    <a:pt x="134" y="248"/>
                  </a:lnTo>
                  <a:lnTo>
                    <a:pt x="134" y="248"/>
                  </a:lnTo>
                  <a:lnTo>
                    <a:pt x="132" y="246"/>
                  </a:lnTo>
                  <a:lnTo>
                    <a:pt x="132" y="246"/>
                  </a:lnTo>
                  <a:lnTo>
                    <a:pt x="128" y="244"/>
                  </a:lnTo>
                  <a:lnTo>
                    <a:pt x="124" y="244"/>
                  </a:lnTo>
                  <a:lnTo>
                    <a:pt x="120" y="246"/>
                  </a:lnTo>
                  <a:lnTo>
                    <a:pt x="116" y="248"/>
                  </a:lnTo>
                  <a:lnTo>
                    <a:pt x="86" y="278"/>
                  </a:lnTo>
                  <a:lnTo>
                    <a:pt x="86" y="278"/>
                  </a:lnTo>
                  <a:lnTo>
                    <a:pt x="82" y="284"/>
                  </a:lnTo>
                  <a:lnTo>
                    <a:pt x="80" y="288"/>
                  </a:lnTo>
                  <a:lnTo>
                    <a:pt x="80" y="292"/>
                  </a:lnTo>
                  <a:lnTo>
                    <a:pt x="82" y="296"/>
                  </a:lnTo>
                  <a:lnTo>
                    <a:pt x="82" y="296"/>
                  </a:lnTo>
                  <a:lnTo>
                    <a:pt x="84" y="298"/>
                  </a:lnTo>
                  <a:lnTo>
                    <a:pt x="102" y="326"/>
                  </a:lnTo>
                  <a:lnTo>
                    <a:pt x="102" y="326"/>
                  </a:lnTo>
                  <a:lnTo>
                    <a:pt x="104" y="334"/>
                  </a:lnTo>
                  <a:lnTo>
                    <a:pt x="102" y="340"/>
                  </a:lnTo>
                  <a:lnTo>
                    <a:pt x="102" y="340"/>
                  </a:lnTo>
                  <a:lnTo>
                    <a:pt x="92" y="362"/>
                  </a:lnTo>
                  <a:lnTo>
                    <a:pt x="84" y="386"/>
                  </a:lnTo>
                  <a:lnTo>
                    <a:pt x="84" y="386"/>
                  </a:lnTo>
                  <a:lnTo>
                    <a:pt x="80" y="392"/>
                  </a:lnTo>
                  <a:lnTo>
                    <a:pt x="74" y="396"/>
                  </a:lnTo>
                  <a:lnTo>
                    <a:pt x="40" y="402"/>
                  </a:lnTo>
                  <a:lnTo>
                    <a:pt x="40" y="402"/>
                  </a:lnTo>
                  <a:lnTo>
                    <a:pt x="38" y="402"/>
                  </a:lnTo>
                  <a:lnTo>
                    <a:pt x="38" y="402"/>
                  </a:lnTo>
                  <a:lnTo>
                    <a:pt x="34" y="404"/>
                  </a:lnTo>
                  <a:lnTo>
                    <a:pt x="32" y="406"/>
                  </a:lnTo>
                  <a:lnTo>
                    <a:pt x="30" y="412"/>
                  </a:lnTo>
                  <a:lnTo>
                    <a:pt x="28" y="416"/>
                  </a:lnTo>
                  <a:lnTo>
                    <a:pt x="28" y="460"/>
                  </a:lnTo>
                  <a:lnTo>
                    <a:pt x="28" y="460"/>
                  </a:lnTo>
                  <a:lnTo>
                    <a:pt x="30" y="464"/>
                  </a:lnTo>
                  <a:lnTo>
                    <a:pt x="32" y="468"/>
                  </a:lnTo>
                  <a:lnTo>
                    <a:pt x="34" y="472"/>
                  </a:lnTo>
                  <a:lnTo>
                    <a:pt x="38" y="474"/>
                  </a:lnTo>
                  <a:lnTo>
                    <a:pt x="38" y="474"/>
                  </a:lnTo>
                  <a:lnTo>
                    <a:pt x="40" y="474"/>
                  </a:lnTo>
                  <a:lnTo>
                    <a:pt x="74" y="480"/>
                  </a:lnTo>
                  <a:lnTo>
                    <a:pt x="74" y="480"/>
                  </a:lnTo>
                  <a:lnTo>
                    <a:pt x="80" y="484"/>
                  </a:lnTo>
                  <a:lnTo>
                    <a:pt x="84" y="490"/>
                  </a:lnTo>
                  <a:lnTo>
                    <a:pt x="84" y="490"/>
                  </a:lnTo>
                  <a:lnTo>
                    <a:pt x="92" y="514"/>
                  </a:lnTo>
                  <a:lnTo>
                    <a:pt x="102" y="536"/>
                  </a:lnTo>
                  <a:lnTo>
                    <a:pt x="102" y="536"/>
                  </a:lnTo>
                  <a:lnTo>
                    <a:pt x="104" y="540"/>
                  </a:lnTo>
                  <a:lnTo>
                    <a:pt x="104" y="546"/>
                  </a:lnTo>
                  <a:lnTo>
                    <a:pt x="102" y="550"/>
                  </a:lnTo>
                  <a:lnTo>
                    <a:pt x="98" y="554"/>
                  </a:lnTo>
                  <a:lnTo>
                    <a:pt x="98" y="554"/>
                  </a:lnTo>
                  <a:lnTo>
                    <a:pt x="92" y="556"/>
                  </a:lnTo>
                  <a:lnTo>
                    <a:pt x="86" y="556"/>
                  </a:lnTo>
                  <a:lnTo>
                    <a:pt x="82" y="554"/>
                  </a:lnTo>
                  <a:lnTo>
                    <a:pt x="78" y="550"/>
                  </a:lnTo>
                  <a:lnTo>
                    <a:pt x="78" y="550"/>
                  </a:lnTo>
                  <a:lnTo>
                    <a:pt x="68" y="528"/>
                  </a:lnTo>
                  <a:lnTo>
                    <a:pt x="60" y="506"/>
                  </a:lnTo>
                  <a:lnTo>
                    <a:pt x="36" y="502"/>
                  </a:lnTo>
                  <a:lnTo>
                    <a:pt x="36" y="502"/>
                  </a:lnTo>
                  <a:lnTo>
                    <a:pt x="28" y="500"/>
                  </a:lnTo>
                  <a:lnTo>
                    <a:pt x="22" y="496"/>
                  </a:lnTo>
                  <a:lnTo>
                    <a:pt x="16" y="492"/>
                  </a:lnTo>
                  <a:lnTo>
                    <a:pt x="10" y="488"/>
                  </a:lnTo>
                  <a:lnTo>
                    <a:pt x="6" y="480"/>
                  </a:lnTo>
                  <a:lnTo>
                    <a:pt x="2" y="474"/>
                  </a:lnTo>
                  <a:lnTo>
                    <a:pt x="0" y="466"/>
                  </a:lnTo>
                  <a:lnTo>
                    <a:pt x="0" y="460"/>
                  </a:lnTo>
                  <a:lnTo>
                    <a:pt x="0" y="416"/>
                  </a:lnTo>
                  <a:lnTo>
                    <a:pt x="0" y="416"/>
                  </a:lnTo>
                  <a:lnTo>
                    <a:pt x="0" y="410"/>
                  </a:lnTo>
                  <a:lnTo>
                    <a:pt x="2" y="402"/>
                  </a:lnTo>
                  <a:lnTo>
                    <a:pt x="6" y="394"/>
                  </a:lnTo>
                  <a:lnTo>
                    <a:pt x="10" y="388"/>
                  </a:lnTo>
                  <a:lnTo>
                    <a:pt x="16" y="384"/>
                  </a:lnTo>
                  <a:lnTo>
                    <a:pt x="22" y="378"/>
                  </a:lnTo>
                  <a:lnTo>
                    <a:pt x="28" y="376"/>
                  </a:lnTo>
                  <a:lnTo>
                    <a:pt x="36" y="374"/>
                  </a:lnTo>
                  <a:lnTo>
                    <a:pt x="60" y="370"/>
                  </a:lnTo>
                  <a:lnTo>
                    <a:pt x="60" y="370"/>
                  </a:lnTo>
                  <a:lnTo>
                    <a:pt x="66" y="352"/>
                  </a:lnTo>
                  <a:lnTo>
                    <a:pt x="74" y="334"/>
                  </a:lnTo>
                  <a:lnTo>
                    <a:pt x="60" y="314"/>
                  </a:lnTo>
                  <a:lnTo>
                    <a:pt x="60" y="314"/>
                  </a:lnTo>
                  <a:lnTo>
                    <a:pt x="56" y="308"/>
                  </a:lnTo>
                  <a:lnTo>
                    <a:pt x="54" y="300"/>
                  </a:lnTo>
                  <a:lnTo>
                    <a:pt x="52" y="294"/>
                  </a:lnTo>
                  <a:lnTo>
                    <a:pt x="52" y="286"/>
                  </a:lnTo>
                  <a:lnTo>
                    <a:pt x="54" y="278"/>
                  </a:lnTo>
                  <a:lnTo>
                    <a:pt x="56" y="272"/>
                  </a:lnTo>
                  <a:lnTo>
                    <a:pt x="60" y="264"/>
                  </a:lnTo>
                  <a:lnTo>
                    <a:pt x="66" y="260"/>
                  </a:lnTo>
                  <a:lnTo>
                    <a:pt x="96" y="228"/>
                  </a:lnTo>
                  <a:lnTo>
                    <a:pt x="96" y="228"/>
                  </a:lnTo>
                  <a:lnTo>
                    <a:pt x="102" y="224"/>
                  </a:lnTo>
                  <a:lnTo>
                    <a:pt x="108" y="220"/>
                  </a:lnTo>
                  <a:lnTo>
                    <a:pt x="114" y="218"/>
                  </a:lnTo>
                  <a:lnTo>
                    <a:pt x="122" y="216"/>
                  </a:lnTo>
                  <a:lnTo>
                    <a:pt x="130" y="216"/>
                  </a:lnTo>
                  <a:lnTo>
                    <a:pt x="138" y="218"/>
                  </a:lnTo>
                  <a:lnTo>
                    <a:pt x="144" y="220"/>
                  </a:lnTo>
                  <a:lnTo>
                    <a:pt x="150" y="224"/>
                  </a:lnTo>
                  <a:lnTo>
                    <a:pt x="170" y="238"/>
                  </a:lnTo>
                  <a:lnTo>
                    <a:pt x="170" y="238"/>
                  </a:lnTo>
                  <a:lnTo>
                    <a:pt x="188" y="230"/>
                  </a:lnTo>
                  <a:lnTo>
                    <a:pt x="206" y="222"/>
                  </a:lnTo>
                  <a:lnTo>
                    <a:pt x="210" y="200"/>
                  </a:lnTo>
                  <a:lnTo>
                    <a:pt x="210" y="200"/>
                  </a:lnTo>
                  <a:lnTo>
                    <a:pt x="212" y="192"/>
                  </a:lnTo>
                  <a:lnTo>
                    <a:pt x="216" y="186"/>
                  </a:lnTo>
                  <a:lnTo>
                    <a:pt x="220" y="180"/>
                  </a:lnTo>
                  <a:lnTo>
                    <a:pt x="226" y="174"/>
                  </a:lnTo>
                  <a:lnTo>
                    <a:pt x="232" y="170"/>
                  </a:lnTo>
                  <a:lnTo>
                    <a:pt x="238" y="166"/>
                  </a:lnTo>
                  <a:lnTo>
                    <a:pt x="246" y="164"/>
                  </a:lnTo>
                  <a:lnTo>
                    <a:pt x="254" y="164"/>
                  </a:lnTo>
                  <a:lnTo>
                    <a:pt x="296" y="164"/>
                  </a:lnTo>
                  <a:lnTo>
                    <a:pt x="296" y="164"/>
                  </a:lnTo>
                  <a:lnTo>
                    <a:pt x="304" y="164"/>
                  </a:lnTo>
                  <a:lnTo>
                    <a:pt x="310" y="166"/>
                  </a:lnTo>
                  <a:lnTo>
                    <a:pt x="318" y="170"/>
                  </a:lnTo>
                  <a:lnTo>
                    <a:pt x="324" y="174"/>
                  </a:lnTo>
                  <a:lnTo>
                    <a:pt x="330" y="180"/>
                  </a:lnTo>
                  <a:lnTo>
                    <a:pt x="334" y="186"/>
                  </a:lnTo>
                  <a:lnTo>
                    <a:pt x="336" y="192"/>
                  </a:lnTo>
                  <a:lnTo>
                    <a:pt x="338" y="200"/>
                  </a:lnTo>
                  <a:lnTo>
                    <a:pt x="342" y="222"/>
                  </a:lnTo>
                  <a:lnTo>
                    <a:pt x="342" y="222"/>
                  </a:lnTo>
                  <a:lnTo>
                    <a:pt x="360" y="230"/>
                  </a:lnTo>
                  <a:lnTo>
                    <a:pt x="378" y="238"/>
                  </a:lnTo>
                  <a:lnTo>
                    <a:pt x="398" y="224"/>
                  </a:lnTo>
                  <a:lnTo>
                    <a:pt x="398" y="224"/>
                  </a:lnTo>
                  <a:lnTo>
                    <a:pt x="404" y="220"/>
                  </a:lnTo>
                  <a:lnTo>
                    <a:pt x="412" y="218"/>
                  </a:lnTo>
                  <a:lnTo>
                    <a:pt x="418" y="216"/>
                  </a:lnTo>
                  <a:lnTo>
                    <a:pt x="426" y="216"/>
                  </a:lnTo>
                  <a:lnTo>
                    <a:pt x="426" y="216"/>
                  </a:lnTo>
                  <a:lnTo>
                    <a:pt x="442" y="220"/>
                  </a:lnTo>
                  <a:lnTo>
                    <a:pt x="448" y="224"/>
                  </a:lnTo>
                  <a:lnTo>
                    <a:pt x="454" y="230"/>
                  </a:lnTo>
                  <a:lnTo>
                    <a:pt x="484" y="260"/>
                  </a:lnTo>
                  <a:lnTo>
                    <a:pt x="484" y="260"/>
                  </a:lnTo>
                  <a:lnTo>
                    <a:pt x="488" y="264"/>
                  </a:lnTo>
                  <a:lnTo>
                    <a:pt x="492" y="272"/>
                  </a:lnTo>
                  <a:lnTo>
                    <a:pt x="494" y="278"/>
                  </a:lnTo>
                  <a:lnTo>
                    <a:pt x="496" y="286"/>
                  </a:lnTo>
                  <a:lnTo>
                    <a:pt x="496" y="294"/>
                  </a:lnTo>
                  <a:lnTo>
                    <a:pt x="494" y="300"/>
                  </a:lnTo>
                  <a:lnTo>
                    <a:pt x="492" y="308"/>
                  </a:lnTo>
                  <a:lnTo>
                    <a:pt x="488" y="314"/>
                  </a:lnTo>
                  <a:lnTo>
                    <a:pt x="474" y="334"/>
                  </a:lnTo>
                  <a:lnTo>
                    <a:pt x="474" y="334"/>
                  </a:lnTo>
                  <a:lnTo>
                    <a:pt x="482" y="352"/>
                  </a:lnTo>
                  <a:lnTo>
                    <a:pt x="490" y="370"/>
                  </a:lnTo>
                  <a:lnTo>
                    <a:pt x="512" y="374"/>
                  </a:lnTo>
                  <a:lnTo>
                    <a:pt x="512" y="374"/>
                  </a:lnTo>
                  <a:lnTo>
                    <a:pt x="520" y="376"/>
                  </a:lnTo>
                  <a:lnTo>
                    <a:pt x="528" y="378"/>
                  </a:lnTo>
                  <a:lnTo>
                    <a:pt x="534" y="384"/>
                  </a:lnTo>
                  <a:lnTo>
                    <a:pt x="538" y="388"/>
                  </a:lnTo>
                  <a:lnTo>
                    <a:pt x="542" y="396"/>
                  </a:lnTo>
                  <a:lnTo>
                    <a:pt x="546" y="402"/>
                  </a:lnTo>
                  <a:lnTo>
                    <a:pt x="548" y="410"/>
                  </a:lnTo>
                  <a:lnTo>
                    <a:pt x="548" y="416"/>
                  </a:lnTo>
                  <a:lnTo>
                    <a:pt x="548" y="460"/>
                  </a:lnTo>
                  <a:lnTo>
                    <a:pt x="548" y="460"/>
                  </a:lnTo>
                  <a:lnTo>
                    <a:pt x="548" y="466"/>
                  </a:lnTo>
                  <a:lnTo>
                    <a:pt x="546" y="474"/>
                  </a:lnTo>
                  <a:lnTo>
                    <a:pt x="542" y="480"/>
                  </a:lnTo>
                  <a:lnTo>
                    <a:pt x="538" y="488"/>
                  </a:lnTo>
                  <a:lnTo>
                    <a:pt x="534" y="492"/>
                  </a:lnTo>
                  <a:lnTo>
                    <a:pt x="528" y="498"/>
                  </a:lnTo>
                  <a:lnTo>
                    <a:pt x="520" y="500"/>
                  </a:lnTo>
                  <a:lnTo>
                    <a:pt x="512" y="502"/>
                  </a:lnTo>
                  <a:lnTo>
                    <a:pt x="490" y="506"/>
                  </a:lnTo>
                  <a:lnTo>
                    <a:pt x="490" y="506"/>
                  </a:lnTo>
                  <a:lnTo>
                    <a:pt x="482" y="524"/>
                  </a:lnTo>
                  <a:lnTo>
                    <a:pt x="474" y="542"/>
                  </a:lnTo>
                  <a:lnTo>
                    <a:pt x="488" y="562"/>
                  </a:lnTo>
                  <a:lnTo>
                    <a:pt x="488" y="562"/>
                  </a:lnTo>
                  <a:lnTo>
                    <a:pt x="492" y="568"/>
                  </a:lnTo>
                  <a:lnTo>
                    <a:pt x="494" y="574"/>
                  </a:lnTo>
                  <a:lnTo>
                    <a:pt x="496" y="582"/>
                  </a:lnTo>
                  <a:lnTo>
                    <a:pt x="496" y="590"/>
                  </a:lnTo>
                  <a:lnTo>
                    <a:pt x="494" y="598"/>
                  </a:lnTo>
                  <a:lnTo>
                    <a:pt x="492" y="604"/>
                  </a:lnTo>
                  <a:lnTo>
                    <a:pt x="488" y="610"/>
                  </a:lnTo>
                  <a:lnTo>
                    <a:pt x="484" y="616"/>
                  </a:lnTo>
                  <a:lnTo>
                    <a:pt x="452" y="646"/>
                  </a:lnTo>
                  <a:lnTo>
                    <a:pt x="452" y="646"/>
                  </a:lnTo>
                  <a:lnTo>
                    <a:pt x="448" y="652"/>
                  </a:lnTo>
                  <a:lnTo>
                    <a:pt x="442" y="656"/>
                  </a:lnTo>
                  <a:lnTo>
                    <a:pt x="434" y="658"/>
                  </a:lnTo>
                  <a:lnTo>
                    <a:pt x="426" y="660"/>
                  </a:lnTo>
                  <a:lnTo>
                    <a:pt x="426" y="660"/>
                  </a:lnTo>
                  <a:lnTo>
                    <a:pt x="418" y="660"/>
                  </a:lnTo>
                  <a:lnTo>
                    <a:pt x="412" y="658"/>
                  </a:lnTo>
                  <a:lnTo>
                    <a:pt x="404" y="656"/>
                  </a:lnTo>
                  <a:lnTo>
                    <a:pt x="398" y="652"/>
                  </a:lnTo>
                  <a:lnTo>
                    <a:pt x="378" y="638"/>
                  </a:lnTo>
                  <a:lnTo>
                    <a:pt x="378" y="638"/>
                  </a:lnTo>
                  <a:lnTo>
                    <a:pt x="360" y="646"/>
                  </a:lnTo>
                  <a:lnTo>
                    <a:pt x="342" y="652"/>
                  </a:lnTo>
                  <a:lnTo>
                    <a:pt x="338" y="676"/>
                  </a:lnTo>
                  <a:lnTo>
                    <a:pt x="338" y="676"/>
                  </a:lnTo>
                  <a:lnTo>
                    <a:pt x="336" y="684"/>
                  </a:lnTo>
                  <a:lnTo>
                    <a:pt x="334" y="690"/>
                  </a:lnTo>
                  <a:lnTo>
                    <a:pt x="330" y="696"/>
                  </a:lnTo>
                  <a:lnTo>
                    <a:pt x="324" y="702"/>
                  </a:lnTo>
                  <a:lnTo>
                    <a:pt x="318" y="706"/>
                  </a:lnTo>
                  <a:lnTo>
                    <a:pt x="310" y="710"/>
                  </a:lnTo>
                  <a:lnTo>
                    <a:pt x="302" y="712"/>
                  </a:lnTo>
                  <a:lnTo>
                    <a:pt x="296" y="712"/>
                  </a:lnTo>
                  <a:lnTo>
                    <a:pt x="252" y="712"/>
                  </a:lnTo>
                  <a:lnTo>
                    <a:pt x="252" y="712"/>
                  </a:lnTo>
                  <a:lnTo>
                    <a:pt x="246" y="712"/>
                  </a:lnTo>
                  <a:lnTo>
                    <a:pt x="238" y="710"/>
                  </a:lnTo>
                  <a:lnTo>
                    <a:pt x="232" y="706"/>
                  </a:lnTo>
                  <a:lnTo>
                    <a:pt x="226" y="702"/>
                  </a:lnTo>
                  <a:lnTo>
                    <a:pt x="220" y="696"/>
                  </a:lnTo>
                  <a:lnTo>
                    <a:pt x="216" y="690"/>
                  </a:lnTo>
                  <a:lnTo>
                    <a:pt x="212" y="684"/>
                  </a:lnTo>
                  <a:lnTo>
                    <a:pt x="210" y="676"/>
                  </a:lnTo>
                  <a:lnTo>
                    <a:pt x="206" y="652"/>
                  </a:lnTo>
                  <a:lnTo>
                    <a:pt x="206" y="652"/>
                  </a:lnTo>
                  <a:lnTo>
                    <a:pt x="176" y="640"/>
                  </a:lnTo>
                  <a:lnTo>
                    <a:pt x="118" y="744"/>
                  </a:lnTo>
                  <a:lnTo>
                    <a:pt x="112" y="752"/>
                  </a:lnTo>
                  <a:lnTo>
                    <a:pt x="112" y="752"/>
                  </a:lnTo>
                  <a:lnTo>
                    <a:pt x="132" y="762"/>
                  </a:lnTo>
                  <a:lnTo>
                    <a:pt x="150" y="770"/>
                  </a:lnTo>
                  <a:lnTo>
                    <a:pt x="170" y="776"/>
                  </a:lnTo>
                  <a:lnTo>
                    <a:pt x="190" y="782"/>
                  </a:lnTo>
                  <a:lnTo>
                    <a:pt x="212" y="786"/>
                  </a:lnTo>
                  <a:lnTo>
                    <a:pt x="232" y="788"/>
                  </a:lnTo>
                  <a:lnTo>
                    <a:pt x="254" y="790"/>
                  </a:lnTo>
                  <a:lnTo>
                    <a:pt x="274" y="792"/>
                  </a:lnTo>
                  <a:lnTo>
                    <a:pt x="274" y="792"/>
                  </a:lnTo>
                  <a:lnTo>
                    <a:pt x="310" y="790"/>
                  </a:lnTo>
                  <a:lnTo>
                    <a:pt x="346" y="784"/>
                  </a:lnTo>
                  <a:lnTo>
                    <a:pt x="380" y="776"/>
                  </a:lnTo>
                  <a:lnTo>
                    <a:pt x="412" y="764"/>
                  </a:lnTo>
                  <a:lnTo>
                    <a:pt x="442" y="748"/>
                  </a:lnTo>
                  <a:lnTo>
                    <a:pt x="472" y="730"/>
                  </a:lnTo>
                  <a:lnTo>
                    <a:pt x="500" y="710"/>
                  </a:lnTo>
                  <a:lnTo>
                    <a:pt x="524" y="688"/>
                  </a:lnTo>
                  <a:lnTo>
                    <a:pt x="546" y="662"/>
                  </a:lnTo>
                  <a:lnTo>
                    <a:pt x="568" y="636"/>
                  </a:lnTo>
                  <a:lnTo>
                    <a:pt x="586" y="606"/>
                  </a:lnTo>
                  <a:lnTo>
                    <a:pt x="600" y="576"/>
                  </a:lnTo>
                  <a:lnTo>
                    <a:pt x="612" y="542"/>
                  </a:lnTo>
                  <a:lnTo>
                    <a:pt x="620" y="510"/>
                  </a:lnTo>
                  <a:lnTo>
                    <a:pt x="626" y="474"/>
                  </a:lnTo>
                  <a:lnTo>
                    <a:pt x="628" y="438"/>
                  </a:lnTo>
                  <a:lnTo>
                    <a:pt x="628" y="438"/>
                  </a:lnTo>
                  <a:lnTo>
                    <a:pt x="626" y="402"/>
                  </a:lnTo>
                  <a:lnTo>
                    <a:pt x="620" y="366"/>
                  </a:lnTo>
                  <a:lnTo>
                    <a:pt x="612" y="332"/>
                  </a:lnTo>
                  <a:lnTo>
                    <a:pt x="600" y="300"/>
                  </a:lnTo>
                  <a:lnTo>
                    <a:pt x="586" y="270"/>
                  </a:lnTo>
                  <a:lnTo>
                    <a:pt x="568" y="240"/>
                  </a:lnTo>
                  <a:lnTo>
                    <a:pt x="546" y="214"/>
                  </a:lnTo>
                  <a:lnTo>
                    <a:pt x="524" y="188"/>
                  </a:lnTo>
                  <a:lnTo>
                    <a:pt x="500" y="166"/>
                  </a:lnTo>
                  <a:lnTo>
                    <a:pt x="472" y="144"/>
                  </a:lnTo>
                  <a:lnTo>
                    <a:pt x="442" y="128"/>
                  </a:lnTo>
                  <a:lnTo>
                    <a:pt x="412" y="112"/>
                  </a:lnTo>
                  <a:lnTo>
                    <a:pt x="380" y="100"/>
                  </a:lnTo>
                  <a:lnTo>
                    <a:pt x="346" y="92"/>
                  </a:lnTo>
                  <a:lnTo>
                    <a:pt x="310" y="86"/>
                  </a:lnTo>
                  <a:lnTo>
                    <a:pt x="274" y="84"/>
                  </a:lnTo>
                  <a:lnTo>
                    <a:pt x="274" y="84"/>
                  </a:lnTo>
                  <a:lnTo>
                    <a:pt x="246" y="86"/>
                  </a:lnTo>
                  <a:lnTo>
                    <a:pt x="218" y="88"/>
                  </a:lnTo>
                  <a:lnTo>
                    <a:pt x="190" y="94"/>
                  </a:lnTo>
                  <a:lnTo>
                    <a:pt x="162" y="102"/>
                  </a:lnTo>
                  <a:lnTo>
                    <a:pt x="174" y="130"/>
                  </a:lnTo>
                  <a:lnTo>
                    <a:pt x="186" y="164"/>
                  </a:lnTo>
                  <a:lnTo>
                    <a:pt x="186" y="164"/>
                  </a:lnTo>
                  <a:lnTo>
                    <a:pt x="186" y="170"/>
                  </a:lnTo>
                  <a:lnTo>
                    <a:pt x="184" y="178"/>
                  </a:lnTo>
                  <a:lnTo>
                    <a:pt x="184" y="178"/>
                  </a:lnTo>
                  <a:lnTo>
                    <a:pt x="176" y="182"/>
                  </a:lnTo>
                  <a:lnTo>
                    <a:pt x="170" y="182"/>
                  </a:lnTo>
                  <a:lnTo>
                    <a:pt x="40" y="144"/>
                  </a:lnTo>
                  <a:lnTo>
                    <a:pt x="40" y="144"/>
                  </a:lnTo>
                  <a:lnTo>
                    <a:pt x="34" y="142"/>
                  </a:lnTo>
                  <a:lnTo>
                    <a:pt x="30" y="136"/>
                  </a:lnTo>
                  <a:lnTo>
                    <a:pt x="30" y="136"/>
                  </a:lnTo>
                  <a:lnTo>
                    <a:pt x="28" y="130"/>
                  </a:lnTo>
                  <a:lnTo>
                    <a:pt x="32" y="124"/>
                  </a:lnTo>
                  <a:lnTo>
                    <a:pt x="104" y="8"/>
                  </a:lnTo>
                  <a:lnTo>
                    <a:pt x="104" y="8"/>
                  </a:lnTo>
                  <a:lnTo>
                    <a:pt x="108" y="4"/>
                  </a:lnTo>
                  <a:lnTo>
                    <a:pt x="112" y="0"/>
                  </a:lnTo>
                  <a:lnTo>
                    <a:pt x="118" y="0"/>
                  </a:lnTo>
                  <a:lnTo>
                    <a:pt x="124" y="2"/>
                  </a:lnTo>
                  <a:lnTo>
                    <a:pt x="124" y="2"/>
                  </a:lnTo>
                  <a:lnTo>
                    <a:pt x="128" y="6"/>
                  </a:lnTo>
                  <a:lnTo>
                    <a:pt x="130" y="12"/>
                  </a:lnTo>
                  <a:lnTo>
                    <a:pt x="130" y="16"/>
                  </a:lnTo>
                  <a:lnTo>
                    <a:pt x="128" y="22"/>
                  </a:lnTo>
                  <a:lnTo>
                    <a:pt x="64" y="122"/>
                  </a:lnTo>
                  <a:lnTo>
                    <a:pt x="150" y="148"/>
                  </a:lnTo>
                  <a:lnTo>
                    <a:pt x="148" y="140"/>
                  </a:lnTo>
                  <a:lnTo>
                    <a:pt x="130" y="100"/>
                  </a:lnTo>
                  <a:lnTo>
                    <a:pt x="130" y="100"/>
                  </a:lnTo>
                  <a:lnTo>
                    <a:pt x="130" y="94"/>
                  </a:lnTo>
                  <a:lnTo>
                    <a:pt x="130" y="88"/>
                  </a:lnTo>
                  <a:lnTo>
                    <a:pt x="130" y="88"/>
                  </a:lnTo>
                  <a:lnTo>
                    <a:pt x="134" y="84"/>
                  </a:lnTo>
                  <a:lnTo>
                    <a:pt x="138" y="82"/>
                  </a:lnTo>
                  <a:lnTo>
                    <a:pt x="138" y="82"/>
                  </a:lnTo>
                  <a:lnTo>
                    <a:pt x="172" y="70"/>
                  </a:lnTo>
                  <a:lnTo>
                    <a:pt x="206" y="62"/>
                  </a:lnTo>
                  <a:lnTo>
                    <a:pt x="240" y="58"/>
                  </a:lnTo>
                  <a:lnTo>
                    <a:pt x="274" y="56"/>
                  </a:lnTo>
                  <a:lnTo>
                    <a:pt x="274" y="56"/>
                  </a:lnTo>
                  <a:lnTo>
                    <a:pt x="314" y="58"/>
                  </a:lnTo>
                  <a:lnTo>
                    <a:pt x="352" y="64"/>
                  </a:lnTo>
                  <a:lnTo>
                    <a:pt x="388" y="74"/>
                  </a:lnTo>
                  <a:lnTo>
                    <a:pt x="422" y="86"/>
                  </a:lnTo>
                  <a:lnTo>
                    <a:pt x="456" y="102"/>
                  </a:lnTo>
                  <a:lnTo>
                    <a:pt x="488" y="122"/>
                  </a:lnTo>
                  <a:lnTo>
                    <a:pt x="516" y="144"/>
                  </a:lnTo>
                  <a:lnTo>
                    <a:pt x="544" y="168"/>
                  </a:lnTo>
                  <a:lnTo>
                    <a:pt x="568" y="196"/>
                  </a:lnTo>
                  <a:lnTo>
                    <a:pt x="590" y="224"/>
                  </a:lnTo>
                  <a:lnTo>
                    <a:pt x="610" y="256"/>
                  </a:lnTo>
                  <a:lnTo>
                    <a:pt x="626" y="290"/>
                  </a:lnTo>
                  <a:lnTo>
                    <a:pt x="638" y="324"/>
                  </a:lnTo>
                  <a:lnTo>
                    <a:pt x="648" y="362"/>
                  </a:lnTo>
                  <a:lnTo>
                    <a:pt x="654" y="398"/>
                  </a:lnTo>
                  <a:lnTo>
                    <a:pt x="656" y="438"/>
                  </a:lnTo>
                  <a:lnTo>
                    <a:pt x="656" y="438"/>
                  </a:lnTo>
                  <a:lnTo>
                    <a:pt x="654" y="476"/>
                  </a:lnTo>
                  <a:lnTo>
                    <a:pt x="648" y="514"/>
                  </a:lnTo>
                  <a:lnTo>
                    <a:pt x="638" y="552"/>
                  </a:lnTo>
                  <a:lnTo>
                    <a:pt x="626" y="586"/>
                  </a:lnTo>
                  <a:lnTo>
                    <a:pt x="610" y="620"/>
                  </a:lnTo>
                  <a:lnTo>
                    <a:pt x="590" y="652"/>
                  </a:lnTo>
                  <a:lnTo>
                    <a:pt x="568" y="680"/>
                  </a:lnTo>
                  <a:lnTo>
                    <a:pt x="544" y="708"/>
                  </a:lnTo>
                  <a:lnTo>
                    <a:pt x="516" y="732"/>
                  </a:lnTo>
                  <a:lnTo>
                    <a:pt x="488" y="754"/>
                  </a:lnTo>
                  <a:lnTo>
                    <a:pt x="456" y="774"/>
                  </a:lnTo>
                  <a:lnTo>
                    <a:pt x="422" y="790"/>
                  </a:lnTo>
                  <a:lnTo>
                    <a:pt x="388" y="802"/>
                  </a:lnTo>
                  <a:lnTo>
                    <a:pt x="352" y="812"/>
                  </a:lnTo>
                  <a:lnTo>
                    <a:pt x="314" y="818"/>
                  </a:lnTo>
                  <a:lnTo>
                    <a:pt x="274" y="820"/>
                  </a:lnTo>
                  <a:lnTo>
                    <a:pt x="274" y="820"/>
                  </a:lnTo>
                  <a:close/>
                </a:path>
              </a:pathLst>
            </a:custGeom>
            <a:grpFill/>
            <a:ln>
              <a:noFill/>
            </a:ln>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grpSp>
      <p:grpSp>
        <p:nvGrpSpPr>
          <p:cNvPr id="10" name="Group 9"/>
          <p:cNvGrpSpPr/>
          <p:nvPr/>
        </p:nvGrpSpPr>
        <p:grpSpPr>
          <a:xfrm>
            <a:off x="9826034" y="2845760"/>
            <a:ext cx="1759877" cy="1445056"/>
            <a:chOff x="9910801" y="2434267"/>
            <a:chExt cx="1878892" cy="1542780"/>
          </a:xfrm>
          <a:solidFill>
            <a:schemeClr val="accent2"/>
          </a:solidFill>
        </p:grpSpPr>
        <p:sp>
          <p:nvSpPr>
            <p:cNvPr id="218" name="TextBox 217"/>
            <p:cNvSpPr txBox="1"/>
            <p:nvPr/>
          </p:nvSpPr>
          <p:spPr>
            <a:xfrm>
              <a:off x="9910801" y="3234749"/>
              <a:ext cx="1090058" cy="489180"/>
            </a:xfrm>
            <a:prstGeom prst="rect">
              <a:avLst/>
            </a:prstGeom>
            <a:noFill/>
          </p:spPr>
          <p:txBody>
            <a:bodyPr wrap="square" lIns="182780" tIns="146224" rIns="182780" bIns="146224" rtlCol="0">
              <a:spAutoFit/>
            </a:bodyPr>
            <a:lstStyle/>
            <a:p>
              <a:pPr defTabSz="932194">
                <a:lnSpc>
                  <a:spcPct val="90000"/>
                </a:lnSpc>
                <a:spcBef>
                  <a:spcPct val="0"/>
                </a:spcBef>
                <a:spcAft>
                  <a:spcPts val="600"/>
                </a:spcAft>
              </a:pPr>
              <a:r>
                <a:rPr lang="en-US" sz="1200" kern="0" spc="-30" dirty="0">
                  <a:solidFill>
                    <a:schemeClr val="bg2"/>
                  </a:solidFill>
                  <a:latin typeface="Segoe UI Semilight" panose="020B0402040204020203" pitchFamily="34" charset="0"/>
                  <a:cs typeface="Segoe UI Semilight" panose="020B0402040204020203" pitchFamily="34" charset="0"/>
                </a:rPr>
                <a:t>Apps</a:t>
              </a:r>
            </a:p>
          </p:txBody>
        </p:sp>
        <p:grpSp>
          <p:nvGrpSpPr>
            <p:cNvPr id="219" name="Group 218"/>
            <p:cNvGrpSpPr/>
            <p:nvPr/>
          </p:nvGrpSpPr>
          <p:grpSpPr>
            <a:xfrm>
              <a:off x="10012430" y="2917883"/>
              <a:ext cx="462396" cy="357669"/>
              <a:chOff x="5007615" y="2323753"/>
              <a:chExt cx="649029" cy="502032"/>
            </a:xfrm>
            <a:grpFill/>
          </p:grpSpPr>
          <p:sp>
            <p:nvSpPr>
              <p:cNvPr id="220" name="Freeform 219"/>
              <p:cNvSpPr>
                <a:spLocks/>
              </p:cNvSpPr>
              <p:nvPr/>
            </p:nvSpPr>
            <p:spPr bwMode="auto">
              <a:xfrm>
                <a:off x="5175285" y="2455306"/>
                <a:ext cx="313688" cy="314768"/>
              </a:xfrm>
              <a:custGeom>
                <a:avLst/>
                <a:gdLst>
                  <a:gd name="connsiteX0" fmla="*/ 193673 w 319670"/>
                  <a:gd name="connsiteY0" fmla="*/ 280605 h 320770"/>
                  <a:gd name="connsiteX1" fmla="*/ 165888 w 319670"/>
                  <a:gd name="connsiteY1" fmla="*/ 281661 h 320770"/>
                  <a:gd name="connsiteX2" fmla="*/ 167460 w 319670"/>
                  <a:gd name="connsiteY2" fmla="*/ 307015 h 320770"/>
                  <a:gd name="connsiteX3" fmla="*/ 181091 w 319670"/>
                  <a:gd name="connsiteY3" fmla="*/ 305430 h 320770"/>
                  <a:gd name="connsiteX4" fmla="*/ 193673 w 319670"/>
                  <a:gd name="connsiteY4" fmla="*/ 280605 h 320770"/>
                  <a:gd name="connsiteX5" fmla="*/ 127923 w 319670"/>
                  <a:gd name="connsiteY5" fmla="*/ 280054 h 320770"/>
                  <a:gd name="connsiteX6" fmla="*/ 141657 w 319670"/>
                  <a:gd name="connsiteY6" fmla="*/ 305957 h 320770"/>
                  <a:gd name="connsiteX7" fmla="*/ 154333 w 319670"/>
                  <a:gd name="connsiteY7" fmla="*/ 307015 h 320770"/>
                  <a:gd name="connsiteX8" fmla="*/ 152749 w 319670"/>
                  <a:gd name="connsiteY8" fmla="*/ 281640 h 320770"/>
                  <a:gd name="connsiteX9" fmla="*/ 127923 w 319670"/>
                  <a:gd name="connsiteY9" fmla="*/ 280054 h 320770"/>
                  <a:gd name="connsiteX10" fmla="*/ 226960 w 319670"/>
                  <a:gd name="connsiteY10" fmla="*/ 275378 h 320770"/>
                  <a:gd name="connsiteX11" fmla="*/ 209629 w 319670"/>
                  <a:gd name="connsiteY11" fmla="*/ 278547 h 320770"/>
                  <a:gd name="connsiteX12" fmla="*/ 198075 w 319670"/>
                  <a:gd name="connsiteY12" fmla="*/ 301788 h 320770"/>
                  <a:gd name="connsiteX13" fmla="*/ 204377 w 319670"/>
                  <a:gd name="connsiteY13" fmla="*/ 300203 h 320770"/>
                  <a:gd name="connsiteX14" fmla="*/ 226960 w 319670"/>
                  <a:gd name="connsiteY14" fmla="*/ 275378 h 320770"/>
                  <a:gd name="connsiteX15" fmla="*/ 94911 w 319670"/>
                  <a:gd name="connsiteY15" fmla="*/ 274277 h 320770"/>
                  <a:gd name="connsiteX16" fmla="*/ 120163 w 319670"/>
                  <a:gd name="connsiteY16" fmla="*/ 301828 h 320770"/>
                  <a:gd name="connsiteX17" fmla="*/ 124897 w 319670"/>
                  <a:gd name="connsiteY17" fmla="*/ 302888 h 320770"/>
                  <a:gd name="connsiteX18" fmla="*/ 112797 w 319670"/>
                  <a:gd name="connsiteY18" fmla="*/ 277456 h 320770"/>
                  <a:gd name="connsiteX19" fmla="*/ 94911 w 319670"/>
                  <a:gd name="connsiteY19" fmla="*/ 274277 h 320770"/>
                  <a:gd name="connsiteX20" fmla="*/ 261623 w 319670"/>
                  <a:gd name="connsiteY20" fmla="*/ 266024 h 320770"/>
                  <a:gd name="connsiteX21" fmla="*/ 247511 w 319670"/>
                  <a:gd name="connsiteY21" fmla="*/ 270781 h 320770"/>
                  <a:gd name="connsiteX22" fmla="*/ 235489 w 319670"/>
                  <a:gd name="connsiteY22" fmla="*/ 286107 h 320770"/>
                  <a:gd name="connsiteX23" fmla="*/ 261623 w 319670"/>
                  <a:gd name="connsiteY23" fmla="*/ 266024 h 320770"/>
                  <a:gd name="connsiteX24" fmla="*/ 53646 w 319670"/>
                  <a:gd name="connsiteY24" fmla="*/ 261072 h 320770"/>
                  <a:gd name="connsiteX25" fmla="*/ 90509 w 319670"/>
                  <a:gd name="connsiteY25" fmla="*/ 289683 h 320770"/>
                  <a:gd name="connsiteX26" fmla="*/ 74184 w 319670"/>
                  <a:gd name="connsiteY26" fmla="*/ 268490 h 320770"/>
                  <a:gd name="connsiteX27" fmla="*/ 53646 w 319670"/>
                  <a:gd name="connsiteY27" fmla="*/ 261072 h 320770"/>
                  <a:gd name="connsiteX28" fmla="*/ 213205 w 319670"/>
                  <a:gd name="connsiteY28" fmla="*/ 224209 h 320770"/>
                  <a:gd name="connsiteX29" fmla="*/ 163687 w 319670"/>
                  <a:gd name="connsiteY29" fmla="*/ 228957 h 320770"/>
                  <a:gd name="connsiteX30" fmla="*/ 165267 w 319670"/>
                  <a:gd name="connsiteY30" fmla="*/ 269051 h 320770"/>
                  <a:gd name="connsiteX31" fmla="*/ 200035 w 319670"/>
                  <a:gd name="connsiteY31" fmla="*/ 266413 h 320770"/>
                  <a:gd name="connsiteX32" fmla="*/ 213205 w 319670"/>
                  <a:gd name="connsiteY32" fmla="*/ 224209 h 320770"/>
                  <a:gd name="connsiteX33" fmla="*/ 108941 w 319670"/>
                  <a:gd name="connsiteY33" fmla="*/ 224209 h 320770"/>
                  <a:gd name="connsiteX34" fmla="*/ 122109 w 319670"/>
                  <a:gd name="connsiteY34" fmla="*/ 265864 h 320770"/>
                  <a:gd name="connsiteX35" fmla="*/ 152132 w 319670"/>
                  <a:gd name="connsiteY35" fmla="*/ 268500 h 320770"/>
                  <a:gd name="connsiteX36" fmla="*/ 150552 w 319670"/>
                  <a:gd name="connsiteY36" fmla="*/ 228954 h 320770"/>
                  <a:gd name="connsiteX37" fmla="*/ 108941 w 319670"/>
                  <a:gd name="connsiteY37" fmla="*/ 224209 h 320770"/>
                  <a:gd name="connsiteX38" fmla="*/ 58322 w 319670"/>
                  <a:gd name="connsiteY38" fmla="*/ 209903 h 320770"/>
                  <a:gd name="connsiteX39" fmla="*/ 82669 w 319670"/>
                  <a:gd name="connsiteY39" fmla="*/ 257461 h 320770"/>
                  <a:gd name="connsiteX40" fmla="*/ 107016 w 319670"/>
                  <a:gd name="connsiteY40" fmla="*/ 263273 h 320770"/>
                  <a:gd name="connsiteX41" fmla="*/ 94842 w 319670"/>
                  <a:gd name="connsiteY41" fmla="*/ 221000 h 320770"/>
                  <a:gd name="connsiteX42" fmla="*/ 58322 w 319670"/>
                  <a:gd name="connsiteY42" fmla="*/ 209903 h 320770"/>
                  <a:gd name="connsiteX43" fmla="*/ 264925 w 319670"/>
                  <a:gd name="connsiteY43" fmla="*/ 209078 h 320770"/>
                  <a:gd name="connsiteX44" fmla="*/ 227505 w 319670"/>
                  <a:gd name="connsiteY44" fmla="*/ 221190 h 320770"/>
                  <a:gd name="connsiteX45" fmla="*/ 214856 w 319670"/>
                  <a:gd name="connsiteY45" fmla="*/ 264374 h 320770"/>
                  <a:gd name="connsiteX46" fmla="*/ 239100 w 319670"/>
                  <a:gd name="connsiteY46" fmla="*/ 259634 h 320770"/>
                  <a:gd name="connsiteX47" fmla="*/ 264925 w 319670"/>
                  <a:gd name="connsiteY47" fmla="*/ 209078 h 320770"/>
                  <a:gd name="connsiteX48" fmla="*/ 303989 w 319670"/>
                  <a:gd name="connsiteY48" fmla="*/ 187895 h 320770"/>
                  <a:gd name="connsiteX49" fmla="*/ 280765 w 319670"/>
                  <a:gd name="connsiteY49" fmla="*/ 201624 h 320770"/>
                  <a:gd name="connsiteX50" fmla="*/ 258597 w 319670"/>
                  <a:gd name="connsiteY50" fmla="*/ 253370 h 320770"/>
                  <a:gd name="connsiteX51" fmla="*/ 279710 w 319670"/>
                  <a:gd name="connsiteY51" fmla="*/ 244921 h 320770"/>
                  <a:gd name="connsiteX52" fmla="*/ 303989 w 319670"/>
                  <a:gd name="connsiteY52" fmla="*/ 187895 h 320770"/>
                  <a:gd name="connsiteX53" fmla="*/ 15131 w 319670"/>
                  <a:gd name="connsiteY53" fmla="*/ 186244 h 320770"/>
                  <a:gd name="connsiteX54" fmla="*/ 35764 w 319670"/>
                  <a:gd name="connsiteY54" fmla="*/ 239029 h 320770"/>
                  <a:gd name="connsiteX55" fmla="*/ 63274 w 319670"/>
                  <a:gd name="connsiteY55" fmla="*/ 251169 h 320770"/>
                  <a:gd name="connsiteX56" fmla="*/ 42641 w 319670"/>
                  <a:gd name="connsiteY56" fmla="*/ 202607 h 320770"/>
                  <a:gd name="connsiteX57" fmla="*/ 15131 w 319670"/>
                  <a:gd name="connsiteY57" fmla="*/ 186244 h 320770"/>
                  <a:gd name="connsiteX58" fmla="*/ 220633 w 319670"/>
                  <a:gd name="connsiteY58" fmla="*/ 169463 h 320770"/>
                  <a:gd name="connsiteX59" fmla="*/ 162861 w 319670"/>
                  <a:gd name="connsiteY59" fmla="*/ 176816 h 320770"/>
                  <a:gd name="connsiteX60" fmla="*/ 163386 w 319670"/>
                  <a:gd name="connsiteY60" fmla="*/ 215680 h 320770"/>
                  <a:gd name="connsiteX61" fmla="*/ 216431 w 319670"/>
                  <a:gd name="connsiteY61" fmla="*/ 209903 h 320770"/>
                  <a:gd name="connsiteX62" fmla="*/ 220633 w 319670"/>
                  <a:gd name="connsiteY62" fmla="*/ 169463 h 320770"/>
                  <a:gd name="connsiteX63" fmla="*/ 101513 w 319670"/>
                  <a:gd name="connsiteY63" fmla="*/ 169463 h 320770"/>
                  <a:gd name="connsiteX64" fmla="*/ 105748 w 319670"/>
                  <a:gd name="connsiteY64" fmla="*/ 210428 h 320770"/>
                  <a:gd name="connsiteX65" fmla="*/ 150207 w 319670"/>
                  <a:gd name="connsiteY65" fmla="*/ 215680 h 320770"/>
                  <a:gd name="connsiteX66" fmla="*/ 149678 w 319670"/>
                  <a:gd name="connsiteY66" fmla="*/ 176291 h 320770"/>
                  <a:gd name="connsiteX67" fmla="*/ 101513 w 319670"/>
                  <a:gd name="connsiteY67" fmla="*/ 169463 h 320770"/>
                  <a:gd name="connsiteX68" fmla="*/ 51121 w 319670"/>
                  <a:gd name="connsiteY68" fmla="*/ 149931 h 320770"/>
                  <a:gd name="connsiteX69" fmla="*/ 50069 w 319670"/>
                  <a:gd name="connsiteY69" fmla="*/ 159953 h 320770"/>
                  <a:gd name="connsiteX70" fmla="*/ 53752 w 319670"/>
                  <a:gd name="connsiteY70" fmla="*/ 193713 h 320770"/>
                  <a:gd name="connsiteX71" fmla="*/ 92160 w 319670"/>
                  <a:gd name="connsiteY71" fmla="*/ 207427 h 320770"/>
                  <a:gd name="connsiteX72" fmla="*/ 89003 w 319670"/>
                  <a:gd name="connsiteY72" fmla="*/ 166283 h 320770"/>
                  <a:gd name="connsiteX73" fmla="*/ 51121 w 319670"/>
                  <a:gd name="connsiteY73" fmla="*/ 149931 h 320770"/>
                  <a:gd name="connsiteX74" fmla="*/ 271850 w 319670"/>
                  <a:gd name="connsiteY74" fmla="*/ 148830 h 320770"/>
                  <a:gd name="connsiteX75" fmla="*/ 233420 w 319670"/>
                  <a:gd name="connsiteY75" fmla="*/ 165717 h 320770"/>
                  <a:gd name="connsiteX76" fmla="*/ 230262 w 319670"/>
                  <a:gd name="connsiteY76" fmla="*/ 206877 h 320770"/>
                  <a:gd name="connsiteX77" fmla="*/ 269218 w 319670"/>
                  <a:gd name="connsiteY77" fmla="*/ 193157 h 320770"/>
                  <a:gd name="connsiteX78" fmla="*/ 272903 w 319670"/>
                  <a:gd name="connsiteY78" fmla="*/ 159912 h 320770"/>
                  <a:gd name="connsiteX79" fmla="*/ 271850 w 319670"/>
                  <a:gd name="connsiteY79" fmla="*/ 148830 h 320770"/>
                  <a:gd name="connsiteX80" fmla="*/ 302793 w 319670"/>
                  <a:gd name="connsiteY80" fmla="*/ 126547 h 320770"/>
                  <a:gd name="connsiteX81" fmla="*/ 284431 w 319670"/>
                  <a:gd name="connsiteY81" fmla="*/ 141328 h 320770"/>
                  <a:gd name="connsiteX82" fmla="*/ 286005 w 319670"/>
                  <a:gd name="connsiteY82" fmla="*/ 159805 h 320770"/>
                  <a:gd name="connsiteX83" fmla="*/ 283907 w 319670"/>
                  <a:gd name="connsiteY83" fmla="*/ 185144 h 320770"/>
                  <a:gd name="connsiteX84" fmla="*/ 306465 w 319670"/>
                  <a:gd name="connsiteY84" fmla="*/ 169835 h 320770"/>
                  <a:gd name="connsiteX85" fmla="*/ 306465 w 319670"/>
                  <a:gd name="connsiteY85" fmla="*/ 160333 h 320770"/>
                  <a:gd name="connsiteX86" fmla="*/ 302793 w 319670"/>
                  <a:gd name="connsiteY86" fmla="*/ 126547 h 320770"/>
                  <a:gd name="connsiteX87" fmla="*/ 17427 w 319670"/>
                  <a:gd name="connsiteY87" fmla="*/ 125172 h 320770"/>
                  <a:gd name="connsiteX88" fmla="*/ 13205 w 319670"/>
                  <a:gd name="connsiteY88" fmla="*/ 160446 h 320770"/>
                  <a:gd name="connsiteX89" fmla="*/ 13205 w 319670"/>
                  <a:gd name="connsiteY89" fmla="*/ 168870 h 320770"/>
                  <a:gd name="connsiteX90" fmla="*/ 39065 w 319670"/>
                  <a:gd name="connsiteY90" fmla="*/ 186244 h 320770"/>
                  <a:gd name="connsiteX91" fmla="*/ 36954 w 319670"/>
                  <a:gd name="connsiteY91" fmla="*/ 159920 h 320770"/>
                  <a:gd name="connsiteX92" fmla="*/ 38537 w 319670"/>
                  <a:gd name="connsiteY92" fmla="*/ 142546 h 320770"/>
                  <a:gd name="connsiteX93" fmla="*/ 17427 w 319670"/>
                  <a:gd name="connsiteY93" fmla="*/ 125172 h 320770"/>
                  <a:gd name="connsiteX94" fmla="*/ 215883 w 319670"/>
                  <a:gd name="connsiteY94" fmla="*/ 122420 h 320770"/>
                  <a:gd name="connsiteX95" fmla="*/ 165486 w 319670"/>
                  <a:gd name="connsiteY95" fmla="*/ 128769 h 320770"/>
                  <a:gd name="connsiteX96" fmla="*/ 163386 w 319670"/>
                  <a:gd name="connsiteY96" fmla="*/ 128769 h 320770"/>
                  <a:gd name="connsiteX97" fmla="*/ 162861 w 319670"/>
                  <a:gd name="connsiteY97" fmla="*/ 155221 h 320770"/>
                  <a:gd name="connsiteX98" fmla="*/ 162861 w 319670"/>
                  <a:gd name="connsiteY98" fmla="*/ 163686 h 320770"/>
                  <a:gd name="connsiteX99" fmla="*/ 220083 w 319670"/>
                  <a:gd name="connsiteY99" fmla="*/ 155750 h 320770"/>
                  <a:gd name="connsiteX100" fmla="*/ 215883 w 319670"/>
                  <a:gd name="connsiteY100" fmla="*/ 122420 h 320770"/>
                  <a:gd name="connsiteX101" fmla="*/ 106825 w 319670"/>
                  <a:gd name="connsiteY101" fmla="*/ 120220 h 320770"/>
                  <a:gd name="connsiteX102" fmla="*/ 102064 w 319670"/>
                  <a:gd name="connsiteY102" fmla="*/ 156248 h 320770"/>
                  <a:gd name="connsiteX103" fmla="*/ 149678 w 319670"/>
                  <a:gd name="connsiteY103" fmla="*/ 163136 h 320770"/>
                  <a:gd name="connsiteX104" fmla="*/ 149678 w 319670"/>
                  <a:gd name="connsiteY104" fmla="*/ 155188 h 320770"/>
                  <a:gd name="connsiteX105" fmla="*/ 150207 w 319670"/>
                  <a:gd name="connsiteY105" fmla="*/ 128167 h 320770"/>
                  <a:gd name="connsiteX106" fmla="*/ 106825 w 319670"/>
                  <a:gd name="connsiteY106" fmla="*/ 120220 h 320770"/>
                  <a:gd name="connsiteX107" fmla="*/ 259617 w 319670"/>
                  <a:gd name="connsiteY107" fmla="*/ 103988 h 320770"/>
                  <a:gd name="connsiteX108" fmla="*/ 228611 w 319670"/>
                  <a:gd name="connsiteY108" fmla="*/ 118717 h 320770"/>
                  <a:gd name="connsiteX109" fmla="*/ 233341 w 319670"/>
                  <a:gd name="connsiteY109" fmla="*/ 151856 h 320770"/>
                  <a:gd name="connsiteX110" fmla="*/ 269602 w 319670"/>
                  <a:gd name="connsiteY110" fmla="*/ 135024 h 320770"/>
                  <a:gd name="connsiteX111" fmla="*/ 259617 w 319670"/>
                  <a:gd name="connsiteY111" fmla="*/ 103988 h 320770"/>
                  <a:gd name="connsiteX112" fmla="*/ 65249 w 319670"/>
                  <a:gd name="connsiteY112" fmla="*/ 99862 h 320770"/>
                  <a:gd name="connsiteX113" fmla="*/ 52545 w 319670"/>
                  <a:gd name="connsiteY113" fmla="*/ 136118 h 320770"/>
                  <a:gd name="connsiteX114" fmla="*/ 89068 w 319670"/>
                  <a:gd name="connsiteY114" fmla="*/ 152407 h 320770"/>
                  <a:gd name="connsiteX115" fmla="*/ 94361 w 319670"/>
                  <a:gd name="connsiteY115" fmla="*/ 115625 h 320770"/>
                  <a:gd name="connsiteX116" fmla="*/ 65249 w 319670"/>
                  <a:gd name="connsiteY116" fmla="*/ 99862 h 320770"/>
                  <a:gd name="connsiteX117" fmla="*/ 285381 w 319670"/>
                  <a:gd name="connsiteY117" fmla="*/ 83906 h 320770"/>
                  <a:gd name="connsiteX118" fmla="*/ 270702 w 319670"/>
                  <a:gd name="connsiteY118" fmla="*/ 96554 h 320770"/>
                  <a:gd name="connsiteX119" fmla="*/ 281711 w 319670"/>
                  <a:gd name="connsiteY119" fmla="*/ 127648 h 320770"/>
                  <a:gd name="connsiteX120" fmla="*/ 298487 w 319670"/>
                  <a:gd name="connsiteY120" fmla="*/ 112365 h 320770"/>
                  <a:gd name="connsiteX121" fmla="*/ 285381 w 319670"/>
                  <a:gd name="connsiteY121" fmla="*/ 83906 h 320770"/>
                  <a:gd name="connsiteX122" fmla="*/ 39411 w 319670"/>
                  <a:gd name="connsiteY122" fmla="*/ 75928 h 320770"/>
                  <a:gd name="connsiteX123" fmla="*/ 21458 w 319670"/>
                  <a:gd name="connsiteY123" fmla="*/ 111317 h 320770"/>
                  <a:gd name="connsiteX124" fmla="*/ 40995 w 319670"/>
                  <a:gd name="connsiteY124" fmla="*/ 128748 h 320770"/>
                  <a:gd name="connsiteX125" fmla="*/ 54196 w 319670"/>
                  <a:gd name="connsiteY125" fmla="*/ 91774 h 320770"/>
                  <a:gd name="connsiteX126" fmla="*/ 39411 w 319670"/>
                  <a:gd name="connsiteY126" fmla="*/ 75928 h 320770"/>
                  <a:gd name="connsiteX127" fmla="*/ 201616 w 319670"/>
                  <a:gd name="connsiteY127" fmla="*/ 73452 h 320770"/>
                  <a:gd name="connsiteX128" fmla="*/ 165267 w 319670"/>
                  <a:gd name="connsiteY128" fmla="*/ 78187 h 320770"/>
                  <a:gd name="connsiteX129" fmla="*/ 164740 w 319670"/>
                  <a:gd name="connsiteY129" fmla="*/ 78187 h 320770"/>
                  <a:gd name="connsiteX130" fmla="*/ 163687 w 319670"/>
                  <a:gd name="connsiteY130" fmla="*/ 115543 h 320770"/>
                  <a:gd name="connsiteX131" fmla="*/ 165267 w 319670"/>
                  <a:gd name="connsiteY131" fmla="*/ 115543 h 320770"/>
                  <a:gd name="connsiteX132" fmla="*/ 213205 w 319670"/>
                  <a:gd name="connsiteY132" fmla="*/ 109756 h 320770"/>
                  <a:gd name="connsiteX133" fmla="*/ 201616 w 319670"/>
                  <a:gd name="connsiteY133" fmla="*/ 73452 h 320770"/>
                  <a:gd name="connsiteX134" fmla="*/ 121592 w 319670"/>
                  <a:gd name="connsiteY134" fmla="*/ 70701 h 320770"/>
                  <a:gd name="connsiteX135" fmla="*/ 109491 w 319670"/>
                  <a:gd name="connsiteY135" fmla="*/ 107084 h 320770"/>
                  <a:gd name="connsiteX136" fmla="*/ 150530 w 319670"/>
                  <a:gd name="connsiteY136" fmla="*/ 114993 h 320770"/>
                  <a:gd name="connsiteX137" fmla="*/ 151582 w 319670"/>
                  <a:gd name="connsiteY137" fmla="*/ 77028 h 320770"/>
                  <a:gd name="connsiteX138" fmla="*/ 121592 w 319670"/>
                  <a:gd name="connsiteY138" fmla="*/ 70701 h 320770"/>
                  <a:gd name="connsiteX139" fmla="*/ 233321 w 319670"/>
                  <a:gd name="connsiteY139" fmla="*/ 59697 h 320770"/>
                  <a:gd name="connsiteX140" fmla="*/ 214306 w 319670"/>
                  <a:gd name="connsiteY140" fmla="*/ 69207 h 320770"/>
                  <a:gd name="connsiteX141" fmla="*/ 225926 w 319670"/>
                  <a:gd name="connsiteY141" fmla="*/ 106189 h 320770"/>
                  <a:gd name="connsiteX142" fmla="*/ 253921 w 319670"/>
                  <a:gd name="connsiteY142" fmla="*/ 92453 h 320770"/>
                  <a:gd name="connsiteX143" fmla="*/ 233321 w 319670"/>
                  <a:gd name="connsiteY143" fmla="*/ 59697 h 320770"/>
                  <a:gd name="connsiteX144" fmla="*/ 92595 w 319670"/>
                  <a:gd name="connsiteY144" fmla="*/ 55846 h 320770"/>
                  <a:gd name="connsiteX145" fmla="*/ 70977 w 319670"/>
                  <a:gd name="connsiteY145" fmla="*/ 88088 h 320770"/>
                  <a:gd name="connsiteX146" fmla="*/ 97341 w 319670"/>
                  <a:gd name="connsiteY146" fmla="*/ 102888 h 320770"/>
                  <a:gd name="connsiteX147" fmla="*/ 108941 w 319670"/>
                  <a:gd name="connsiteY147" fmla="*/ 65360 h 320770"/>
                  <a:gd name="connsiteX148" fmla="*/ 92595 w 319670"/>
                  <a:gd name="connsiteY148" fmla="*/ 55846 h 320770"/>
                  <a:gd name="connsiteX149" fmla="*/ 251144 w 319670"/>
                  <a:gd name="connsiteY149" fmla="*/ 44842 h 320770"/>
                  <a:gd name="connsiteX150" fmla="*/ 243742 w 319670"/>
                  <a:gd name="connsiteY150" fmla="*/ 51712 h 320770"/>
                  <a:gd name="connsiteX151" fmla="*/ 264890 w 319670"/>
                  <a:gd name="connsiteY151" fmla="*/ 85007 h 320770"/>
                  <a:gd name="connsiteX152" fmla="*/ 277579 w 319670"/>
                  <a:gd name="connsiteY152" fmla="*/ 72851 h 320770"/>
                  <a:gd name="connsiteX153" fmla="*/ 251144 w 319670"/>
                  <a:gd name="connsiteY153" fmla="*/ 44842 h 320770"/>
                  <a:gd name="connsiteX154" fmla="*/ 75908 w 319670"/>
                  <a:gd name="connsiteY154" fmla="*/ 39614 h 320770"/>
                  <a:gd name="connsiteX155" fmla="*/ 47868 w 319670"/>
                  <a:gd name="connsiteY155" fmla="*/ 65510 h 320770"/>
                  <a:gd name="connsiteX156" fmla="*/ 60565 w 319670"/>
                  <a:gd name="connsiteY156" fmla="*/ 79779 h 320770"/>
                  <a:gd name="connsiteX157" fmla="*/ 82256 w 319670"/>
                  <a:gd name="connsiteY157" fmla="*/ 47013 h 320770"/>
                  <a:gd name="connsiteX158" fmla="*/ 75908 w 319670"/>
                  <a:gd name="connsiteY158" fmla="*/ 39614 h 320770"/>
                  <a:gd name="connsiteX159" fmla="*/ 224484 w 319670"/>
                  <a:gd name="connsiteY159" fmla="*/ 28060 h 320770"/>
                  <a:gd name="connsiteX160" fmla="*/ 236003 w 319670"/>
                  <a:gd name="connsiteY160" fmla="*/ 41815 h 320770"/>
                  <a:gd name="connsiteX161" fmla="*/ 240716 w 319670"/>
                  <a:gd name="connsiteY161" fmla="*/ 37583 h 320770"/>
                  <a:gd name="connsiteX162" fmla="*/ 224484 w 319670"/>
                  <a:gd name="connsiteY162" fmla="*/ 28060 h 320770"/>
                  <a:gd name="connsiteX163" fmla="*/ 101238 w 319670"/>
                  <a:gd name="connsiteY163" fmla="*/ 25309 h 320770"/>
                  <a:gd name="connsiteX164" fmla="*/ 86933 w 319670"/>
                  <a:gd name="connsiteY164" fmla="*/ 32662 h 320770"/>
                  <a:gd name="connsiteX165" fmla="*/ 90642 w 319670"/>
                  <a:gd name="connsiteY165" fmla="*/ 36863 h 320770"/>
                  <a:gd name="connsiteX166" fmla="*/ 101238 w 319670"/>
                  <a:gd name="connsiteY166" fmla="*/ 25309 h 320770"/>
                  <a:gd name="connsiteX167" fmla="*/ 189546 w 319670"/>
                  <a:gd name="connsiteY167" fmla="*/ 16506 h 320770"/>
                  <a:gd name="connsiteX168" fmla="*/ 209532 w 319670"/>
                  <a:gd name="connsiteY168" fmla="*/ 56946 h 320770"/>
                  <a:gd name="connsiteX169" fmla="*/ 225310 w 319670"/>
                  <a:gd name="connsiteY169" fmla="*/ 49068 h 320770"/>
                  <a:gd name="connsiteX170" fmla="*/ 194280 w 319670"/>
                  <a:gd name="connsiteY170" fmla="*/ 17556 h 320770"/>
                  <a:gd name="connsiteX171" fmla="*/ 189546 w 319670"/>
                  <a:gd name="connsiteY171" fmla="*/ 16506 h 320770"/>
                  <a:gd name="connsiteX172" fmla="*/ 132600 w 319670"/>
                  <a:gd name="connsiteY172" fmla="*/ 15955 h 320770"/>
                  <a:gd name="connsiteX173" fmla="*/ 128938 w 319670"/>
                  <a:gd name="connsiteY173" fmla="*/ 16483 h 320770"/>
                  <a:gd name="connsiteX174" fmla="*/ 100688 w 319670"/>
                  <a:gd name="connsiteY174" fmla="*/ 46010 h 320770"/>
                  <a:gd name="connsiteX175" fmla="*/ 114290 w 319670"/>
                  <a:gd name="connsiteY175" fmla="*/ 53920 h 320770"/>
                  <a:gd name="connsiteX176" fmla="*/ 132600 w 319670"/>
                  <a:gd name="connsiteY176" fmla="*/ 15955 h 320770"/>
                  <a:gd name="connsiteX177" fmla="*/ 167974 w 319670"/>
                  <a:gd name="connsiteY177" fmla="*/ 13204 h 320770"/>
                  <a:gd name="connsiteX178" fmla="*/ 165337 w 319670"/>
                  <a:gd name="connsiteY178" fmla="*/ 64924 h 320770"/>
                  <a:gd name="connsiteX179" fmla="*/ 196974 w 319670"/>
                  <a:gd name="connsiteY179" fmla="*/ 60702 h 320770"/>
                  <a:gd name="connsiteX180" fmla="*/ 173247 w 319670"/>
                  <a:gd name="connsiteY180" fmla="*/ 13732 h 320770"/>
                  <a:gd name="connsiteX181" fmla="*/ 167974 w 319670"/>
                  <a:gd name="connsiteY181" fmla="*/ 13204 h 320770"/>
                  <a:gd name="connsiteX182" fmla="*/ 149585 w 319670"/>
                  <a:gd name="connsiteY182" fmla="*/ 13204 h 320770"/>
                  <a:gd name="connsiteX183" fmla="*/ 126273 w 319670"/>
                  <a:gd name="connsiteY183" fmla="*/ 58551 h 320770"/>
                  <a:gd name="connsiteX184" fmla="*/ 152764 w 319670"/>
                  <a:gd name="connsiteY184" fmla="*/ 63823 h 320770"/>
                  <a:gd name="connsiteX185" fmla="*/ 154883 w 319670"/>
                  <a:gd name="connsiteY185" fmla="*/ 13204 h 320770"/>
                  <a:gd name="connsiteX186" fmla="*/ 149585 w 319670"/>
                  <a:gd name="connsiteY186" fmla="*/ 13204 h 320770"/>
                  <a:gd name="connsiteX187" fmla="*/ 160099 w 319670"/>
                  <a:gd name="connsiteY187" fmla="*/ 0 h 320770"/>
                  <a:gd name="connsiteX188" fmla="*/ 248047 w 319670"/>
                  <a:gd name="connsiteY188" fmla="*/ 26906 h 320770"/>
                  <a:gd name="connsiteX189" fmla="*/ 259107 w 319670"/>
                  <a:gd name="connsiteY189" fmla="*/ 34293 h 320770"/>
                  <a:gd name="connsiteX190" fmla="*/ 285965 w 319670"/>
                  <a:gd name="connsiteY190" fmla="*/ 61727 h 320770"/>
                  <a:gd name="connsiteX191" fmla="*/ 293865 w 319670"/>
                  <a:gd name="connsiteY191" fmla="*/ 72806 h 320770"/>
                  <a:gd name="connsiteX192" fmla="*/ 308084 w 319670"/>
                  <a:gd name="connsiteY192" fmla="*/ 100768 h 320770"/>
                  <a:gd name="connsiteX193" fmla="*/ 313350 w 319670"/>
                  <a:gd name="connsiteY193" fmla="*/ 115013 h 320770"/>
                  <a:gd name="connsiteX194" fmla="*/ 319670 w 319670"/>
                  <a:gd name="connsiteY194" fmla="*/ 157747 h 320770"/>
                  <a:gd name="connsiteX195" fmla="*/ 319670 w 319670"/>
                  <a:gd name="connsiteY195" fmla="*/ 160385 h 320770"/>
                  <a:gd name="connsiteX196" fmla="*/ 319144 w 319670"/>
                  <a:gd name="connsiteY196" fmla="*/ 176212 h 320770"/>
                  <a:gd name="connsiteX197" fmla="*/ 302291 w 319670"/>
                  <a:gd name="connsiteY197" fmla="*/ 232664 h 320770"/>
                  <a:gd name="connsiteX198" fmla="*/ 288598 w 319670"/>
                  <a:gd name="connsiteY198" fmla="*/ 254822 h 320770"/>
                  <a:gd name="connsiteX199" fmla="*/ 160099 w 319670"/>
                  <a:gd name="connsiteY199" fmla="*/ 320242 h 320770"/>
                  <a:gd name="connsiteX200" fmla="*/ 159572 w 319670"/>
                  <a:gd name="connsiteY200" fmla="*/ 320242 h 320770"/>
                  <a:gd name="connsiteX201" fmla="*/ 155359 w 319670"/>
                  <a:gd name="connsiteY201" fmla="*/ 320770 h 320770"/>
                  <a:gd name="connsiteX202" fmla="*/ 155359 w 319670"/>
                  <a:gd name="connsiteY202" fmla="*/ 320242 h 320770"/>
                  <a:gd name="connsiteX203" fmla="*/ 26332 w 319670"/>
                  <a:gd name="connsiteY203" fmla="*/ 248491 h 320770"/>
                  <a:gd name="connsiteX204" fmla="*/ 13693 w 319670"/>
                  <a:gd name="connsiteY204" fmla="*/ 225278 h 320770"/>
                  <a:gd name="connsiteX205" fmla="*/ 527 w 319670"/>
                  <a:gd name="connsiteY205" fmla="*/ 174630 h 320770"/>
                  <a:gd name="connsiteX206" fmla="*/ 0 w 319670"/>
                  <a:gd name="connsiteY206" fmla="*/ 160385 h 320770"/>
                  <a:gd name="connsiteX207" fmla="*/ 0 w 319670"/>
                  <a:gd name="connsiteY207" fmla="*/ 156164 h 320770"/>
                  <a:gd name="connsiteX208" fmla="*/ 6847 w 319670"/>
                  <a:gd name="connsiteY208" fmla="*/ 113958 h 320770"/>
                  <a:gd name="connsiteX209" fmla="*/ 12113 w 319670"/>
                  <a:gd name="connsiteY209" fmla="*/ 99185 h 320770"/>
                  <a:gd name="connsiteX210" fmla="*/ 32125 w 319670"/>
                  <a:gd name="connsiteY210" fmla="*/ 64365 h 320770"/>
                  <a:gd name="connsiteX211" fmla="*/ 41078 w 319670"/>
                  <a:gd name="connsiteY211" fmla="*/ 52758 h 320770"/>
                  <a:gd name="connsiteX212" fmla="*/ 68990 w 319670"/>
                  <a:gd name="connsiteY212" fmla="*/ 28489 h 320770"/>
                  <a:gd name="connsiteX213" fmla="*/ 80576 w 319670"/>
                  <a:gd name="connsiteY213" fmla="*/ 21103 h 320770"/>
                  <a:gd name="connsiteX214" fmla="*/ 160099 w 319670"/>
                  <a:gd name="connsiteY214" fmla="*/ 0 h 320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Lst>
                <a:rect l="l" t="t" r="r" b="b"/>
                <a:pathLst>
                  <a:path w="319670" h="320770">
                    <a:moveTo>
                      <a:pt x="193673" y="280605"/>
                    </a:moveTo>
                    <a:cubicBezTo>
                      <a:pt x="184761" y="281133"/>
                      <a:pt x="175324" y="281661"/>
                      <a:pt x="165888" y="281661"/>
                    </a:cubicBezTo>
                    <a:cubicBezTo>
                      <a:pt x="166412" y="292225"/>
                      <a:pt x="166936" y="300676"/>
                      <a:pt x="167460" y="307015"/>
                    </a:cubicBezTo>
                    <a:cubicBezTo>
                      <a:pt x="172179" y="306486"/>
                      <a:pt x="176373" y="305958"/>
                      <a:pt x="181091" y="305430"/>
                    </a:cubicBezTo>
                    <a:cubicBezTo>
                      <a:pt x="183188" y="301733"/>
                      <a:pt x="188430" y="292753"/>
                      <a:pt x="193673" y="280605"/>
                    </a:cubicBezTo>
                    <a:close/>
                    <a:moveTo>
                      <a:pt x="127923" y="280054"/>
                    </a:moveTo>
                    <a:cubicBezTo>
                      <a:pt x="133734" y="293270"/>
                      <a:pt x="139016" y="302257"/>
                      <a:pt x="141657" y="305957"/>
                    </a:cubicBezTo>
                    <a:cubicBezTo>
                      <a:pt x="145882" y="306486"/>
                      <a:pt x="150108" y="307015"/>
                      <a:pt x="154333" y="307015"/>
                    </a:cubicBezTo>
                    <a:cubicBezTo>
                      <a:pt x="153805" y="300671"/>
                      <a:pt x="153277" y="291684"/>
                      <a:pt x="152749" y="281640"/>
                    </a:cubicBezTo>
                    <a:cubicBezTo>
                      <a:pt x="144298" y="281640"/>
                      <a:pt x="135846" y="280583"/>
                      <a:pt x="127923" y="280054"/>
                    </a:cubicBezTo>
                    <a:close/>
                    <a:moveTo>
                      <a:pt x="226960" y="275378"/>
                    </a:moveTo>
                    <a:cubicBezTo>
                      <a:pt x="221183" y="276962"/>
                      <a:pt x="215406" y="277491"/>
                      <a:pt x="209629" y="278547"/>
                    </a:cubicBezTo>
                    <a:cubicBezTo>
                      <a:pt x="205427" y="288055"/>
                      <a:pt x="201226" y="295978"/>
                      <a:pt x="198075" y="301788"/>
                    </a:cubicBezTo>
                    <a:cubicBezTo>
                      <a:pt x="200175" y="301260"/>
                      <a:pt x="202276" y="300731"/>
                      <a:pt x="204377" y="300203"/>
                    </a:cubicBezTo>
                    <a:cubicBezTo>
                      <a:pt x="208053" y="296506"/>
                      <a:pt x="216982" y="288055"/>
                      <a:pt x="226960" y="275378"/>
                    </a:cubicBezTo>
                    <a:close/>
                    <a:moveTo>
                      <a:pt x="94911" y="274277"/>
                    </a:moveTo>
                    <a:cubicBezTo>
                      <a:pt x="107537" y="290172"/>
                      <a:pt x="118584" y="300239"/>
                      <a:pt x="120163" y="301828"/>
                    </a:cubicBezTo>
                    <a:cubicBezTo>
                      <a:pt x="121741" y="302358"/>
                      <a:pt x="123319" y="302358"/>
                      <a:pt x="124897" y="302888"/>
                    </a:cubicBezTo>
                    <a:cubicBezTo>
                      <a:pt x="121215" y="296530"/>
                      <a:pt x="117006" y="288053"/>
                      <a:pt x="112797" y="277456"/>
                    </a:cubicBezTo>
                    <a:cubicBezTo>
                      <a:pt x="106485" y="276927"/>
                      <a:pt x="100698" y="275337"/>
                      <a:pt x="94911" y="274277"/>
                    </a:cubicBezTo>
                    <a:close/>
                    <a:moveTo>
                      <a:pt x="261623" y="266024"/>
                    </a:moveTo>
                    <a:cubicBezTo>
                      <a:pt x="256919" y="267610"/>
                      <a:pt x="252215" y="269195"/>
                      <a:pt x="247511" y="270781"/>
                    </a:cubicBezTo>
                    <a:cubicBezTo>
                      <a:pt x="243329" y="276066"/>
                      <a:pt x="239670" y="281351"/>
                      <a:pt x="235489" y="286107"/>
                    </a:cubicBezTo>
                    <a:cubicBezTo>
                      <a:pt x="244897" y="280294"/>
                      <a:pt x="253783" y="273952"/>
                      <a:pt x="261623" y="266024"/>
                    </a:cubicBezTo>
                    <a:close/>
                    <a:moveTo>
                      <a:pt x="53646" y="261072"/>
                    </a:moveTo>
                    <a:cubicBezTo>
                      <a:pt x="64178" y="272729"/>
                      <a:pt x="76817" y="282266"/>
                      <a:pt x="90509" y="289683"/>
                    </a:cubicBezTo>
                    <a:cubicBezTo>
                      <a:pt x="85243" y="283855"/>
                      <a:pt x="79977" y="276438"/>
                      <a:pt x="74184" y="268490"/>
                    </a:cubicBezTo>
                    <a:cubicBezTo>
                      <a:pt x="66811" y="266371"/>
                      <a:pt x="59965" y="264252"/>
                      <a:pt x="53646" y="261072"/>
                    </a:cubicBezTo>
                    <a:close/>
                    <a:moveTo>
                      <a:pt x="213205" y="224209"/>
                    </a:moveTo>
                    <a:cubicBezTo>
                      <a:pt x="197402" y="226846"/>
                      <a:pt x="180544" y="228429"/>
                      <a:pt x="163687" y="228957"/>
                    </a:cubicBezTo>
                    <a:cubicBezTo>
                      <a:pt x="163687" y="243201"/>
                      <a:pt x="164740" y="256917"/>
                      <a:pt x="165267" y="269051"/>
                    </a:cubicBezTo>
                    <a:cubicBezTo>
                      <a:pt x="176857" y="268523"/>
                      <a:pt x="188446" y="267996"/>
                      <a:pt x="200035" y="266413"/>
                    </a:cubicBezTo>
                    <a:cubicBezTo>
                      <a:pt x="204777" y="254279"/>
                      <a:pt x="209518" y="240035"/>
                      <a:pt x="213205" y="224209"/>
                    </a:cubicBezTo>
                    <a:close/>
                    <a:moveTo>
                      <a:pt x="108941" y="224209"/>
                    </a:moveTo>
                    <a:cubicBezTo>
                      <a:pt x="112628" y="240027"/>
                      <a:pt x="117369" y="253736"/>
                      <a:pt x="122109" y="265864"/>
                    </a:cubicBezTo>
                    <a:cubicBezTo>
                      <a:pt x="131590" y="267446"/>
                      <a:pt x="141598" y="267973"/>
                      <a:pt x="152132" y="268500"/>
                    </a:cubicBezTo>
                    <a:cubicBezTo>
                      <a:pt x="151606" y="256373"/>
                      <a:pt x="151079" y="243191"/>
                      <a:pt x="150552" y="228954"/>
                    </a:cubicBezTo>
                    <a:cubicBezTo>
                      <a:pt x="135804" y="228427"/>
                      <a:pt x="122109" y="226845"/>
                      <a:pt x="108941" y="224209"/>
                    </a:cubicBezTo>
                    <a:close/>
                    <a:moveTo>
                      <a:pt x="58322" y="209903"/>
                    </a:moveTo>
                    <a:cubicBezTo>
                      <a:pt x="64673" y="227869"/>
                      <a:pt x="73671" y="243722"/>
                      <a:pt x="82669" y="257461"/>
                    </a:cubicBezTo>
                    <a:cubicBezTo>
                      <a:pt x="90608" y="260103"/>
                      <a:pt x="98547" y="261688"/>
                      <a:pt x="107016" y="263273"/>
                    </a:cubicBezTo>
                    <a:cubicBezTo>
                      <a:pt x="102252" y="251120"/>
                      <a:pt x="98018" y="236852"/>
                      <a:pt x="94842" y="221000"/>
                    </a:cubicBezTo>
                    <a:cubicBezTo>
                      <a:pt x="82140" y="218358"/>
                      <a:pt x="69966" y="214131"/>
                      <a:pt x="58322" y="209903"/>
                    </a:cubicBezTo>
                    <a:close/>
                    <a:moveTo>
                      <a:pt x="264925" y="209078"/>
                    </a:moveTo>
                    <a:cubicBezTo>
                      <a:pt x="253330" y="213818"/>
                      <a:pt x="240681" y="218031"/>
                      <a:pt x="227505" y="221190"/>
                    </a:cubicBezTo>
                    <a:cubicBezTo>
                      <a:pt x="224343" y="236989"/>
                      <a:pt x="219599" y="251735"/>
                      <a:pt x="214856" y="264374"/>
                    </a:cubicBezTo>
                    <a:cubicBezTo>
                      <a:pt x="223289" y="263320"/>
                      <a:pt x="231194" y="261214"/>
                      <a:pt x="239100" y="259634"/>
                    </a:cubicBezTo>
                    <a:cubicBezTo>
                      <a:pt x="248586" y="245415"/>
                      <a:pt x="258073" y="228037"/>
                      <a:pt x="264925" y="209078"/>
                    </a:cubicBezTo>
                    <a:close/>
                    <a:moveTo>
                      <a:pt x="303989" y="187895"/>
                    </a:moveTo>
                    <a:cubicBezTo>
                      <a:pt x="297128" y="192647"/>
                      <a:pt x="289211" y="197399"/>
                      <a:pt x="280765" y="201624"/>
                    </a:cubicBezTo>
                    <a:cubicBezTo>
                      <a:pt x="275487" y="220632"/>
                      <a:pt x="267570" y="238057"/>
                      <a:pt x="258597" y="253370"/>
                    </a:cubicBezTo>
                    <a:cubicBezTo>
                      <a:pt x="265987" y="250729"/>
                      <a:pt x="273376" y="248089"/>
                      <a:pt x="279710" y="244921"/>
                    </a:cubicBezTo>
                    <a:cubicBezTo>
                      <a:pt x="291850" y="228025"/>
                      <a:pt x="300295" y="209016"/>
                      <a:pt x="303989" y="187895"/>
                    </a:cubicBezTo>
                    <a:close/>
                    <a:moveTo>
                      <a:pt x="15131" y="186244"/>
                    </a:moveTo>
                    <a:cubicBezTo>
                      <a:pt x="18834" y="205247"/>
                      <a:pt x="25712" y="223193"/>
                      <a:pt x="35764" y="239029"/>
                    </a:cubicBezTo>
                    <a:cubicBezTo>
                      <a:pt x="44229" y="243251"/>
                      <a:pt x="53751" y="247474"/>
                      <a:pt x="63274" y="251169"/>
                    </a:cubicBezTo>
                    <a:cubicBezTo>
                      <a:pt x="54810" y="236917"/>
                      <a:pt x="47403" y="220554"/>
                      <a:pt x="42641" y="202607"/>
                    </a:cubicBezTo>
                    <a:cubicBezTo>
                      <a:pt x="32590" y="197857"/>
                      <a:pt x="23596" y="192578"/>
                      <a:pt x="15131" y="186244"/>
                    </a:cubicBezTo>
                    <a:close/>
                    <a:moveTo>
                      <a:pt x="220633" y="169463"/>
                    </a:moveTo>
                    <a:cubicBezTo>
                      <a:pt x="202251" y="174190"/>
                      <a:pt x="182819" y="176291"/>
                      <a:pt x="162861" y="176816"/>
                    </a:cubicBezTo>
                    <a:cubicBezTo>
                      <a:pt x="162861" y="189946"/>
                      <a:pt x="162861" y="203076"/>
                      <a:pt x="163386" y="215680"/>
                    </a:cubicBezTo>
                    <a:cubicBezTo>
                      <a:pt x="181768" y="215680"/>
                      <a:pt x="199625" y="213580"/>
                      <a:pt x="216431" y="209903"/>
                    </a:cubicBezTo>
                    <a:cubicBezTo>
                      <a:pt x="218532" y="197298"/>
                      <a:pt x="220108" y="183643"/>
                      <a:pt x="220633" y="169463"/>
                    </a:cubicBezTo>
                    <a:close/>
                    <a:moveTo>
                      <a:pt x="101513" y="169463"/>
                    </a:moveTo>
                    <a:cubicBezTo>
                      <a:pt x="102043" y="183643"/>
                      <a:pt x="103631" y="197298"/>
                      <a:pt x="105748" y="210428"/>
                    </a:cubicBezTo>
                    <a:cubicBezTo>
                      <a:pt x="120038" y="213054"/>
                      <a:pt x="134858" y="215155"/>
                      <a:pt x="150207" y="215680"/>
                    </a:cubicBezTo>
                    <a:cubicBezTo>
                      <a:pt x="149678" y="203076"/>
                      <a:pt x="149678" y="189946"/>
                      <a:pt x="149678" y="176291"/>
                    </a:cubicBezTo>
                    <a:cubicBezTo>
                      <a:pt x="132741" y="175765"/>
                      <a:pt x="116862" y="173139"/>
                      <a:pt x="101513" y="169463"/>
                    </a:cubicBezTo>
                    <a:close/>
                    <a:moveTo>
                      <a:pt x="51121" y="149931"/>
                    </a:moveTo>
                    <a:cubicBezTo>
                      <a:pt x="50595" y="153623"/>
                      <a:pt x="50069" y="156788"/>
                      <a:pt x="50069" y="159953"/>
                    </a:cubicBezTo>
                    <a:cubicBezTo>
                      <a:pt x="50069" y="171558"/>
                      <a:pt x="51647" y="183163"/>
                      <a:pt x="53752" y="193713"/>
                    </a:cubicBezTo>
                    <a:cubicBezTo>
                      <a:pt x="65853" y="198988"/>
                      <a:pt x="78480" y="203735"/>
                      <a:pt x="92160" y="207427"/>
                    </a:cubicBezTo>
                    <a:cubicBezTo>
                      <a:pt x="90055" y="194240"/>
                      <a:pt x="88477" y="180525"/>
                      <a:pt x="89003" y="166283"/>
                    </a:cubicBezTo>
                    <a:cubicBezTo>
                      <a:pt x="75324" y="161536"/>
                      <a:pt x="62170" y="156261"/>
                      <a:pt x="51121" y="149931"/>
                    </a:cubicBezTo>
                    <a:close/>
                    <a:moveTo>
                      <a:pt x="271850" y="148830"/>
                    </a:moveTo>
                    <a:cubicBezTo>
                      <a:pt x="260269" y="155690"/>
                      <a:pt x="247634" y="161495"/>
                      <a:pt x="233420" y="165717"/>
                    </a:cubicBezTo>
                    <a:cubicBezTo>
                      <a:pt x="233947" y="179965"/>
                      <a:pt x="232367" y="193685"/>
                      <a:pt x="230262" y="206877"/>
                    </a:cubicBezTo>
                    <a:cubicBezTo>
                      <a:pt x="244475" y="203183"/>
                      <a:pt x="257110" y="198434"/>
                      <a:pt x="269218" y="193157"/>
                    </a:cubicBezTo>
                    <a:cubicBezTo>
                      <a:pt x="271850" y="182603"/>
                      <a:pt x="272903" y="171521"/>
                      <a:pt x="272903" y="159912"/>
                    </a:cubicBezTo>
                    <a:cubicBezTo>
                      <a:pt x="272903" y="156218"/>
                      <a:pt x="272376" y="152524"/>
                      <a:pt x="271850" y="148830"/>
                    </a:cubicBezTo>
                    <a:close/>
                    <a:moveTo>
                      <a:pt x="302793" y="126547"/>
                    </a:moveTo>
                    <a:cubicBezTo>
                      <a:pt x="297022" y="131826"/>
                      <a:pt x="290727" y="136577"/>
                      <a:pt x="284431" y="141328"/>
                    </a:cubicBezTo>
                    <a:cubicBezTo>
                      <a:pt x="284956" y="147135"/>
                      <a:pt x="286005" y="153470"/>
                      <a:pt x="286005" y="159805"/>
                    </a:cubicBezTo>
                    <a:cubicBezTo>
                      <a:pt x="286005" y="168251"/>
                      <a:pt x="285481" y="176698"/>
                      <a:pt x="283907" y="185144"/>
                    </a:cubicBezTo>
                    <a:cubicBezTo>
                      <a:pt x="292301" y="180393"/>
                      <a:pt x="299645" y="175642"/>
                      <a:pt x="306465" y="169835"/>
                    </a:cubicBezTo>
                    <a:cubicBezTo>
                      <a:pt x="306465" y="166668"/>
                      <a:pt x="306465" y="163500"/>
                      <a:pt x="306465" y="160333"/>
                    </a:cubicBezTo>
                    <a:cubicBezTo>
                      <a:pt x="306465" y="148719"/>
                      <a:pt x="305416" y="137105"/>
                      <a:pt x="302793" y="126547"/>
                    </a:cubicBezTo>
                    <a:close/>
                    <a:moveTo>
                      <a:pt x="17427" y="125172"/>
                    </a:moveTo>
                    <a:cubicBezTo>
                      <a:pt x="14789" y="136754"/>
                      <a:pt x="13205" y="148337"/>
                      <a:pt x="13205" y="160446"/>
                    </a:cubicBezTo>
                    <a:cubicBezTo>
                      <a:pt x="13205" y="163079"/>
                      <a:pt x="13205" y="165711"/>
                      <a:pt x="13205" y="168870"/>
                    </a:cubicBezTo>
                    <a:cubicBezTo>
                      <a:pt x="21122" y="175188"/>
                      <a:pt x="29565" y="180979"/>
                      <a:pt x="39065" y="186244"/>
                    </a:cubicBezTo>
                    <a:cubicBezTo>
                      <a:pt x="37482" y="177821"/>
                      <a:pt x="36954" y="168870"/>
                      <a:pt x="36954" y="159920"/>
                    </a:cubicBezTo>
                    <a:cubicBezTo>
                      <a:pt x="37482" y="154128"/>
                      <a:pt x="38009" y="148337"/>
                      <a:pt x="38537" y="142546"/>
                    </a:cubicBezTo>
                    <a:cubicBezTo>
                      <a:pt x="30621" y="137281"/>
                      <a:pt x="23760" y="131489"/>
                      <a:pt x="17427" y="125172"/>
                    </a:cubicBezTo>
                    <a:close/>
                    <a:moveTo>
                      <a:pt x="215883" y="122420"/>
                    </a:moveTo>
                    <a:cubicBezTo>
                      <a:pt x="200134" y="126653"/>
                      <a:pt x="183335" y="128769"/>
                      <a:pt x="165486" y="128769"/>
                    </a:cubicBezTo>
                    <a:cubicBezTo>
                      <a:pt x="164961" y="128769"/>
                      <a:pt x="164436" y="128769"/>
                      <a:pt x="163386" y="128769"/>
                    </a:cubicBezTo>
                    <a:cubicBezTo>
                      <a:pt x="163386" y="137763"/>
                      <a:pt x="163386" y="146228"/>
                      <a:pt x="162861" y="155221"/>
                    </a:cubicBezTo>
                    <a:cubicBezTo>
                      <a:pt x="162861" y="157866"/>
                      <a:pt x="162861" y="161041"/>
                      <a:pt x="162861" y="163686"/>
                    </a:cubicBezTo>
                    <a:cubicBezTo>
                      <a:pt x="183335" y="163157"/>
                      <a:pt x="202234" y="160512"/>
                      <a:pt x="220083" y="155750"/>
                    </a:cubicBezTo>
                    <a:cubicBezTo>
                      <a:pt x="219558" y="144640"/>
                      <a:pt x="217983" y="133530"/>
                      <a:pt x="215883" y="122420"/>
                    </a:cubicBezTo>
                    <a:close/>
                    <a:moveTo>
                      <a:pt x="106825" y="120220"/>
                    </a:moveTo>
                    <a:cubicBezTo>
                      <a:pt x="104180" y="131876"/>
                      <a:pt x="102593" y="144062"/>
                      <a:pt x="102064" y="156248"/>
                    </a:cubicBezTo>
                    <a:cubicBezTo>
                      <a:pt x="116877" y="159957"/>
                      <a:pt x="132748" y="162606"/>
                      <a:pt x="149678" y="163136"/>
                    </a:cubicBezTo>
                    <a:cubicBezTo>
                      <a:pt x="149678" y="160487"/>
                      <a:pt x="149678" y="157837"/>
                      <a:pt x="149678" y="155188"/>
                    </a:cubicBezTo>
                    <a:cubicBezTo>
                      <a:pt x="150207" y="146181"/>
                      <a:pt x="150207" y="137174"/>
                      <a:pt x="150207" y="128167"/>
                    </a:cubicBezTo>
                    <a:cubicBezTo>
                      <a:pt x="134864" y="127107"/>
                      <a:pt x="120051" y="124458"/>
                      <a:pt x="106825" y="120220"/>
                    </a:cubicBezTo>
                    <a:close/>
                    <a:moveTo>
                      <a:pt x="259617" y="103988"/>
                    </a:moveTo>
                    <a:cubicBezTo>
                      <a:pt x="250157" y="109775"/>
                      <a:pt x="240173" y="115035"/>
                      <a:pt x="228611" y="118717"/>
                    </a:cubicBezTo>
                    <a:cubicBezTo>
                      <a:pt x="230713" y="129238"/>
                      <a:pt x="232290" y="140810"/>
                      <a:pt x="233341" y="151856"/>
                    </a:cubicBezTo>
                    <a:cubicBezTo>
                      <a:pt x="246479" y="147648"/>
                      <a:pt x="258566" y="141862"/>
                      <a:pt x="269602" y="135024"/>
                    </a:cubicBezTo>
                    <a:cubicBezTo>
                      <a:pt x="267500" y="124503"/>
                      <a:pt x="263821" y="113983"/>
                      <a:pt x="259617" y="103988"/>
                    </a:cubicBezTo>
                    <a:close/>
                    <a:moveTo>
                      <a:pt x="65249" y="99862"/>
                    </a:moveTo>
                    <a:cubicBezTo>
                      <a:pt x="59956" y="111422"/>
                      <a:pt x="55192" y="123507"/>
                      <a:pt x="52545" y="136118"/>
                    </a:cubicBezTo>
                    <a:cubicBezTo>
                      <a:pt x="63661" y="142423"/>
                      <a:pt x="75835" y="148203"/>
                      <a:pt x="89068" y="152407"/>
                    </a:cubicBezTo>
                    <a:cubicBezTo>
                      <a:pt x="90126" y="139796"/>
                      <a:pt x="91714" y="127185"/>
                      <a:pt x="94361" y="115625"/>
                    </a:cubicBezTo>
                    <a:cubicBezTo>
                      <a:pt x="83774" y="111422"/>
                      <a:pt x="73718" y="106167"/>
                      <a:pt x="65249" y="99862"/>
                    </a:cubicBezTo>
                    <a:close/>
                    <a:moveTo>
                      <a:pt x="285381" y="83906"/>
                    </a:moveTo>
                    <a:cubicBezTo>
                      <a:pt x="280663" y="88122"/>
                      <a:pt x="275944" y="92338"/>
                      <a:pt x="270702" y="96554"/>
                    </a:cubicBezTo>
                    <a:cubicBezTo>
                      <a:pt x="275420" y="106567"/>
                      <a:pt x="279090" y="116581"/>
                      <a:pt x="281711" y="127648"/>
                    </a:cubicBezTo>
                    <a:cubicBezTo>
                      <a:pt x="288002" y="122905"/>
                      <a:pt x="293769" y="117635"/>
                      <a:pt x="298487" y="112365"/>
                    </a:cubicBezTo>
                    <a:cubicBezTo>
                      <a:pt x="295342" y="102351"/>
                      <a:pt x="290624" y="92865"/>
                      <a:pt x="285381" y="83906"/>
                    </a:cubicBezTo>
                    <a:close/>
                    <a:moveTo>
                      <a:pt x="39411" y="75928"/>
                    </a:moveTo>
                    <a:cubicBezTo>
                      <a:pt x="32019" y="87020"/>
                      <a:pt x="25683" y="98640"/>
                      <a:pt x="21458" y="111317"/>
                    </a:cubicBezTo>
                    <a:cubicBezTo>
                      <a:pt x="26739" y="117656"/>
                      <a:pt x="33603" y="122938"/>
                      <a:pt x="40995" y="128748"/>
                    </a:cubicBezTo>
                    <a:cubicBezTo>
                      <a:pt x="44163" y="115543"/>
                      <a:pt x="48916" y="103394"/>
                      <a:pt x="54196" y="91774"/>
                    </a:cubicBezTo>
                    <a:cubicBezTo>
                      <a:pt x="48916" y="87020"/>
                      <a:pt x="43635" y="81738"/>
                      <a:pt x="39411" y="75928"/>
                    </a:cubicBezTo>
                    <a:close/>
                    <a:moveTo>
                      <a:pt x="201616" y="73452"/>
                    </a:moveTo>
                    <a:cubicBezTo>
                      <a:pt x="190553" y="76083"/>
                      <a:pt x="178437" y="78187"/>
                      <a:pt x="165267" y="78187"/>
                    </a:cubicBezTo>
                    <a:cubicBezTo>
                      <a:pt x="165267" y="78187"/>
                      <a:pt x="165267" y="78187"/>
                      <a:pt x="164740" y="78187"/>
                    </a:cubicBezTo>
                    <a:cubicBezTo>
                      <a:pt x="164740" y="89762"/>
                      <a:pt x="164214" y="102390"/>
                      <a:pt x="163687" y="115543"/>
                    </a:cubicBezTo>
                    <a:cubicBezTo>
                      <a:pt x="164214" y="115543"/>
                      <a:pt x="164740" y="115543"/>
                      <a:pt x="165267" y="115543"/>
                    </a:cubicBezTo>
                    <a:cubicBezTo>
                      <a:pt x="182125" y="115543"/>
                      <a:pt x="198455" y="113438"/>
                      <a:pt x="213205" y="109756"/>
                    </a:cubicBezTo>
                    <a:cubicBezTo>
                      <a:pt x="210044" y="96602"/>
                      <a:pt x="205830" y="84501"/>
                      <a:pt x="201616" y="73452"/>
                    </a:cubicBezTo>
                    <a:close/>
                    <a:moveTo>
                      <a:pt x="121592" y="70701"/>
                    </a:moveTo>
                    <a:cubicBezTo>
                      <a:pt x="116857" y="81774"/>
                      <a:pt x="113174" y="94429"/>
                      <a:pt x="109491" y="107084"/>
                    </a:cubicBezTo>
                    <a:cubicBezTo>
                      <a:pt x="122119" y="111302"/>
                      <a:pt x="136324" y="113938"/>
                      <a:pt x="150530" y="114993"/>
                    </a:cubicBezTo>
                    <a:cubicBezTo>
                      <a:pt x="151056" y="101811"/>
                      <a:pt x="151582" y="88629"/>
                      <a:pt x="151582" y="77028"/>
                    </a:cubicBezTo>
                    <a:cubicBezTo>
                      <a:pt x="141060" y="75974"/>
                      <a:pt x="131063" y="73865"/>
                      <a:pt x="121592" y="70701"/>
                    </a:cubicBezTo>
                    <a:close/>
                    <a:moveTo>
                      <a:pt x="233321" y="59697"/>
                    </a:moveTo>
                    <a:cubicBezTo>
                      <a:pt x="227511" y="63395"/>
                      <a:pt x="221172" y="66565"/>
                      <a:pt x="214306" y="69207"/>
                    </a:cubicBezTo>
                    <a:cubicBezTo>
                      <a:pt x="218531" y="80302"/>
                      <a:pt x="222757" y="92981"/>
                      <a:pt x="225926" y="106189"/>
                    </a:cubicBezTo>
                    <a:cubicBezTo>
                      <a:pt x="235962" y="102491"/>
                      <a:pt x="245469" y="97736"/>
                      <a:pt x="253921" y="92453"/>
                    </a:cubicBezTo>
                    <a:cubicBezTo>
                      <a:pt x="247582" y="80302"/>
                      <a:pt x="240716" y="69207"/>
                      <a:pt x="233321" y="59697"/>
                    </a:cubicBezTo>
                    <a:close/>
                    <a:moveTo>
                      <a:pt x="92595" y="55846"/>
                    </a:moveTo>
                    <a:cubicBezTo>
                      <a:pt x="85214" y="65360"/>
                      <a:pt x="77832" y="76460"/>
                      <a:pt x="70977" y="88088"/>
                    </a:cubicBezTo>
                    <a:cubicBezTo>
                      <a:pt x="78886" y="93902"/>
                      <a:pt x="87323" y="98660"/>
                      <a:pt x="97341" y="102888"/>
                    </a:cubicBezTo>
                    <a:cubicBezTo>
                      <a:pt x="100505" y="89674"/>
                      <a:pt x="104723" y="76988"/>
                      <a:pt x="108941" y="65360"/>
                    </a:cubicBezTo>
                    <a:cubicBezTo>
                      <a:pt x="103141" y="62717"/>
                      <a:pt x="97341" y="59546"/>
                      <a:pt x="92595" y="55846"/>
                    </a:cubicBezTo>
                    <a:close/>
                    <a:moveTo>
                      <a:pt x="251144" y="44842"/>
                    </a:moveTo>
                    <a:cubicBezTo>
                      <a:pt x="248500" y="47484"/>
                      <a:pt x="246385" y="49598"/>
                      <a:pt x="243742" y="51712"/>
                    </a:cubicBezTo>
                    <a:cubicBezTo>
                      <a:pt x="251144" y="61225"/>
                      <a:pt x="258546" y="72323"/>
                      <a:pt x="264890" y="85007"/>
                    </a:cubicBezTo>
                    <a:cubicBezTo>
                      <a:pt x="269649" y="80779"/>
                      <a:pt x="273878" y="77079"/>
                      <a:pt x="277579" y="72851"/>
                    </a:cubicBezTo>
                    <a:cubicBezTo>
                      <a:pt x="270177" y="62282"/>
                      <a:pt x="261189" y="52769"/>
                      <a:pt x="251144" y="44842"/>
                    </a:cubicBezTo>
                    <a:close/>
                    <a:moveTo>
                      <a:pt x="75908" y="39614"/>
                    </a:moveTo>
                    <a:cubicBezTo>
                      <a:pt x="65327" y="47013"/>
                      <a:pt x="55804" y="55469"/>
                      <a:pt x="47868" y="65510"/>
                    </a:cubicBezTo>
                    <a:cubicBezTo>
                      <a:pt x="51043" y="70795"/>
                      <a:pt x="55804" y="75551"/>
                      <a:pt x="60565" y="79779"/>
                    </a:cubicBezTo>
                    <a:cubicBezTo>
                      <a:pt x="67443" y="67624"/>
                      <a:pt x="74850" y="56526"/>
                      <a:pt x="82256" y="47013"/>
                    </a:cubicBezTo>
                    <a:cubicBezTo>
                      <a:pt x="80140" y="44899"/>
                      <a:pt x="78024" y="42257"/>
                      <a:pt x="75908" y="39614"/>
                    </a:cubicBezTo>
                    <a:close/>
                    <a:moveTo>
                      <a:pt x="224484" y="28060"/>
                    </a:moveTo>
                    <a:cubicBezTo>
                      <a:pt x="228150" y="32293"/>
                      <a:pt x="231815" y="36525"/>
                      <a:pt x="236003" y="41815"/>
                    </a:cubicBezTo>
                    <a:cubicBezTo>
                      <a:pt x="237574" y="40228"/>
                      <a:pt x="239145" y="38641"/>
                      <a:pt x="240716" y="37583"/>
                    </a:cubicBezTo>
                    <a:cubicBezTo>
                      <a:pt x="235480" y="33880"/>
                      <a:pt x="230244" y="31234"/>
                      <a:pt x="224484" y="28060"/>
                    </a:cubicBezTo>
                    <a:close/>
                    <a:moveTo>
                      <a:pt x="101238" y="25309"/>
                    </a:moveTo>
                    <a:cubicBezTo>
                      <a:pt x="95940" y="27410"/>
                      <a:pt x="91172" y="30036"/>
                      <a:pt x="86933" y="32662"/>
                    </a:cubicBezTo>
                    <a:cubicBezTo>
                      <a:pt x="87993" y="34237"/>
                      <a:pt x="89582" y="35288"/>
                      <a:pt x="90642" y="36863"/>
                    </a:cubicBezTo>
                    <a:cubicBezTo>
                      <a:pt x="94350" y="32662"/>
                      <a:pt x="97529" y="28985"/>
                      <a:pt x="101238" y="25309"/>
                    </a:cubicBezTo>
                    <a:close/>
                    <a:moveTo>
                      <a:pt x="189546" y="16506"/>
                    </a:moveTo>
                    <a:cubicBezTo>
                      <a:pt x="195332" y="25959"/>
                      <a:pt x="202695" y="39614"/>
                      <a:pt x="209532" y="56946"/>
                    </a:cubicBezTo>
                    <a:cubicBezTo>
                      <a:pt x="215317" y="54845"/>
                      <a:pt x="220576" y="52219"/>
                      <a:pt x="225310" y="49068"/>
                    </a:cubicBezTo>
                    <a:cubicBezTo>
                      <a:pt x="210584" y="31736"/>
                      <a:pt x="197961" y="20707"/>
                      <a:pt x="194280" y="17556"/>
                    </a:cubicBezTo>
                    <a:cubicBezTo>
                      <a:pt x="192702" y="17031"/>
                      <a:pt x="191124" y="16506"/>
                      <a:pt x="189546" y="16506"/>
                    </a:cubicBezTo>
                    <a:close/>
                    <a:moveTo>
                      <a:pt x="132600" y="15955"/>
                    </a:moveTo>
                    <a:cubicBezTo>
                      <a:pt x="131554" y="15955"/>
                      <a:pt x="130507" y="15955"/>
                      <a:pt x="128938" y="16483"/>
                    </a:cubicBezTo>
                    <a:cubicBezTo>
                      <a:pt x="128938" y="17010"/>
                      <a:pt x="115859" y="27556"/>
                      <a:pt x="100688" y="46010"/>
                    </a:cubicBezTo>
                    <a:cubicBezTo>
                      <a:pt x="104873" y="48647"/>
                      <a:pt x="109058" y="51283"/>
                      <a:pt x="114290" y="53920"/>
                    </a:cubicBezTo>
                    <a:cubicBezTo>
                      <a:pt x="121091" y="37574"/>
                      <a:pt x="127892" y="24919"/>
                      <a:pt x="132600" y="15955"/>
                    </a:cubicBezTo>
                    <a:close/>
                    <a:moveTo>
                      <a:pt x="167974" y="13204"/>
                    </a:moveTo>
                    <a:cubicBezTo>
                      <a:pt x="167447" y="22704"/>
                      <a:pt x="166392" y="40647"/>
                      <a:pt x="165337" y="64924"/>
                    </a:cubicBezTo>
                    <a:cubicBezTo>
                      <a:pt x="176410" y="64924"/>
                      <a:pt x="186956" y="63341"/>
                      <a:pt x="196974" y="60702"/>
                    </a:cubicBezTo>
                    <a:cubicBezTo>
                      <a:pt x="187483" y="38009"/>
                      <a:pt x="177465" y="21121"/>
                      <a:pt x="173247" y="13732"/>
                    </a:cubicBezTo>
                    <a:cubicBezTo>
                      <a:pt x="171665" y="13732"/>
                      <a:pt x="169556" y="13732"/>
                      <a:pt x="167974" y="13204"/>
                    </a:cubicBezTo>
                    <a:close/>
                    <a:moveTo>
                      <a:pt x="149585" y="13204"/>
                    </a:moveTo>
                    <a:cubicBezTo>
                      <a:pt x="145346" y="20059"/>
                      <a:pt x="135810" y="36405"/>
                      <a:pt x="126273" y="58551"/>
                    </a:cubicBezTo>
                    <a:cubicBezTo>
                      <a:pt x="134220" y="61187"/>
                      <a:pt x="143227" y="63296"/>
                      <a:pt x="152764" y="63823"/>
                    </a:cubicBezTo>
                    <a:cubicBezTo>
                      <a:pt x="153294" y="40623"/>
                      <a:pt x="154354" y="22696"/>
                      <a:pt x="154883" y="13204"/>
                    </a:cubicBezTo>
                    <a:cubicBezTo>
                      <a:pt x="153294" y="13204"/>
                      <a:pt x="151175" y="13204"/>
                      <a:pt x="149585" y="13204"/>
                    </a:cubicBezTo>
                    <a:close/>
                    <a:moveTo>
                      <a:pt x="160099" y="0"/>
                    </a:moveTo>
                    <a:cubicBezTo>
                      <a:pt x="192750" y="0"/>
                      <a:pt x="222769" y="10024"/>
                      <a:pt x="248047" y="26906"/>
                    </a:cubicBezTo>
                    <a:cubicBezTo>
                      <a:pt x="251734" y="29017"/>
                      <a:pt x="255420" y="31655"/>
                      <a:pt x="259107" y="34293"/>
                    </a:cubicBezTo>
                    <a:cubicBezTo>
                      <a:pt x="269113" y="42206"/>
                      <a:pt x="278066" y="51703"/>
                      <a:pt x="285965" y="61727"/>
                    </a:cubicBezTo>
                    <a:cubicBezTo>
                      <a:pt x="288598" y="65420"/>
                      <a:pt x="291232" y="69113"/>
                      <a:pt x="293865" y="72806"/>
                    </a:cubicBezTo>
                    <a:cubicBezTo>
                      <a:pt x="299658" y="81775"/>
                      <a:pt x="304398" y="90744"/>
                      <a:pt x="308084" y="100768"/>
                    </a:cubicBezTo>
                    <a:cubicBezTo>
                      <a:pt x="310191" y="105516"/>
                      <a:pt x="311771" y="110264"/>
                      <a:pt x="313350" y="115013"/>
                    </a:cubicBezTo>
                    <a:cubicBezTo>
                      <a:pt x="317564" y="128730"/>
                      <a:pt x="319670" y="142975"/>
                      <a:pt x="319670" y="157747"/>
                    </a:cubicBezTo>
                    <a:cubicBezTo>
                      <a:pt x="319670" y="158275"/>
                      <a:pt x="319670" y="159330"/>
                      <a:pt x="319670" y="160385"/>
                    </a:cubicBezTo>
                    <a:cubicBezTo>
                      <a:pt x="319670" y="165661"/>
                      <a:pt x="319670" y="170937"/>
                      <a:pt x="319144" y="176212"/>
                    </a:cubicBezTo>
                    <a:cubicBezTo>
                      <a:pt x="317037" y="196260"/>
                      <a:pt x="311244" y="215253"/>
                      <a:pt x="302291" y="232664"/>
                    </a:cubicBezTo>
                    <a:cubicBezTo>
                      <a:pt x="298605" y="240577"/>
                      <a:pt x="293865" y="247964"/>
                      <a:pt x="288598" y="254822"/>
                    </a:cubicBezTo>
                    <a:cubicBezTo>
                      <a:pt x="259633" y="294391"/>
                      <a:pt x="212763" y="320242"/>
                      <a:pt x="160099" y="320242"/>
                    </a:cubicBezTo>
                    <a:cubicBezTo>
                      <a:pt x="159572" y="320242"/>
                      <a:pt x="159572" y="320242"/>
                      <a:pt x="159572" y="320242"/>
                    </a:cubicBezTo>
                    <a:cubicBezTo>
                      <a:pt x="159572" y="320242"/>
                      <a:pt x="159572" y="320242"/>
                      <a:pt x="155359" y="320770"/>
                    </a:cubicBezTo>
                    <a:cubicBezTo>
                      <a:pt x="155359" y="320770"/>
                      <a:pt x="155359" y="320242"/>
                      <a:pt x="155359" y="320242"/>
                    </a:cubicBezTo>
                    <a:cubicBezTo>
                      <a:pt x="101642" y="318660"/>
                      <a:pt x="54244" y="290698"/>
                      <a:pt x="26332" y="248491"/>
                    </a:cubicBezTo>
                    <a:cubicBezTo>
                      <a:pt x="21593" y="241105"/>
                      <a:pt x="17379" y="233191"/>
                      <a:pt x="13693" y="225278"/>
                    </a:cubicBezTo>
                    <a:cubicBezTo>
                      <a:pt x="6847" y="209450"/>
                      <a:pt x="2107" y="192567"/>
                      <a:pt x="527" y="174630"/>
                    </a:cubicBezTo>
                    <a:cubicBezTo>
                      <a:pt x="0" y="169881"/>
                      <a:pt x="0" y="165133"/>
                      <a:pt x="0" y="160385"/>
                    </a:cubicBezTo>
                    <a:cubicBezTo>
                      <a:pt x="0" y="158802"/>
                      <a:pt x="0" y="157219"/>
                      <a:pt x="0" y="156164"/>
                    </a:cubicBezTo>
                    <a:cubicBezTo>
                      <a:pt x="527" y="141392"/>
                      <a:pt x="2634" y="127147"/>
                      <a:pt x="6847" y="113958"/>
                    </a:cubicBezTo>
                    <a:cubicBezTo>
                      <a:pt x="8427" y="108682"/>
                      <a:pt x="10006" y="103934"/>
                      <a:pt x="12113" y="99185"/>
                    </a:cubicBezTo>
                    <a:cubicBezTo>
                      <a:pt x="17379" y="86523"/>
                      <a:pt x="23699" y="74916"/>
                      <a:pt x="32125" y="64365"/>
                    </a:cubicBezTo>
                    <a:cubicBezTo>
                      <a:pt x="34758" y="60144"/>
                      <a:pt x="37918" y="56451"/>
                      <a:pt x="41078" y="52758"/>
                    </a:cubicBezTo>
                    <a:cubicBezTo>
                      <a:pt x="49505" y="43789"/>
                      <a:pt x="58984" y="35348"/>
                      <a:pt x="68990" y="28489"/>
                    </a:cubicBezTo>
                    <a:cubicBezTo>
                      <a:pt x="72677" y="25851"/>
                      <a:pt x="76363" y="23213"/>
                      <a:pt x="80576" y="21103"/>
                    </a:cubicBezTo>
                    <a:cubicBezTo>
                      <a:pt x="103748" y="7913"/>
                      <a:pt x="131133" y="0"/>
                      <a:pt x="160099" y="0"/>
                    </a:cubicBezTo>
                    <a:close/>
                  </a:path>
                </a:pathLst>
              </a:custGeom>
              <a:grpFill/>
              <a:ln>
                <a:noFill/>
              </a:ln>
              <a:extLst/>
            </p:spPr>
            <p:txBody>
              <a:bodyPr vert="horz" wrap="square" lIns="91403" tIns="45701" rIns="91403" bIns="45701" numCol="1" anchor="t" anchorCtr="0" compatLnSpc="1">
                <a:prstTxWarp prst="textNoShape">
                  <a:avLst/>
                </a:prstTxWarp>
                <a:noAutofit/>
              </a:bodyPr>
              <a:lstStyle/>
              <a:p>
                <a:pPr defTabSz="896203"/>
                <a:endParaRPr lang="en-US" sz="1799" kern="0" dirty="0">
                  <a:solidFill>
                    <a:sysClr val="windowText" lastClr="000000"/>
                  </a:solidFill>
                </a:endParaRPr>
              </a:p>
            </p:txBody>
          </p:sp>
          <p:sp>
            <p:nvSpPr>
              <p:cNvPr id="221" name="Freeform 220"/>
              <p:cNvSpPr>
                <a:spLocks/>
              </p:cNvSpPr>
              <p:nvPr/>
            </p:nvSpPr>
            <p:spPr bwMode="auto">
              <a:xfrm>
                <a:off x="5007615" y="2323753"/>
                <a:ext cx="649029" cy="502032"/>
              </a:xfrm>
              <a:custGeom>
                <a:avLst/>
                <a:gdLst>
                  <a:gd name="connsiteX0" fmla="*/ 33287 w 649029"/>
                  <a:gd name="connsiteY0" fmla="*/ 88963 h 502032"/>
                  <a:gd name="connsiteX1" fmla="*/ 21098 w 649029"/>
                  <a:gd name="connsiteY1" fmla="*/ 102250 h 502032"/>
                  <a:gd name="connsiteX2" fmla="*/ 21098 w 649029"/>
                  <a:gd name="connsiteY2" fmla="*/ 467370 h 502032"/>
                  <a:gd name="connsiteX3" fmla="*/ 33287 w 649029"/>
                  <a:gd name="connsiteY3" fmla="*/ 480657 h 502032"/>
                  <a:gd name="connsiteX4" fmla="*/ 615742 w 649029"/>
                  <a:gd name="connsiteY4" fmla="*/ 480657 h 502032"/>
                  <a:gd name="connsiteX5" fmla="*/ 627932 w 649029"/>
                  <a:gd name="connsiteY5" fmla="*/ 467370 h 502032"/>
                  <a:gd name="connsiteX6" fmla="*/ 627932 w 649029"/>
                  <a:gd name="connsiteY6" fmla="*/ 102250 h 502032"/>
                  <a:gd name="connsiteX7" fmla="*/ 615742 w 649029"/>
                  <a:gd name="connsiteY7" fmla="*/ 88963 h 502032"/>
                  <a:gd name="connsiteX8" fmla="*/ 71744 w 649029"/>
                  <a:gd name="connsiteY8" fmla="*/ 21375 h 502032"/>
                  <a:gd name="connsiteX9" fmla="*/ 61676 w 649029"/>
                  <a:gd name="connsiteY9" fmla="*/ 31460 h 502032"/>
                  <a:gd name="connsiteX10" fmla="*/ 61676 w 649029"/>
                  <a:gd name="connsiteY10" fmla="*/ 67588 h 502032"/>
                  <a:gd name="connsiteX11" fmla="*/ 281061 w 649029"/>
                  <a:gd name="connsiteY11" fmla="*/ 67588 h 502032"/>
                  <a:gd name="connsiteX12" fmla="*/ 281061 w 649029"/>
                  <a:gd name="connsiteY12" fmla="*/ 31460 h 502032"/>
                  <a:gd name="connsiteX13" fmla="*/ 270993 w 649029"/>
                  <a:gd name="connsiteY13" fmla="*/ 21375 h 502032"/>
                  <a:gd name="connsiteX14" fmla="*/ 71826 w 649029"/>
                  <a:gd name="connsiteY14" fmla="*/ 0 h 502032"/>
                  <a:gd name="connsiteX15" fmla="*/ 271010 w 649029"/>
                  <a:gd name="connsiteY15" fmla="*/ 0 h 502032"/>
                  <a:gd name="connsiteX16" fmla="*/ 302265 w 649029"/>
                  <a:gd name="connsiteY16" fmla="*/ 31399 h 502032"/>
                  <a:gd name="connsiteX17" fmla="*/ 302265 w 649029"/>
                  <a:gd name="connsiteY17" fmla="*/ 59604 h 502032"/>
                  <a:gd name="connsiteX18" fmla="*/ 614285 w 649029"/>
                  <a:gd name="connsiteY18" fmla="*/ 59604 h 502032"/>
                  <a:gd name="connsiteX19" fmla="*/ 625873 w 649029"/>
                  <a:gd name="connsiteY19" fmla="*/ 64461 h 502032"/>
                  <a:gd name="connsiteX20" fmla="*/ 629657 w 649029"/>
                  <a:gd name="connsiteY20" fmla="*/ 73573 h 502032"/>
                  <a:gd name="connsiteX21" fmla="*/ 639294 w 649029"/>
                  <a:gd name="connsiteY21" fmla="*/ 77692 h 502032"/>
                  <a:gd name="connsiteX22" fmla="*/ 649029 w 649029"/>
                  <a:gd name="connsiteY22" fmla="*/ 102152 h 502032"/>
                  <a:gd name="connsiteX23" fmla="*/ 649029 w 649029"/>
                  <a:gd name="connsiteY23" fmla="*/ 467468 h 502032"/>
                  <a:gd name="connsiteX24" fmla="*/ 615651 w 649029"/>
                  <a:gd name="connsiteY24" fmla="*/ 502032 h 502032"/>
                  <a:gd name="connsiteX25" fmla="*/ 33379 w 649029"/>
                  <a:gd name="connsiteY25" fmla="*/ 502032 h 502032"/>
                  <a:gd name="connsiteX26" fmla="*/ 0 w 649029"/>
                  <a:gd name="connsiteY26" fmla="*/ 467468 h 502032"/>
                  <a:gd name="connsiteX27" fmla="*/ 0 w 649029"/>
                  <a:gd name="connsiteY27" fmla="*/ 102152 h 502032"/>
                  <a:gd name="connsiteX28" fmla="*/ 9735 w 649029"/>
                  <a:gd name="connsiteY28" fmla="*/ 77692 h 502032"/>
                  <a:gd name="connsiteX29" fmla="*/ 19371 w 649029"/>
                  <a:gd name="connsiteY29" fmla="*/ 73574 h 502032"/>
                  <a:gd name="connsiteX30" fmla="*/ 23155 w 649029"/>
                  <a:gd name="connsiteY30" fmla="*/ 64461 h 502032"/>
                  <a:gd name="connsiteX31" fmla="*/ 34744 w 649029"/>
                  <a:gd name="connsiteY31" fmla="*/ 59604 h 502032"/>
                  <a:gd name="connsiteX32" fmla="*/ 40571 w 649029"/>
                  <a:gd name="connsiteY32" fmla="*/ 59604 h 502032"/>
                  <a:gd name="connsiteX33" fmla="*/ 40571 w 649029"/>
                  <a:gd name="connsiteY33" fmla="*/ 31399 h 502032"/>
                  <a:gd name="connsiteX34" fmla="*/ 71826 w 649029"/>
                  <a:gd name="connsiteY34" fmla="*/ 0 h 502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49029" h="502032">
                    <a:moveTo>
                      <a:pt x="33287" y="88963"/>
                    </a:moveTo>
                    <a:cubicBezTo>
                      <a:pt x="26398" y="88963"/>
                      <a:pt x="21098" y="94809"/>
                      <a:pt x="21098" y="102250"/>
                    </a:cubicBezTo>
                    <a:lnTo>
                      <a:pt x="21098" y="467370"/>
                    </a:lnTo>
                    <a:cubicBezTo>
                      <a:pt x="21098" y="474811"/>
                      <a:pt x="26398" y="480657"/>
                      <a:pt x="33287" y="480657"/>
                    </a:cubicBezTo>
                    <a:lnTo>
                      <a:pt x="615742" y="480657"/>
                    </a:lnTo>
                    <a:cubicBezTo>
                      <a:pt x="622632" y="480657"/>
                      <a:pt x="627932" y="474811"/>
                      <a:pt x="627932" y="467370"/>
                    </a:cubicBezTo>
                    <a:lnTo>
                      <a:pt x="627932" y="102250"/>
                    </a:lnTo>
                    <a:cubicBezTo>
                      <a:pt x="627932" y="94809"/>
                      <a:pt x="622632" y="88963"/>
                      <a:pt x="615742" y="88963"/>
                    </a:cubicBezTo>
                    <a:close/>
                    <a:moveTo>
                      <a:pt x="71744" y="21375"/>
                    </a:moveTo>
                    <a:cubicBezTo>
                      <a:pt x="66445" y="21375"/>
                      <a:pt x="61676" y="26152"/>
                      <a:pt x="61676" y="31460"/>
                    </a:cubicBezTo>
                    <a:lnTo>
                      <a:pt x="61676" y="67588"/>
                    </a:lnTo>
                    <a:lnTo>
                      <a:pt x="281061" y="67588"/>
                    </a:lnTo>
                    <a:lnTo>
                      <a:pt x="281061" y="31460"/>
                    </a:lnTo>
                    <a:cubicBezTo>
                      <a:pt x="281061" y="26152"/>
                      <a:pt x="276292" y="21375"/>
                      <a:pt x="270993" y="21375"/>
                    </a:cubicBezTo>
                    <a:close/>
                    <a:moveTo>
                      <a:pt x="71826" y="0"/>
                    </a:moveTo>
                    <a:lnTo>
                      <a:pt x="271010" y="0"/>
                    </a:lnTo>
                    <a:cubicBezTo>
                      <a:pt x="287962" y="0"/>
                      <a:pt x="302265" y="14369"/>
                      <a:pt x="302265" y="31399"/>
                    </a:cubicBezTo>
                    <a:lnTo>
                      <a:pt x="302265" y="59604"/>
                    </a:lnTo>
                    <a:lnTo>
                      <a:pt x="614285" y="59604"/>
                    </a:lnTo>
                    <a:cubicBezTo>
                      <a:pt x="618788" y="59604"/>
                      <a:pt x="622894" y="61467"/>
                      <a:pt x="625873" y="64461"/>
                    </a:cubicBezTo>
                    <a:lnTo>
                      <a:pt x="629657" y="73573"/>
                    </a:lnTo>
                    <a:lnTo>
                      <a:pt x="639294" y="77692"/>
                    </a:lnTo>
                    <a:cubicBezTo>
                      <a:pt x="645320" y="83940"/>
                      <a:pt x="649029" y="92581"/>
                      <a:pt x="649029" y="102152"/>
                    </a:cubicBezTo>
                    <a:lnTo>
                      <a:pt x="649029" y="467468"/>
                    </a:lnTo>
                    <a:cubicBezTo>
                      <a:pt x="649029" y="486611"/>
                      <a:pt x="634194" y="502032"/>
                      <a:pt x="615651" y="502032"/>
                    </a:cubicBezTo>
                    <a:lnTo>
                      <a:pt x="33379" y="502032"/>
                    </a:lnTo>
                    <a:cubicBezTo>
                      <a:pt x="14835" y="502032"/>
                      <a:pt x="0" y="486611"/>
                      <a:pt x="0" y="467468"/>
                    </a:cubicBezTo>
                    <a:lnTo>
                      <a:pt x="0" y="102152"/>
                    </a:lnTo>
                    <a:cubicBezTo>
                      <a:pt x="0" y="92581"/>
                      <a:pt x="3709" y="83940"/>
                      <a:pt x="9735" y="77692"/>
                    </a:cubicBezTo>
                    <a:lnTo>
                      <a:pt x="19371" y="73574"/>
                    </a:lnTo>
                    <a:lnTo>
                      <a:pt x="23155" y="64461"/>
                    </a:lnTo>
                    <a:cubicBezTo>
                      <a:pt x="26135" y="61467"/>
                      <a:pt x="30241" y="59604"/>
                      <a:pt x="34744" y="59604"/>
                    </a:cubicBezTo>
                    <a:lnTo>
                      <a:pt x="40571" y="59604"/>
                    </a:lnTo>
                    <a:lnTo>
                      <a:pt x="40571" y="31399"/>
                    </a:lnTo>
                    <a:cubicBezTo>
                      <a:pt x="40571" y="14369"/>
                      <a:pt x="54344" y="0"/>
                      <a:pt x="718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noAutofit/>
              </a:bodyPr>
              <a:lstStyle/>
              <a:p>
                <a:pPr defTabSz="896203"/>
                <a:endParaRPr lang="en-US" sz="1799" kern="0" dirty="0">
                  <a:solidFill>
                    <a:sysClr val="windowText" lastClr="000000"/>
                  </a:solidFill>
                </a:endParaRPr>
              </a:p>
            </p:txBody>
          </p:sp>
        </p:grpSp>
        <p:grpSp>
          <p:nvGrpSpPr>
            <p:cNvPr id="222" name="Group 221"/>
            <p:cNvGrpSpPr/>
            <p:nvPr/>
          </p:nvGrpSpPr>
          <p:grpSpPr>
            <a:xfrm>
              <a:off x="10486805" y="2434267"/>
              <a:ext cx="1302888" cy="1542780"/>
              <a:chOff x="10486805" y="2923046"/>
              <a:chExt cx="1302888" cy="1542780"/>
            </a:xfrm>
            <a:grpFill/>
          </p:grpSpPr>
          <p:sp>
            <p:nvSpPr>
              <p:cNvPr id="223" name="Rectangle 222"/>
              <p:cNvSpPr/>
              <p:nvPr/>
            </p:nvSpPr>
            <p:spPr bwMode="auto">
              <a:xfrm>
                <a:off x="10802824" y="2923046"/>
                <a:ext cx="986869" cy="1542780"/>
              </a:xfrm>
              <a:prstGeom prst="rect">
                <a:avLst/>
              </a:prstGeom>
              <a:noFill/>
              <a:ln>
                <a:solidFill>
                  <a:schemeClr val="tx1">
                    <a:lumMod val="6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algn="ctr" defTabSz="932103" fontAlgn="base">
                  <a:lnSpc>
                    <a:spcPct val="90000"/>
                  </a:lnSpc>
                  <a:spcBef>
                    <a:spcPct val="0"/>
                  </a:spcBef>
                  <a:spcAft>
                    <a:spcPct val="0"/>
                  </a:spcAft>
                </a:pPr>
                <a:endParaRPr lang="en-US" sz="2399"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24" name="TextBox 223"/>
              <p:cNvSpPr txBox="1"/>
              <p:nvPr/>
            </p:nvSpPr>
            <p:spPr>
              <a:xfrm>
                <a:off x="11212738" y="3022354"/>
                <a:ext cx="473389" cy="172510"/>
              </a:xfrm>
              <a:prstGeom prst="rect">
                <a:avLst/>
              </a:prstGeom>
              <a:noFill/>
            </p:spPr>
            <p:txBody>
              <a:bodyPr wrap="square" lIns="0" tIns="0" rIns="0" bIns="0" rtlCol="0">
                <a:spAutoFit/>
              </a:bodyPr>
              <a:lstStyle/>
              <a:p>
                <a:pPr defTabSz="932194">
                  <a:spcBef>
                    <a:spcPct val="0"/>
                  </a:spcBef>
                  <a:spcAft>
                    <a:spcPts val="600"/>
                  </a:spcAft>
                </a:pPr>
                <a:r>
                  <a:rPr lang="en-US" sz="1050" kern="0" dirty="0">
                    <a:solidFill>
                      <a:schemeClr val="accent2"/>
                    </a:solidFill>
                    <a:cs typeface="Segoe UI Semilight" panose="020B0402040204020203" pitchFamily="34" charset="0"/>
                  </a:rPr>
                  <a:t>Web</a:t>
                </a:r>
              </a:p>
            </p:txBody>
          </p:sp>
          <p:sp>
            <p:nvSpPr>
              <p:cNvPr id="225" name="TextBox 224"/>
              <p:cNvSpPr txBox="1"/>
              <p:nvPr/>
            </p:nvSpPr>
            <p:spPr>
              <a:xfrm>
                <a:off x="11212738" y="3571986"/>
                <a:ext cx="473389" cy="172510"/>
              </a:xfrm>
              <a:prstGeom prst="rect">
                <a:avLst/>
              </a:prstGeom>
              <a:noFill/>
            </p:spPr>
            <p:txBody>
              <a:bodyPr wrap="square" lIns="0" tIns="0" rIns="0" bIns="0" rtlCol="0">
                <a:spAutoFit/>
              </a:bodyPr>
              <a:lstStyle/>
              <a:p>
                <a:pPr defTabSz="932194">
                  <a:spcBef>
                    <a:spcPct val="0"/>
                  </a:spcBef>
                  <a:spcAft>
                    <a:spcPts val="600"/>
                  </a:spcAft>
                </a:pPr>
                <a:r>
                  <a:rPr lang="en-US" sz="1050" kern="0" dirty="0">
                    <a:solidFill>
                      <a:schemeClr val="accent2"/>
                    </a:solidFill>
                    <a:cs typeface="Segoe UI Semilight" panose="020B0402040204020203" pitchFamily="34" charset="0"/>
                  </a:rPr>
                  <a:t>Mobile</a:t>
                </a:r>
              </a:p>
            </p:txBody>
          </p:sp>
          <p:sp>
            <p:nvSpPr>
              <p:cNvPr id="226" name="TextBox 225"/>
              <p:cNvSpPr txBox="1"/>
              <p:nvPr/>
            </p:nvSpPr>
            <p:spPr>
              <a:xfrm>
                <a:off x="11212738" y="4160203"/>
                <a:ext cx="473389" cy="172510"/>
              </a:xfrm>
              <a:prstGeom prst="rect">
                <a:avLst/>
              </a:prstGeom>
              <a:noFill/>
            </p:spPr>
            <p:txBody>
              <a:bodyPr wrap="square" lIns="0" tIns="0" rIns="0" bIns="0" rtlCol="0">
                <a:spAutoFit/>
              </a:bodyPr>
              <a:lstStyle/>
              <a:p>
                <a:pPr defTabSz="932194">
                  <a:spcBef>
                    <a:spcPct val="0"/>
                  </a:spcBef>
                  <a:spcAft>
                    <a:spcPts val="600"/>
                  </a:spcAft>
                </a:pPr>
                <a:r>
                  <a:rPr lang="en-US" sz="1050" kern="0" dirty="0">
                    <a:solidFill>
                      <a:schemeClr val="accent2"/>
                    </a:solidFill>
                    <a:cs typeface="Segoe UI Semilight" panose="020B0402040204020203" pitchFamily="34" charset="0"/>
                  </a:rPr>
                  <a:t>Bots</a:t>
                </a:r>
              </a:p>
            </p:txBody>
          </p:sp>
          <p:sp>
            <p:nvSpPr>
              <p:cNvPr id="227" name="Freeform 226"/>
              <p:cNvSpPr>
                <a:spLocks noChangeArrowheads="1"/>
              </p:cNvSpPr>
              <p:nvPr/>
            </p:nvSpPr>
            <p:spPr bwMode="auto">
              <a:xfrm>
                <a:off x="10907711" y="3020740"/>
                <a:ext cx="187689" cy="187689"/>
              </a:xfrm>
              <a:custGeom>
                <a:avLst/>
                <a:gdLst>
                  <a:gd name="connsiteX0" fmla="*/ 2240514 w 3214688"/>
                  <a:gd name="connsiteY0" fmla="*/ 2452692 h 3214688"/>
                  <a:gd name="connsiteX1" fmla="*/ 2164154 w 3214688"/>
                  <a:gd name="connsiteY1" fmla="*/ 2577661 h 3214688"/>
                  <a:gd name="connsiteX2" fmla="*/ 2066550 w 3214688"/>
                  <a:gd name="connsiteY2" fmla="*/ 2716118 h 3214688"/>
                  <a:gd name="connsiteX3" fmla="*/ 1754615 w 3214688"/>
                  <a:gd name="connsiteY3" fmla="*/ 3074168 h 3214688"/>
                  <a:gd name="connsiteX4" fmla="*/ 1740871 w 3214688"/>
                  <a:gd name="connsiteY4" fmla="*/ 3087292 h 3214688"/>
                  <a:gd name="connsiteX5" fmla="*/ 1759187 w 3214688"/>
                  <a:gd name="connsiteY5" fmla="*/ 3086367 h 3214688"/>
                  <a:gd name="connsiteX6" fmla="*/ 2552008 w 3214688"/>
                  <a:gd name="connsiteY6" fmla="*/ 2754731 h 3214688"/>
                  <a:gd name="connsiteX7" fmla="*/ 2647815 w 3214688"/>
                  <a:gd name="connsiteY7" fmla="*/ 2667609 h 3214688"/>
                  <a:gd name="connsiteX8" fmla="*/ 2533366 w 3214688"/>
                  <a:gd name="connsiteY8" fmla="*/ 2587696 h 3214688"/>
                  <a:gd name="connsiteX9" fmla="*/ 2342448 w 3214688"/>
                  <a:gd name="connsiteY9" fmla="*/ 2491033 h 3214688"/>
                  <a:gd name="connsiteX10" fmla="*/ 974642 w 3214688"/>
                  <a:gd name="connsiteY10" fmla="*/ 2452516 h 3214688"/>
                  <a:gd name="connsiteX11" fmla="*/ 872242 w 3214688"/>
                  <a:gd name="connsiteY11" fmla="*/ 2491033 h 3214688"/>
                  <a:gd name="connsiteX12" fmla="*/ 681324 w 3214688"/>
                  <a:gd name="connsiteY12" fmla="*/ 2587696 h 3214688"/>
                  <a:gd name="connsiteX13" fmla="*/ 566873 w 3214688"/>
                  <a:gd name="connsiteY13" fmla="*/ 2667611 h 3214688"/>
                  <a:gd name="connsiteX14" fmla="*/ 662678 w 3214688"/>
                  <a:gd name="connsiteY14" fmla="*/ 2754731 h 3214688"/>
                  <a:gd name="connsiteX15" fmla="*/ 1455500 w 3214688"/>
                  <a:gd name="connsiteY15" fmla="*/ 3086367 h 3214688"/>
                  <a:gd name="connsiteX16" fmla="*/ 1473960 w 3214688"/>
                  <a:gd name="connsiteY16" fmla="*/ 3087299 h 3214688"/>
                  <a:gd name="connsiteX17" fmla="*/ 1460208 w 3214688"/>
                  <a:gd name="connsiteY17" fmla="*/ 3074168 h 3214688"/>
                  <a:gd name="connsiteX18" fmla="*/ 1148273 w 3214688"/>
                  <a:gd name="connsiteY18" fmla="*/ 2716118 h 3214688"/>
                  <a:gd name="connsiteX19" fmla="*/ 1050800 w 3214688"/>
                  <a:gd name="connsiteY19" fmla="*/ 2577661 h 3214688"/>
                  <a:gd name="connsiteX20" fmla="*/ 1668463 w 3214688"/>
                  <a:gd name="connsiteY20" fmla="*/ 2349078 h 3214688"/>
                  <a:gd name="connsiteX21" fmla="*/ 1668463 w 3214688"/>
                  <a:gd name="connsiteY21" fmla="*/ 2987045 h 3214688"/>
                  <a:gd name="connsiteX22" fmla="*/ 1686282 w 3214688"/>
                  <a:gd name="connsiteY22" fmla="*/ 2969732 h 3214688"/>
                  <a:gd name="connsiteX23" fmla="*/ 2047573 w 3214688"/>
                  <a:gd name="connsiteY23" fmla="*/ 2532767 h 3214688"/>
                  <a:gd name="connsiteX24" fmla="*/ 2118389 w 3214688"/>
                  <a:gd name="connsiteY24" fmla="*/ 2414793 h 3214688"/>
                  <a:gd name="connsiteX25" fmla="*/ 2062644 w 3214688"/>
                  <a:gd name="connsiteY25" fmla="*/ 2398957 h 3214688"/>
                  <a:gd name="connsiteX26" fmla="*/ 1838838 w 3214688"/>
                  <a:gd name="connsiteY26" fmla="*/ 2359062 h 3214688"/>
                  <a:gd name="connsiteX27" fmla="*/ 1546226 w 3214688"/>
                  <a:gd name="connsiteY27" fmla="*/ 2349078 h 3214688"/>
                  <a:gd name="connsiteX28" fmla="*/ 1375851 w 3214688"/>
                  <a:gd name="connsiteY28" fmla="*/ 2359062 h 3214688"/>
                  <a:gd name="connsiteX29" fmla="*/ 1152046 w 3214688"/>
                  <a:gd name="connsiteY29" fmla="*/ 2398957 h 3214688"/>
                  <a:gd name="connsiteX30" fmla="*/ 1097994 w 3214688"/>
                  <a:gd name="connsiteY30" fmla="*/ 2414312 h 3214688"/>
                  <a:gd name="connsiteX31" fmla="*/ 1168773 w 3214688"/>
                  <a:gd name="connsiteY31" fmla="*/ 2532767 h 3214688"/>
                  <a:gd name="connsiteX32" fmla="*/ 1528675 w 3214688"/>
                  <a:gd name="connsiteY32" fmla="*/ 2969732 h 3214688"/>
                  <a:gd name="connsiteX33" fmla="*/ 1546226 w 3214688"/>
                  <a:gd name="connsiteY33" fmla="*/ 2986822 h 3214688"/>
                  <a:gd name="connsiteX34" fmla="*/ 2486262 w 3214688"/>
                  <a:gd name="connsiteY34" fmla="*/ 1668463 h 3214688"/>
                  <a:gd name="connsiteX35" fmla="*/ 2482389 w 3214688"/>
                  <a:gd name="connsiteY35" fmla="*/ 1744921 h 3214688"/>
                  <a:gd name="connsiteX36" fmla="*/ 2321876 w 3214688"/>
                  <a:gd name="connsiteY36" fmla="*/ 2298467 h 3214688"/>
                  <a:gd name="connsiteX37" fmla="*/ 2297383 w 3214688"/>
                  <a:gd name="connsiteY37" fmla="*/ 2345664 h 3214688"/>
                  <a:gd name="connsiteX38" fmla="*/ 2392218 w 3214688"/>
                  <a:gd name="connsiteY38" fmla="*/ 2381629 h 3214688"/>
                  <a:gd name="connsiteX39" fmla="*/ 2596737 w 3214688"/>
                  <a:gd name="connsiteY39" fmla="*/ 2485449 h 3214688"/>
                  <a:gd name="connsiteX40" fmla="*/ 2730520 w 3214688"/>
                  <a:gd name="connsiteY40" fmla="*/ 2578412 h 3214688"/>
                  <a:gd name="connsiteX41" fmla="*/ 2753323 w 3214688"/>
                  <a:gd name="connsiteY41" fmla="*/ 2553309 h 3214688"/>
                  <a:gd name="connsiteX42" fmla="*/ 3084782 w 3214688"/>
                  <a:gd name="connsiteY42" fmla="*/ 1760063 h 3214688"/>
                  <a:gd name="connsiteX43" fmla="*/ 3089405 w 3214688"/>
                  <a:gd name="connsiteY43" fmla="*/ 1668463 h 3214688"/>
                  <a:gd name="connsiteX44" fmla="*/ 1668463 w 3214688"/>
                  <a:gd name="connsiteY44" fmla="*/ 1668463 h 3214688"/>
                  <a:gd name="connsiteX45" fmla="*/ 1668463 w 3214688"/>
                  <a:gd name="connsiteY45" fmla="*/ 2227749 h 3214688"/>
                  <a:gd name="connsiteX46" fmla="*/ 1854174 w 3214688"/>
                  <a:gd name="connsiteY46" fmla="*/ 2238874 h 3214688"/>
                  <a:gd name="connsiteX47" fmla="*/ 2093075 w 3214688"/>
                  <a:gd name="connsiteY47" fmla="*/ 2282190 h 3214688"/>
                  <a:gd name="connsiteX48" fmla="*/ 2180461 w 3214688"/>
                  <a:gd name="connsiteY48" fmla="*/ 2307322 h 3214688"/>
                  <a:gd name="connsiteX49" fmla="*/ 2223231 w 3214688"/>
                  <a:gd name="connsiteY49" fmla="*/ 2220775 h 3214688"/>
                  <a:gd name="connsiteX50" fmla="*/ 2360202 w 3214688"/>
                  <a:gd name="connsiteY50" fmla="*/ 1739141 h 3214688"/>
                  <a:gd name="connsiteX51" fmla="*/ 2363915 w 3214688"/>
                  <a:gd name="connsiteY51" fmla="*/ 1668463 h 3214688"/>
                  <a:gd name="connsiteX52" fmla="*/ 853934 w 3214688"/>
                  <a:gd name="connsiteY52" fmla="*/ 1668463 h 3214688"/>
                  <a:gd name="connsiteX53" fmla="*/ 857628 w 3214688"/>
                  <a:gd name="connsiteY53" fmla="*/ 1739141 h 3214688"/>
                  <a:gd name="connsiteX54" fmla="*/ 993929 w 3214688"/>
                  <a:gd name="connsiteY54" fmla="*/ 2220775 h 3214688"/>
                  <a:gd name="connsiteX55" fmla="*/ 1036215 w 3214688"/>
                  <a:gd name="connsiteY55" fmla="*/ 2306750 h 3214688"/>
                  <a:gd name="connsiteX56" fmla="*/ 1121614 w 3214688"/>
                  <a:gd name="connsiteY56" fmla="*/ 2282190 h 3214688"/>
                  <a:gd name="connsiteX57" fmla="*/ 1360516 w 3214688"/>
                  <a:gd name="connsiteY57" fmla="*/ 2238874 h 3214688"/>
                  <a:gd name="connsiteX58" fmla="*/ 1546226 w 3214688"/>
                  <a:gd name="connsiteY58" fmla="*/ 2227749 h 3214688"/>
                  <a:gd name="connsiteX59" fmla="*/ 1546226 w 3214688"/>
                  <a:gd name="connsiteY59" fmla="*/ 1668463 h 3214688"/>
                  <a:gd name="connsiteX60" fmla="*/ 125282 w 3214688"/>
                  <a:gd name="connsiteY60" fmla="*/ 1668463 h 3214688"/>
                  <a:gd name="connsiteX61" fmla="*/ 129905 w 3214688"/>
                  <a:gd name="connsiteY61" fmla="*/ 1760063 h 3214688"/>
                  <a:gd name="connsiteX62" fmla="*/ 461363 w 3214688"/>
                  <a:gd name="connsiteY62" fmla="*/ 2553309 h 3214688"/>
                  <a:gd name="connsiteX63" fmla="*/ 484168 w 3214688"/>
                  <a:gd name="connsiteY63" fmla="*/ 2578414 h 3214688"/>
                  <a:gd name="connsiteX64" fmla="*/ 617953 w 3214688"/>
                  <a:gd name="connsiteY64" fmla="*/ 2485449 h 3214688"/>
                  <a:gd name="connsiteX65" fmla="*/ 822472 w 3214688"/>
                  <a:gd name="connsiteY65" fmla="*/ 2381629 h 3214688"/>
                  <a:gd name="connsiteX66" fmla="*/ 918086 w 3214688"/>
                  <a:gd name="connsiteY66" fmla="*/ 2345368 h 3214688"/>
                  <a:gd name="connsiteX67" fmla="*/ 893910 w 3214688"/>
                  <a:gd name="connsiteY67" fmla="*/ 2298467 h 3214688"/>
                  <a:gd name="connsiteX68" fmla="*/ 735344 w 3214688"/>
                  <a:gd name="connsiteY68" fmla="*/ 1744921 h 3214688"/>
                  <a:gd name="connsiteX69" fmla="*/ 731546 w 3214688"/>
                  <a:gd name="connsiteY69" fmla="*/ 1668463 h 3214688"/>
                  <a:gd name="connsiteX70" fmla="*/ 1036436 w 3214688"/>
                  <a:gd name="connsiteY70" fmla="*/ 911460 h 3214688"/>
                  <a:gd name="connsiteX71" fmla="*/ 993929 w 3214688"/>
                  <a:gd name="connsiteY71" fmla="*/ 998077 h 3214688"/>
                  <a:gd name="connsiteX72" fmla="*/ 857628 w 3214688"/>
                  <a:gd name="connsiteY72" fmla="*/ 1481228 h 3214688"/>
                  <a:gd name="connsiteX73" fmla="*/ 854245 w 3214688"/>
                  <a:gd name="connsiteY73" fmla="*/ 1546225 h 3214688"/>
                  <a:gd name="connsiteX74" fmla="*/ 1546226 w 3214688"/>
                  <a:gd name="connsiteY74" fmla="*/ 1546225 h 3214688"/>
                  <a:gd name="connsiteX75" fmla="*/ 1546226 w 3214688"/>
                  <a:gd name="connsiteY75" fmla="*/ 990118 h 3214688"/>
                  <a:gd name="connsiteX76" fmla="*/ 1360255 w 3214688"/>
                  <a:gd name="connsiteY76" fmla="*/ 978989 h 3214688"/>
                  <a:gd name="connsiteX77" fmla="*/ 1120814 w 3214688"/>
                  <a:gd name="connsiteY77" fmla="*/ 935673 h 3214688"/>
                  <a:gd name="connsiteX78" fmla="*/ 2180241 w 3214688"/>
                  <a:gd name="connsiteY78" fmla="*/ 910890 h 3214688"/>
                  <a:gd name="connsiteX79" fmla="*/ 2093876 w 3214688"/>
                  <a:gd name="connsiteY79" fmla="*/ 935673 h 3214688"/>
                  <a:gd name="connsiteX80" fmla="*/ 1854434 w 3214688"/>
                  <a:gd name="connsiteY80" fmla="*/ 978989 h 3214688"/>
                  <a:gd name="connsiteX81" fmla="*/ 1668463 w 3214688"/>
                  <a:gd name="connsiteY81" fmla="*/ 990118 h 3214688"/>
                  <a:gd name="connsiteX82" fmla="*/ 1668463 w 3214688"/>
                  <a:gd name="connsiteY82" fmla="*/ 1546225 h 3214688"/>
                  <a:gd name="connsiteX83" fmla="*/ 2363603 w 3214688"/>
                  <a:gd name="connsiteY83" fmla="*/ 1546225 h 3214688"/>
                  <a:gd name="connsiteX84" fmla="*/ 2360202 w 3214688"/>
                  <a:gd name="connsiteY84" fmla="*/ 1481228 h 3214688"/>
                  <a:gd name="connsiteX85" fmla="*/ 2223231 w 3214688"/>
                  <a:gd name="connsiteY85" fmla="*/ 998077 h 3214688"/>
                  <a:gd name="connsiteX86" fmla="*/ 2731519 w 3214688"/>
                  <a:gd name="connsiteY86" fmla="*/ 638964 h 3214688"/>
                  <a:gd name="connsiteX87" fmla="*/ 2597865 w 3214688"/>
                  <a:gd name="connsiteY87" fmla="*/ 732415 h 3214688"/>
                  <a:gd name="connsiteX88" fmla="*/ 2393553 w 3214688"/>
                  <a:gd name="connsiteY88" fmla="*/ 836234 h 3214688"/>
                  <a:gd name="connsiteX89" fmla="*/ 2297528 w 3214688"/>
                  <a:gd name="connsiteY89" fmla="*/ 872602 h 3214688"/>
                  <a:gd name="connsiteX90" fmla="*/ 2321876 w 3214688"/>
                  <a:gd name="connsiteY90" fmla="*/ 919557 h 3214688"/>
                  <a:gd name="connsiteX91" fmla="*/ 2482389 w 3214688"/>
                  <a:gd name="connsiteY91" fmla="*/ 1474977 h 3214688"/>
                  <a:gd name="connsiteX92" fmla="*/ 2485971 w 3214688"/>
                  <a:gd name="connsiteY92" fmla="*/ 1546225 h 3214688"/>
                  <a:gd name="connsiteX93" fmla="*/ 3089325 w 3214688"/>
                  <a:gd name="connsiteY93" fmla="*/ 1546225 h 3214688"/>
                  <a:gd name="connsiteX94" fmla="*/ 3084782 w 3214688"/>
                  <a:gd name="connsiteY94" fmla="*/ 1456213 h 3214688"/>
                  <a:gd name="connsiteX95" fmla="*/ 2753323 w 3214688"/>
                  <a:gd name="connsiteY95" fmla="*/ 662968 h 3214688"/>
                  <a:gd name="connsiteX96" fmla="*/ 483169 w 3214688"/>
                  <a:gd name="connsiteY96" fmla="*/ 638963 h 3214688"/>
                  <a:gd name="connsiteX97" fmla="*/ 461363 w 3214688"/>
                  <a:gd name="connsiteY97" fmla="*/ 662968 h 3214688"/>
                  <a:gd name="connsiteX98" fmla="*/ 129905 w 3214688"/>
                  <a:gd name="connsiteY98" fmla="*/ 1456213 h 3214688"/>
                  <a:gd name="connsiteX99" fmla="*/ 125362 w 3214688"/>
                  <a:gd name="connsiteY99" fmla="*/ 1546225 h 3214688"/>
                  <a:gd name="connsiteX100" fmla="*/ 731831 w 3214688"/>
                  <a:gd name="connsiteY100" fmla="*/ 1546225 h 3214688"/>
                  <a:gd name="connsiteX101" fmla="*/ 735344 w 3214688"/>
                  <a:gd name="connsiteY101" fmla="*/ 1474977 h 3214688"/>
                  <a:gd name="connsiteX102" fmla="*/ 893910 w 3214688"/>
                  <a:gd name="connsiteY102" fmla="*/ 919557 h 3214688"/>
                  <a:gd name="connsiteX103" fmla="*/ 917942 w 3214688"/>
                  <a:gd name="connsiteY103" fmla="*/ 872897 h 3214688"/>
                  <a:gd name="connsiteX104" fmla="*/ 821137 w 3214688"/>
                  <a:gd name="connsiteY104" fmla="*/ 836234 h 3214688"/>
                  <a:gd name="connsiteX105" fmla="*/ 616825 w 3214688"/>
                  <a:gd name="connsiteY105" fmla="*/ 732415 h 3214688"/>
                  <a:gd name="connsiteX106" fmla="*/ 1546226 w 3214688"/>
                  <a:gd name="connsiteY106" fmla="*/ 231046 h 3214688"/>
                  <a:gd name="connsiteX107" fmla="*/ 1528675 w 3214688"/>
                  <a:gd name="connsiteY107" fmla="*/ 248139 h 3214688"/>
                  <a:gd name="connsiteX108" fmla="*/ 1168773 w 3214688"/>
                  <a:gd name="connsiteY108" fmla="*/ 685478 h 3214688"/>
                  <a:gd name="connsiteX109" fmla="*/ 1098769 w 3214688"/>
                  <a:gd name="connsiteY109" fmla="*/ 802845 h 3214688"/>
                  <a:gd name="connsiteX110" fmla="*/ 1152046 w 3214688"/>
                  <a:gd name="connsiteY110" fmla="*/ 818106 h 3214688"/>
                  <a:gd name="connsiteX111" fmla="*/ 1375851 w 3214688"/>
                  <a:gd name="connsiteY111" fmla="*/ 858541 h 3214688"/>
                  <a:gd name="connsiteX112" fmla="*/ 1546226 w 3214688"/>
                  <a:gd name="connsiteY112" fmla="*/ 868716 h 3214688"/>
                  <a:gd name="connsiteX113" fmla="*/ 1668463 w 3214688"/>
                  <a:gd name="connsiteY113" fmla="*/ 230823 h 3214688"/>
                  <a:gd name="connsiteX114" fmla="*/ 1668463 w 3214688"/>
                  <a:gd name="connsiteY114" fmla="*/ 868716 h 3214688"/>
                  <a:gd name="connsiteX115" fmla="*/ 1838838 w 3214688"/>
                  <a:gd name="connsiteY115" fmla="*/ 858541 h 3214688"/>
                  <a:gd name="connsiteX116" fmla="*/ 2062644 w 3214688"/>
                  <a:gd name="connsiteY116" fmla="*/ 818106 h 3214688"/>
                  <a:gd name="connsiteX117" fmla="*/ 2117610 w 3214688"/>
                  <a:gd name="connsiteY117" fmla="*/ 802362 h 3214688"/>
                  <a:gd name="connsiteX118" fmla="*/ 2047573 w 3214688"/>
                  <a:gd name="connsiteY118" fmla="*/ 685478 h 3214688"/>
                  <a:gd name="connsiteX119" fmla="*/ 1686282 w 3214688"/>
                  <a:gd name="connsiteY119" fmla="*/ 248139 h 3214688"/>
                  <a:gd name="connsiteX120" fmla="*/ 1739116 w 3214688"/>
                  <a:gd name="connsiteY120" fmla="*/ 128896 h 3214688"/>
                  <a:gd name="connsiteX121" fmla="*/ 1754615 w 3214688"/>
                  <a:gd name="connsiteY121" fmla="*/ 143696 h 3214688"/>
                  <a:gd name="connsiteX122" fmla="*/ 2066550 w 3214688"/>
                  <a:gd name="connsiteY122" fmla="*/ 501745 h 3214688"/>
                  <a:gd name="connsiteX123" fmla="*/ 2164154 w 3214688"/>
                  <a:gd name="connsiteY123" fmla="*/ 640209 h 3214688"/>
                  <a:gd name="connsiteX124" fmla="*/ 2239903 w 3214688"/>
                  <a:gd name="connsiteY124" fmla="*/ 764214 h 3214688"/>
                  <a:gd name="connsiteX125" fmla="*/ 2342448 w 3214688"/>
                  <a:gd name="connsiteY125" fmla="*/ 725496 h 3214688"/>
                  <a:gd name="connsiteX126" fmla="*/ 2533366 w 3214688"/>
                  <a:gd name="connsiteY126" fmla="*/ 629040 h 3214688"/>
                  <a:gd name="connsiteX127" fmla="*/ 2648575 w 3214688"/>
                  <a:gd name="connsiteY127" fmla="*/ 549358 h 3214688"/>
                  <a:gd name="connsiteX128" fmla="*/ 2552008 w 3214688"/>
                  <a:gd name="connsiteY128" fmla="*/ 461545 h 3214688"/>
                  <a:gd name="connsiteX129" fmla="*/ 1759187 w 3214688"/>
                  <a:gd name="connsiteY129" fmla="*/ 129910 h 3214688"/>
                  <a:gd name="connsiteX130" fmla="*/ 1475715 w 3214688"/>
                  <a:gd name="connsiteY130" fmla="*/ 128888 h 3214688"/>
                  <a:gd name="connsiteX131" fmla="*/ 1455500 w 3214688"/>
                  <a:gd name="connsiteY131" fmla="*/ 129910 h 3214688"/>
                  <a:gd name="connsiteX132" fmla="*/ 662678 w 3214688"/>
                  <a:gd name="connsiteY132" fmla="*/ 461545 h 3214688"/>
                  <a:gd name="connsiteX133" fmla="*/ 566113 w 3214688"/>
                  <a:gd name="connsiteY133" fmla="*/ 549357 h 3214688"/>
                  <a:gd name="connsiteX134" fmla="*/ 681324 w 3214688"/>
                  <a:gd name="connsiteY134" fmla="*/ 629040 h 3214688"/>
                  <a:gd name="connsiteX135" fmla="*/ 872242 w 3214688"/>
                  <a:gd name="connsiteY135" fmla="*/ 725496 h 3214688"/>
                  <a:gd name="connsiteX136" fmla="*/ 975251 w 3214688"/>
                  <a:gd name="connsiteY136" fmla="*/ 764389 h 3214688"/>
                  <a:gd name="connsiteX137" fmla="*/ 1050800 w 3214688"/>
                  <a:gd name="connsiteY137" fmla="*/ 640209 h 3214688"/>
                  <a:gd name="connsiteX138" fmla="*/ 1148273 w 3214688"/>
                  <a:gd name="connsiteY138" fmla="*/ 501745 h 3214688"/>
                  <a:gd name="connsiteX139" fmla="*/ 1460208 w 3214688"/>
                  <a:gd name="connsiteY139" fmla="*/ 143696 h 3214688"/>
                  <a:gd name="connsiteX140" fmla="*/ 1607344 w 3214688"/>
                  <a:gd name="connsiteY140" fmla="*/ 0 h 3214688"/>
                  <a:gd name="connsiteX141" fmla="*/ 3214688 w 3214688"/>
                  <a:gd name="connsiteY141" fmla="*/ 1607344 h 3214688"/>
                  <a:gd name="connsiteX142" fmla="*/ 1607344 w 3214688"/>
                  <a:gd name="connsiteY142" fmla="*/ 3214688 h 3214688"/>
                  <a:gd name="connsiteX143" fmla="*/ 0 w 3214688"/>
                  <a:gd name="connsiteY143" fmla="*/ 1607344 h 3214688"/>
                  <a:gd name="connsiteX144" fmla="*/ 1607344 w 3214688"/>
                  <a:gd name="connsiteY144" fmla="*/ 0 h 321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3214688" h="3214688">
                    <a:moveTo>
                      <a:pt x="2240514" y="2452692"/>
                    </a:moveTo>
                    <a:lnTo>
                      <a:pt x="2164154" y="2577661"/>
                    </a:lnTo>
                    <a:cubicBezTo>
                      <a:pt x="2133682" y="2623995"/>
                      <a:pt x="2101138" y="2670175"/>
                      <a:pt x="2066550" y="2716118"/>
                    </a:cubicBezTo>
                    <a:cubicBezTo>
                      <a:pt x="1950245" y="2873312"/>
                      <a:pt x="1834903" y="2995905"/>
                      <a:pt x="1754615" y="3074168"/>
                    </a:cubicBezTo>
                    <a:lnTo>
                      <a:pt x="1740871" y="3087292"/>
                    </a:lnTo>
                    <a:lnTo>
                      <a:pt x="1759187" y="3086367"/>
                    </a:lnTo>
                    <a:cubicBezTo>
                      <a:pt x="2058736" y="3055930"/>
                      <a:pt x="2331968" y="2936422"/>
                      <a:pt x="2552008" y="2754731"/>
                    </a:cubicBezTo>
                    <a:lnTo>
                      <a:pt x="2647815" y="2667609"/>
                    </a:lnTo>
                    <a:lnTo>
                      <a:pt x="2533366" y="2587696"/>
                    </a:lnTo>
                    <a:cubicBezTo>
                      <a:pt x="2472930" y="2551687"/>
                      <a:pt x="2409077" y="2519400"/>
                      <a:pt x="2342448" y="2491033"/>
                    </a:cubicBezTo>
                    <a:close/>
                    <a:moveTo>
                      <a:pt x="974642" y="2452516"/>
                    </a:moveTo>
                    <a:lnTo>
                      <a:pt x="872242" y="2491033"/>
                    </a:lnTo>
                    <a:cubicBezTo>
                      <a:pt x="805613" y="2519400"/>
                      <a:pt x="741760" y="2551687"/>
                      <a:pt x="681324" y="2587696"/>
                    </a:cubicBezTo>
                    <a:lnTo>
                      <a:pt x="566873" y="2667611"/>
                    </a:lnTo>
                    <a:lnTo>
                      <a:pt x="662678" y="2754731"/>
                    </a:lnTo>
                    <a:cubicBezTo>
                      <a:pt x="882719" y="2936422"/>
                      <a:pt x="1155951" y="3055930"/>
                      <a:pt x="1455500" y="3086367"/>
                    </a:cubicBezTo>
                    <a:lnTo>
                      <a:pt x="1473960" y="3087299"/>
                    </a:lnTo>
                    <a:lnTo>
                      <a:pt x="1460208" y="3074168"/>
                    </a:lnTo>
                    <a:cubicBezTo>
                      <a:pt x="1379921" y="2995905"/>
                      <a:pt x="1264578" y="2873312"/>
                      <a:pt x="1148273" y="2716118"/>
                    </a:cubicBezTo>
                    <a:cubicBezTo>
                      <a:pt x="1113686" y="2670175"/>
                      <a:pt x="1081189" y="2623995"/>
                      <a:pt x="1050800" y="2577661"/>
                    </a:cubicBezTo>
                    <a:close/>
                    <a:moveTo>
                      <a:pt x="1668463" y="2349078"/>
                    </a:moveTo>
                    <a:lnTo>
                      <a:pt x="1668463" y="2987045"/>
                    </a:lnTo>
                    <a:lnTo>
                      <a:pt x="1686282" y="2969732"/>
                    </a:lnTo>
                    <a:cubicBezTo>
                      <a:pt x="1781612" y="2874931"/>
                      <a:pt x="1920253" y="2723080"/>
                      <a:pt x="2047573" y="2532767"/>
                    </a:cubicBezTo>
                    <a:lnTo>
                      <a:pt x="2118389" y="2414793"/>
                    </a:lnTo>
                    <a:lnTo>
                      <a:pt x="2062644" y="2398957"/>
                    </a:lnTo>
                    <a:cubicBezTo>
                      <a:pt x="1989750" y="2381404"/>
                      <a:pt x="1914935" y="2368039"/>
                      <a:pt x="1838838" y="2359062"/>
                    </a:cubicBezTo>
                    <a:close/>
                    <a:moveTo>
                      <a:pt x="1546226" y="2349078"/>
                    </a:moveTo>
                    <a:lnTo>
                      <a:pt x="1375851" y="2359062"/>
                    </a:lnTo>
                    <a:cubicBezTo>
                      <a:pt x="1299755" y="2368039"/>
                      <a:pt x="1224940" y="2381404"/>
                      <a:pt x="1152046" y="2398957"/>
                    </a:cubicBezTo>
                    <a:lnTo>
                      <a:pt x="1097994" y="2414312"/>
                    </a:lnTo>
                    <a:lnTo>
                      <a:pt x="1168773" y="2532767"/>
                    </a:lnTo>
                    <a:cubicBezTo>
                      <a:pt x="1295523" y="2723080"/>
                      <a:pt x="1433595" y="2874931"/>
                      <a:pt x="1528675" y="2969732"/>
                    </a:cubicBezTo>
                    <a:lnTo>
                      <a:pt x="1546226" y="2986822"/>
                    </a:lnTo>
                    <a:close/>
                    <a:moveTo>
                      <a:pt x="2486262" y="1668463"/>
                    </a:moveTo>
                    <a:lnTo>
                      <a:pt x="2482389" y="1744921"/>
                    </a:lnTo>
                    <a:cubicBezTo>
                      <a:pt x="2464263" y="1925703"/>
                      <a:pt x="2410126" y="2111990"/>
                      <a:pt x="2321876" y="2298467"/>
                    </a:cubicBezTo>
                    <a:lnTo>
                      <a:pt x="2297383" y="2345664"/>
                    </a:lnTo>
                    <a:lnTo>
                      <a:pt x="2392218" y="2381629"/>
                    </a:lnTo>
                    <a:cubicBezTo>
                      <a:pt x="2463528" y="2412174"/>
                      <a:pt x="2531927" y="2446867"/>
                      <a:pt x="2596737" y="2485449"/>
                    </a:cubicBezTo>
                    <a:lnTo>
                      <a:pt x="2730520" y="2578412"/>
                    </a:lnTo>
                    <a:lnTo>
                      <a:pt x="2753323" y="2553309"/>
                    </a:lnTo>
                    <a:cubicBezTo>
                      <a:pt x="2934917" y="2333150"/>
                      <a:pt x="3054361" y="2059772"/>
                      <a:pt x="3084782" y="1760063"/>
                    </a:cubicBezTo>
                    <a:lnTo>
                      <a:pt x="3089405" y="1668463"/>
                    </a:lnTo>
                    <a:close/>
                    <a:moveTo>
                      <a:pt x="1668463" y="1668463"/>
                    </a:moveTo>
                    <a:lnTo>
                      <a:pt x="1668463" y="2227749"/>
                    </a:lnTo>
                    <a:lnTo>
                      <a:pt x="1854174" y="2238874"/>
                    </a:lnTo>
                    <a:cubicBezTo>
                      <a:pt x="1935356" y="2248644"/>
                      <a:pt x="2015217" y="2263170"/>
                      <a:pt x="2093075" y="2282190"/>
                    </a:cubicBezTo>
                    <a:lnTo>
                      <a:pt x="2180461" y="2307322"/>
                    </a:lnTo>
                    <a:lnTo>
                      <a:pt x="2223231" y="2220775"/>
                    </a:lnTo>
                    <a:cubicBezTo>
                      <a:pt x="2291457" y="2071357"/>
                      <a:pt x="2342510" y="1908976"/>
                      <a:pt x="2360202" y="1739141"/>
                    </a:cubicBezTo>
                    <a:lnTo>
                      <a:pt x="2363915" y="1668463"/>
                    </a:lnTo>
                    <a:close/>
                    <a:moveTo>
                      <a:pt x="853934" y="1668463"/>
                    </a:moveTo>
                    <a:lnTo>
                      <a:pt x="857628" y="1739141"/>
                    </a:lnTo>
                    <a:cubicBezTo>
                      <a:pt x="875231" y="1908976"/>
                      <a:pt x="926029" y="2071357"/>
                      <a:pt x="993929" y="2220775"/>
                    </a:cubicBezTo>
                    <a:lnTo>
                      <a:pt x="1036215" y="2306750"/>
                    </a:lnTo>
                    <a:lnTo>
                      <a:pt x="1121614" y="2282190"/>
                    </a:lnTo>
                    <a:cubicBezTo>
                      <a:pt x="1199473" y="2263170"/>
                      <a:pt x="1279334" y="2248644"/>
                      <a:pt x="1360516" y="2238874"/>
                    </a:cubicBezTo>
                    <a:lnTo>
                      <a:pt x="1546226" y="2227749"/>
                    </a:lnTo>
                    <a:lnTo>
                      <a:pt x="1546226" y="1668463"/>
                    </a:lnTo>
                    <a:close/>
                    <a:moveTo>
                      <a:pt x="125282" y="1668463"/>
                    </a:moveTo>
                    <a:lnTo>
                      <a:pt x="129905" y="1760063"/>
                    </a:lnTo>
                    <a:cubicBezTo>
                      <a:pt x="160326" y="2059772"/>
                      <a:pt x="279770" y="2333150"/>
                      <a:pt x="461363" y="2553309"/>
                    </a:cubicBezTo>
                    <a:lnTo>
                      <a:pt x="484168" y="2578414"/>
                    </a:lnTo>
                    <a:lnTo>
                      <a:pt x="617953" y="2485449"/>
                    </a:lnTo>
                    <a:cubicBezTo>
                      <a:pt x="682763" y="2446867"/>
                      <a:pt x="751163" y="2412174"/>
                      <a:pt x="822472" y="2381629"/>
                    </a:cubicBezTo>
                    <a:lnTo>
                      <a:pt x="918086" y="2345368"/>
                    </a:lnTo>
                    <a:lnTo>
                      <a:pt x="893910" y="2298467"/>
                    </a:lnTo>
                    <a:cubicBezTo>
                      <a:pt x="806372" y="2111990"/>
                      <a:pt x="753137" y="1925703"/>
                      <a:pt x="735344" y="1744921"/>
                    </a:cubicBezTo>
                    <a:lnTo>
                      <a:pt x="731546" y="1668463"/>
                    </a:lnTo>
                    <a:close/>
                    <a:moveTo>
                      <a:pt x="1036436" y="911460"/>
                    </a:moveTo>
                    <a:lnTo>
                      <a:pt x="993929" y="998077"/>
                    </a:lnTo>
                    <a:cubicBezTo>
                      <a:pt x="926029" y="1147854"/>
                      <a:pt x="875231" y="1310725"/>
                      <a:pt x="857628" y="1481228"/>
                    </a:cubicBezTo>
                    <a:lnTo>
                      <a:pt x="854245" y="1546225"/>
                    </a:lnTo>
                    <a:lnTo>
                      <a:pt x="1546226" y="1546225"/>
                    </a:lnTo>
                    <a:lnTo>
                      <a:pt x="1546226" y="990118"/>
                    </a:lnTo>
                    <a:lnTo>
                      <a:pt x="1360255" y="978989"/>
                    </a:lnTo>
                    <a:cubicBezTo>
                      <a:pt x="1278920" y="969219"/>
                      <a:pt x="1198859" y="954694"/>
                      <a:pt x="1120814" y="935673"/>
                    </a:cubicBezTo>
                    <a:close/>
                    <a:moveTo>
                      <a:pt x="2180241" y="910890"/>
                    </a:moveTo>
                    <a:lnTo>
                      <a:pt x="2093876" y="935673"/>
                    </a:lnTo>
                    <a:cubicBezTo>
                      <a:pt x="2015831" y="954694"/>
                      <a:pt x="1935770" y="969219"/>
                      <a:pt x="1854434" y="978989"/>
                    </a:cubicBezTo>
                    <a:lnTo>
                      <a:pt x="1668463" y="990118"/>
                    </a:lnTo>
                    <a:lnTo>
                      <a:pt x="1668463" y="1546225"/>
                    </a:lnTo>
                    <a:lnTo>
                      <a:pt x="2363603" y="1546225"/>
                    </a:lnTo>
                    <a:lnTo>
                      <a:pt x="2360202" y="1481228"/>
                    </a:lnTo>
                    <a:cubicBezTo>
                      <a:pt x="2342510" y="1310725"/>
                      <a:pt x="2291457" y="1147854"/>
                      <a:pt x="2223231" y="998077"/>
                    </a:cubicBezTo>
                    <a:close/>
                    <a:moveTo>
                      <a:pt x="2731519" y="638964"/>
                    </a:moveTo>
                    <a:lnTo>
                      <a:pt x="2597865" y="732415"/>
                    </a:lnTo>
                    <a:cubicBezTo>
                      <a:pt x="2533258" y="770996"/>
                      <a:pt x="2464907" y="805689"/>
                      <a:pt x="2393553" y="836234"/>
                    </a:cubicBezTo>
                    <a:lnTo>
                      <a:pt x="2297528" y="872602"/>
                    </a:lnTo>
                    <a:lnTo>
                      <a:pt x="2321876" y="919557"/>
                    </a:lnTo>
                    <a:cubicBezTo>
                      <a:pt x="2410126" y="1106247"/>
                      <a:pt x="2464263" y="1293033"/>
                      <a:pt x="2482389" y="1474977"/>
                    </a:cubicBezTo>
                    <a:lnTo>
                      <a:pt x="2485971" y="1546225"/>
                    </a:lnTo>
                    <a:lnTo>
                      <a:pt x="3089325" y="1546225"/>
                    </a:lnTo>
                    <a:lnTo>
                      <a:pt x="3084782" y="1456213"/>
                    </a:lnTo>
                    <a:cubicBezTo>
                      <a:pt x="3054361" y="1156504"/>
                      <a:pt x="2934917" y="883126"/>
                      <a:pt x="2753323" y="662968"/>
                    </a:cubicBezTo>
                    <a:close/>
                    <a:moveTo>
                      <a:pt x="483169" y="638963"/>
                    </a:moveTo>
                    <a:lnTo>
                      <a:pt x="461363" y="662968"/>
                    </a:lnTo>
                    <a:cubicBezTo>
                      <a:pt x="279770" y="883126"/>
                      <a:pt x="160326" y="1156504"/>
                      <a:pt x="129905" y="1456213"/>
                    </a:cubicBezTo>
                    <a:lnTo>
                      <a:pt x="125362" y="1546225"/>
                    </a:lnTo>
                    <a:lnTo>
                      <a:pt x="731831" y="1546225"/>
                    </a:lnTo>
                    <a:lnTo>
                      <a:pt x="735344" y="1474977"/>
                    </a:lnTo>
                    <a:cubicBezTo>
                      <a:pt x="753137" y="1293033"/>
                      <a:pt x="806372" y="1106247"/>
                      <a:pt x="893910" y="919557"/>
                    </a:cubicBezTo>
                    <a:lnTo>
                      <a:pt x="917942" y="872897"/>
                    </a:lnTo>
                    <a:lnTo>
                      <a:pt x="821137" y="836234"/>
                    </a:lnTo>
                    <a:cubicBezTo>
                      <a:pt x="749783" y="805689"/>
                      <a:pt x="681432" y="770996"/>
                      <a:pt x="616825" y="732415"/>
                    </a:cubicBezTo>
                    <a:close/>
                    <a:moveTo>
                      <a:pt x="1546226" y="231046"/>
                    </a:moveTo>
                    <a:lnTo>
                      <a:pt x="1528675" y="248139"/>
                    </a:lnTo>
                    <a:cubicBezTo>
                      <a:pt x="1433595" y="342957"/>
                      <a:pt x="1295523" y="494880"/>
                      <a:pt x="1168773" y="685478"/>
                    </a:cubicBezTo>
                    <a:lnTo>
                      <a:pt x="1098769" y="802845"/>
                    </a:lnTo>
                    <a:lnTo>
                      <a:pt x="1152046" y="818106"/>
                    </a:lnTo>
                    <a:cubicBezTo>
                      <a:pt x="1224940" y="835846"/>
                      <a:pt x="1299755" y="849411"/>
                      <a:pt x="1375851" y="858541"/>
                    </a:cubicBezTo>
                    <a:lnTo>
                      <a:pt x="1546226" y="868716"/>
                    </a:lnTo>
                    <a:close/>
                    <a:moveTo>
                      <a:pt x="1668463" y="230823"/>
                    </a:moveTo>
                    <a:lnTo>
                      <a:pt x="1668463" y="868716"/>
                    </a:lnTo>
                    <a:lnTo>
                      <a:pt x="1838838" y="858541"/>
                    </a:lnTo>
                    <a:cubicBezTo>
                      <a:pt x="1914935" y="849411"/>
                      <a:pt x="1989750" y="835846"/>
                      <a:pt x="2062644" y="818106"/>
                    </a:cubicBezTo>
                    <a:lnTo>
                      <a:pt x="2117610" y="802362"/>
                    </a:lnTo>
                    <a:lnTo>
                      <a:pt x="2047573" y="685478"/>
                    </a:lnTo>
                    <a:cubicBezTo>
                      <a:pt x="1920253" y="494880"/>
                      <a:pt x="1781612" y="342957"/>
                      <a:pt x="1686282" y="248139"/>
                    </a:cubicBezTo>
                    <a:close/>
                    <a:moveTo>
                      <a:pt x="1739116" y="128896"/>
                    </a:moveTo>
                    <a:lnTo>
                      <a:pt x="1754615" y="143696"/>
                    </a:lnTo>
                    <a:cubicBezTo>
                      <a:pt x="1834903" y="221959"/>
                      <a:pt x="1950245" y="344552"/>
                      <a:pt x="2066550" y="501745"/>
                    </a:cubicBezTo>
                    <a:cubicBezTo>
                      <a:pt x="2101138" y="547688"/>
                      <a:pt x="2133682" y="593868"/>
                      <a:pt x="2164154" y="640209"/>
                    </a:cubicBezTo>
                    <a:lnTo>
                      <a:pt x="2239903" y="764214"/>
                    </a:lnTo>
                    <a:lnTo>
                      <a:pt x="2342448" y="725496"/>
                    </a:lnTo>
                    <a:cubicBezTo>
                      <a:pt x="2409077" y="697086"/>
                      <a:pt x="2472930" y="664847"/>
                      <a:pt x="2533366" y="629040"/>
                    </a:cubicBezTo>
                    <a:lnTo>
                      <a:pt x="2648575" y="549358"/>
                    </a:lnTo>
                    <a:lnTo>
                      <a:pt x="2552008" y="461545"/>
                    </a:lnTo>
                    <a:cubicBezTo>
                      <a:pt x="2331968" y="279855"/>
                      <a:pt x="2058736" y="160347"/>
                      <a:pt x="1759187" y="129910"/>
                    </a:cubicBezTo>
                    <a:close/>
                    <a:moveTo>
                      <a:pt x="1475715" y="128888"/>
                    </a:moveTo>
                    <a:lnTo>
                      <a:pt x="1455500" y="129910"/>
                    </a:lnTo>
                    <a:cubicBezTo>
                      <a:pt x="1155951" y="160347"/>
                      <a:pt x="882719" y="279855"/>
                      <a:pt x="662678" y="461545"/>
                    </a:cubicBezTo>
                    <a:lnTo>
                      <a:pt x="566113" y="549357"/>
                    </a:lnTo>
                    <a:lnTo>
                      <a:pt x="681324" y="629040"/>
                    </a:lnTo>
                    <a:cubicBezTo>
                      <a:pt x="741760" y="664847"/>
                      <a:pt x="805613" y="697086"/>
                      <a:pt x="872242" y="725496"/>
                    </a:cubicBezTo>
                    <a:lnTo>
                      <a:pt x="975251" y="764389"/>
                    </a:lnTo>
                    <a:lnTo>
                      <a:pt x="1050800" y="640209"/>
                    </a:lnTo>
                    <a:cubicBezTo>
                      <a:pt x="1081189" y="593868"/>
                      <a:pt x="1113686" y="547688"/>
                      <a:pt x="1148273" y="501745"/>
                    </a:cubicBezTo>
                    <a:cubicBezTo>
                      <a:pt x="1264578" y="344552"/>
                      <a:pt x="1379921" y="221959"/>
                      <a:pt x="1460208" y="143696"/>
                    </a:cubicBezTo>
                    <a:close/>
                    <a:moveTo>
                      <a:pt x="1607344" y="0"/>
                    </a:moveTo>
                    <a:cubicBezTo>
                      <a:pt x="2495056" y="0"/>
                      <a:pt x="3214688" y="719632"/>
                      <a:pt x="3214688" y="1607344"/>
                    </a:cubicBezTo>
                    <a:cubicBezTo>
                      <a:pt x="3214688" y="2495056"/>
                      <a:pt x="2495056" y="3214688"/>
                      <a:pt x="1607344" y="3214688"/>
                    </a:cubicBezTo>
                    <a:cubicBezTo>
                      <a:pt x="719632" y="3214688"/>
                      <a:pt x="0" y="2495056"/>
                      <a:pt x="0" y="1607344"/>
                    </a:cubicBezTo>
                    <a:cubicBezTo>
                      <a:pt x="0" y="719632"/>
                      <a:pt x="719632" y="0"/>
                      <a:pt x="1607344" y="0"/>
                    </a:cubicBezTo>
                    <a:close/>
                  </a:path>
                </a:pathLst>
              </a:custGeom>
              <a:grpFill/>
              <a:ln>
                <a:noFill/>
              </a:ln>
            </p:spPr>
            <p:txBody>
              <a:bodyPr vert="horz" wrap="square" lIns="91403" tIns="45701" rIns="91403" bIns="45701" numCol="1" anchor="t" anchorCtr="0" compatLnSpc="1">
                <a:prstTxWarp prst="textNoShape">
                  <a:avLst/>
                </a:prstTxWarp>
                <a:noAutofit/>
              </a:bodyPr>
              <a:lstStyle/>
              <a:p>
                <a:pPr defTabSz="896203"/>
                <a:endParaRPr lang="en-US" sz="1799" kern="0" dirty="0">
                  <a:solidFill>
                    <a:sysClr val="windowText" lastClr="000000"/>
                  </a:solidFill>
                </a:endParaRPr>
              </a:p>
            </p:txBody>
          </p:sp>
          <p:sp>
            <p:nvSpPr>
              <p:cNvPr id="228" name="Freeform 227"/>
              <p:cNvSpPr>
                <a:spLocks/>
              </p:cNvSpPr>
              <p:nvPr/>
            </p:nvSpPr>
            <p:spPr bwMode="auto">
              <a:xfrm>
                <a:off x="10935462" y="3576787"/>
                <a:ext cx="131222" cy="235796"/>
              </a:xfrm>
              <a:custGeom>
                <a:avLst/>
                <a:gdLst>
                  <a:gd name="connsiteX0" fmla="*/ 930274 w 1860550"/>
                  <a:gd name="connsiteY0" fmla="*/ 2997199 h 3343276"/>
                  <a:gd name="connsiteX1" fmla="*/ 898524 w 1860550"/>
                  <a:gd name="connsiteY1" fmla="*/ 3030537 h 3343276"/>
                  <a:gd name="connsiteX2" fmla="*/ 930274 w 1860550"/>
                  <a:gd name="connsiteY2" fmla="*/ 3063875 h 3343276"/>
                  <a:gd name="connsiteX3" fmla="*/ 962024 w 1860550"/>
                  <a:gd name="connsiteY3" fmla="*/ 3030537 h 3343276"/>
                  <a:gd name="connsiteX4" fmla="*/ 930274 w 1860550"/>
                  <a:gd name="connsiteY4" fmla="*/ 2997199 h 3343276"/>
                  <a:gd name="connsiteX5" fmla="*/ 930275 w 1860550"/>
                  <a:gd name="connsiteY5" fmla="*/ 2874962 h 3343276"/>
                  <a:gd name="connsiteX6" fmla="*/ 1084263 w 1860550"/>
                  <a:gd name="connsiteY6" fmla="*/ 3029744 h 3343276"/>
                  <a:gd name="connsiteX7" fmla="*/ 930275 w 1860550"/>
                  <a:gd name="connsiteY7" fmla="*/ 3184526 h 3343276"/>
                  <a:gd name="connsiteX8" fmla="*/ 776287 w 1860550"/>
                  <a:gd name="connsiteY8" fmla="*/ 3029744 h 3343276"/>
                  <a:gd name="connsiteX9" fmla="*/ 930275 w 1860550"/>
                  <a:gd name="connsiteY9" fmla="*/ 2874962 h 3343276"/>
                  <a:gd name="connsiteX10" fmla="*/ 122238 w 1860550"/>
                  <a:gd name="connsiteY10" fmla="*/ 2844800 h 3343276"/>
                  <a:gd name="connsiteX11" fmla="*/ 122238 w 1860550"/>
                  <a:gd name="connsiteY11" fmla="*/ 2858922 h 3343276"/>
                  <a:gd name="connsiteX12" fmla="*/ 122238 w 1860550"/>
                  <a:gd name="connsiteY12" fmla="*/ 2919914 h 3343276"/>
                  <a:gd name="connsiteX13" fmla="*/ 122238 w 1860550"/>
                  <a:gd name="connsiteY13" fmla="*/ 2937881 h 3343276"/>
                  <a:gd name="connsiteX14" fmla="*/ 122238 w 1860550"/>
                  <a:gd name="connsiteY14" fmla="*/ 2976361 h 3343276"/>
                  <a:gd name="connsiteX15" fmla="*/ 122238 w 1860550"/>
                  <a:gd name="connsiteY15" fmla="*/ 2994458 h 3343276"/>
                  <a:gd name="connsiteX16" fmla="*/ 122238 w 1860550"/>
                  <a:gd name="connsiteY16" fmla="*/ 3016807 h 3343276"/>
                  <a:gd name="connsiteX17" fmla="*/ 122238 w 1860550"/>
                  <a:gd name="connsiteY17" fmla="*/ 3032384 h 3343276"/>
                  <a:gd name="connsiteX18" fmla="*/ 122238 w 1860550"/>
                  <a:gd name="connsiteY18" fmla="*/ 3043919 h 3343276"/>
                  <a:gd name="connsiteX19" fmla="*/ 122238 w 1860550"/>
                  <a:gd name="connsiteY19" fmla="*/ 3055388 h 3343276"/>
                  <a:gd name="connsiteX20" fmla="*/ 122238 w 1860550"/>
                  <a:gd name="connsiteY20" fmla="*/ 3067200 h 3343276"/>
                  <a:gd name="connsiteX21" fmla="*/ 122238 w 1860550"/>
                  <a:gd name="connsiteY21" fmla="*/ 3068809 h 3343276"/>
                  <a:gd name="connsiteX22" fmla="*/ 122238 w 1860550"/>
                  <a:gd name="connsiteY22" fmla="*/ 3072174 h 3343276"/>
                  <a:gd name="connsiteX23" fmla="*/ 268324 w 1860550"/>
                  <a:gd name="connsiteY23" fmla="*/ 3221038 h 3343276"/>
                  <a:gd name="connsiteX24" fmla="*/ 1589184 w 1860550"/>
                  <a:gd name="connsiteY24" fmla="*/ 3221038 h 3343276"/>
                  <a:gd name="connsiteX25" fmla="*/ 1738313 w 1860550"/>
                  <a:gd name="connsiteY25" fmla="*/ 3072174 h 3343276"/>
                  <a:gd name="connsiteX26" fmla="*/ 1738313 w 1860550"/>
                  <a:gd name="connsiteY26" fmla="*/ 2997250 h 3343276"/>
                  <a:gd name="connsiteX27" fmla="*/ 1738313 w 1860550"/>
                  <a:gd name="connsiteY27" fmla="*/ 2940804 h 3343276"/>
                  <a:gd name="connsiteX28" fmla="*/ 1738313 w 1860550"/>
                  <a:gd name="connsiteY28" fmla="*/ 2900358 h 3343276"/>
                  <a:gd name="connsiteX29" fmla="*/ 1738313 w 1860550"/>
                  <a:gd name="connsiteY29" fmla="*/ 2873246 h 3343276"/>
                  <a:gd name="connsiteX30" fmla="*/ 1738313 w 1860550"/>
                  <a:gd name="connsiteY30" fmla="*/ 2848356 h 3343276"/>
                  <a:gd name="connsiteX31" fmla="*/ 1738313 w 1860550"/>
                  <a:gd name="connsiteY31" fmla="*/ 2844800 h 3343276"/>
                  <a:gd name="connsiteX32" fmla="*/ 122238 w 1860550"/>
                  <a:gd name="connsiteY32" fmla="*/ 461963 h 3343276"/>
                  <a:gd name="connsiteX33" fmla="*/ 122238 w 1860550"/>
                  <a:gd name="connsiteY33" fmla="*/ 525582 h 3343276"/>
                  <a:gd name="connsiteX34" fmla="*/ 122238 w 1860550"/>
                  <a:gd name="connsiteY34" fmla="*/ 2618936 h 3343276"/>
                  <a:gd name="connsiteX35" fmla="*/ 122238 w 1860550"/>
                  <a:gd name="connsiteY35" fmla="*/ 2722563 h 3343276"/>
                  <a:gd name="connsiteX36" fmla="*/ 169032 w 1860550"/>
                  <a:gd name="connsiteY36" fmla="*/ 2722563 h 3343276"/>
                  <a:gd name="connsiteX37" fmla="*/ 1704747 w 1860550"/>
                  <a:gd name="connsiteY37" fmla="*/ 2722563 h 3343276"/>
                  <a:gd name="connsiteX38" fmla="*/ 1738313 w 1860550"/>
                  <a:gd name="connsiteY38" fmla="*/ 2722563 h 3343276"/>
                  <a:gd name="connsiteX39" fmla="*/ 1738313 w 1860550"/>
                  <a:gd name="connsiteY39" fmla="*/ 2521894 h 3343276"/>
                  <a:gd name="connsiteX40" fmla="*/ 1738313 w 1860550"/>
                  <a:gd name="connsiteY40" fmla="*/ 505665 h 3343276"/>
                  <a:gd name="connsiteX41" fmla="*/ 1738313 w 1860550"/>
                  <a:gd name="connsiteY41" fmla="*/ 461963 h 3343276"/>
                  <a:gd name="connsiteX42" fmla="*/ 1691518 w 1860550"/>
                  <a:gd name="connsiteY42" fmla="*/ 461963 h 3343276"/>
                  <a:gd name="connsiteX43" fmla="*/ 155803 w 1860550"/>
                  <a:gd name="connsiteY43" fmla="*/ 461963 h 3343276"/>
                  <a:gd name="connsiteX44" fmla="*/ 721442 w 1860550"/>
                  <a:gd name="connsiteY44" fmla="*/ 169863 h 3343276"/>
                  <a:gd name="connsiteX45" fmla="*/ 1072433 w 1860550"/>
                  <a:gd name="connsiteY45" fmla="*/ 169863 h 3343276"/>
                  <a:gd name="connsiteX46" fmla="*/ 1133475 w 1860550"/>
                  <a:gd name="connsiteY46" fmla="*/ 230982 h 3343276"/>
                  <a:gd name="connsiteX47" fmla="*/ 1072433 w 1860550"/>
                  <a:gd name="connsiteY47" fmla="*/ 292101 h 3343276"/>
                  <a:gd name="connsiteX48" fmla="*/ 721442 w 1860550"/>
                  <a:gd name="connsiteY48" fmla="*/ 292101 h 3343276"/>
                  <a:gd name="connsiteX49" fmla="*/ 660400 w 1860550"/>
                  <a:gd name="connsiteY49" fmla="*/ 230982 h 3343276"/>
                  <a:gd name="connsiteX50" fmla="*/ 721442 w 1860550"/>
                  <a:gd name="connsiteY50" fmla="*/ 169863 h 3343276"/>
                  <a:gd name="connsiteX51" fmla="*/ 1281907 w 1860550"/>
                  <a:gd name="connsiteY51" fmla="*/ 149225 h 3343276"/>
                  <a:gd name="connsiteX52" fmla="*/ 1363664 w 1860550"/>
                  <a:gd name="connsiteY52" fmla="*/ 229394 h 3343276"/>
                  <a:gd name="connsiteX53" fmla="*/ 1281907 w 1860550"/>
                  <a:gd name="connsiteY53" fmla="*/ 309563 h 3343276"/>
                  <a:gd name="connsiteX54" fmla="*/ 1200150 w 1860550"/>
                  <a:gd name="connsiteY54" fmla="*/ 229394 h 3343276"/>
                  <a:gd name="connsiteX55" fmla="*/ 1281907 w 1860550"/>
                  <a:gd name="connsiteY55" fmla="*/ 149225 h 3343276"/>
                  <a:gd name="connsiteX56" fmla="*/ 268324 w 1860550"/>
                  <a:gd name="connsiteY56" fmla="*/ 122238 h 3343276"/>
                  <a:gd name="connsiteX57" fmla="*/ 122238 w 1860550"/>
                  <a:gd name="connsiteY57" fmla="*/ 271331 h 3343276"/>
                  <a:gd name="connsiteX58" fmla="*/ 122238 w 1860550"/>
                  <a:gd name="connsiteY58" fmla="*/ 341313 h 3343276"/>
                  <a:gd name="connsiteX59" fmla="*/ 1738313 w 1860550"/>
                  <a:gd name="connsiteY59" fmla="*/ 341313 h 3343276"/>
                  <a:gd name="connsiteX60" fmla="*/ 1738313 w 1860550"/>
                  <a:gd name="connsiteY60" fmla="*/ 314869 h 3343276"/>
                  <a:gd name="connsiteX61" fmla="*/ 1738313 w 1860550"/>
                  <a:gd name="connsiteY61" fmla="*/ 300855 h 3343276"/>
                  <a:gd name="connsiteX62" fmla="*/ 1738313 w 1860550"/>
                  <a:gd name="connsiteY62" fmla="*/ 289566 h 3343276"/>
                  <a:gd name="connsiteX63" fmla="*/ 1738313 w 1860550"/>
                  <a:gd name="connsiteY63" fmla="*/ 280079 h 3343276"/>
                  <a:gd name="connsiteX64" fmla="*/ 1738313 w 1860550"/>
                  <a:gd name="connsiteY64" fmla="*/ 276573 h 3343276"/>
                  <a:gd name="connsiteX65" fmla="*/ 1738313 w 1860550"/>
                  <a:gd name="connsiteY65" fmla="*/ 271331 h 3343276"/>
                  <a:gd name="connsiteX66" fmla="*/ 1589184 w 1860550"/>
                  <a:gd name="connsiteY66" fmla="*/ 122238 h 3343276"/>
                  <a:gd name="connsiteX67" fmla="*/ 1469183 w 1860550"/>
                  <a:gd name="connsiteY67" fmla="*/ 122238 h 3343276"/>
                  <a:gd name="connsiteX68" fmla="*/ 1356679 w 1860550"/>
                  <a:gd name="connsiteY68" fmla="*/ 122238 h 3343276"/>
                  <a:gd name="connsiteX69" fmla="*/ 1153197 w 1860550"/>
                  <a:gd name="connsiteY69" fmla="*/ 122238 h 3343276"/>
                  <a:gd name="connsiteX70" fmla="*/ 976803 w 1860550"/>
                  <a:gd name="connsiteY70" fmla="*/ 122238 h 3343276"/>
                  <a:gd name="connsiteX71" fmla="*/ 825562 w 1860550"/>
                  <a:gd name="connsiteY71" fmla="*/ 122238 h 3343276"/>
                  <a:gd name="connsiteX72" fmla="*/ 697539 w 1860550"/>
                  <a:gd name="connsiteY72" fmla="*/ 122238 h 3343276"/>
                  <a:gd name="connsiteX73" fmla="*/ 590799 w 1860550"/>
                  <a:gd name="connsiteY73" fmla="*/ 122238 h 3343276"/>
                  <a:gd name="connsiteX74" fmla="*/ 503408 w 1860550"/>
                  <a:gd name="connsiteY74" fmla="*/ 122238 h 3343276"/>
                  <a:gd name="connsiteX75" fmla="*/ 433431 w 1860550"/>
                  <a:gd name="connsiteY75" fmla="*/ 122238 h 3343276"/>
                  <a:gd name="connsiteX76" fmla="*/ 378933 w 1860550"/>
                  <a:gd name="connsiteY76" fmla="*/ 122238 h 3343276"/>
                  <a:gd name="connsiteX77" fmla="*/ 337979 w 1860550"/>
                  <a:gd name="connsiteY77" fmla="*/ 122238 h 3343276"/>
                  <a:gd name="connsiteX78" fmla="*/ 308633 w 1860550"/>
                  <a:gd name="connsiteY78" fmla="*/ 122238 h 3343276"/>
                  <a:gd name="connsiteX79" fmla="*/ 288962 w 1860550"/>
                  <a:gd name="connsiteY79" fmla="*/ 122238 h 3343276"/>
                  <a:gd name="connsiteX80" fmla="*/ 277031 w 1860550"/>
                  <a:gd name="connsiteY80" fmla="*/ 122238 h 3343276"/>
                  <a:gd name="connsiteX81" fmla="*/ 270904 w 1860550"/>
                  <a:gd name="connsiteY81" fmla="*/ 122238 h 3343276"/>
                  <a:gd name="connsiteX82" fmla="*/ 267968 w 1860550"/>
                  <a:gd name="connsiteY82" fmla="*/ 0 h 3343276"/>
                  <a:gd name="connsiteX83" fmla="*/ 1589537 w 1860550"/>
                  <a:gd name="connsiteY83" fmla="*/ 0 h 3343276"/>
                  <a:gd name="connsiteX84" fmla="*/ 1860550 w 1860550"/>
                  <a:gd name="connsiteY84" fmla="*/ 270492 h 3343276"/>
                  <a:gd name="connsiteX85" fmla="*/ 1860550 w 1860550"/>
                  <a:gd name="connsiteY85" fmla="*/ 270501 h 3343276"/>
                  <a:gd name="connsiteX86" fmla="*/ 1860550 w 1860550"/>
                  <a:gd name="connsiteY86" fmla="*/ 461963 h 3343276"/>
                  <a:gd name="connsiteX87" fmla="*/ 1860550 w 1860550"/>
                  <a:gd name="connsiteY87" fmla="*/ 525090 h 3343276"/>
                  <a:gd name="connsiteX88" fmla="*/ 1860550 w 1860550"/>
                  <a:gd name="connsiteY88" fmla="*/ 2619341 h 3343276"/>
                  <a:gd name="connsiteX89" fmla="*/ 1860550 w 1860550"/>
                  <a:gd name="connsiteY89" fmla="*/ 2722563 h 3343276"/>
                  <a:gd name="connsiteX90" fmla="*/ 1860550 w 1860550"/>
                  <a:gd name="connsiteY90" fmla="*/ 2754314 h 3343276"/>
                  <a:gd name="connsiteX91" fmla="*/ 1860550 w 1860550"/>
                  <a:gd name="connsiteY91" fmla="*/ 2838062 h 3343276"/>
                  <a:gd name="connsiteX92" fmla="*/ 1860550 w 1860550"/>
                  <a:gd name="connsiteY92" fmla="*/ 2859431 h 3343276"/>
                  <a:gd name="connsiteX93" fmla="*/ 1860550 w 1860550"/>
                  <a:gd name="connsiteY93" fmla="*/ 2924856 h 3343276"/>
                  <a:gd name="connsiteX94" fmla="*/ 1860550 w 1860550"/>
                  <a:gd name="connsiteY94" fmla="*/ 2938424 h 3343276"/>
                  <a:gd name="connsiteX95" fmla="*/ 1860550 w 1860550"/>
                  <a:gd name="connsiteY95" fmla="*/ 2987047 h 3343276"/>
                  <a:gd name="connsiteX96" fmla="*/ 1860550 w 1860550"/>
                  <a:gd name="connsiteY96" fmla="*/ 2995025 h 3343276"/>
                  <a:gd name="connsiteX97" fmla="*/ 1860550 w 1860550"/>
                  <a:gd name="connsiteY97" fmla="*/ 3028736 h 3343276"/>
                  <a:gd name="connsiteX98" fmla="*/ 1860550 w 1860550"/>
                  <a:gd name="connsiteY98" fmla="*/ 3032967 h 3343276"/>
                  <a:gd name="connsiteX99" fmla="*/ 1860550 w 1860550"/>
                  <a:gd name="connsiteY99" fmla="*/ 3054023 h 3343276"/>
                  <a:gd name="connsiteX100" fmla="*/ 1860550 w 1860550"/>
                  <a:gd name="connsiteY100" fmla="*/ 3055980 h 3343276"/>
                  <a:gd name="connsiteX101" fmla="*/ 1860550 w 1860550"/>
                  <a:gd name="connsiteY101" fmla="*/ 3067008 h 3343276"/>
                  <a:gd name="connsiteX102" fmla="*/ 1860550 w 1860550"/>
                  <a:gd name="connsiteY102" fmla="*/ 3067798 h 3343276"/>
                  <a:gd name="connsiteX103" fmla="*/ 1860550 w 1860550"/>
                  <a:gd name="connsiteY103" fmla="*/ 3072475 h 3343276"/>
                  <a:gd name="connsiteX104" fmla="*/ 1860550 w 1860550"/>
                  <a:gd name="connsiteY104" fmla="*/ 3072774 h 3343276"/>
                  <a:gd name="connsiteX105" fmla="*/ 1694831 w 1860550"/>
                  <a:gd name="connsiteY105" fmla="*/ 3321952 h 3343276"/>
                  <a:gd name="connsiteX106" fmla="*/ 1593989 w 1860550"/>
                  <a:gd name="connsiteY106" fmla="*/ 3342374 h 3343276"/>
                  <a:gd name="connsiteX107" fmla="*/ 1589537 w 1860550"/>
                  <a:gd name="connsiteY107" fmla="*/ 3343276 h 3343276"/>
                  <a:gd name="connsiteX108" fmla="*/ 267968 w 1860550"/>
                  <a:gd name="connsiteY108" fmla="*/ 3343276 h 3343276"/>
                  <a:gd name="connsiteX109" fmla="*/ 263590 w 1860550"/>
                  <a:gd name="connsiteY109" fmla="*/ 3342374 h 3343276"/>
                  <a:gd name="connsiteX110" fmla="*/ 164435 w 1860550"/>
                  <a:gd name="connsiteY110" fmla="*/ 3321952 h 3343276"/>
                  <a:gd name="connsiteX111" fmla="*/ 0 w 1860550"/>
                  <a:gd name="connsiteY111" fmla="*/ 3072774 h 3343276"/>
                  <a:gd name="connsiteX112" fmla="*/ 0 w 1860550"/>
                  <a:gd name="connsiteY112" fmla="*/ 3072475 h 3343276"/>
                  <a:gd name="connsiteX113" fmla="*/ 0 w 1860550"/>
                  <a:gd name="connsiteY113" fmla="*/ 2956977 h 3343276"/>
                  <a:gd name="connsiteX114" fmla="*/ 0 w 1860550"/>
                  <a:gd name="connsiteY114" fmla="*/ 2870182 h 3343276"/>
                  <a:gd name="connsiteX115" fmla="*/ 0 w 1860550"/>
                  <a:gd name="connsiteY115" fmla="*/ 2807991 h 3343276"/>
                  <a:gd name="connsiteX116" fmla="*/ 0 w 1860550"/>
                  <a:gd name="connsiteY116" fmla="*/ 2787491 h 3343276"/>
                  <a:gd name="connsiteX117" fmla="*/ 0 w 1860550"/>
                  <a:gd name="connsiteY117" fmla="*/ 2766302 h 3343276"/>
                  <a:gd name="connsiteX118" fmla="*/ 0 w 1860550"/>
                  <a:gd name="connsiteY118" fmla="*/ 2741016 h 3343276"/>
                  <a:gd name="connsiteX119" fmla="*/ 0 w 1860550"/>
                  <a:gd name="connsiteY119" fmla="*/ 2728031 h 3343276"/>
                  <a:gd name="connsiteX120" fmla="*/ 0 w 1860550"/>
                  <a:gd name="connsiteY120" fmla="*/ 2722563 h 3343276"/>
                  <a:gd name="connsiteX121" fmla="*/ 0 w 1860550"/>
                  <a:gd name="connsiteY121" fmla="*/ 2522258 h 3343276"/>
                  <a:gd name="connsiteX122" fmla="*/ 0 w 1860550"/>
                  <a:gd name="connsiteY122" fmla="*/ 505164 h 3343276"/>
                  <a:gd name="connsiteX123" fmla="*/ 0 w 1860550"/>
                  <a:gd name="connsiteY123" fmla="*/ 461963 h 3343276"/>
                  <a:gd name="connsiteX124" fmla="*/ 0 w 1860550"/>
                  <a:gd name="connsiteY124" fmla="*/ 418277 h 3343276"/>
                  <a:gd name="connsiteX125" fmla="*/ 0 w 1860550"/>
                  <a:gd name="connsiteY125" fmla="*/ 398763 h 3343276"/>
                  <a:gd name="connsiteX126" fmla="*/ 0 w 1860550"/>
                  <a:gd name="connsiteY126" fmla="*/ 356020 h 3343276"/>
                  <a:gd name="connsiteX127" fmla="*/ 0 w 1860550"/>
                  <a:gd name="connsiteY127" fmla="*/ 351269 h 3343276"/>
                  <a:gd name="connsiteX128" fmla="*/ 0 w 1860550"/>
                  <a:gd name="connsiteY128" fmla="*/ 314287 h 3343276"/>
                  <a:gd name="connsiteX129" fmla="*/ 0 w 1860550"/>
                  <a:gd name="connsiteY129" fmla="*/ 294426 h 3343276"/>
                  <a:gd name="connsiteX130" fmla="*/ 0 w 1860550"/>
                  <a:gd name="connsiteY130" fmla="*/ 288973 h 3343276"/>
                  <a:gd name="connsiteX131" fmla="*/ 0 w 1860550"/>
                  <a:gd name="connsiteY131" fmla="*/ 275975 h 3343276"/>
                  <a:gd name="connsiteX132" fmla="*/ 0 w 1860550"/>
                  <a:gd name="connsiteY132" fmla="*/ 273484 h 3343276"/>
                  <a:gd name="connsiteX133" fmla="*/ 0 w 1860550"/>
                  <a:gd name="connsiteY133" fmla="*/ 270501 h 3343276"/>
                  <a:gd name="connsiteX134" fmla="*/ 0 w 1860550"/>
                  <a:gd name="connsiteY134" fmla="*/ 270492 h 3343276"/>
                  <a:gd name="connsiteX135" fmla="*/ 267968 w 1860550"/>
                  <a:gd name="connsiteY135" fmla="*/ 0 h 33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860550" h="3343276">
                    <a:moveTo>
                      <a:pt x="930274" y="2997199"/>
                    </a:moveTo>
                    <a:cubicBezTo>
                      <a:pt x="912739" y="2997199"/>
                      <a:pt x="898524" y="3012125"/>
                      <a:pt x="898524" y="3030537"/>
                    </a:cubicBezTo>
                    <a:cubicBezTo>
                      <a:pt x="898524" y="3048949"/>
                      <a:pt x="912739" y="3063875"/>
                      <a:pt x="930274" y="3063875"/>
                    </a:cubicBezTo>
                    <a:cubicBezTo>
                      <a:pt x="947809" y="3063875"/>
                      <a:pt x="962024" y="3048949"/>
                      <a:pt x="962024" y="3030537"/>
                    </a:cubicBezTo>
                    <a:cubicBezTo>
                      <a:pt x="962024" y="3012125"/>
                      <a:pt x="947809" y="2997199"/>
                      <a:pt x="930274" y="2997199"/>
                    </a:cubicBezTo>
                    <a:close/>
                    <a:moveTo>
                      <a:pt x="930275" y="2874962"/>
                    </a:moveTo>
                    <a:cubicBezTo>
                      <a:pt x="1015320" y="2874962"/>
                      <a:pt x="1084263" y="2944260"/>
                      <a:pt x="1084263" y="3029744"/>
                    </a:cubicBezTo>
                    <a:cubicBezTo>
                      <a:pt x="1084263" y="3115228"/>
                      <a:pt x="1015320" y="3184526"/>
                      <a:pt x="930275" y="3184526"/>
                    </a:cubicBezTo>
                    <a:cubicBezTo>
                      <a:pt x="845230" y="3184526"/>
                      <a:pt x="776287" y="3115228"/>
                      <a:pt x="776287" y="3029744"/>
                    </a:cubicBezTo>
                    <a:cubicBezTo>
                      <a:pt x="776287" y="2944260"/>
                      <a:pt x="845230" y="2874962"/>
                      <a:pt x="930275" y="2874962"/>
                    </a:cubicBezTo>
                    <a:close/>
                    <a:moveTo>
                      <a:pt x="122238" y="2844800"/>
                    </a:moveTo>
                    <a:lnTo>
                      <a:pt x="122238" y="2858922"/>
                    </a:lnTo>
                    <a:lnTo>
                      <a:pt x="122238" y="2919914"/>
                    </a:lnTo>
                    <a:lnTo>
                      <a:pt x="122238" y="2937881"/>
                    </a:lnTo>
                    <a:lnTo>
                      <a:pt x="122238" y="2976361"/>
                    </a:lnTo>
                    <a:lnTo>
                      <a:pt x="122238" y="2994458"/>
                    </a:lnTo>
                    <a:lnTo>
                      <a:pt x="122238" y="3016807"/>
                    </a:lnTo>
                    <a:lnTo>
                      <a:pt x="122238" y="3032384"/>
                    </a:lnTo>
                    <a:lnTo>
                      <a:pt x="122238" y="3043919"/>
                    </a:lnTo>
                    <a:lnTo>
                      <a:pt x="122238" y="3055388"/>
                    </a:lnTo>
                    <a:cubicBezTo>
                      <a:pt x="122238" y="3060983"/>
                      <a:pt x="122238" y="3064714"/>
                      <a:pt x="122238" y="3067200"/>
                    </a:cubicBezTo>
                    <a:lnTo>
                      <a:pt x="122238" y="3068809"/>
                    </a:lnTo>
                    <a:lnTo>
                      <a:pt x="122238" y="3072174"/>
                    </a:lnTo>
                    <a:cubicBezTo>
                      <a:pt x="122238" y="3154201"/>
                      <a:pt x="189194" y="3221038"/>
                      <a:pt x="268324" y="3221038"/>
                    </a:cubicBezTo>
                    <a:cubicBezTo>
                      <a:pt x="1589184" y="3221038"/>
                      <a:pt x="1589184" y="3221038"/>
                      <a:pt x="1589184" y="3221038"/>
                    </a:cubicBezTo>
                    <a:cubicBezTo>
                      <a:pt x="1671357" y="3221038"/>
                      <a:pt x="1738313" y="3154201"/>
                      <a:pt x="1738313" y="3072174"/>
                    </a:cubicBezTo>
                    <a:lnTo>
                      <a:pt x="1738313" y="2997250"/>
                    </a:lnTo>
                    <a:lnTo>
                      <a:pt x="1738313" y="2940804"/>
                    </a:lnTo>
                    <a:lnTo>
                      <a:pt x="1738313" y="2900358"/>
                    </a:lnTo>
                    <a:lnTo>
                      <a:pt x="1738313" y="2873246"/>
                    </a:lnTo>
                    <a:lnTo>
                      <a:pt x="1738313" y="2848356"/>
                    </a:lnTo>
                    <a:lnTo>
                      <a:pt x="1738313" y="2844800"/>
                    </a:lnTo>
                    <a:close/>
                    <a:moveTo>
                      <a:pt x="122238" y="461963"/>
                    </a:moveTo>
                    <a:lnTo>
                      <a:pt x="122238" y="525582"/>
                    </a:lnTo>
                    <a:cubicBezTo>
                      <a:pt x="122238" y="1639716"/>
                      <a:pt x="122238" y="2266416"/>
                      <a:pt x="122238" y="2618936"/>
                    </a:cubicBezTo>
                    <a:lnTo>
                      <a:pt x="122238" y="2722563"/>
                    </a:lnTo>
                    <a:lnTo>
                      <a:pt x="169032" y="2722563"/>
                    </a:lnTo>
                    <a:cubicBezTo>
                      <a:pt x="1096639" y="2722563"/>
                      <a:pt x="1515558" y="2722563"/>
                      <a:pt x="1704747" y="2722563"/>
                    </a:cubicBezTo>
                    <a:lnTo>
                      <a:pt x="1738313" y="2722563"/>
                    </a:lnTo>
                    <a:lnTo>
                      <a:pt x="1738313" y="2521894"/>
                    </a:lnTo>
                    <a:cubicBezTo>
                      <a:pt x="1738313" y="1330298"/>
                      <a:pt x="1738313" y="769547"/>
                      <a:pt x="1738313" y="505665"/>
                    </a:cubicBezTo>
                    <a:lnTo>
                      <a:pt x="1738313" y="461963"/>
                    </a:lnTo>
                    <a:lnTo>
                      <a:pt x="1691518" y="461963"/>
                    </a:lnTo>
                    <a:cubicBezTo>
                      <a:pt x="763911" y="461963"/>
                      <a:pt x="344992" y="461963"/>
                      <a:pt x="155803" y="461963"/>
                    </a:cubicBezTo>
                    <a:close/>
                    <a:moveTo>
                      <a:pt x="721442" y="169863"/>
                    </a:moveTo>
                    <a:cubicBezTo>
                      <a:pt x="1072433" y="169863"/>
                      <a:pt x="1072433" y="169863"/>
                      <a:pt x="1072433" y="169863"/>
                    </a:cubicBezTo>
                    <a:cubicBezTo>
                      <a:pt x="1106006" y="169863"/>
                      <a:pt x="1133475" y="197367"/>
                      <a:pt x="1133475" y="230982"/>
                    </a:cubicBezTo>
                    <a:cubicBezTo>
                      <a:pt x="1133475" y="264598"/>
                      <a:pt x="1106006" y="292101"/>
                      <a:pt x="1072433" y="292101"/>
                    </a:cubicBezTo>
                    <a:cubicBezTo>
                      <a:pt x="721442" y="292101"/>
                      <a:pt x="721442" y="292101"/>
                      <a:pt x="721442" y="292101"/>
                    </a:cubicBezTo>
                    <a:cubicBezTo>
                      <a:pt x="687869" y="292101"/>
                      <a:pt x="660400" y="264598"/>
                      <a:pt x="660400" y="230982"/>
                    </a:cubicBezTo>
                    <a:cubicBezTo>
                      <a:pt x="660400" y="197367"/>
                      <a:pt x="687869" y="169863"/>
                      <a:pt x="721442" y="169863"/>
                    </a:cubicBezTo>
                    <a:close/>
                    <a:moveTo>
                      <a:pt x="1281907" y="149225"/>
                    </a:moveTo>
                    <a:cubicBezTo>
                      <a:pt x="1327060" y="149225"/>
                      <a:pt x="1363664" y="185118"/>
                      <a:pt x="1363664" y="229394"/>
                    </a:cubicBezTo>
                    <a:cubicBezTo>
                      <a:pt x="1363664" y="273670"/>
                      <a:pt x="1327060" y="309563"/>
                      <a:pt x="1281907" y="309563"/>
                    </a:cubicBezTo>
                    <a:cubicBezTo>
                      <a:pt x="1236754" y="309563"/>
                      <a:pt x="1200150" y="273670"/>
                      <a:pt x="1200150" y="229394"/>
                    </a:cubicBezTo>
                    <a:cubicBezTo>
                      <a:pt x="1200150" y="185118"/>
                      <a:pt x="1236754" y="149225"/>
                      <a:pt x="1281907" y="149225"/>
                    </a:cubicBezTo>
                    <a:close/>
                    <a:moveTo>
                      <a:pt x="268324" y="122238"/>
                    </a:moveTo>
                    <a:cubicBezTo>
                      <a:pt x="189194" y="122238"/>
                      <a:pt x="122238" y="189178"/>
                      <a:pt x="122238" y="271331"/>
                    </a:cubicBezTo>
                    <a:lnTo>
                      <a:pt x="122238" y="341313"/>
                    </a:lnTo>
                    <a:cubicBezTo>
                      <a:pt x="1738313" y="341313"/>
                      <a:pt x="1738313" y="341313"/>
                      <a:pt x="1738313" y="341313"/>
                    </a:cubicBezTo>
                    <a:lnTo>
                      <a:pt x="1738313" y="314869"/>
                    </a:lnTo>
                    <a:lnTo>
                      <a:pt x="1738313" y="300855"/>
                    </a:lnTo>
                    <a:lnTo>
                      <a:pt x="1738313" y="289566"/>
                    </a:lnTo>
                    <a:lnTo>
                      <a:pt x="1738313" y="280079"/>
                    </a:lnTo>
                    <a:lnTo>
                      <a:pt x="1738313" y="276573"/>
                    </a:lnTo>
                    <a:lnTo>
                      <a:pt x="1738313" y="271331"/>
                    </a:lnTo>
                    <a:cubicBezTo>
                      <a:pt x="1738313" y="189178"/>
                      <a:pt x="1671357" y="122238"/>
                      <a:pt x="1589184" y="122238"/>
                    </a:cubicBezTo>
                    <a:lnTo>
                      <a:pt x="1469183" y="122238"/>
                    </a:lnTo>
                    <a:lnTo>
                      <a:pt x="1356679" y="122238"/>
                    </a:lnTo>
                    <a:lnTo>
                      <a:pt x="1153197" y="122238"/>
                    </a:lnTo>
                    <a:lnTo>
                      <a:pt x="976803" y="122238"/>
                    </a:lnTo>
                    <a:lnTo>
                      <a:pt x="825562" y="122238"/>
                    </a:lnTo>
                    <a:lnTo>
                      <a:pt x="697539" y="122238"/>
                    </a:lnTo>
                    <a:lnTo>
                      <a:pt x="590799" y="122238"/>
                    </a:lnTo>
                    <a:lnTo>
                      <a:pt x="503408" y="122238"/>
                    </a:lnTo>
                    <a:lnTo>
                      <a:pt x="433431" y="122238"/>
                    </a:lnTo>
                    <a:lnTo>
                      <a:pt x="378933" y="122238"/>
                    </a:lnTo>
                    <a:lnTo>
                      <a:pt x="337979" y="122238"/>
                    </a:lnTo>
                    <a:lnTo>
                      <a:pt x="308633" y="122238"/>
                    </a:lnTo>
                    <a:lnTo>
                      <a:pt x="288962" y="122238"/>
                    </a:lnTo>
                    <a:lnTo>
                      <a:pt x="277031" y="122238"/>
                    </a:lnTo>
                    <a:lnTo>
                      <a:pt x="270904" y="122238"/>
                    </a:lnTo>
                    <a:close/>
                    <a:moveTo>
                      <a:pt x="267968" y="0"/>
                    </a:moveTo>
                    <a:cubicBezTo>
                      <a:pt x="1589537" y="0"/>
                      <a:pt x="1589537" y="0"/>
                      <a:pt x="1589537" y="0"/>
                    </a:cubicBezTo>
                    <a:cubicBezTo>
                      <a:pt x="1738747" y="0"/>
                      <a:pt x="1860550" y="121569"/>
                      <a:pt x="1860550" y="270492"/>
                    </a:cubicBezTo>
                    <a:lnTo>
                      <a:pt x="1860550" y="270501"/>
                    </a:lnTo>
                    <a:lnTo>
                      <a:pt x="1860550" y="461963"/>
                    </a:lnTo>
                    <a:lnTo>
                      <a:pt x="1860550" y="525090"/>
                    </a:lnTo>
                    <a:cubicBezTo>
                      <a:pt x="1860550" y="1639702"/>
                      <a:pt x="1860550" y="2266671"/>
                      <a:pt x="1860550" y="2619341"/>
                    </a:cubicBezTo>
                    <a:lnTo>
                      <a:pt x="1860550" y="2722563"/>
                    </a:lnTo>
                    <a:lnTo>
                      <a:pt x="1860550" y="2754314"/>
                    </a:lnTo>
                    <a:lnTo>
                      <a:pt x="1860550" y="2838062"/>
                    </a:lnTo>
                    <a:lnTo>
                      <a:pt x="1860550" y="2859431"/>
                    </a:lnTo>
                    <a:lnTo>
                      <a:pt x="1860550" y="2924856"/>
                    </a:lnTo>
                    <a:lnTo>
                      <a:pt x="1860550" y="2938424"/>
                    </a:lnTo>
                    <a:lnTo>
                      <a:pt x="1860550" y="2987047"/>
                    </a:lnTo>
                    <a:lnTo>
                      <a:pt x="1860550" y="2995025"/>
                    </a:lnTo>
                    <a:lnTo>
                      <a:pt x="1860550" y="3028736"/>
                    </a:lnTo>
                    <a:lnTo>
                      <a:pt x="1860550" y="3032967"/>
                    </a:lnTo>
                    <a:lnTo>
                      <a:pt x="1860550" y="3054023"/>
                    </a:lnTo>
                    <a:lnTo>
                      <a:pt x="1860550" y="3055980"/>
                    </a:lnTo>
                    <a:lnTo>
                      <a:pt x="1860550" y="3067008"/>
                    </a:lnTo>
                    <a:lnTo>
                      <a:pt x="1860550" y="3067798"/>
                    </a:lnTo>
                    <a:lnTo>
                      <a:pt x="1860550" y="3072475"/>
                    </a:lnTo>
                    <a:lnTo>
                      <a:pt x="1860550" y="3072774"/>
                    </a:lnTo>
                    <a:cubicBezTo>
                      <a:pt x="1860550" y="3184470"/>
                      <a:pt x="1792036" y="3280779"/>
                      <a:pt x="1694831" y="3321952"/>
                    </a:cubicBezTo>
                    <a:lnTo>
                      <a:pt x="1593989" y="3342374"/>
                    </a:lnTo>
                    <a:lnTo>
                      <a:pt x="1589537" y="3343276"/>
                    </a:lnTo>
                    <a:cubicBezTo>
                      <a:pt x="267968" y="3343276"/>
                      <a:pt x="267968" y="3343276"/>
                      <a:pt x="267968" y="3343276"/>
                    </a:cubicBezTo>
                    <a:lnTo>
                      <a:pt x="263590" y="3342374"/>
                    </a:lnTo>
                    <a:lnTo>
                      <a:pt x="164435" y="3321952"/>
                    </a:lnTo>
                    <a:cubicBezTo>
                      <a:pt x="68515" y="3280779"/>
                      <a:pt x="0" y="3184470"/>
                      <a:pt x="0" y="3072774"/>
                    </a:cubicBezTo>
                    <a:lnTo>
                      <a:pt x="0" y="3072475"/>
                    </a:lnTo>
                    <a:lnTo>
                      <a:pt x="0" y="2956977"/>
                    </a:lnTo>
                    <a:lnTo>
                      <a:pt x="0" y="2870182"/>
                    </a:lnTo>
                    <a:lnTo>
                      <a:pt x="0" y="2807991"/>
                    </a:lnTo>
                    <a:lnTo>
                      <a:pt x="0" y="2787491"/>
                    </a:lnTo>
                    <a:lnTo>
                      <a:pt x="0" y="2766302"/>
                    </a:lnTo>
                    <a:lnTo>
                      <a:pt x="0" y="2741016"/>
                    </a:lnTo>
                    <a:lnTo>
                      <a:pt x="0" y="2728031"/>
                    </a:lnTo>
                    <a:lnTo>
                      <a:pt x="0" y="2722563"/>
                    </a:lnTo>
                    <a:lnTo>
                      <a:pt x="0" y="2522258"/>
                    </a:lnTo>
                    <a:cubicBezTo>
                      <a:pt x="0" y="1330151"/>
                      <a:pt x="0" y="769160"/>
                      <a:pt x="0" y="505164"/>
                    </a:cubicBezTo>
                    <a:lnTo>
                      <a:pt x="0" y="461963"/>
                    </a:lnTo>
                    <a:lnTo>
                      <a:pt x="0" y="418277"/>
                    </a:lnTo>
                    <a:lnTo>
                      <a:pt x="0" y="398763"/>
                    </a:lnTo>
                    <a:lnTo>
                      <a:pt x="0" y="356020"/>
                    </a:lnTo>
                    <a:lnTo>
                      <a:pt x="0" y="351269"/>
                    </a:lnTo>
                    <a:lnTo>
                      <a:pt x="0" y="314287"/>
                    </a:lnTo>
                    <a:lnTo>
                      <a:pt x="0" y="294426"/>
                    </a:lnTo>
                    <a:lnTo>
                      <a:pt x="0" y="288973"/>
                    </a:lnTo>
                    <a:cubicBezTo>
                      <a:pt x="0" y="282816"/>
                      <a:pt x="0" y="278711"/>
                      <a:pt x="0" y="275975"/>
                    </a:cubicBezTo>
                    <a:lnTo>
                      <a:pt x="0" y="273484"/>
                    </a:lnTo>
                    <a:lnTo>
                      <a:pt x="0" y="270501"/>
                    </a:lnTo>
                    <a:lnTo>
                      <a:pt x="0" y="270492"/>
                    </a:lnTo>
                    <a:cubicBezTo>
                      <a:pt x="0" y="121569"/>
                      <a:pt x="121804" y="0"/>
                      <a:pt x="267968" y="0"/>
                    </a:cubicBezTo>
                    <a:close/>
                  </a:path>
                </a:pathLst>
              </a:custGeom>
              <a:grpFill/>
              <a:ln>
                <a:noFill/>
              </a:ln>
            </p:spPr>
            <p:txBody>
              <a:bodyPr vert="horz" wrap="square" lIns="91403" tIns="45701" rIns="91403" bIns="45701" numCol="1" anchor="t" anchorCtr="0" compatLnSpc="1">
                <a:prstTxWarp prst="textNoShape">
                  <a:avLst/>
                </a:prstTxWarp>
                <a:noAutofit/>
              </a:bodyPr>
              <a:lstStyle/>
              <a:p>
                <a:pPr defTabSz="896203"/>
                <a:endParaRPr lang="en-US" sz="1799" kern="0">
                  <a:solidFill>
                    <a:sysClr val="windowText" lastClr="000000"/>
                  </a:solidFill>
                </a:endParaRPr>
              </a:p>
            </p:txBody>
          </p:sp>
          <p:sp>
            <p:nvSpPr>
              <p:cNvPr id="229" name="Freeform 228"/>
              <p:cNvSpPr/>
              <p:nvPr/>
            </p:nvSpPr>
            <p:spPr bwMode="auto">
              <a:xfrm>
                <a:off x="10884687" y="4165112"/>
                <a:ext cx="248428" cy="140196"/>
              </a:xfrm>
              <a:custGeom>
                <a:avLst/>
                <a:gdLst>
                  <a:gd name="connsiteX0" fmla="*/ 5333671 w 7645936"/>
                  <a:gd name="connsiteY0" fmla="*/ 2643510 h 4314825"/>
                  <a:gd name="connsiteX1" fmla="*/ 5193195 w 7645936"/>
                  <a:gd name="connsiteY1" fmla="*/ 2783986 h 4314825"/>
                  <a:gd name="connsiteX2" fmla="*/ 5193195 w 7645936"/>
                  <a:gd name="connsiteY2" fmla="*/ 3723500 h 4314825"/>
                  <a:gd name="connsiteX3" fmla="*/ 5333671 w 7645936"/>
                  <a:gd name="connsiteY3" fmla="*/ 3863976 h 4314825"/>
                  <a:gd name="connsiteX4" fmla="*/ 5421017 w 7645936"/>
                  <a:gd name="connsiteY4" fmla="*/ 3863976 h 4314825"/>
                  <a:gd name="connsiteX5" fmla="*/ 5561493 w 7645936"/>
                  <a:gd name="connsiteY5" fmla="*/ 3723500 h 4314825"/>
                  <a:gd name="connsiteX6" fmla="*/ 5561493 w 7645936"/>
                  <a:gd name="connsiteY6" fmla="*/ 2783986 h 4314825"/>
                  <a:gd name="connsiteX7" fmla="*/ 5421017 w 7645936"/>
                  <a:gd name="connsiteY7" fmla="*/ 2643510 h 4314825"/>
                  <a:gd name="connsiteX8" fmla="*/ 4527329 w 7645936"/>
                  <a:gd name="connsiteY8" fmla="*/ 2643510 h 4314825"/>
                  <a:gd name="connsiteX9" fmla="*/ 4386853 w 7645936"/>
                  <a:gd name="connsiteY9" fmla="*/ 2783986 h 4314825"/>
                  <a:gd name="connsiteX10" fmla="*/ 4386853 w 7645936"/>
                  <a:gd name="connsiteY10" fmla="*/ 3723500 h 4314825"/>
                  <a:gd name="connsiteX11" fmla="*/ 4527329 w 7645936"/>
                  <a:gd name="connsiteY11" fmla="*/ 3863976 h 4314825"/>
                  <a:gd name="connsiteX12" fmla="*/ 4614675 w 7645936"/>
                  <a:gd name="connsiteY12" fmla="*/ 3863976 h 4314825"/>
                  <a:gd name="connsiteX13" fmla="*/ 4755151 w 7645936"/>
                  <a:gd name="connsiteY13" fmla="*/ 3723500 h 4314825"/>
                  <a:gd name="connsiteX14" fmla="*/ 4755151 w 7645936"/>
                  <a:gd name="connsiteY14" fmla="*/ 2783986 h 4314825"/>
                  <a:gd name="connsiteX15" fmla="*/ 4614675 w 7645936"/>
                  <a:gd name="connsiteY15" fmla="*/ 2643510 h 4314825"/>
                  <a:gd name="connsiteX16" fmla="*/ 3720987 w 7645936"/>
                  <a:gd name="connsiteY16" fmla="*/ 2643510 h 4314825"/>
                  <a:gd name="connsiteX17" fmla="*/ 3580511 w 7645936"/>
                  <a:gd name="connsiteY17" fmla="*/ 2783986 h 4314825"/>
                  <a:gd name="connsiteX18" fmla="*/ 3580511 w 7645936"/>
                  <a:gd name="connsiteY18" fmla="*/ 3723500 h 4314825"/>
                  <a:gd name="connsiteX19" fmla="*/ 3720987 w 7645936"/>
                  <a:gd name="connsiteY19" fmla="*/ 3863976 h 4314825"/>
                  <a:gd name="connsiteX20" fmla="*/ 3808333 w 7645936"/>
                  <a:gd name="connsiteY20" fmla="*/ 3863976 h 4314825"/>
                  <a:gd name="connsiteX21" fmla="*/ 3948809 w 7645936"/>
                  <a:gd name="connsiteY21" fmla="*/ 3723500 h 4314825"/>
                  <a:gd name="connsiteX22" fmla="*/ 3948809 w 7645936"/>
                  <a:gd name="connsiteY22" fmla="*/ 2783986 h 4314825"/>
                  <a:gd name="connsiteX23" fmla="*/ 3808333 w 7645936"/>
                  <a:gd name="connsiteY23" fmla="*/ 2643510 h 4314825"/>
                  <a:gd name="connsiteX24" fmla="*/ 2914644 w 7645936"/>
                  <a:gd name="connsiteY24" fmla="*/ 2643510 h 4314825"/>
                  <a:gd name="connsiteX25" fmla="*/ 2774168 w 7645936"/>
                  <a:gd name="connsiteY25" fmla="*/ 2783986 h 4314825"/>
                  <a:gd name="connsiteX26" fmla="*/ 2774168 w 7645936"/>
                  <a:gd name="connsiteY26" fmla="*/ 3723500 h 4314825"/>
                  <a:gd name="connsiteX27" fmla="*/ 2914644 w 7645936"/>
                  <a:gd name="connsiteY27" fmla="*/ 3863976 h 4314825"/>
                  <a:gd name="connsiteX28" fmla="*/ 3001990 w 7645936"/>
                  <a:gd name="connsiteY28" fmla="*/ 3863976 h 4314825"/>
                  <a:gd name="connsiteX29" fmla="*/ 3142466 w 7645936"/>
                  <a:gd name="connsiteY29" fmla="*/ 3723500 h 4314825"/>
                  <a:gd name="connsiteX30" fmla="*/ 3142466 w 7645936"/>
                  <a:gd name="connsiteY30" fmla="*/ 2783986 h 4314825"/>
                  <a:gd name="connsiteX31" fmla="*/ 3001990 w 7645936"/>
                  <a:gd name="connsiteY31" fmla="*/ 2643510 h 4314825"/>
                  <a:gd name="connsiteX32" fmla="*/ 2108301 w 7645936"/>
                  <a:gd name="connsiteY32" fmla="*/ 2643510 h 4314825"/>
                  <a:gd name="connsiteX33" fmla="*/ 1967825 w 7645936"/>
                  <a:gd name="connsiteY33" fmla="*/ 2783986 h 4314825"/>
                  <a:gd name="connsiteX34" fmla="*/ 1967825 w 7645936"/>
                  <a:gd name="connsiteY34" fmla="*/ 3723500 h 4314825"/>
                  <a:gd name="connsiteX35" fmla="*/ 2108301 w 7645936"/>
                  <a:gd name="connsiteY35" fmla="*/ 3863976 h 4314825"/>
                  <a:gd name="connsiteX36" fmla="*/ 2195647 w 7645936"/>
                  <a:gd name="connsiteY36" fmla="*/ 3863976 h 4314825"/>
                  <a:gd name="connsiteX37" fmla="*/ 2336123 w 7645936"/>
                  <a:gd name="connsiteY37" fmla="*/ 3723500 h 4314825"/>
                  <a:gd name="connsiteX38" fmla="*/ 2336123 w 7645936"/>
                  <a:gd name="connsiteY38" fmla="*/ 2783986 h 4314825"/>
                  <a:gd name="connsiteX39" fmla="*/ 2195647 w 7645936"/>
                  <a:gd name="connsiteY39" fmla="*/ 2643510 h 4314825"/>
                  <a:gd name="connsiteX40" fmla="*/ 5312536 w 7645936"/>
                  <a:gd name="connsiteY40" fmla="*/ 2564132 h 4314825"/>
                  <a:gd name="connsiteX41" fmla="*/ 5442152 w 7645936"/>
                  <a:gd name="connsiteY41" fmla="*/ 2564132 h 4314825"/>
                  <a:gd name="connsiteX42" fmla="*/ 5650609 w 7645936"/>
                  <a:gd name="connsiteY42" fmla="*/ 2772589 h 4314825"/>
                  <a:gd name="connsiteX43" fmla="*/ 5650609 w 7645936"/>
                  <a:gd name="connsiteY43" fmla="*/ 3734896 h 4314825"/>
                  <a:gd name="connsiteX44" fmla="*/ 5442152 w 7645936"/>
                  <a:gd name="connsiteY44" fmla="*/ 3943353 h 4314825"/>
                  <a:gd name="connsiteX45" fmla="*/ 5312536 w 7645936"/>
                  <a:gd name="connsiteY45" fmla="*/ 3943353 h 4314825"/>
                  <a:gd name="connsiteX46" fmla="*/ 5104079 w 7645936"/>
                  <a:gd name="connsiteY46" fmla="*/ 3734896 h 4314825"/>
                  <a:gd name="connsiteX47" fmla="*/ 5104079 w 7645936"/>
                  <a:gd name="connsiteY47" fmla="*/ 2772589 h 4314825"/>
                  <a:gd name="connsiteX48" fmla="*/ 5312536 w 7645936"/>
                  <a:gd name="connsiteY48" fmla="*/ 2564132 h 4314825"/>
                  <a:gd name="connsiteX49" fmla="*/ 4506194 w 7645936"/>
                  <a:gd name="connsiteY49" fmla="*/ 2564132 h 4314825"/>
                  <a:gd name="connsiteX50" fmla="*/ 4635810 w 7645936"/>
                  <a:gd name="connsiteY50" fmla="*/ 2564132 h 4314825"/>
                  <a:gd name="connsiteX51" fmla="*/ 4844267 w 7645936"/>
                  <a:gd name="connsiteY51" fmla="*/ 2772589 h 4314825"/>
                  <a:gd name="connsiteX52" fmla="*/ 4844267 w 7645936"/>
                  <a:gd name="connsiteY52" fmla="*/ 3734896 h 4314825"/>
                  <a:gd name="connsiteX53" fmla="*/ 4635810 w 7645936"/>
                  <a:gd name="connsiteY53" fmla="*/ 3943353 h 4314825"/>
                  <a:gd name="connsiteX54" fmla="*/ 4506194 w 7645936"/>
                  <a:gd name="connsiteY54" fmla="*/ 3943353 h 4314825"/>
                  <a:gd name="connsiteX55" fmla="*/ 4297737 w 7645936"/>
                  <a:gd name="connsiteY55" fmla="*/ 3734896 h 4314825"/>
                  <a:gd name="connsiteX56" fmla="*/ 4297737 w 7645936"/>
                  <a:gd name="connsiteY56" fmla="*/ 2772589 h 4314825"/>
                  <a:gd name="connsiteX57" fmla="*/ 4506194 w 7645936"/>
                  <a:gd name="connsiteY57" fmla="*/ 2564132 h 4314825"/>
                  <a:gd name="connsiteX58" fmla="*/ 3699852 w 7645936"/>
                  <a:gd name="connsiteY58" fmla="*/ 2564132 h 4314825"/>
                  <a:gd name="connsiteX59" fmla="*/ 3829468 w 7645936"/>
                  <a:gd name="connsiteY59" fmla="*/ 2564132 h 4314825"/>
                  <a:gd name="connsiteX60" fmla="*/ 4037925 w 7645936"/>
                  <a:gd name="connsiteY60" fmla="*/ 2772589 h 4314825"/>
                  <a:gd name="connsiteX61" fmla="*/ 4037925 w 7645936"/>
                  <a:gd name="connsiteY61" fmla="*/ 3734896 h 4314825"/>
                  <a:gd name="connsiteX62" fmla="*/ 3829468 w 7645936"/>
                  <a:gd name="connsiteY62" fmla="*/ 3943353 h 4314825"/>
                  <a:gd name="connsiteX63" fmla="*/ 3699852 w 7645936"/>
                  <a:gd name="connsiteY63" fmla="*/ 3943353 h 4314825"/>
                  <a:gd name="connsiteX64" fmla="*/ 3491395 w 7645936"/>
                  <a:gd name="connsiteY64" fmla="*/ 3734896 h 4314825"/>
                  <a:gd name="connsiteX65" fmla="*/ 3491395 w 7645936"/>
                  <a:gd name="connsiteY65" fmla="*/ 2772589 h 4314825"/>
                  <a:gd name="connsiteX66" fmla="*/ 3699852 w 7645936"/>
                  <a:gd name="connsiteY66" fmla="*/ 2564132 h 4314825"/>
                  <a:gd name="connsiteX67" fmla="*/ 2893509 w 7645936"/>
                  <a:gd name="connsiteY67" fmla="*/ 2564132 h 4314825"/>
                  <a:gd name="connsiteX68" fmla="*/ 3023125 w 7645936"/>
                  <a:gd name="connsiteY68" fmla="*/ 2564132 h 4314825"/>
                  <a:gd name="connsiteX69" fmla="*/ 3231582 w 7645936"/>
                  <a:gd name="connsiteY69" fmla="*/ 2772589 h 4314825"/>
                  <a:gd name="connsiteX70" fmla="*/ 3231582 w 7645936"/>
                  <a:gd name="connsiteY70" fmla="*/ 3734896 h 4314825"/>
                  <a:gd name="connsiteX71" fmla="*/ 3023125 w 7645936"/>
                  <a:gd name="connsiteY71" fmla="*/ 3943353 h 4314825"/>
                  <a:gd name="connsiteX72" fmla="*/ 2893509 w 7645936"/>
                  <a:gd name="connsiteY72" fmla="*/ 3943353 h 4314825"/>
                  <a:gd name="connsiteX73" fmla="*/ 2685052 w 7645936"/>
                  <a:gd name="connsiteY73" fmla="*/ 3734896 h 4314825"/>
                  <a:gd name="connsiteX74" fmla="*/ 2685052 w 7645936"/>
                  <a:gd name="connsiteY74" fmla="*/ 2772589 h 4314825"/>
                  <a:gd name="connsiteX75" fmla="*/ 2893509 w 7645936"/>
                  <a:gd name="connsiteY75" fmla="*/ 2564132 h 4314825"/>
                  <a:gd name="connsiteX76" fmla="*/ 2087166 w 7645936"/>
                  <a:gd name="connsiteY76" fmla="*/ 2564132 h 4314825"/>
                  <a:gd name="connsiteX77" fmla="*/ 2216782 w 7645936"/>
                  <a:gd name="connsiteY77" fmla="*/ 2564132 h 4314825"/>
                  <a:gd name="connsiteX78" fmla="*/ 2425239 w 7645936"/>
                  <a:gd name="connsiteY78" fmla="*/ 2772589 h 4314825"/>
                  <a:gd name="connsiteX79" fmla="*/ 2425239 w 7645936"/>
                  <a:gd name="connsiteY79" fmla="*/ 3734896 h 4314825"/>
                  <a:gd name="connsiteX80" fmla="*/ 2216782 w 7645936"/>
                  <a:gd name="connsiteY80" fmla="*/ 3943353 h 4314825"/>
                  <a:gd name="connsiteX81" fmla="*/ 2087166 w 7645936"/>
                  <a:gd name="connsiteY81" fmla="*/ 3943353 h 4314825"/>
                  <a:gd name="connsiteX82" fmla="*/ 1878709 w 7645936"/>
                  <a:gd name="connsiteY82" fmla="*/ 3734896 h 4314825"/>
                  <a:gd name="connsiteX83" fmla="*/ 1878709 w 7645936"/>
                  <a:gd name="connsiteY83" fmla="*/ 2772589 h 4314825"/>
                  <a:gd name="connsiteX84" fmla="*/ 2087166 w 7645936"/>
                  <a:gd name="connsiteY84" fmla="*/ 2564132 h 4314825"/>
                  <a:gd name="connsiteX85" fmla="*/ 5082919 w 7645936"/>
                  <a:gd name="connsiteY85" fmla="*/ 775812 h 4314825"/>
                  <a:gd name="connsiteX86" fmla="*/ 4576665 w 7645936"/>
                  <a:gd name="connsiteY86" fmla="*/ 1282066 h 4314825"/>
                  <a:gd name="connsiteX87" fmla="*/ 5082919 w 7645936"/>
                  <a:gd name="connsiteY87" fmla="*/ 1788320 h 4314825"/>
                  <a:gd name="connsiteX88" fmla="*/ 5589173 w 7645936"/>
                  <a:gd name="connsiteY88" fmla="*/ 1282066 h 4314825"/>
                  <a:gd name="connsiteX89" fmla="*/ 5082919 w 7645936"/>
                  <a:gd name="connsiteY89" fmla="*/ 775812 h 4314825"/>
                  <a:gd name="connsiteX90" fmla="*/ 2408299 w 7645936"/>
                  <a:gd name="connsiteY90" fmla="*/ 775812 h 4314825"/>
                  <a:gd name="connsiteX91" fmla="*/ 1902046 w 7645936"/>
                  <a:gd name="connsiteY91" fmla="*/ 1282066 h 4314825"/>
                  <a:gd name="connsiteX92" fmla="*/ 2408299 w 7645936"/>
                  <a:gd name="connsiteY92" fmla="*/ 1788320 h 4314825"/>
                  <a:gd name="connsiteX93" fmla="*/ 2914553 w 7645936"/>
                  <a:gd name="connsiteY93" fmla="*/ 1282066 h 4314825"/>
                  <a:gd name="connsiteX94" fmla="*/ 2408299 w 7645936"/>
                  <a:gd name="connsiteY94" fmla="*/ 775812 h 4314825"/>
                  <a:gd name="connsiteX95" fmla="*/ 5082919 w 7645936"/>
                  <a:gd name="connsiteY95" fmla="*/ 661036 h 4314825"/>
                  <a:gd name="connsiteX96" fmla="*/ 5703949 w 7645936"/>
                  <a:gd name="connsiteY96" fmla="*/ 1282066 h 4314825"/>
                  <a:gd name="connsiteX97" fmla="*/ 5082919 w 7645936"/>
                  <a:gd name="connsiteY97" fmla="*/ 1903096 h 4314825"/>
                  <a:gd name="connsiteX98" fmla="*/ 4461889 w 7645936"/>
                  <a:gd name="connsiteY98" fmla="*/ 1282066 h 4314825"/>
                  <a:gd name="connsiteX99" fmla="*/ 5082919 w 7645936"/>
                  <a:gd name="connsiteY99" fmla="*/ 661036 h 4314825"/>
                  <a:gd name="connsiteX100" fmla="*/ 2408299 w 7645936"/>
                  <a:gd name="connsiteY100" fmla="*/ 661036 h 4314825"/>
                  <a:gd name="connsiteX101" fmla="*/ 3029329 w 7645936"/>
                  <a:gd name="connsiteY101" fmla="*/ 1282066 h 4314825"/>
                  <a:gd name="connsiteX102" fmla="*/ 2408299 w 7645936"/>
                  <a:gd name="connsiteY102" fmla="*/ 1903096 h 4314825"/>
                  <a:gd name="connsiteX103" fmla="*/ 1787269 w 7645936"/>
                  <a:gd name="connsiteY103" fmla="*/ 1282066 h 4314825"/>
                  <a:gd name="connsiteX104" fmla="*/ 2408299 w 7645936"/>
                  <a:gd name="connsiteY104" fmla="*/ 661036 h 4314825"/>
                  <a:gd name="connsiteX105" fmla="*/ 1164182 w 7645936"/>
                  <a:gd name="connsiteY105" fmla="*/ 126434 h 4314825"/>
                  <a:gd name="connsiteX106" fmla="*/ 1034158 w 7645936"/>
                  <a:gd name="connsiteY106" fmla="*/ 256457 h 4314825"/>
                  <a:gd name="connsiteX107" fmla="*/ 1034158 w 7645936"/>
                  <a:gd name="connsiteY107" fmla="*/ 1603376 h 4314825"/>
                  <a:gd name="connsiteX108" fmla="*/ 879743 w 7645936"/>
                  <a:gd name="connsiteY108" fmla="*/ 1603376 h 4314825"/>
                  <a:gd name="connsiteX109" fmla="*/ 478976 w 7645936"/>
                  <a:gd name="connsiteY109" fmla="*/ 1603376 h 4314825"/>
                  <a:gd name="connsiteX110" fmla="*/ 478976 w 7645936"/>
                  <a:gd name="connsiteY110" fmla="*/ 1286475 h 4314825"/>
                  <a:gd name="connsiteX111" fmla="*/ 89830 w 7645936"/>
                  <a:gd name="connsiteY111" fmla="*/ 1286475 h 4314825"/>
                  <a:gd name="connsiteX112" fmla="*/ 89830 w 7645936"/>
                  <a:gd name="connsiteY112" fmla="*/ 2046729 h 4314825"/>
                  <a:gd name="connsiteX113" fmla="*/ 478976 w 7645936"/>
                  <a:gd name="connsiteY113" fmla="*/ 2046729 h 4314825"/>
                  <a:gd name="connsiteX114" fmla="*/ 478976 w 7645936"/>
                  <a:gd name="connsiteY114" fmla="*/ 1724026 h 4314825"/>
                  <a:gd name="connsiteX115" fmla="*/ 879743 w 7645936"/>
                  <a:gd name="connsiteY115" fmla="*/ 1724026 h 4314825"/>
                  <a:gd name="connsiteX116" fmla="*/ 1034158 w 7645936"/>
                  <a:gd name="connsiteY116" fmla="*/ 1724026 h 4314825"/>
                  <a:gd name="connsiteX117" fmla="*/ 1034158 w 7645936"/>
                  <a:gd name="connsiteY117" fmla="*/ 4058369 h 4314825"/>
                  <a:gd name="connsiteX118" fmla="*/ 1164182 w 7645936"/>
                  <a:gd name="connsiteY118" fmla="*/ 4188392 h 4314825"/>
                  <a:gd name="connsiteX119" fmla="*/ 6481755 w 7645936"/>
                  <a:gd name="connsiteY119" fmla="*/ 4188392 h 4314825"/>
                  <a:gd name="connsiteX120" fmla="*/ 6611778 w 7645936"/>
                  <a:gd name="connsiteY120" fmla="*/ 4058369 h 4314825"/>
                  <a:gd name="connsiteX121" fmla="*/ 6611778 w 7645936"/>
                  <a:gd name="connsiteY121" fmla="*/ 1724026 h 4314825"/>
                  <a:gd name="connsiteX122" fmla="*/ 6766193 w 7645936"/>
                  <a:gd name="connsiteY122" fmla="*/ 1724026 h 4314825"/>
                  <a:gd name="connsiteX123" fmla="*/ 7166960 w 7645936"/>
                  <a:gd name="connsiteY123" fmla="*/ 1724026 h 4314825"/>
                  <a:gd name="connsiteX124" fmla="*/ 7166960 w 7645936"/>
                  <a:gd name="connsiteY124" fmla="*/ 2046729 h 4314825"/>
                  <a:gd name="connsiteX125" fmla="*/ 7556106 w 7645936"/>
                  <a:gd name="connsiteY125" fmla="*/ 2046729 h 4314825"/>
                  <a:gd name="connsiteX126" fmla="*/ 7556106 w 7645936"/>
                  <a:gd name="connsiteY126" fmla="*/ 1286475 h 4314825"/>
                  <a:gd name="connsiteX127" fmla="*/ 7166960 w 7645936"/>
                  <a:gd name="connsiteY127" fmla="*/ 1286475 h 4314825"/>
                  <a:gd name="connsiteX128" fmla="*/ 7166960 w 7645936"/>
                  <a:gd name="connsiteY128" fmla="*/ 1603376 h 4314825"/>
                  <a:gd name="connsiteX129" fmla="*/ 6766193 w 7645936"/>
                  <a:gd name="connsiteY129" fmla="*/ 1603376 h 4314825"/>
                  <a:gd name="connsiteX130" fmla="*/ 6611778 w 7645936"/>
                  <a:gd name="connsiteY130" fmla="*/ 1603376 h 4314825"/>
                  <a:gd name="connsiteX131" fmla="*/ 6611778 w 7645936"/>
                  <a:gd name="connsiteY131" fmla="*/ 256457 h 4314825"/>
                  <a:gd name="connsiteX132" fmla="*/ 6481755 w 7645936"/>
                  <a:gd name="connsiteY132" fmla="*/ 126434 h 4314825"/>
                  <a:gd name="connsiteX133" fmla="*/ 1011518 w 7645936"/>
                  <a:gd name="connsiteY133" fmla="*/ 0 h 4314825"/>
                  <a:gd name="connsiteX134" fmla="*/ 6634418 w 7645936"/>
                  <a:gd name="connsiteY134" fmla="*/ 0 h 4314825"/>
                  <a:gd name="connsiteX135" fmla="*/ 6766193 w 7645936"/>
                  <a:gd name="connsiteY135" fmla="*/ 131775 h 4314825"/>
                  <a:gd name="connsiteX136" fmla="*/ 6766193 w 7645936"/>
                  <a:gd name="connsiteY136" fmla="*/ 1485987 h 4314825"/>
                  <a:gd name="connsiteX137" fmla="*/ 7077129 w 7645936"/>
                  <a:gd name="connsiteY137" fmla="*/ 1485987 h 4314825"/>
                  <a:gd name="connsiteX138" fmla="*/ 7077129 w 7645936"/>
                  <a:gd name="connsiteY138" fmla="*/ 1193887 h 4314825"/>
                  <a:gd name="connsiteX139" fmla="*/ 7645936 w 7645936"/>
                  <a:gd name="connsiteY139" fmla="*/ 1193887 h 4314825"/>
                  <a:gd name="connsiteX140" fmla="*/ 7645936 w 7645936"/>
                  <a:gd name="connsiteY140" fmla="*/ 2139317 h 4314825"/>
                  <a:gd name="connsiteX141" fmla="*/ 7077129 w 7645936"/>
                  <a:gd name="connsiteY141" fmla="*/ 2139317 h 4314825"/>
                  <a:gd name="connsiteX142" fmla="*/ 7077129 w 7645936"/>
                  <a:gd name="connsiteY142" fmla="*/ 1840719 h 4314825"/>
                  <a:gd name="connsiteX143" fmla="*/ 6766193 w 7645936"/>
                  <a:gd name="connsiteY143" fmla="*/ 1840719 h 4314825"/>
                  <a:gd name="connsiteX144" fmla="*/ 6766193 w 7645936"/>
                  <a:gd name="connsiteY144" fmla="*/ 4183050 h 4314825"/>
                  <a:gd name="connsiteX145" fmla="*/ 6634418 w 7645936"/>
                  <a:gd name="connsiteY145" fmla="*/ 4314825 h 4314825"/>
                  <a:gd name="connsiteX146" fmla="*/ 1011518 w 7645936"/>
                  <a:gd name="connsiteY146" fmla="*/ 4314825 h 4314825"/>
                  <a:gd name="connsiteX147" fmla="*/ 879743 w 7645936"/>
                  <a:gd name="connsiteY147" fmla="*/ 4183050 h 4314825"/>
                  <a:gd name="connsiteX148" fmla="*/ 879743 w 7645936"/>
                  <a:gd name="connsiteY148" fmla="*/ 1840719 h 4314825"/>
                  <a:gd name="connsiteX149" fmla="*/ 568807 w 7645936"/>
                  <a:gd name="connsiteY149" fmla="*/ 1840719 h 4314825"/>
                  <a:gd name="connsiteX150" fmla="*/ 568807 w 7645936"/>
                  <a:gd name="connsiteY150" fmla="*/ 2139317 h 4314825"/>
                  <a:gd name="connsiteX151" fmla="*/ 0 w 7645936"/>
                  <a:gd name="connsiteY151" fmla="*/ 2139317 h 4314825"/>
                  <a:gd name="connsiteX152" fmla="*/ 0 w 7645936"/>
                  <a:gd name="connsiteY152" fmla="*/ 1193887 h 4314825"/>
                  <a:gd name="connsiteX153" fmla="*/ 568807 w 7645936"/>
                  <a:gd name="connsiteY153" fmla="*/ 1193887 h 4314825"/>
                  <a:gd name="connsiteX154" fmla="*/ 568807 w 7645936"/>
                  <a:gd name="connsiteY154" fmla="*/ 1485987 h 4314825"/>
                  <a:gd name="connsiteX155" fmla="*/ 879743 w 7645936"/>
                  <a:gd name="connsiteY155" fmla="*/ 1485987 h 4314825"/>
                  <a:gd name="connsiteX156" fmla="*/ 879743 w 7645936"/>
                  <a:gd name="connsiteY156" fmla="*/ 131775 h 4314825"/>
                  <a:gd name="connsiteX157" fmla="*/ 1011518 w 7645936"/>
                  <a:gd name="connsiteY157" fmla="*/ 0 h 431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7645936" h="4314825">
                    <a:moveTo>
                      <a:pt x="5333671" y="2643510"/>
                    </a:moveTo>
                    <a:cubicBezTo>
                      <a:pt x="5256088" y="2643510"/>
                      <a:pt x="5193195" y="2706403"/>
                      <a:pt x="5193195" y="2783986"/>
                    </a:cubicBezTo>
                    <a:lnTo>
                      <a:pt x="5193195" y="3723500"/>
                    </a:lnTo>
                    <a:cubicBezTo>
                      <a:pt x="5193195" y="3801083"/>
                      <a:pt x="5256088" y="3863976"/>
                      <a:pt x="5333671" y="3863976"/>
                    </a:cubicBezTo>
                    <a:lnTo>
                      <a:pt x="5421017" y="3863976"/>
                    </a:lnTo>
                    <a:cubicBezTo>
                      <a:pt x="5498600" y="3863976"/>
                      <a:pt x="5561493" y="3801083"/>
                      <a:pt x="5561493" y="3723500"/>
                    </a:cubicBezTo>
                    <a:lnTo>
                      <a:pt x="5561493" y="2783986"/>
                    </a:lnTo>
                    <a:cubicBezTo>
                      <a:pt x="5561493" y="2706403"/>
                      <a:pt x="5498600" y="2643510"/>
                      <a:pt x="5421017" y="2643510"/>
                    </a:cubicBezTo>
                    <a:close/>
                    <a:moveTo>
                      <a:pt x="4527329" y="2643510"/>
                    </a:moveTo>
                    <a:cubicBezTo>
                      <a:pt x="4449746" y="2643510"/>
                      <a:pt x="4386853" y="2706403"/>
                      <a:pt x="4386853" y="2783986"/>
                    </a:cubicBezTo>
                    <a:lnTo>
                      <a:pt x="4386853" y="3723500"/>
                    </a:lnTo>
                    <a:cubicBezTo>
                      <a:pt x="4386853" y="3801083"/>
                      <a:pt x="4449746" y="3863976"/>
                      <a:pt x="4527329" y="3863976"/>
                    </a:cubicBezTo>
                    <a:lnTo>
                      <a:pt x="4614675" y="3863976"/>
                    </a:lnTo>
                    <a:cubicBezTo>
                      <a:pt x="4692258" y="3863976"/>
                      <a:pt x="4755151" y="3801083"/>
                      <a:pt x="4755151" y="3723500"/>
                    </a:cubicBezTo>
                    <a:lnTo>
                      <a:pt x="4755151" y="2783986"/>
                    </a:lnTo>
                    <a:cubicBezTo>
                      <a:pt x="4755151" y="2706403"/>
                      <a:pt x="4692258" y="2643510"/>
                      <a:pt x="4614675" y="2643510"/>
                    </a:cubicBezTo>
                    <a:close/>
                    <a:moveTo>
                      <a:pt x="3720987" y="2643510"/>
                    </a:moveTo>
                    <a:cubicBezTo>
                      <a:pt x="3643404" y="2643510"/>
                      <a:pt x="3580511" y="2706403"/>
                      <a:pt x="3580511" y="2783986"/>
                    </a:cubicBezTo>
                    <a:lnTo>
                      <a:pt x="3580511" y="3723500"/>
                    </a:lnTo>
                    <a:cubicBezTo>
                      <a:pt x="3580511" y="3801083"/>
                      <a:pt x="3643404" y="3863976"/>
                      <a:pt x="3720987" y="3863976"/>
                    </a:cubicBezTo>
                    <a:lnTo>
                      <a:pt x="3808333" y="3863976"/>
                    </a:lnTo>
                    <a:cubicBezTo>
                      <a:pt x="3885916" y="3863976"/>
                      <a:pt x="3948809" y="3801083"/>
                      <a:pt x="3948809" y="3723500"/>
                    </a:cubicBezTo>
                    <a:lnTo>
                      <a:pt x="3948809" y="2783986"/>
                    </a:lnTo>
                    <a:cubicBezTo>
                      <a:pt x="3948809" y="2706403"/>
                      <a:pt x="3885916" y="2643510"/>
                      <a:pt x="3808333" y="2643510"/>
                    </a:cubicBezTo>
                    <a:close/>
                    <a:moveTo>
                      <a:pt x="2914644" y="2643510"/>
                    </a:moveTo>
                    <a:cubicBezTo>
                      <a:pt x="2837061" y="2643510"/>
                      <a:pt x="2774168" y="2706403"/>
                      <a:pt x="2774168" y="2783986"/>
                    </a:cubicBezTo>
                    <a:lnTo>
                      <a:pt x="2774168" y="3723500"/>
                    </a:lnTo>
                    <a:cubicBezTo>
                      <a:pt x="2774168" y="3801083"/>
                      <a:pt x="2837061" y="3863976"/>
                      <a:pt x="2914644" y="3863976"/>
                    </a:cubicBezTo>
                    <a:lnTo>
                      <a:pt x="3001990" y="3863976"/>
                    </a:lnTo>
                    <a:cubicBezTo>
                      <a:pt x="3079573" y="3863976"/>
                      <a:pt x="3142466" y="3801083"/>
                      <a:pt x="3142466" y="3723500"/>
                    </a:cubicBezTo>
                    <a:lnTo>
                      <a:pt x="3142466" y="2783986"/>
                    </a:lnTo>
                    <a:cubicBezTo>
                      <a:pt x="3142466" y="2706403"/>
                      <a:pt x="3079573" y="2643510"/>
                      <a:pt x="3001990" y="2643510"/>
                    </a:cubicBezTo>
                    <a:close/>
                    <a:moveTo>
                      <a:pt x="2108301" y="2643510"/>
                    </a:moveTo>
                    <a:cubicBezTo>
                      <a:pt x="2030718" y="2643510"/>
                      <a:pt x="1967825" y="2706403"/>
                      <a:pt x="1967825" y="2783986"/>
                    </a:cubicBezTo>
                    <a:lnTo>
                      <a:pt x="1967825" y="3723500"/>
                    </a:lnTo>
                    <a:cubicBezTo>
                      <a:pt x="1967825" y="3801083"/>
                      <a:pt x="2030718" y="3863976"/>
                      <a:pt x="2108301" y="3863976"/>
                    </a:cubicBezTo>
                    <a:lnTo>
                      <a:pt x="2195647" y="3863976"/>
                    </a:lnTo>
                    <a:cubicBezTo>
                      <a:pt x="2273230" y="3863976"/>
                      <a:pt x="2336123" y="3801083"/>
                      <a:pt x="2336123" y="3723500"/>
                    </a:cubicBezTo>
                    <a:lnTo>
                      <a:pt x="2336123" y="2783986"/>
                    </a:lnTo>
                    <a:cubicBezTo>
                      <a:pt x="2336123" y="2706403"/>
                      <a:pt x="2273230" y="2643510"/>
                      <a:pt x="2195647" y="2643510"/>
                    </a:cubicBezTo>
                    <a:close/>
                    <a:moveTo>
                      <a:pt x="5312536" y="2564132"/>
                    </a:moveTo>
                    <a:lnTo>
                      <a:pt x="5442152" y="2564132"/>
                    </a:lnTo>
                    <a:cubicBezTo>
                      <a:pt x="5557280" y="2564132"/>
                      <a:pt x="5650609" y="2657461"/>
                      <a:pt x="5650609" y="2772589"/>
                    </a:cubicBezTo>
                    <a:lnTo>
                      <a:pt x="5650609" y="3734896"/>
                    </a:lnTo>
                    <a:cubicBezTo>
                      <a:pt x="5650609" y="3850024"/>
                      <a:pt x="5557280" y="3943353"/>
                      <a:pt x="5442152" y="3943353"/>
                    </a:cubicBezTo>
                    <a:lnTo>
                      <a:pt x="5312536" y="3943353"/>
                    </a:lnTo>
                    <a:cubicBezTo>
                      <a:pt x="5197408" y="3943353"/>
                      <a:pt x="5104079" y="3850024"/>
                      <a:pt x="5104079" y="3734896"/>
                    </a:cubicBezTo>
                    <a:lnTo>
                      <a:pt x="5104079" y="2772589"/>
                    </a:lnTo>
                    <a:cubicBezTo>
                      <a:pt x="5104079" y="2657461"/>
                      <a:pt x="5197408" y="2564132"/>
                      <a:pt x="5312536" y="2564132"/>
                    </a:cubicBezTo>
                    <a:close/>
                    <a:moveTo>
                      <a:pt x="4506194" y="2564132"/>
                    </a:moveTo>
                    <a:lnTo>
                      <a:pt x="4635810" y="2564132"/>
                    </a:lnTo>
                    <a:cubicBezTo>
                      <a:pt x="4750938" y="2564132"/>
                      <a:pt x="4844267" y="2657461"/>
                      <a:pt x="4844267" y="2772589"/>
                    </a:cubicBezTo>
                    <a:lnTo>
                      <a:pt x="4844267" y="3734896"/>
                    </a:lnTo>
                    <a:cubicBezTo>
                      <a:pt x="4844267" y="3850024"/>
                      <a:pt x="4750938" y="3943353"/>
                      <a:pt x="4635810" y="3943353"/>
                    </a:cubicBezTo>
                    <a:lnTo>
                      <a:pt x="4506194" y="3943353"/>
                    </a:lnTo>
                    <a:cubicBezTo>
                      <a:pt x="4391066" y="3943353"/>
                      <a:pt x="4297737" y="3850024"/>
                      <a:pt x="4297737" y="3734896"/>
                    </a:cubicBezTo>
                    <a:lnTo>
                      <a:pt x="4297737" y="2772589"/>
                    </a:lnTo>
                    <a:cubicBezTo>
                      <a:pt x="4297737" y="2657461"/>
                      <a:pt x="4391066" y="2564132"/>
                      <a:pt x="4506194" y="2564132"/>
                    </a:cubicBezTo>
                    <a:close/>
                    <a:moveTo>
                      <a:pt x="3699852" y="2564132"/>
                    </a:moveTo>
                    <a:lnTo>
                      <a:pt x="3829468" y="2564132"/>
                    </a:lnTo>
                    <a:cubicBezTo>
                      <a:pt x="3944596" y="2564132"/>
                      <a:pt x="4037925" y="2657461"/>
                      <a:pt x="4037925" y="2772589"/>
                    </a:cubicBezTo>
                    <a:lnTo>
                      <a:pt x="4037925" y="3734896"/>
                    </a:lnTo>
                    <a:cubicBezTo>
                      <a:pt x="4037925" y="3850024"/>
                      <a:pt x="3944596" y="3943353"/>
                      <a:pt x="3829468" y="3943353"/>
                    </a:cubicBezTo>
                    <a:lnTo>
                      <a:pt x="3699852" y="3943353"/>
                    </a:lnTo>
                    <a:cubicBezTo>
                      <a:pt x="3584724" y="3943353"/>
                      <a:pt x="3491395" y="3850024"/>
                      <a:pt x="3491395" y="3734896"/>
                    </a:cubicBezTo>
                    <a:lnTo>
                      <a:pt x="3491395" y="2772589"/>
                    </a:lnTo>
                    <a:cubicBezTo>
                      <a:pt x="3491395" y="2657461"/>
                      <a:pt x="3584724" y="2564132"/>
                      <a:pt x="3699852" y="2564132"/>
                    </a:cubicBezTo>
                    <a:close/>
                    <a:moveTo>
                      <a:pt x="2893509" y="2564132"/>
                    </a:moveTo>
                    <a:lnTo>
                      <a:pt x="3023125" y="2564132"/>
                    </a:lnTo>
                    <a:cubicBezTo>
                      <a:pt x="3138253" y="2564132"/>
                      <a:pt x="3231582" y="2657461"/>
                      <a:pt x="3231582" y="2772589"/>
                    </a:cubicBezTo>
                    <a:lnTo>
                      <a:pt x="3231582" y="3734896"/>
                    </a:lnTo>
                    <a:cubicBezTo>
                      <a:pt x="3231582" y="3850024"/>
                      <a:pt x="3138253" y="3943353"/>
                      <a:pt x="3023125" y="3943353"/>
                    </a:cubicBezTo>
                    <a:lnTo>
                      <a:pt x="2893509" y="3943353"/>
                    </a:lnTo>
                    <a:cubicBezTo>
                      <a:pt x="2778381" y="3943353"/>
                      <a:pt x="2685052" y="3850024"/>
                      <a:pt x="2685052" y="3734896"/>
                    </a:cubicBezTo>
                    <a:lnTo>
                      <a:pt x="2685052" y="2772589"/>
                    </a:lnTo>
                    <a:cubicBezTo>
                      <a:pt x="2685052" y="2657461"/>
                      <a:pt x="2778381" y="2564132"/>
                      <a:pt x="2893509" y="2564132"/>
                    </a:cubicBezTo>
                    <a:close/>
                    <a:moveTo>
                      <a:pt x="2087166" y="2564132"/>
                    </a:moveTo>
                    <a:lnTo>
                      <a:pt x="2216782" y="2564132"/>
                    </a:lnTo>
                    <a:cubicBezTo>
                      <a:pt x="2331910" y="2564132"/>
                      <a:pt x="2425239" y="2657461"/>
                      <a:pt x="2425239" y="2772589"/>
                    </a:cubicBezTo>
                    <a:lnTo>
                      <a:pt x="2425239" y="3734896"/>
                    </a:lnTo>
                    <a:cubicBezTo>
                      <a:pt x="2425239" y="3850024"/>
                      <a:pt x="2331910" y="3943353"/>
                      <a:pt x="2216782" y="3943353"/>
                    </a:cubicBezTo>
                    <a:lnTo>
                      <a:pt x="2087166" y="3943353"/>
                    </a:lnTo>
                    <a:cubicBezTo>
                      <a:pt x="1972038" y="3943353"/>
                      <a:pt x="1878709" y="3850024"/>
                      <a:pt x="1878709" y="3734896"/>
                    </a:cubicBezTo>
                    <a:lnTo>
                      <a:pt x="1878709" y="2772589"/>
                    </a:lnTo>
                    <a:cubicBezTo>
                      <a:pt x="1878709" y="2657461"/>
                      <a:pt x="1972038" y="2564132"/>
                      <a:pt x="2087166" y="2564132"/>
                    </a:cubicBezTo>
                    <a:close/>
                    <a:moveTo>
                      <a:pt x="5082919" y="775812"/>
                    </a:moveTo>
                    <a:cubicBezTo>
                      <a:pt x="4803323" y="775812"/>
                      <a:pt x="4576665" y="1002470"/>
                      <a:pt x="4576665" y="1282066"/>
                    </a:cubicBezTo>
                    <a:cubicBezTo>
                      <a:pt x="4576665" y="1561662"/>
                      <a:pt x="4803323" y="1788320"/>
                      <a:pt x="5082919" y="1788320"/>
                    </a:cubicBezTo>
                    <a:cubicBezTo>
                      <a:pt x="5362515" y="1788320"/>
                      <a:pt x="5589173" y="1561662"/>
                      <a:pt x="5589173" y="1282066"/>
                    </a:cubicBezTo>
                    <a:cubicBezTo>
                      <a:pt x="5589173" y="1002470"/>
                      <a:pt x="5362515" y="775812"/>
                      <a:pt x="5082919" y="775812"/>
                    </a:cubicBezTo>
                    <a:close/>
                    <a:moveTo>
                      <a:pt x="2408299" y="775812"/>
                    </a:moveTo>
                    <a:cubicBezTo>
                      <a:pt x="2128703" y="775812"/>
                      <a:pt x="1902046" y="1002470"/>
                      <a:pt x="1902046" y="1282066"/>
                    </a:cubicBezTo>
                    <a:cubicBezTo>
                      <a:pt x="1902046" y="1561662"/>
                      <a:pt x="2128703" y="1788320"/>
                      <a:pt x="2408299" y="1788320"/>
                    </a:cubicBezTo>
                    <a:cubicBezTo>
                      <a:pt x="2687895" y="1788320"/>
                      <a:pt x="2914553" y="1561662"/>
                      <a:pt x="2914553" y="1282066"/>
                    </a:cubicBezTo>
                    <a:cubicBezTo>
                      <a:pt x="2914553" y="1002470"/>
                      <a:pt x="2687895" y="775812"/>
                      <a:pt x="2408299" y="775812"/>
                    </a:cubicBezTo>
                    <a:close/>
                    <a:moveTo>
                      <a:pt x="5082919" y="661036"/>
                    </a:moveTo>
                    <a:cubicBezTo>
                      <a:pt x="5425904" y="661036"/>
                      <a:pt x="5703949" y="939081"/>
                      <a:pt x="5703949" y="1282066"/>
                    </a:cubicBezTo>
                    <a:cubicBezTo>
                      <a:pt x="5703949" y="1625051"/>
                      <a:pt x="5425904" y="1903096"/>
                      <a:pt x="5082919" y="1903096"/>
                    </a:cubicBezTo>
                    <a:cubicBezTo>
                      <a:pt x="4739934" y="1903096"/>
                      <a:pt x="4461889" y="1625051"/>
                      <a:pt x="4461889" y="1282066"/>
                    </a:cubicBezTo>
                    <a:cubicBezTo>
                      <a:pt x="4461889" y="939081"/>
                      <a:pt x="4739934" y="661036"/>
                      <a:pt x="5082919" y="661036"/>
                    </a:cubicBezTo>
                    <a:close/>
                    <a:moveTo>
                      <a:pt x="2408299" y="661036"/>
                    </a:moveTo>
                    <a:cubicBezTo>
                      <a:pt x="2751284" y="661036"/>
                      <a:pt x="3029329" y="939081"/>
                      <a:pt x="3029329" y="1282066"/>
                    </a:cubicBezTo>
                    <a:cubicBezTo>
                      <a:pt x="3029329" y="1625051"/>
                      <a:pt x="2751284" y="1903096"/>
                      <a:pt x="2408299" y="1903096"/>
                    </a:cubicBezTo>
                    <a:cubicBezTo>
                      <a:pt x="2065314" y="1903096"/>
                      <a:pt x="1787269" y="1625051"/>
                      <a:pt x="1787269" y="1282066"/>
                    </a:cubicBezTo>
                    <a:cubicBezTo>
                      <a:pt x="1787269" y="939081"/>
                      <a:pt x="2065314" y="661036"/>
                      <a:pt x="2408299" y="661036"/>
                    </a:cubicBezTo>
                    <a:close/>
                    <a:moveTo>
                      <a:pt x="1164182" y="126434"/>
                    </a:moveTo>
                    <a:cubicBezTo>
                      <a:pt x="1092372" y="126434"/>
                      <a:pt x="1034158" y="184647"/>
                      <a:pt x="1034158" y="256457"/>
                    </a:cubicBezTo>
                    <a:lnTo>
                      <a:pt x="1034158" y="1603376"/>
                    </a:lnTo>
                    <a:lnTo>
                      <a:pt x="879743" y="1603376"/>
                    </a:lnTo>
                    <a:lnTo>
                      <a:pt x="478976" y="1603376"/>
                    </a:lnTo>
                    <a:lnTo>
                      <a:pt x="478976" y="1286475"/>
                    </a:lnTo>
                    <a:lnTo>
                      <a:pt x="89830" y="1286475"/>
                    </a:lnTo>
                    <a:lnTo>
                      <a:pt x="89830" y="2046729"/>
                    </a:lnTo>
                    <a:lnTo>
                      <a:pt x="478976" y="2046729"/>
                    </a:lnTo>
                    <a:lnTo>
                      <a:pt x="478976" y="1724026"/>
                    </a:lnTo>
                    <a:lnTo>
                      <a:pt x="879743" y="1724026"/>
                    </a:lnTo>
                    <a:lnTo>
                      <a:pt x="1034158" y="1724026"/>
                    </a:lnTo>
                    <a:lnTo>
                      <a:pt x="1034158" y="4058369"/>
                    </a:lnTo>
                    <a:cubicBezTo>
                      <a:pt x="1034158" y="4130179"/>
                      <a:pt x="1092372" y="4188392"/>
                      <a:pt x="1164182" y="4188392"/>
                    </a:cubicBezTo>
                    <a:lnTo>
                      <a:pt x="6481755" y="4188392"/>
                    </a:lnTo>
                    <a:cubicBezTo>
                      <a:pt x="6553565" y="4188392"/>
                      <a:pt x="6611778" y="4130179"/>
                      <a:pt x="6611778" y="4058369"/>
                    </a:cubicBezTo>
                    <a:lnTo>
                      <a:pt x="6611778" y="1724026"/>
                    </a:lnTo>
                    <a:lnTo>
                      <a:pt x="6766193" y="1724026"/>
                    </a:lnTo>
                    <a:lnTo>
                      <a:pt x="7166960" y="1724026"/>
                    </a:lnTo>
                    <a:lnTo>
                      <a:pt x="7166960" y="2046729"/>
                    </a:lnTo>
                    <a:lnTo>
                      <a:pt x="7556106" y="2046729"/>
                    </a:lnTo>
                    <a:lnTo>
                      <a:pt x="7556106" y="1286475"/>
                    </a:lnTo>
                    <a:lnTo>
                      <a:pt x="7166960" y="1286475"/>
                    </a:lnTo>
                    <a:lnTo>
                      <a:pt x="7166960" y="1603376"/>
                    </a:lnTo>
                    <a:lnTo>
                      <a:pt x="6766193" y="1603376"/>
                    </a:lnTo>
                    <a:lnTo>
                      <a:pt x="6611778" y="1603376"/>
                    </a:lnTo>
                    <a:lnTo>
                      <a:pt x="6611778" y="256457"/>
                    </a:lnTo>
                    <a:cubicBezTo>
                      <a:pt x="6611778" y="184647"/>
                      <a:pt x="6553565" y="126434"/>
                      <a:pt x="6481755" y="126434"/>
                    </a:cubicBezTo>
                    <a:close/>
                    <a:moveTo>
                      <a:pt x="1011518" y="0"/>
                    </a:moveTo>
                    <a:lnTo>
                      <a:pt x="6634418" y="0"/>
                    </a:lnTo>
                    <a:cubicBezTo>
                      <a:pt x="6707195" y="0"/>
                      <a:pt x="6766193" y="58999"/>
                      <a:pt x="6766193" y="131775"/>
                    </a:cubicBezTo>
                    <a:lnTo>
                      <a:pt x="6766193" y="1485987"/>
                    </a:lnTo>
                    <a:lnTo>
                      <a:pt x="7077129" y="1485987"/>
                    </a:lnTo>
                    <a:lnTo>
                      <a:pt x="7077129" y="1193887"/>
                    </a:lnTo>
                    <a:lnTo>
                      <a:pt x="7645936" y="1193887"/>
                    </a:lnTo>
                    <a:lnTo>
                      <a:pt x="7645936" y="2139317"/>
                    </a:lnTo>
                    <a:lnTo>
                      <a:pt x="7077129" y="2139317"/>
                    </a:lnTo>
                    <a:lnTo>
                      <a:pt x="7077129" y="1840719"/>
                    </a:lnTo>
                    <a:lnTo>
                      <a:pt x="6766193" y="1840719"/>
                    </a:lnTo>
                    <a:lnTo>
                      <a:pt x="6766193" y="4183050"/>
                    </a:lnTo>
                    <a:cubicBezTo>
                      <a:pt x="6766193" y="4255827"/>
                      <a:pt x="6707195" y="4314825"/>
                      <a:pt x="6634418" y="4314825"/>
                    </a:cubicBezTo>
                    <a:lnTo>
                      <a:pt x="1011518" y="4314825"/>
                    </a:lnTo>
                    <a:cubicBezTo>
                      <a:pt x="938741" y="4314825"/>
                      <a:pt x="879743" y="4255827"/>
                      <a:pt x="879743" y="4183050"/>
                    </a:cubicBezTo>
                    <a:lnTo>
                      <a:pt x="879743" y="1840719"/>
                    </a:lnTo>
                    <a:lnTo>
                      <a:pt x="568807" y="1840719"/>
                    </a:lnTo>
                    <a:lnTo>
                      <a:pt x="568807" y="2139317"/>
                    </a:lnTo>
                    <a:lnTo>
                      <a:pt x="0" y="2139317"/>
                    </a:lnTo>
                    <a:lnTo>
                      <a:pt x="0" y="1193887"/>
                    </a:lnTo>
                    <a:lnTo>
                      <a:pt x="568807" y="1193887"/>
                    </a:lnTo>
                    <a:lnTo>
                      <a:pt x="568807" y="1485987"/>
                    </a:lnTo>
                    <a:lnTo>
                      <a:pt x="879743" y="1485987"/>
                    </a:lnTo>
                    <a:lnTo>
                      <a:pt x="879743" y="131775"/>
                    </a:lnTo>
                    <a:cubicBezTo>
                      <a:pt x="879743" y="58999"/>
                      <a:pt x="938741" y="0"/>
                      <a:pt x="1011518" y="0"/>
                    </a:cubicBezTo>
                    <a:close/>
                  </a:path>
                </a:pathLst>
              </a:custGeom>
              <a:noFill/>
              <a:ln w="31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algn="ctr" defTabSz="932103" fontAlgn="base">
                  <a:lnSpc>
                    <a:spcPct val="90000"/>
                  </a:lnSpc>
                  <a:spcBef>
                    <a:spcPct val="0"/>
                  </a:spcBef>
                  <a:spcAft>
                    <a:spcPct val="0"/>
                  </a:spcAft>
                </a:pPr>
                <a:endParaRPr lang="en-US" sz="2399" kern="0" dirty="0" err="1">
                  <a:solidFill>
                    <a:schemeClr val="accent2"/>
                  </a:solidFill>
                  <a:ea typeface="Segoe UI" pitchFamily="34" charset="0"/>
                  <a:cs typeface="Segoe UI" pitchFamily="34" charset="0"/>
                </a:endParaRPr>
              </a:p>
            </p:txBody>
          </p:sp>
          <p:cxnSp>
            <p:nvCxnSpPr>
              <p:cNvPr id="230" name="Straight Connector 229"/>
              <p:cNvCxnSpPr/>
              <p:nvPr/>
            </p:nvCxnSpPr>
            <p:spPr>
              <a:xfrm flipH="1">
                <a:off x="10486805" y="3605293"/>
                <a:ext cx="308472" cy="0"/>
              </a:xfrm>
              <a:prstGeom prst="line">
                <a:avLst/>
              </a:prstGeom>
              <a:grpFill/>
              <a:ln>
                <a:solidFill>
                  <a:schemeClr val="tx1">
                    <a:lumMod val="65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sp>
        <p:nvSpPr>
          <p:cNvPr id="139" name="Rectangle 138"/>
          <p:cNvSpPr/>
          <p:nvPr/>
        </p:nvSpPr>
        <p:spPr>
          <a:xfrm>
            <a:off x="8475236" y="2846891"/>
            <a:ext cx="1188495" cy="430887"/>
          </a:xfrm>
          <a:prstGeom prst="rect">
            <a:avLst/>
          </a:prstGeom>
        </p:spPr>
        <p:txBody>
          <a:bodyPr wrap="square" anchor="ctr">
            <a:spAutoFit/>
          </a:bodyPr>
          <a:lstStyle/>
          <a:p>
            <a:pPr defTabSz="896203"/>
            <a:r>
              <a:rPr lang="en-US" sz="1100" kern="0" dirty="0">
                <a:solidFill>
                  <a:sysClr val="windowText" lastClr="000000"/>
                </a:solidFill>
                <a:cs typeface="Segoe UI Semilight" panose="020B0402040204020203" pitchFamily="34" charset="0"/>
              </a:rPr>
              <a:t>Bot </a:t>
            </a:r>
            <a:br>
              <a:rPr lang="en-US" sz="1100" kern="0" dirty="0">
                <a:solidFill>
                  <a:sysClr val="windowText" lastClr="000000"/>
                </a:solidFill>
                <a:cs typeface="Segoe UI Semilight" panose="020B0402040204020203" pitchFamily="34" charset="0"/>
              </a:rPr>
            </a:br>
            <a:r>
              <a:rPr lang="en-US" sz="1100" kern="0" dirty="0">
                <a:solidFill>
                  <a:sysClr val="windowText" lastClr="000000"/>
                </a:solidFill>
                <a:cs typeface="Segoe UI Semilight" panose="020B0402040204020203" pitchFamily="34" charset="0"/>
              </a:rPr>
              <a:t>Framework</a:t>
            </a:r>
          </a:p>
        </p:txBody>
      </p:sp>
      <p:sp>
        <p:nvSpPr>
          <p:cNvPr id="145" name="Rectangle 144"/>
          <p:cNvSpPr/>
          <p:nvPr/>
        </p:nvSpPr>
        <p:spPr>
          <a:xfrm>
            <a:off x="4846130" y="2860537"/>
            <a:ext cx="1190507" cy="430887"/>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SQL Data </a:t>
            </a:r>
          </a:p>
          <a:p>
            <a:pPr defTabSz="896203"/>
            <a:r>
              <a:rPr lang="en-US" sz="1100" kern="0" dirty="0">
                <a:solidFill>
                  <a:sysClr val="windowText" lastClr="000000"/>
                </a:solidFill>
                <a:cs typeface="Segoe UI Semilight" panose="020B0402040204020203" pitchFamily="34" charset="0"/>
              </a:rPr>
              <a:t>Warehouse</a:t>
            </a:r>
          </a:p>
        </p:txBody>
      </p:sp>
      <p:sp>
        <p:nvSpPr>
          <p:cNvPr id="144" name="Rectangle 143"/>
          <p:cNvSpPr/>
          <p:nvPr/>
        </p:nvSpPr>
        <p:spPr>
          <a:xfrm>
            <a:off x="3144290" y="2959692"/>
            <a:ext cx="1190507" cy="261610"/>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Data Catalog</a:t>
            </a:r>
          </a:p>
        </p:txBody>
      </p:sp>
      <p:grpSp>
        <p:nvGrpSpPr>
          <p:cNvPr id="231" name="Group 230"/>
          <p:cNvGrpSpPr/>
          <p:nvPr/>
        </p:nvGrpSpPr>
        <p:grpSpPr>
          <a:xfrm>
            <a:off x="2849330" y="2919937"/>
            <a:ext cx="257578" cy="273997"/>
            <a:chOff x="3232150" y="382588"/>
            <a:chExt cx="5727700" cy="6092825"/>
          </a:xfrm>
          <a:solidFill>
            <a:schemeClr val="tx1"/>
          </a:solidFill>
        </p:grpSpPr>
        <p:sp>
          <p:nvSpPr>
            <p:cNvPr id="232"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233"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234"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grpSp>
      <p:sp>
        <p:nvSpPr>
          <p:cNvPr id="150" name="Rectangle 149"/>
          <p:cNvSpPr/>
          <p:nvPr/>
        </p:nvSpPr>
        <p:spPr>
          <a:xfrm>
            <a:off x="6695596" y="2860537"/>
            <a:ext cx="1188495" cy="430887"/>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Data Lake Analytics</a:t>
            </a:r>
          </a:p>
        </p:txBody>
      </p:sp>
      <p:grpSp>
        <p:nvGrpSpPr>
          <p:cNvPr id="235" name="Group 234"/>
          <p:cNvGrpSpPr/>
          <p:nvPr/>
        </p:nvGrpSpPr>
        <p:grpSpPr>
          <a:xfrm>
            <a:off x="6348248" y="2938325"/>
            <a:ext cx="206665" cy="270342"/>
            <a:chOff x="3473450" y="4579938"/>
            <a:chExt cx="1741488" cy="2278062"/>
          </a:xfrm>
          <a:solidFill>
            <a:schemeClr val="tx1"/>
          </a:solidFill>
        </p:grpSpPr>
        <p:sp>
          <p:nvSpPr>
            <p:cNvPr id="236" name="Freeform 16"/>
            <p:cNvSpPr>
              <a:spLocks/>
            </p:cNvSpPr>
            <p:nvPr/>
          </p:nvSpPr>
          <p:spPr bwMode="auto">
            <a:xfrm>
              <a:off x="3575050" y="4579938"/>
              <a:ext cx="1493838" cy="403225"/>
            </a:xfrm>
            <a:custGeom>
              <a:avLst/>
              <a:gdLst>
                <a:gd name="T0" fmla="*/ 2 w 1883"/>
                <a:gd name="T1" fmla="*/ 263 h 508"/>
                <a:gd name="T2" fmla="*/ 17 w 1883"/>
                <a:gd name="T3" fmla="*/ 290 h 508"/>
                <a:gd name="T4" fmla="*/ 51 w 1883"/>
                <a:gd name="T5" fmla="*/ 321 h 508"/>
                <a:gd name="T6" fmla="*/ 101 w 1883"/>
                <a:gd name="T7" fmla="*/ 352 h 508"/>
                <a:gd name="T8" fmla="*/ 169 w 1883"/>
                <a:gd name="T9" fmla="*/ 384 h 508"/>
                <a:gd name="T10" fmla="*/ 253 w 1883"/>
                <a:gd name="T11" fmla="*/ 414 h 508"/>
                <a:gd name="T12" fmla="*/ 351 w 1883"/>
                <a:gd name="T13" fmla="*/ 442 h 508"/>
                <a:gd name="T14" fmla="*/ 465 w 1883"/>
                <a:gd name="T15" fmla="*/ 467 h 508"/>
                <a:gd name="T16" fmla="*/ 592 w 1883"/>
                <a:gd name="T17" fmla="*/ 486 h 508"/>
                <a:gd name="T18" fmla="*/ 733 w 1883"/>
                <a:gd name="T19" fmla="*/ 500 h 508"/>
                <a:gd name="T20" fmla="*/ 887 w 1883"/>
                <a:gd name="T21" fmla="*/ 508 h 508"/>
                <a:gd name="T22" fmla="*/ 996 w 1883"/>
                <a:gd name="T23" fmla="*/ 508 h 508"/>
                <a:gd name="T24" fmla="*/ 1150 w 1883"/>
                <a:gd name="T25" fmla="*/ 500 h 508"/>
                <a:gd name="T26" fmla="*/ 1291 w 1883"/>
                <a:gd name="T27" fmla="*/ 486 h 508"/>
                <a:gd name="T28" fmla="*/ 1419 w 1883"/>
                <a:gd name="T29" fmla="*/ 467 h 508"/>
                <a:gd name="T30" fmla="*/ 1532 w 1883"/>
                <a:gd name="T31" fmla="*/ 442 h 508"/>
                <a:gd name="T32" fmla="*/ 1632 w 1883"/>
                <a:gd name="T33" fmla="*/ 414 h 508"/>
                <a:gd name="T34" fmla="*/ 1715 w 1883"/>
                <a:gd name="T35" fmla="*/ 384 h 508"/>
                <a:gd name="T36" fmla="*/ 1782 w 1883"/>
                <a:gd name="T37" fmla="*/ 352 h 508"/>
                <a:gd name="T38" fmla="*/ 1834 w 1883"/>
                <a:gd name="T39" fmla="*/ 321 h 508"/>
                <a:gd name="T40" fmla="*/ 1866 w 1883"/>
                <a:gd name="T41" fmla="*/ 290 h 508"/>
                <a:gd name="T42" fmla="*/ 1882 w 1883"/>
                <a:gd name="T43" fmla="*/ 263 h 508"/>
                <a:gd name="T44" fmla="*/ 1882 w 1883"/>
                <a:gd name="T45" fmla="*/ 245 h 508"/>
                <a:gd name="T46" fmla="*/ 1866 w 1883"/>
                <a:gd name="T47" fmla="*/ 217 h 508"/>
                <a:gd name="T48" fmla="*/ 1834 w 1883"/>
                <a:gd name="T49" fmla="*/ 187 h 508"/>
                <a:gd name="T50" fmla="*/ 1782 w 1883"/>
                <a:gd name="T51" fmla="*/ 155 h 508"/>
                <a:gd name="T52" fmla="*/ 1715 w 1883"/>
                <a:gd name="T53" fmla="*/ 124 h 508"/>
                <a:gd name="T54" fmla="*/ 1632 w 1883"/>
                <a:gd name="T55" fmla="*/ 93 h 508"/>
                <a:gd name="T56" fmla="*/ 1532 w 1883"/>
                <a:gd name="T57" fmla="*/ 64 h 508"/>
                <a:gd name="T58" fmla="*/ 1419 w 1883"/>
                <a:gd name="T59" fmla="*/ 40 h 508"/>
                <a:gd name="T60" fmla="*/ 1291 w 1883"/>
                <a:gd name="T61" fmla="*/ 20 h 508"/>
                <a:gd name="T62" fmla="*/ 1150 w 1883"/>
                <a:gd name="T63" fmla="*/ 6 h 508"/>
                <a:gd name="T64" fmla="*/ 996 w 1883"/>
                <a:gd name="T65" fmla="*/ 0 h 508"/>
                <a:gd name="T66" fmla="*/ 887 w 1883"/>
                <a:gd name="T67" fmla="*/ 0 h 508"/>
                <a:gd name="T68" fmla="*/ 733 w 1883"/>
                <a:gd name="T69" fmla="*/ 6 h 508"/>
                <a:gd name="T70" fmla="*/ 592 w 1883"/>
                <a:gd name="T71" fmla="*/ 20 h 508"/>
                <a:gd name="T72" fmla="*/ 465 w 1883"/>
                <a:gd name="T73" fmla="*/ 40 h 508"/>
                <a:gd name="T74" fmla="*/ 351 w 1883"/>
                <a:gd name="T75" fmla="*/ 64 h 508"/>
                <a:gd name="T76" fmla="*/ 253 w 1883"/>
                <a:gd name="T77" fmla="*/ 93 h 508"/>
                <a:gd name="T78" fmla="*/ 169 w 1883"/>
                <a:gd name="T79" fmla="*/ 124 h 508"/>
                <a:gd name="T80" fmla="*/ 101 w 1883"/>
                <a:gd name="T81" fmla="*/ 155 h 508"/>
                <a:gd name="T82" fmla="*/ 51 w 1883"/>
                <a:gd name="T83" fmla="*/ 187 h 508"/>
                <a:gd name="T84" fmla="*/ 17 w 1883"/>
                <a:gd name="T85" fmla="*/ 217 h 508"/>
                <a:gd name="T86" fmla="*/ 2 w 1883"/>
                <a:gd name="T87" fmla="*/ 245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3" h="508">
                  <a:moveTo>
                    <a:pt x="0" y="254"/>
                  </a:moveTo>
                  <a:lnTo>
                    <a:pt x="0" y="254"/>
                  </a:lnTo>
                  <a:lnTo>
                    <a:pt x="2" y="263"/>
                  </a:lnTo>
                  <a:lnTo>
                    <a:pt x="5" y="271"/>
                  </a:lnTo>
                  <a:lnTo>
                    <a:pt x="11" y="280"/>
                  </a:lnTo>
                  <a:lnTo>
                    <a:pt x="17" y="290"/>
                  </a:lnTo>
                  <a:lnTo>
                    <a:pt x="27" y="301"/>
                  </a:lnTo>
                  <a:lnTo>
                    <a:pt x="37" y="311"/>
                  </a:lnTo>
                  <a:lnTo>
                    <a:pt x="51" y="321"/>
                  </a:lnTo>
                  <a:lnTo>
                    <a:pt x="66" y="331"/>
                  </a:lnTo>
                  <a:lnTo>
                    <a:pt x="82" y="342"/>
                  </a:lnTo>
                  <a:lnTo>
                    <a:pt x="101" y="352"/>
                  </a:lnTo>
                  <a:lnTo>
                    <a:pt x="122" y="362"/>
                  </a:lnTo>
                  <a:lnTo>
                    <a:pt x="144" y="374"/>
                  </a:lnTo>
                  <a:lnTo>
                    <a:pt x="169" y="384"/>
                  </a:lnTo>
                  <a:lnTo>
                    <a:pt x="195" y="394"/>
                  </a:lnTo>
                  <a:lnTo>
                    <a:pt x="222" y="404"/>
                  </a:lnTo>
                  <a:lnTo>
                    <a:pt x="253" y="414"/>
                  </a:lnTo>
                  <a:lnTo>
                    <a:pt x="284" y="424"/>
                  </a:lnTo>
                  <a:lnTo>
                    <a:pt x="317" y="433"/>
                  </a:lnTo>
                  <a:lnTo>
                    <a:pt x="351" y="442"/>
                  </a:lnTo>
                  <a:lnTo>
                    <a:pt x="388" y="451"/>
                  </a:lnTo>
                  <a:lnTo>
                    <a:pt x="426" y="460"/>
                  </a:lnTo>
                  <a:lnTo>
                    <a:pt x="465" y="467"/>
                  </a:lnTo>
                  <a:lnTo>
                    <a:pt x="506" y="473"/>
                  </a:lnTo>
                  <a:lnTo>
                    <a:pt x="549" y="481"/>
                  </a:lnTo>
                  <a:lnTo>
                    <a:pt x="592" y="486"/>
                  </a:lnTo>
                  <a:lnTo>
                    <a:pt x="639" y="492"/>
                  </a:lnTo>
                  <a:lnTo>
                    <a:pt x="685" y="496"/>
                  </a:lnTo>
                  <a:lnTo>
                    <a:pt x="733" y="500"/>
                  </a:lnTo>
                  <a:lnTo>
                    <a:pt x="784" y="504"/>
                  </a:lnTo>
                  <a:lnTo>
                    <a:pt x="836" y="506"/>
                  </a:lnTo>
                  <a:lnTo>
                    <a:pt x="887" y="508"/>
                  </a:lnTo>
                  <a:lnTo>
                    <a:pt x="942" y="508"/>
                  </a:lnTo>
                  <a:lnTo>
                    <a:pt x="942" y="508"/>
                  </a:lnTo>
                  <a:lnTo>
                    <a:pt x="996" y="508"/>
                  </a:lnTo>
                  <a:lnTo>
                    <a:pt x="1049" y="506"/>
                  </a:lnTo>
                  <a:lnTo>
                    <a:pt x="1101" y="504"/>
                  </a:lnTo>
                  <a:lnTo>
                    <a:pt x="1150" y="500"/>
                  </a:lnTo>
                  <a:lnTo>
                    <a:pt x="1199" y="496"/>
                  </a:lnTo>
                  <a:lnTo>
                    <a:pt x="1246" y="492"/>
                  </a:lnTo>
                  <a:lnTo>
                    <a:pt x="1291" y="486"/>
                  </a:lnTo>
                  <a:lnTo>
                    <a:pt x="1335" y="481"/>
                  </a:lnTo>
                  <a:lnTo>
                    <a:pt x="1378" y="473"/>
                  </a:lnTo>
                  <a:lnTo>
                    <a:pt x="1419" y="467"/>
                  </a:lnTo>
                  <a:lnTo>
                    <a:pt x="1459" y="460"/>
                  </a:lnTo>
                  <a:lnTo>
                    <a:pt x="1497" y="451"/>
                  </a:lnTo>
                  <a:lnTo>
                    <a:pt x="1532" y="442"/>
                  </a:lnTo>
                  <a:lnTo>
                    <a:pt x="1567" y="433"/>
                  </a:lnTo>
                  <a:lnTo>
                    <a:pt x="1600" y="424"/>
                  </a:lnTo>
                  <a:lnTo>
                    <a:pt x="1632" y="414"/>
                  </a:lnTo>
                  <a:lnTo>
                    <a:pt x="1661" y="404"/>
                  </a:lnTo>
                  <a:lnTo>
                    <a:pt x="1689" y="394"/>
                  </a:lnTo>
                  <a:lnTo>
                    <a:pt x="1715" y="384"/>
                  </a:lnTo>
                  <a:lnTo>
                    <a:pt x="1739" y="374"/>
                  </a:lnTo>
                  <a:lnTo>
                    <a:pt x="1762" y="362"/>
                  </a:lnTo>
                  <a:lnTo>
                    <a:pt x="1782" y="352"/>
                  </a:lnTo>
                  <a:lnTo>
                    <a:pt x="1801" y="342"/>
                  </a:lnTo>
                  <a:lnTo>
                    <a:pt x="1818" y="331"/>
                  </a:lnTo>
                  <a:lnTo>
                    <a:pt x="1834" y="321"/>
                  </a:lnTo>
                  <a:lnTo>
                    <a:pt x="1846" y="311"/>
                  </a:lnTo>
                  <a:lnTo>
                    <a:pt x="1858" y="301"/>
                  </a:lnTo>
                  <a:lnTo>
                    <a:pt x="1866" y="290"/>
                  </a:lnTo>
                  <a:lnTo>
                    <a:pt x="1874" y="280"/>
                  </a:lnTo>
                  <a:lnTo>
                    <a:pt x="1879" y="271"/>
                  </a:lnTo>
                  <a:lnTo>
                    <a:pt x="1882" y="263"/>
                  </a:lnTo>
                  <a:lnTo>
                    <a:pt x="1883" y="254"/>
                  </a:lnTo>
                  <a:lnTo>
                    <a:pt x="1883" y="254"/>
                  </a:lnTo>
                  <a:lnTo>
                    <a:pt x="1882" y="245"/>
                  </a:lnTo>
                  <a:lnTo>
                    <a:pt x="1879" y="236"/>
                  </a:lnTo>
                  <a:lnTo>
                    <a:pt x="1874" y="226"/>
                  </a:lnTo>
                  <a:lnTo>
                    <a:pt x="1866" y="217"/>
                  </a:lnTo>
                  <a:lnTo>
                    <a:pt x="1858" y="207"/>
                  </a:lnTo>
                  <a:lnTo>
                    <a:pt x="1846" y="197"/>
                  </a:lnTo>
                  <a:lnTo>
                    <a:pt x="1834" y="187"/>
                  </a:lnTo>
                  <a:lnTo>
                    <a:pt x="1818" y="176"/>
                  </a:lnTo>
                  <a:lnTo>
                    <a:pt x="1801" y="165"/>
                  </a:lnTo>
                  <a:lnTo>
                    <a:pt x="1782" y="155"/>
                  </a:lnTo>
                  <a:lnTo>
                    <a:pt x="1762" y="144"/>
                  </a:lnTo>
                  <a:lnTo>
                    <a:pt x="1739" y="134"/>
                  </a:lnTo>
                  <a:lnTo>
                    <a:pt x="1715" y="124"/>
                  </a:lnTo>
                  <a:lnTo>
                    <a:pt x="1689" y="114"/>
                  </a:lnTo>
                  <a:lnTo>
                    <a:pt x="1661" y="102"/>
                  </a:lnTo>
                  <a:lnTo>
                    <a:pt x="1632" y="93"/>
                  </a:lnTo>
                  <a:lnTo>
                    <a:pt x="1600" y="83"/>
                  </a:lnTo>
                  <a:lnTo>
                    <a:pt x="1567" y="74"/>
                  </a:lnTo>
                  <a:lnTo>
                    <a:pt x="1532" y="64"/>
                  </a:lnTo>
                  <a:lnTo>
                    <a:pt x="1497" y="57"/>
                  </a:lnTo>
                  <a:lnTo>
                    <a:pt x="1459" y="48"/>
                  </a:lnTo>
                  <a:lnTo>
                    <a:pt x="1419" y="40"/>
                  </a:lnTo>
                  <a:lnTo>
                    <a:pt x="1378" y="33"/>
                  </a:lnTo>
                  <a:lnTo>
                    <a:pt x="1335" y="27"/>
                  </a:lnTo>
                  <a:lnTo>
                    <a:pt x="1291" y="20"/>
                  </a:lnTo>
                  <a:lnTo>
                    <a:pt x="1246" y="15"/>
                  </a:lnTo>
                  <a:lnTo>
                    <a:pt x="1199" y="10"/>
                  </a:lnTo>
                  <a:lnTo>
                    <a:pt x="1150" y="6"/>
                  </a:lnTo>
                  <a:lnTo>
                    <a:pt x="1101" y="4"/>
                  </a:lnTo>
                  <a:lnTo>
                    <a:pt x="1049" y="1"/>
                  </a:lnTo>
                  <a:lnTo>
                    <a:pt x="996" y="0"/>
                  </a:lnTo>
                  <a:lnTo>
                    <a:pt x="942" y="0"/>
                  </a:lnTo>
                  <a:lnTo>
                    <a:pt x="942" y="0"/>
                  </a:lnTo>
                  <a:lnTo>
                    <a:pt x="887" y="0"/>
                  </a:lnTo>
                  <a:lnTo>
                    <a:pt x="836" y="1"/>
                  </a:lnTo>
                  <a:lnTo>
                    <a:pt x="784" y="4"/>
                  </a:lnTo>
                  <a:lnTo>
                    <a:pt x="733" y="6"/>
                  </a:lnTo>
                  <a:lnTo>
                    <a:pt x="685" y="10"/>
                  </a:lnTo>
                  <a:lnTo>
                    <a:pt x="639" y="15"/>
                  </a:lnTo>
                  <a:lnTo>
                    <a:pt x="592" y="20"/>
                  </a:lnTo>
                  <a:lnTo>
                    <a:pt x="549" y="27"/>
                  </a:lnTo>
                  <a:lnTo>
                    <a:pt x="506" y="33"/>
                  </a:lnTo>
                  <a:lnTo>
                    <a:pt x="465" y="40"/>
                  </a:lnTo>
                  <a:lnTo>
                    <a:pt x="426" y="48"/>
                  </a:lnTo>
                  <a:lnTo>
                    <a:pt x="388" y="57"/>
                  </a:lnTo>
                  <a:lnTo>
                    <a:pt x="351" y="64"/>
                  </a:lnTo>
                  <a:lnTo>
                    <a:pt x="317" y="74"/>
                  </a:lnTo>
                  <a:lnTo>
                    <a:pt x="284" y="83"/>
                  </a:lnTo>
                  <a:lnTo>
                    <a:pt x="253" y="93"/>
                  </a:lnTo>
                  <a:lnTo>
                    <a:pt x="222" y="102"/>
                  </a:lnTo>
                  <a:lnTo>
                    <a:pt x="195" y="114"/>
                  </a:lnTo>
                  <a:lnTo>
                    <a:pt x="169" y="124"/>
                  </a:lnTo>
                  <a:lnTo>
                    <a:pt x="144" y="134"/>
                  </a:lnTo>
                  <a:lnTo>
                    <a:pt x="122" y="144"/>
                  </a:lnTo>
                  <a:lnTo>
                    <a:pt x="101" y="155"/>
                  </a:lnTo>
                  <a:lnTo>
                    <a:pt x="82" y="165"/>
                  </a:lnTo>
                  <a:lnTo>
                    <a:pt x="66" y="176"/>
                  </a:lnTo>
                  <a:lnTo>
                    <a:pt x="51" y="187"/>
                  </a:lnTo>
                  <a:lnTo>
                    <a:pt x="37" y="197"/>
                  </a:lnTo>
                  <a:lnTo>
                    <a:pt x="27" y="207"/>
                  </a:lnTo>
                  <a:lnTo>
                    <a:pt x="17" y="217"/>
                  </a:lnTo>
                  <a:lnTo>
                    <a:pt x="11" y="226"/>
                  </a:lnTo>
                  <a:lnTo>
                    <a:pt x="5" y="236"/>
                  </a:lnTo>
                  <a:lnTo>
                    <a:pt x="2" y="245"/>
                  </a:lnTo>
                  <a:lnTo>
                    <a:pt x="0" y="254"/>
                  </a:lnTo>
                  <a:lnTo>
                    <a:pt x="0" y="2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237" name="Freeform 17"/>
            <p:cNvSpPr>
              <a:spLocks/>
            </p:cNvSpPr>
            <p:nvPr/>
          </p:nvSpPr>
          <p:spPr bwMode="auto">
            <a:xfrm>
              <a:off x="3473450" y="4781550"/>
              <a:ext cx="1741488" cy="1411287"/>
            </a:xfrm>
            <a:custGeom>
              <a:avLst/>
              <a:gdLst>
                <a:gd name="T0" fmla="*/ 280 w 2194"/>
                <a:gd name="T1" fmla="*/ 1778 h 1779"/>
                <a:gd name="T2" fmla="*/ 363 w 2194"/>
                <a:gd name="T3" fmla="*/ 1764 h 1779"/>
                <a:gd name="T4" fmla="*/ 440 w 2194"/>
                <a:gd name="T5" fmla="*/ 1736 h 1779"/>
                <a:gd name="T6" fmla="*/ 511 w 2194"/>
                <a:gd name="T7" fmla="*/ 1693 h 1779"/>
                <a:gd name="T8" fmla="*/ 573 w 2194"/>
                <a:gd name="T9" fmla="*/ 1637 h 1779"/>
                <a:gd name="T10" fmla="*/ 625 w 2194"/>
                <a:gd name="T11" fmla="*/ 1569 h 1779"/>
                <a:gd name="T12" fmla="*/ 633 w 2194"/>
                <a:gd name="T13" fmla="*/ 1558 h 1779"/>
                <a:gd name="T14" fmla="*/ 652 w 2194"/>
                <a:gd name="T15" fmla="*/ 1547 h 1779"/>
                <a:gd name="T16" fmla="*/ 675 w 2194"/>
                <a:gd name="T17" fmla="*/ 1543 h 1779"/>
                <a:gd name="T18" fmla="*/ 696 w 2194"/>
                <a:gd name="T19" fmla="*/ 1547 h 1779"/>
                <a:gd name="T20" fmla="*/ 715 w 2194"/>
                <a:gd name="T21" fmla="*/ 1558 h 1779"/>
                <a:gd name="T22" fmla="*/ 725 w 2194"/>
                <a:gd name="T23" fmla="*/ 1569 h 1779"/>
                <a:gd name="T24" fmla="*/ 776 w 2194"/>
                <a:gd name="T25" fmla="*/ 1637 h 1779"/>
                <a:gd name="T26" fmla="*/ 838 w 2194"/>
                <a:gd name="T27" fmla="*/ 1693 h 1779"/>
                <a:gd name="T28" fmla="*/ 908 w 2194"/>
                <a:gd name="T29" fmla="*/ 1736 h 1779"/>
                <a:gd name="T30" fmla="*/ 985 w 2194"/>
                <a:gd name="T31" fmla="*/ 1764 h 1779"/>
                <a:gd name="T32" fmla="*/ 1069 w 2194"/>
                <a:gd name="T33" fmla="*/ 1778 h 1779"/>
                <a:gd name="T34" fmla="*/ 1125 w 2194"/>
                <a:gd name="T35" fmla="*/ 1778 h 1779"/>
                <a:gd name="T36" fmla="*/ 1209 w 2194"/>
                <a:gd name="T37" fmla="*/ 1764 h 1779"/>
                <a:gd name="T38" fmla="*/ 1286 w 2194"/>
                <a:gd name="T39" fmla="*/ 1736 h 1779"/>
                <a:gd name="T40" fmla="*/ 1356 w 2194"/>
                <a:gd name="T41" fmla="*/ 1693 h 1779"/>
                <a:gd name="T42" fmla="*/ 1418 w 2194"/>
                <a:gd name="T43" fmla="*/ 1637 h 1779"/>
                <a:gd name="T44" fmla="*/ 1470 w 2194"/>
                <a:gd name="T45" fmla="*/ 1569 h 1779"/>
                <a:gd name="T46" fmla="*/ 1479 w 2194"/>
                <a:gd name="T47" fmla="*/ 1558 h 1779"/>
                <a:gd name="T48" fmla="*/ 1498 w 2194"/>
                <a:gd name="T49" fmla="*/ 1547 h 1779"/>
                <a:gd name="T50" fmla="*/ 1519 w 2194"/>
                <a:gd name="T51" fmla="*/ 1543 h 1779"/>
                <a:gd name="T52" fmla="*/ 1542 w 2194"/>
                <a:gd name="T53" fmla="*/ 1547 h 1779"/>
                <a:gd name="T54" fmla="*/ 1561 w 2194"/>
                <a:gd name="T55" fmla="*/ 1558 h 1779"/>
                <a:gd name="T56" fmla="*/ 1569 w 2194"/>
                <a:gd name="T57" fmla="*/ 1569 h 1779"/>
                <a:gd name="T58" fmla="*/ 1621 w 2194"/>
                <a:gd name="T59" fmla="*/ 1637 h 1779"/>
                <a:gd name="T60" fmla="*/ 1683 w 2194"/>
                <a:gd name="T61" fmla="*/ 1693 h 1779"/>
                <a:gd name="T62" fmla="*/ 1754 w 2194"/>
                <a:gd name="T63" fmla="*/ 1736 h 1779"/>
                <a:gd name="T64" fmla="*/ 1831 w 2194"/>
                <a:gd name="T65" fmla="*/ 1764 h 1779"/>
                <a:gd name="T66" fmla="*/ 1914 w 2194"/>
                <a:gd name="T67" fmla="*/ 1778 h 1779"/>
                <a:gd name="T68" fmla="*/ 1977 w 2194"/>
                <a:gd name="T69" fmla="*/ 1778 h 1779"/>
                <a:gd name="T70" fmla="*/ 2077 w 2194"/>
                <a:gd name="T71" fmla="*/ 1757 h 1779"/>
                <a:gd name="T72" fmla="*/ 2166 w 2194"/>
                <a:gd name="T73" fmla="*/ 1716 h 1779"/>
                <a:gd name="T74" fmla="*/ 2194 w 2194"/>
                <a:gd name="T75" fmla="*/ 0 h 1779"/>
                <a:gd name="T76" fmla="*/ 2190 w 2194"/>
                <a:gd name="T77" fmla="*/ 39 h 1779"/>
                <a:gd name="T78" fmla="*/ 2179 w 2194"/>
                <a:gd name="T79" fmla="*/ 77 h 1779"/>
                <a:gd name="T80" fmla="*/ 2154 w 2194"/>
                <a:gd name="T81" fmla="*/ 125 h 1779"/>
                <a:gd name="T82" fmla="*/ 2097 w 2194"/>
                <a:gd name="T83" fmla="*/ 189 h 1779"/>
                <a:gd name="T84" fmla="*/ 2016 w 2194"/>
                <a:gd name="T85" fmla="*/ 247 h 1779"/>
                <a:gd name="T86" fmla="*/ 1916 w 2194"/>
                <a:gd name="T87" fmla="*/ 297 h 1779"/>
                <a:gd name="T88" fmla="*/ 1800 w 2194"/>
                <a:gd name="T89" fmla="*/ 339 h 1779"/>
                <a:gd name="T90" fmla="*/ 1670 w 2194"/>
                <a:gd name="T91" fmla="*/ 375 h 1779"/>
                <a:gd name="T92" fmla="*/ 1529 w 2194"/>
                <a:gd name="T93" fmla="*/ 401 h 1779"/>
                <a:gd name="T94" fmla="*/ 1380 w 2194"/>
                <a:gd name="T95" fmla="*/ 422 h 1779"/>
                <a:gd name="T96" fmla="*/ 1226 w 2194"/>
                <a:gd name="T97" fmla="*/ 433 h 1779"/>
                <a:gd name="T98" fmla="*/ 1069 w 2194"/>
                <a:gd name="T99" fmla="*/ 437 h 1779"/>
                <a:gd name="T100" fmla="*/ 900 w 2194"/>
                <a:gd name="T101" fmla="*/ 433 h 1779"/>
                <a:gd name="T102" fmla="*/ 651 w 2194"/>
                <a:gd name="T103" fmla="*/ 409 h 1779"/>
                <a:gd name="T104" fmla="*/ 423 w 2194"/>
                <a:gd name="T105" fmla="*/ 363 h 1779"/>
                <a:gd name="T106" fmla="*/ 320 w 2194"/>
                <a:gd name="T107" fmla="*/ 334 h 1779"/>
                <a:gd name="T108" fmla="*/ 226 w 2194"/>
                <a:gd name="T109" fmla="*/ 299 h 1779"/>
                <a:gd name="T110" fmla="*/ 144 w 2194"/>
                <a:gd name="T111" fmla="*/ 259 h 1779"/>
                <a:gd name="T112" fmla="*/ 73 w 2194"/>
                <a:gd name="T113" fmla="*/ 214 h 1779"/>
                <a:gd name="T114" fmla="*/ 16 w 2194"/>
                <a:gd name="T115" fmla="*/ 165 h 1779"/>
                <a:gd name="T116" fmla="*/ 0 w 2194"/>
                <a:gd name="T117" fmla="*/ 1698 h 1779"/>
                <a:gd name="T118" fmla="*/ 87 w 2194"/>
                <a:gd name="T119" fmla="*/ 1746 h 1779"/>
                <a:gd name="T120" fmla="*/ 183 w 2194"/>
                <a:gd name="T121" fmla="*/ 1773 h 1779"/>
                <a:gd name="T122" fmla="*/ 252 w 2194"/>
                <a:gd name="T123" fmla="*/ 1779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94" h="1779">
                  <a:moveTo>
                    <a:pt x="252" y="1779"/>
                  </a:moveTo>
                  <a:lnTo>
                    <a:pt x="252" y="1779"/>
                  </a:lnTo>
                  <a:lnTo>
                    <a:pt x="280" y="1778"/>
                  </a:lnTo>
                  <a:lnTo>
                    <a:pt x="308" y="1775"/>
                  </a:lnTo>
                  <a:lnTo>
                    <a:pt x="336" y="1770"/>
                  </a:lnTo>
                  <a:lnTo>
                    <a:pt x="363" y="1764"/>
                  </a:lnTo>
                  <a:lnTo>
                    <a:pt x="390" y="1756"/>
                  </a:lnTo>
                  <a:lnTo>
                    <a:pt x="415" y="1747"/>
                  </a:lnTo>
                  <a:lnTo>
                    <a:pt x="440" y="1736"/>
                  </a:lnTo>
                  <a:lnTo>
                    <a:pt x="466" y="1723"/>
                  </a:lnTo>
                  <a:lnTo>
                    <a:pt x="488" y="1709"/>
                  </a:lnTo>
                  <a:lnTo>
                    <a:pt x="511" y="1693"/>
                  </a:lnTo>
                  <a:lnTo>
                    <a:pt x="532" y="1675"/>
                  </a:lnTo>
                  <a:lnTo>
                    <a:pt x="554" y="1658"/>
                  </a:lnTo>
                  <a:lnTo>
                    <a:pt x="573" y="1637"/>
                  </a:lnTo>
                  <a:lnTo>
                    <a:pt x="592" y="1616"/>
                  </a:lnTo>
                  <a:lnTo>
                    <a:pt x="608" y="1593"/>
                  </a:lnTo>
                  <a:lnTo>
                    <a:pt x="625" y="1569"/>
                  </a:lnTo>
                  <a:lnTo>
                    <a:pt x="625" y="1569"/>
                  </a:lnTo>
                  <a:lnTo>
                    <a:pt x="628" y="1563"/>
                  </a:lnTo>
                  <a:lnTo>
                    <a:pt x="633" y="1558"/>
                  </a:lnTo>
                  <a:lnTo>
                    <a:pt x="640" y="1554"/>
                  </a:lnTo>
                  <a:lnTo>
                    <a:pt x="646" y="1550"/>
                  </a:lnTo>
                  <a:lnTo>
                    <a:pt x="652" y="1547"/>
                  </a:lnTo>
                  <a:lnTo>
                    <a:pt x="660" y="1545"/>
                  </a:lnTo>
                  <a:lnTo>
                    <a:pt x="667" y="1544"/>
                  </a:lnTo>
                  <a:lnTo>
                    <a:pt x="675" y="1543"/>
                  </a:lnTo>
                  <a:lnTo>
                    <a:pt x="681" y="1544"/>
                  </a:lnTo>
                  <a:lnTo>
                    <a:pt x="689" y="1545"/>
                  </a:lnTo>
                  <a:lnTo>
                    <a:pt x="696" y="1547"/>
                  </a:lnTo>
                  <a:lnTo>
                    <a:pt x="703" y="1550"/>
                  </a:lnTo>
                  <a:lnTo>
                    <a:pt x="709" y="1554"/>
                  </a:lnTo>
                  <a:lnTo>
                    <a:pt x="715" y="1558"/>
                  </a:lnTo>
                  <a:lnTo>
                    <a:pt x="720" y="1563"/>
                  </a:lnTo>
                  <a:lnTo>
                    <a:pt x="725" y="1569"/>
                  </a:lnTo>
                  <a:lnTo>
                    <a:pt x="725" y="1569"/>
                  </a:lnTo>
                  <a:lnTo>
                    <a:pt x="741" y="1593"/>
                  </a:lnTo>
                  <a:lnTo>
                    <a:pt x="758" y="1616"/>
                  </a:lnTo>
                  <a:lnTo>
                    <a:pt x="776" y="1637"/>
                  </a:lnTo>
                  <a:lnTo>
                    <a:pt x="796" y="1658"/>
                  </a:lnTo>
                  <a:lnTo>
                    <a:pt x="816" y="1675"/>
                  </a:lnTo>
                  <a:lnTo>
                    <a:pt x="838" y="1693"/>
                  </a:lnTo>
                  <a:lnTo>
                    <a:pt x="860" y="1709"/>
                  </a:lnTo>
                  <a:lnTo>
                    <a:pt x="884" y="1723"/>
                  </a:lnTo>
                  <a:lnTo>
                    <a:pt x="908" y="1736"/>
                  </a:lnTo>
                  <a:lnTo>
                    <a:pt x="934" y="1747"/>
                  </a:lnTo>
                  <a:lnTo>
                    <a:pt x="959" y="1756"/>
                  </a:lnTo>
                  <a:lnTo>
                    <a:pt x="985" y="1764"/>
                  </a:lnTo>
                  <a:lnTo>
                    <a:pt x="1013" y="1770"/>
                  </a:lnTo>
                  <a:lnTo>
                    <a:pt x="1041" y="1775"/>
                  </a:lnTo>
                  <a:lnTo>
                    <a:pt x="1069" y="1778"/>
                  </a:lnTo>
                  <a:lnTo>
                    <a:pt x="1098" y="1779"/>
                  </a:lnTo>
                  <a:lnTo>
                    <a:pt x="1098" y="1779"/>
                  </a:lnTo>
                  <a:lnTo>
                    <a:pt x="1125" y="1778"/>
                  </a:lnTo>
                  <a:lnTo>
                    <a:pt x="1153" y="1775"/>
                  </a:lnTo>
                  <a:lnTo>
                    <a:pt x="1181" y="1770"/>
                  </a:lnTo>
                  <a:lnTo>
                    <a:pt x="1209" y="1764"/>
                  </a:lnTo>
                  <a:lnTo>
                    <a:pt x="1235" y="1756"/>
                  </a:lnTo>
                  <a:lnTo>
                    <a:pt x="1260" y="1747"/>
                  </a:lnTo>
                  <a:lnTo>
                    <a:pt x="1286" y="1736"/>
                  </a:lnTo>
                  <a:lnTo>
                    <a:pt x="1310" y="1723"/>
                  </a:lnTo>
                  <a:lnTo>
                    <a:pt x="1334" y="1709"/>
                  </a:lnTo>
                  <a:lnTo>
                    <a:pt x="1356" y="1693"/>
                  </a:lnTo>
                  <a:lnTo>
                    <a:pt x="1378" y="1675"/>
                  </a:lnTo>
                  <a:lnTo>
                    <a:pt x="1399" y="1658"/>
                  </a:lnTo>
                  <a:lnTo>
                    <a:pt x="1418" y="1637"/>
                  </a:lnTo>
                  <a:lnTo>
                    <a:pt x="1436" y="1616"/>
                  </a:lnTo>
                  <a:lnTo>
                    <a:pt x="1453" y="1593"/>
                  </a:lnTo>
                  <a:lnTo>
                    <a:pt x="1470" y="1569"/>
                  </a:lnTo>
                  <a:lnTo>
                    <a:pt x="1470" y="1569"/>
                  </a:lnTo>
                  <a:lnTo>
                    <a:pt x="1474" y="1563"/>
                  </a:lnTo>
                  <a:lnTo>
                    <a:pt x="1479" y="1558"/>
                  </a:lnTo>
                  <a:lnTo>
                    <a:pt x="1485" y="1554"/>
                  </a:lnTo>
                  <a:lnTo>
                    <a:pt x="1491" y="1550"/>
                  </a:lnTo>
                  <a:lnTo>
                    <a:pt x="1498" y="1547"/>
                  </a:lnTo>
                  <a:lnTo>
                    <a:pt x="1505" y="1545"/>
                  </a:lnTo>
                  <a:lnTo>
                    <a:pt x="1513" y="1544"/>
                  </a:lnTo>
                  <a:lnTo>
                    <a:pt x="1519" y="1543"/>
                  </a:lnTo>
                  <a:lnTo>
                    <a:pt x="1527" y="1544"/>
                  </a:lnTo>
                  <a:lnTo>
                    <a:pt x="1534" y="1545"/>
                  </a:lnTo>
                  <a:lnTo>
                    <a:pt x="1542" y="1547"/>
                  </a:lnTo>
                  <a:lnTo>
                    <a:pt x="1548" y="1550"/>
                  </a:lnTo>
                  <a:lnTo>
                    <a:pt x="1554" y="1554"/>
                  </a:lnTo>
                  <a:lnTo>
                    <a:pt x="1561" y="1558"/>
                  </a:lnTo>
                  <a:lnTo>
                    <a:pt x="1566" y="1563"/>
                  </a:lnTo>
                  <a:lnTo>
                    <a:pt x="1569" y="1569"/>
                  </a:lnTo>
                  <a:lnTo>
                    <a:pt x="1569" y="1569"/>
                  </a:lnTo>
                  <a:lnTo>
                    <a:pt x="1586" y="1593"/>
                  </a:lnTo>
                  <a:lnTo>
                    <a:pt x="1602" y="1616"/>
                  </a:lnTo>
                  <a:lnTo>
                    <a:pt x="1621" y="1637"/>
                  </a:lnTo>
                  <a:lnTo>
                    <a:pt x="1640" y="1658"/>
                  </a:lnTo>
                  <a:lnTo>
                    <a:pt x="1662" y="1675"/>
                  </a:lnTo>
                  <a:lnTo>
                    <a:pt x="1683" y="1693"/>
                  </a:lnTo>
                  <a:lnTo>
                    <a:pt x="1706" y="1709"/>
                  </a:lnTo>
                  <a:lnTo>
                    <a:pt x="1728" y="1723"/>
                  </a:lnTo>
                  <a:lnTo>
                    <a:pt x="1754" y="1736"/>
                  </a:lnTo>
                  <a:lnTo>
                    <a:pt x="1779" y="1747"/>
                  </a:lnTo>
                  <a:lnTo>
                    <a:pt x="1804" y="1756"/>
                  </a:lnTo>
                  <a:lnTo>
                    <a:pt x="1831" y="1764"/>
                  </a:lnTo>
                  <a:lnTo>
                    <a:pt x="1858" y="1770"/>
                  </a:lnTo>
                  <a:lnTo>
                    <a:pt x="1886" y="1775"/>
                  </a:lnTo>
                  <a:lnTo>
                    <a:pt x="1914" y="1778"/>
                  </a:lnTo>
                  <a:lnTo>
                    <a:pt x="1942" y="1779"/>
                  </a:lnTo>
                  <a:lnTo>
                    <a:pt x="1942" y="1779"/>
                  </a:lnTo>
                  <a:lnTo>
                    <a:pt x="1977" y="1778"/>
                  </a:lnTo>
                  <a:lnTo>
                    <a:pt x="2011" y="1773"/>
                  </a:lnTo>
                  <a:lnTo>
                    <a:pt x="2044" y="1766"/>
                  </a:lnTo>
                  <a:lnTo>
                    <a:pt x="2077" y="1757"/>
                  </a:lnTo>
                  <a:lnTo>
                    <a:pt x="2107" y="1746"/>
                  </a:lnTo>
                  <a:lnTo>
                    <a:pt x="2137" y="1732"/>
                  </a:lnTo>
                  <a:lnTo>
                    <a:pt x="2166" y="1716"/>
                  </a:lnTo>
                  <a:lnTo>
                    <a:pt x="2194" y="1698"/>
                  </a:lnTo>
                  <a:lnTo>
                    <a:pt x="2194" y="0"/>
                  </a:lnTo>
                  <a:lnTo>
                    <a:pt x="2194" y="0"/>
                  </a:lnTo>
                  <a:lnTo>
                    <a:pt x="2193" y="12"/>
                  </a:lnTo>
                  <a:lnTo>
                    <a:pt x="2191" y="26"/>
                  </a:lnTo>
                  <a:lnTo>
                    <a:pt x="2190" y="39"/>
                  </a:lnTo>
                  <a:lnTo>
                    <a:pt x="2186" y="52"/>
                  </a:lnTo>
                  <a:lnTo>
                    <a:pt x="2184" y="64"/>
                  </a:lnTo>
                  <a:lnTo>
                    <a:pt x="2179" y="77"/>
                  </a:lnTo>
                  <a:lnTo>
                    <a:pt x="2174" y="89"/>
                  </a:lnTo>
                  <a:lnTo>
                    <a:pt x="2168" y="101"/>
                  </a:lnTo>
                  <a:lnTo>
                    <a:pt x="2154" y="125"/>
                  </a:lnTo>
                  <a:lnTo>
                    <a:pt x="2137" y="146"/>
                  </a:lnTo>
                  <a:lnTo>
                    <a:pt x="2118" y="169"/>
                  </a:lnTo>
                  <a:lnTo>
                    <a:pt x="2097" y="189"/>
                  </a:lnTo>
                  <a:lnTo>
                    <a:pt x="2072" y="209"/>
                  </a:lnTo>
                  <a:lnTo>
                    <a:pt x="2045" y="228"/>
                  </a:lnTo>
                  <a:lnTo>
                    <a:pt x="2016" y="247"/>
                  </a:lnTo>
                  <a:lnTo>
                    <a:pt x="1985" y="265"/>
                  </a:lnTo>
                  <a:lnTo>
                    <a:pt x="1952" y="281"/>
                  </a:lnTo>
                  <a:lnTo>
                    <a:pt x="1916" y="297"/>
                  </a:lnTo>
                  <a:lnTo>
                    <a:pt x="1880" y="312"/>
                  </a:lnTo>
                  <a:lnTo>
                    <a:pt x="1841" y="327"/>
                  </a:lnTo>
                  <a:lnTo>
                    <a:pt x="1800" y="339"/>
                  </a:lnTo>
                  <a:lnTo>
                    <a:pt x="1759" y="352"/>
                  </a:lnTo>
                  <a:lnTo>
                    <a:pt x="1715" y="363"/>
                  </a:lnTo>
                  <a:lnTo>
                    <a:pt x="1670" y="375"/>
                  </a:lnTo>
                  <a:lnTo>
                    <a:pt x="1625" y="385"/>
                  </a:lnTo>
                  <a:lnTo>
                    <a:pt x="1577" y="394"/>
                  </a:lnTo>
                  <a:lnTo>
                    <a:pt x="1529" y="401"/>
                  </a:lnTo>
                  <a:lnTo>
                    <a:pt x="1480" y="409"/>
                  </a:lnTo>
                  <a:lnTo>
                    <a:pt x="1431" y="415"/>
                  </a:lnTo>
                  <a:lnTo>
                    <a:pt x="1380" y="422"/>
                  </a:lnTo>
                  <a:lnTo>
                    <a:pt x="1330" y="427"/>
                  </a:lnTo>
                  <a:lnTo>
                    <a:pt x="1278" y="430"/>
                  </a:lnTo>
                  <a:lnTo>
                    <a:pt x="1226" y="433"/>
                  </a:lnTo>
                  <a:lnTo>
                    <a:pt x="1173" y="435"/>
                  </a:lnTo>
                  <a:lnTo>
                    <a:pt x="1122" y="437"/>
                  </a:lnTo>
                  <a:lnTo>
                    <a:pt x="1069" y="437"/>
                  </a:lnTo>
                  <a:lnTo>
                    <a:pt x="1069" y="437"/>
                  </a:lnTo>
                  <a:lnTo>
                    <a:pt x="984" y="437"/>
                  </a:lnTo>
                  <a:lnTo>
                    <a:pt x="900" y="433"/>
                  </a:lnTo>
                  <a:lnTo>
                    <a:pt x="815" y="427"/>
                  </a:lnTo>
                  <a:lnTo>
                    <a:pt x="733" y="419"/>
                  </a:lnTo>
                  <a:lnTo>
                    <a:pt x="651" y="409"/>
                  </a:lnTo>
                  <a:lnTo>
                    <a:pt x="573" y="396"/>
                  </a:lnTo>
                  <a:lnTo>
                    <a:pt x="496" y="381"/>
                  </a:lnTo>
                  <a:lnTo>
                    <a:pt x="423" y="363"/>
                  </a:lnTo>
                  <a:lnTo>
                    <a:pt x="387" y="355"/>
                  </a:lnTo>
                  <a:lnTo>
                    <a:pt x="353" y="344"/>
                  </a:lnTo>
                  <a:lnTo>
                    <a:pt x="320" y="334"/>
                  </a:lnTo>
                  <a:lnTo>
                    <a:pt x="288" y="323"/>
                  </a:lnTo>
                  <a:lnTo>
                    <a:pt x="256" y="312"/>
                  </a:lnTo>
                  <a:lnTo>
                    <a:pt x="226" y="299"/>
                  </a:lnTo>
                  <a:lnTo>
                    <a:pt x="197" y="286"/>
                  </a:lnTo>
                  <a:lnTo>
                    <a:pt x="169" y="273"/>
                  </a:lnTo>
                  <a:lnTo>
                    <a:pt x="144" y="259"/>
                  </a:lnTo>
                  <a:lnTo>
                    <a:pt x="119" y="245"/>
                  </a:lnTo>
                  <a:lnTo>
                    <a:pt x="95" y="230"/>
                  </a:lnTo>
                  <a:lnTo>
                    <a:pt x="73" y="214"/>
                  </a:lnTo>
                  <a:lnTo>
                    <a:pt x="52" y="198"/>
                  </a:lnTo>
                  <a:lnTo>
                    <a:pt x="33" y="182"/>
                  </a:lnTo>
                  <a:lnTo>
                    <a:pt x="16" y="165"/>
                  </a:lnTo>
                  <a:lnTo>
                    <a:pt x="0" y="148"/>
                  </a:lnTo>
                  <a:lnTo>
                    <a:pt x="0" y="1698"/>
                  </a:lnTo>
                  <a:lnTo>
                    <a:pt x="0" y="1698"/>
                  </a:lnTo>
                  <a:lnTo>
                    <a:pt x="28" y="1716"/>
                  </a:lnTo>
                  <a:lnTo>
                    <a:pt x="57" y="1732"/>
                  </a:lnTo>
                  <a:lnTo>
                    <a:pt x="87" y="1746"/>
                  </a:lnTo>
                  <a:lnTo>
                    <a:pt x="117" y="1757"/>
                  </a:lnTo>
                  <a:lnTo>
                    <a:pt x="150" y="1766"/>
                  </a:lnTo>
                  <a:lnTo>
                    <a:pt x="183" y="1773"/>
                  </a:lnTo>
                  <a:lnTo>
                    <a:pt x="217" y="1778"/>
                  </a:lnTo>
                  <a:lnTo>
                    <a:pt x="252" y="1779"/>
                  </a:lnTo>
                  <a:lnTo>
                    <a:pt x="252" y="17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238" name="Freeform 18"/>
            <p:cNvSpPr>
              <a:spLocks/>
            </p:cNvSpPr>
            <p:nvPr/>
          </p:nvSpPr>
          <p:spPr bwMode="auto">
            <a:xfrm>
              <a:off x="3473450" y="6130925"/>
              <a:ext cx="1741488" cy="727075"/>
            </a:xfrm>
            <a:custGeom>
              <a:avLst/>
              <a:gdLst>
                <a:gd name="T0" fmla="*/ 1911 w 2194"/>
                <a:gd name="T1" fmla="*/ 195 h 915"/>
                <a:gd name="T2" fmla="*/ 1821 w 2194"/>
                <a:gd name="T3" fmla="*/ 183 h 915"/>
                <a:gd name="T4" fmla="*/ 1736 w 2194"/>
                <a:gd name="T5" fmla="*/ 156 h 915"/>
                <a:gd name="T6" fmla="*/ 1655 w 2194"/>
                <a:gd name="T7" fmla="*/ 117 h 915"/>
                <a:gd name="T8" fmla="*/ 1583 w 2194"/>
                <a:gd name="T9" fmla="*/ 64 h 915"/>
                <a:gd name="T10" fmla="*/ 1519 w 2194"/>
                <a:gd name="T11" fmla="*/ 0 h 915"/>
                <a:gd name="T12" fmla="*/ 1479 w 2194"/>
                <a:gd name="T13" fmla="*/ 44 h 915"/>
                <a:gd name="T14" fmla="*/ 1408 w 2194"/>
                <a:gd name="T15" fmla="*/ 101 h 915"/>
                <a:gd name="T16" fmla="*/ 1331 w 2194"/>
                <a:gd name="T17" fmla="*/ 145 h 915"/>
                <a:gd name="T18" fmla="*/ 1247 w 2194"/>
                <a:gd name="T19" fmla="*/ 175 h 915"/>
                <a:gd name="T20" fmla="*/ 1158 w 2194"/>
                <a:gd name="T21" fmla="*/ 193 h 915"/>
                <a:gd name="T22" fmla="*/ 1098 w 2194"/>
                <a:gd name="T23" fmla="*/ 195 h 915"/>
                <a:gd name="T24" fmla="*/ 1006 w 2194"/>
                <a:gd name="T25" fmla="*/ 188 h 915"/>
                <a:gd name="T26" fmla="*/ 918 w 2194"/>
                <a:gd name="T27" fmla="*/ 166 h 915"/>
                <a:gd name="T28" fmla="*/ 836 w 2194"/>
                <a:gd name="T29" fmla="*/ 131 h 915"/>
                <a:gd name="T30" fmla="*/ 762 w 2194"/>
                <a:gd name="T31" fmla="*/ 83 h 915"/>
                <a:gd name="T32" fmla="*/ 695 w 2194"/>
                <a:gd name="T33" fmla="*/ 22 h 915"/>
                <a:gd name="T34" fmla="*/ 655 w 2194"/>
                <a:gd name="T35" fmla="*/ 22 h 915"/>
                <a:gd name="T36" fmla="*/ 588 w 2194"/>
                <a:gd name="T37" fmla="*/ 83 h 915"/>
                <a:gd name="T38" fmla="*/ 512 w 2194"/>
                <a:gd name="T39" fmla="*/ 131 h 915"/>
                <a:gd name="T40" fmla="*/ 430 w 2194"/>
                <a:gd name="T41" fmla="*/ 166 h 915"/>
                <a:gd name="T42" fmla="*/ 343 w 2194"/>
                <a:gd name="T43" fmla="*/ 188 h 915"/>
                <a:gd name="T44" fmla="*/ 252 w 2194"/>
                <a:gd name="T45" fmla="*/ 195 h 915"/>
                <a:gd name="T46" fmla="*/ 185 w 2194"/>
                <a:gd name="T47" fmla="*/ 192 h 915"/>
                <a:gd name="T48" fmla="*/ 90 w 2194"/>
                <a:gd name="T49" fmla="*/ 171 h 915"/>
                <a:gd name="T50" fmla="*/ 0 w 2194"/>
                <a:gd name="T51" fmla="*/ 135 h 915"/>
                <a:gd name="T52" fmla="*/ 15 w 2194"/>
                <a:gd name="T53" fmla="*/ 703 h 915"/>
                <a:gd name="T54" fmla="*/ 69 w 2194"/>
                <a:gd name="T55" fmla="*/ 737 h 915"/>
                <a:gd name="T56" fmla="*/ 136 w 2194"/>
                <a:gd name="T57" fmla="*/ 770 h 915"/>
                <a:gd name="T58" fmla="*/ 274 w 2194"/>
                <a:gd name="T59" fmla="*/ 819 h 915"/>
                <a:gd name="T60" fmla="*/ 477 w 2194"/>
                <a:gd name="T61" fmla="*/ 866 h 915"/>
                <a:gd name="T62" fmla="*/ 713 w 2194"/>
                <a:gd name="T63" fmla="*/ 899 h 915"/>
                <a:gd name="T64" fmla="*/ 975 w 2194"/>
                <a:gd name="T65" fmla="*/ 914 h 915"/>
                <a:gd name="T66" fmla="*/ 1125 w 2194"/>
                <a:gd name="T67" fmla="*/ 915 h 915"/>
                <a:gd name="T68" fmla="*/ 1294 w 2194"/>
                <a:gd name="T69" fmla="*/ 909 h 915"/>
                <a:gd name="T70" fmla="*/ 1455 w 2194"/>
                <a:gd name="T71" fmla="*/ 895 h 915"/>
                <a:gd name="T72" fmla="*/ 1604 w 2194"/>
                <a:gd name="T73" fmla="*/ 875 h 915"/>
                <a:gd name="T74" fmla="*/ 1741 w 2194"/>
                <a:gd name="T75" fmla="*/ 849 h 915"/>
                <a:gd name="T76" fmla="*/ 1863 w 2194"/>
                <a:gd name="T77" fmla="*/ 818 h 915"/>
                <a:gd name="T78" fmla="*/ 1969 w 2194"/>
                <a:gd name="T79" fmla="*/ 782 h 915"/>
                <a:gd name="T80" fmla="*/ 2058 w 2194"/>
                <a:gd name="T81" fmla="*/ 742 h 915"/>
                <a:gd name="T82" fmla="*/ 2125 w 2194"/>
                <a:gd name="T83" fmla="*/ 698 h 915"/>
                <a:gd name="T84" fmla="*/ 2170 w 2194"/>
                <a:gd name="T85" fmla="*/ 651 h 915"/>
                <a:gd name="T86" fmla="*/ 2191 w 2194"/>
                <a:gd name="T87" fmla="*/ 601 h 915"/>
                <a:gd name="T88" fmla="*/ 2194 w 2194"/>
                <a:gd name="T89" fmla="*/ 135 h 915"/>
                <a:gd name="T90" fmla="*/ 2104 w 2194"/>
                <a:gd name="T91" fmla="*/ 171 h 915"/>
                <a:gd name="T92" fmla="*/ 2009 w 2194"/>
                <a:gd name="T93" fmla="*/ 192 h 915"/>
                <a:gd name="T94" fmla="*/ 1942 w 2194"/>
                <a:gd name="T95" fmla="*/ 19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94" h="915">
                  <a:moveTo>
                    <a:pt x="1942" y="195"/>
                  </a:moveTo>
                  <a:lnTo>
                    <a:pt x="1942" y="195"/>
                  </a:lnTo>
                  <a:lnTo>
                    <a:pt x="1911" y="195"/>
                  </a:lnTo>
                  <a:lnTo>
                    <a:pt x="1881" y="193"/>
                  </a:lnTo>
                  <a:lnTo>
                    <a:pt x="1851" y="188"/>
                  </a:lnTo>
                  <a:lnTo>
                    <a:pt x="1821" y="183"/>
                  </a:lnTo>
                  <a:lnTo>
                    <a:pt x="1792" y="175"/>
                  </a:lnTo>
                  <a:lnTo>
                    <a:pt x="1764" y="166"/>
                  </a:lnTo>
                  <a:lnTo>
                    <a:pt x="1736" y="156"/>
                  </a:lnTo>
                  <a:lnTo>
                    <a:pt x="1708" y="145"/>
                  </a:lnTo>
                  <a:lnTo>
                    <a:pt x="1682" y="131"/>
                  </a:lnTo>
                  <a:lnTo>
                    <a:pt x="1655" y="117"/>
                  </a:lnTo>
                  <a:lnTo>
                    <a:pt x="1631" y="101"/>
                  </a:lnTo>
                  <a:lnTo>
                    <a:pt x="1606" y="83"/>
                  </a:lnTo>
                  <a:lnTo>
                    <a:pt x="1583" y="64"/>
                  </a:lnTo>
                  <a:lnTo>
                    <a:pt x="1561" y="44"/>
                  </a:lnTo>
                  <a:lnTo>
                    <a:pt x="1539" y="22"/>
                  </a:lnTo>
                  <a:lnTo>
                    <a:pt x="1519" y="0"/>
                  </a:lnTo>
                  <a:lnTo>
                    <a:pt x="1519" y="0"/>
                  </a:lnTo>
                  <a:lnTo>
                    <a:pt x="1499" y="22"/>
                  </a:lnTo>
                  <a:lnTo>
                    <a:pt x="1479" y="44"/>
                  </a:lnTo>
                  <a:lnTo>
                    <a:pt x="1456" y="64"/>
                  </a:lnTo>
                  <a:lnTo>
                    <a:pt x="1432" y="83"/>
                  </a:lnTo>
                  <a:lnTo>
                    <a:pt x="1408" y="101"/>
                  </a:lnTo>
                  <a:lnTo>
                    <a:pt x="1383" y="117"/>
                  </a:lnTo>
                  <a:lnTo>
                    <a:pt x="1358" y="131"/>
                  </a:lnTo>
                  <a:lnTo>
                    <a:pt x="1331" y="145"/>
                  </a:lnTo>
                  <a:lnTo>
                    <a:pt x="1303" y="156"/>
                  </a:lnTo>
                  <a:lnTo>
                    <a:pt x="1276" y="166"/>
                  </a:lnTo>
                  <a:lnTo>
                    <a:pt x="1247" y="175"/>
                  </a:lnTo>
                  <a:lnTo>
                    <a:pt x="1217" y="183"/>
                  </a:lnTo>
                  <a:lnTo>
                    <a:pt x="1188" y="188"/>
                  </a:lnTo>
                  <a:lnTo>
                    <a:pt x="1158" y="193"/>
                  </a:lnTo>
                  <a:lnTo>
                    <a:pt x="1128" y="195"/>
                  </a:lnTo>
                  <a:lnTo>
                    <a:pt x="1098" y="195"/>
                  </a:lnTo>
                  <a:lnTo>
                    <a:pt x="1098" y="195"/>
                  </a:lnTo>
                  <a:lnTo>
                    <a:pt x="1066" y="195"/>
                  </a:lnTo>
                  <a:lnTo>
                    <a:pt x="1036" y="193"/>
                  </a:lnTo>
                  <a:lnTo>
                    <a:pt x="1006" y="188"/>
                  </a:lnTo>
                  <a:lnTo>
                    <a:pt x="977" y="183"/>
                  </a:lnTo>
                  <a:lnTo>
                    <a:pt x="947" y="175"/>
                  </a:lnTo>
                  <a:lnTo>
                    <a:pt x="918" y="166"/>
                  </a:lnTo>
                  <a:lnTo>
                    <a:pt x="891" y="156"/>
                  </a:lnTo>
                  <a:lnTo>
                    <a:pt x="863" y="145"/>
                  </a:lnTo>
                  <a:lnTo>
                    <a:pt x="836" y="131"/>
                  </a:lnTo>
                  <a:lnTo>
                    <a:pt x="811" y="117"/>
                  </a:lnTo>
                  <a:lnTo>
                    <a:pt x="786" y="101"/>
                  </a:lnTo>
                  <a:lnTo>
                    <a:pt x="762" y="83"/>
                  </a:lnTo>
                  <a:lnTo>
                    <a:pt x="738" y="64"/>
                  </a:lnTo>
                  <a:lnTo>
                    <a:pt x="715" y="44"/>
                  </a:lnTo>
                  <a:lnTo>
                    <a:pt x="695" y="22"/>
                  </a:lnTo>
                  <a:lnTo>
                    <a:pt x="675" y="0"/>
                  </a:lnTo>
                  <a:lnTo>
                    <a:pt x="675" y="0"/>
                  </a:lnTo>
                  <a:lnTo>
                    <a:pt x="655" y="22"/>
                  </a:lnTo>
                  <a:lnTo>
                    <a:pt x="633" y="44"/>
                  </a:lnTo>
                  <a:lnTo>
                    <a:pt x="611" y="64"/>
                  </a:lnTo>
                  <a:lnTo>
                    <a:pt x="588" y="83"/>
                  </a:lnTo>
                  <a:lnTo>
                    <a:pt x="563" y="101"/>
                  </a:lnTo>
                  <a:lnTo>
                    <a:pt x="539" y="117"/>
                  </a:lnTo>
                  <a:lnTo>
                    <a:pt x="512" y="131"/>
                  </a:lnTo>
                  <a:lnTo>
                    <a:pt x="486" y="145"/>
                  </a:lnTo>
                  <a:lnTo>
                    <a:pt x="458" y="156"/>
                  </a:lnTo>
                  <a:lnTo>
                    <a:pt x="430" y="166"/>
                  </a:lnTo>
                  <a:lnTo>
                    <a:pt x="402" y="175"/>
                  </a:lnTo>
                  <a:lnTo>
                    <a:pt x="373" y="183"/>
                  </a:lnTo>
                  <a:lnTo>
                    <a:pt x="343" y="188"/>
                  </a:lnTo>
                  <a:lnTo>
                    <a:pt x="313" y="193"/>
                  </a:lnTo>
                  <a:lnTo>
                    <a:pt x="283" y="195"/>
                  </a:lnTo>
                  <a:lnTo>
                    <a:pt x="252" y="195"/>
                  </a:lnTo>
                  <a:lnTo>
                    <a:pt x="252" y="195"/>
                  </a:lnTo>
                  <a:lnTo>
                    <a:pt x="218" y="195"/>
                  </a:lnTo>
                  <a:lnTo>
                    <a:pt x="185" y="192"/>
                  </a:lnTo>
                  <a:lnTo>
                    <a:pt x="153" y="186"/>
                  </a:lnTo>
                  <a:lnTo>
                    <a:pt x="121" y="180"/>
                  </a:lnTo>
                  <a:lnTo>
                    <a:pt x="90" y="171"/>
                  </a:lnTo>
                  <a:lnTo>
                    <a:pt x="59" y="161"/>
                  </a:lnTo>
                  <a:lnTo>
                    <a:pt x="29" y="149"/>
                  </a:lnTo>
                  <a:lnTo>
                    <a:pt x="0" y="135"/>
                  </a:lnTo>
                  <a:lnTo>
                    <a:pt x="0" y="690"/>
                  </a:lnTo>
                  <a:lnTo>
                    <a:pt x="0" y="690"/>
                  </a:lnTo>
                  <a:lnTo>
                    <a:pt x="15" y="703"/>
                  </a:lnTo>
                  <a:lnTo>
                    <a:pt x="32" y="714"/>
                  </a:lnTo>
                  <a:lnTo>
                    <a:pt x="50" y="726"/>
                  </a:lnTo>
                  <a:lnTo>
                    <a:pt x="69" y="737"/>
                  </a:lnTo>
                  <a:lnTo>
                    <a:pt x="91" y="748"/>
                  </a:lnTo>
                  <a:lnTo>
                    <a:pt x="112" y="760"/>
                  </a:lnTo>
                  <a:lnTo>
                    <a:pt x="136" y="770"/>
                  </a:lnTo>
                  <a:lnTo>
                    <a:pt x="161" y="780"/>
                  </a:lnTo>
                  <a:lnTo>
                    <a:pt x="214" y="800"/>
                  </a:lnTo>
                  <a:lnTo>
                    <a:pt x="274" y="819"/>
                  </a:lnTo>
                  <a:lnTo>
                    <a:pt x="337" y="835"/>
                  </a:lnTo>
                  <a:lnTo>
                    <a:pt x="405" y="852"/>
                  </a:lnTo>
                  <a:lnTo>
                    <a:pt x="477" y="866"/>
                  </a:lnTo>
                  <a:lnTo>
                    <a:pt x="551" y="878"/>
                  </a:lnTo>
                  <a:lnTo>
                    <a:pt x="631" y="890"/>
                  </a:lnTo>
                  <a:lnTo>
                    <a:pt x="713" y="899"/>
                  </a:lnTo>
                  <a:lnTo>
                    <a:pt x="797" y="905"/>
                  </a:lnTo>
                  <a:lnTo>
                    <a:pt x="886" y="911"/>
                  </a:lnTo>
                  <a:lnTo>
                    <a:pt x="975" y="914"/>
                  </a:lnTo>
                  <a:lnTo>
                    <a:pt x="1067" y="915"/>
                  </a:lnTo>
                  <a:lnTo>
                    <a:pt x="1067" y="915"/>
                  </a:lnTo>
                  <a:lnTo>
                    <a:pt x="1125" y="915"/>
                  </a:lnTo>
                  <a:lnTo>
                    <a:pt x="1182" y="914"/>
                  </a:lnTo>
                  <a:lnTo>
                    <a:pt x="1239" y="911"/>
                  </a:lnTo>
                  <a:lnTo>
                    <a:pt x="1294" y="909"/>
                  </a:lnTo>
                  <a:lnTo>
                    <a:pt x="1349" y="905"/>
                  </a:lnTo>
                  <a:lnTo>
                    <a:pt x="1402" y="900"/>
                  </a:lnTo>
                  <a:lnTo>
                    <a:pt x="1455" y="895"/>
                  </a:lnTo>
                  <a:lnTo>
                    <a:pt x="1505" y="888"/>
                  </a:lnTo>
                  <a:lnTo>
                    <a:pt x="1556" y="882"/>
                  </a:lnTo>
                  <a:lnTo>
                    <a:pt x="1604" y="875"/>
                  </a:lnTo>
                  <a:lnTo>
                    <a:pt x="1651" y="867"/>
                  </a:lnTo>
                  <a:lnTo>
                    <a:pt x="1697" y="858"/>
                  </a:lnTo>
                  <a:lnTo>
                    <a:pt x="1741" y="849"/>
                  </a:lnTo>
                  <a:lnTo>
                    <a:pt x="1784" y="839"/>
                  </a:lnTo>
                  <a:lnTo>
                    <a:pt x="1824" y="829"/>
                  </a:lnTo>
                  <a:lnTo>
                    <a:pt x="1863" y="818"/>
                  </a:lnTo>
                  <a:lnTo>
                    <a:pt x="1901" y="806"/>
                  </a:lnTo>
                  <a:lnTo>
                    <a:pt x="1937" y="795"/>
                  </a:lnTo>
                  <a:lnTo>
                    <a:pt x="1969" y="782"/>
                  </a:lnTo>
                  <a:lnTo>
                    <a:pt x="2001" y="769"/>
                  </a:lnTo>
                  <a:lnTo>
                    <a:pt x="2030" y="756"/>
                  </a:lnTo>
                  <a:lnTo>
                    <a:pt x="2058" y="742"/>
                  </a:lnTo>
                  <a:lnTo>
                    <a:pt x="2083" y="727"/>
                  </a:lnTo>
                  <a:lnTo>
                    <a:pt x="2104" y="713"/>
                  </a:lnTo>
                  <a:lnTo>
                    <a:pt x="2125" y="698"/>
                  </a:lnTo>
                  <a:lnTo>
                    <a:pt x="2142" y="683"/>
                  </a:lnTo>
                  <a:lnTo>
                    <a:pt x="2157" y="666"/>
                  </a:lnTo>
                  <a:lnTo>
                    <a:pt x="2170" y="651"/>
                  </a:lnTo>
                  <a:lnTo>
                    <a:pt x="2180" y="635"/>
                  </a:lnTo>
                  <a:lnTo>
                    <a:pt x="2188" y="618"/>
                  </a:lnTo>
                  <a:lnTo>
                    <a:pt x="2191" y="601"/>
                  </a:lnTo>
                  <a:lnTo>
                    <a:pt x="2194" y="584"/>
                  </a:lnTo>
                  <a:lnTo>
                    <a:pt x="2194" y="135"/>
                  </a:lnTo>
                  <a:lnTo>
                    <a:pt x="2194" y="135"/>
                  </a:lnTo>
                  <a:lnTo>
                    <a:pt x="2165" y="149"/>
                  </a:lnTo>
                  <a:lnTo>
                    <a:pt x="2135" y="161"/>
                  </a:lnTo>
                  <a:lnTo>
                    <a:pt x="2104" y="171"/>
                  </a:lnTo>
                  <a:lnTo>
                    <a:pt x="2073" y="180"/>
                  </a:lnTo>
                  <a:lnTo>
                    <a:pt x="2041" y="186"/>
                  </a:lnTo>
                  <a:lnTo>
                    <a:pt x="2009" y="192"/>
                  </a:lnTo>
                  <a:lnTo>
                    <a:pt x="1976" y="195"/>
                  </a:lnTo>
                  <a:lnTo>
                    <a:pt x="1942" y="195"/>
                  </a:lnTo>
                  <a:lnTo>
                    <a:pt x="1942"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grpSp>
      <p:sp>
        <p:nvSpPr>
          <p:cNvPr id="146" name="Rectangle 145"/>
          <p:cNvSpPr/>
          <p:nvPr/>
        </p:nvSpPr>
        <p:spPr>
          <a:xfrm>
            <a:off x="3144290" y="2177080"/>
            <a:ext cx="1190507" cy="261610"/>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Data Factory </a:t>
            </a:r>
            <a:endParaRPr lang="en-US" sz="1100" kern="0" dirty="0">
              <a:solidFill>
                <a:sysClr val="windowText" lastClr="000000"/>
              </a:solidFill>
            </a:endParaRPr>
          </a:p>
        </p:txBody>
      </p:sp>
      <p:sp>
        <p:nvSpPr>
          <p:cNvPr id="149" name="Rectangle 148"/>
          <p:cNvSpPr/>
          <p:nvPr/>
        </p:nvSpPr>
        <p:spPr>
          <a:xfrm>
            <a:off x="6695596" y="2097804"/>
            <a:ext cx="1188495" cy="430887"/>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Machine Learning</a:t>
            </a:r>
          </a:p>
        </p:txBody>
      </p:sp>
      <p:sp>
        <p:nvSpPr>
          <p:cNvPr id="147" name="Rectangle 146"/>
          <p:cNvSpPr/>
          <p:nvPr/>
        </p:nvSpPr>
        <p:spPr>
          <a:xfrm>
            <a:off x="4833188" y="2177080"/>
            <a:ext cx="1190507" cy="261610"/>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Data Lake Store</a:t>
            </a:r>
          </a:p>
        </p:txBody>
      </p:sp>
      <p:grpSp>
        <p:nvGrpSpPr>
          <p:cNvPr id="239" name="Group 238"/>
          <p:cNvGrpSpPr/>
          <p:nvPr/>
        </p:nvGrpSpPr>
        <p:grpSpPr>
          <a:xfrm>
            <a:off x="4544198" y="2181959"/>
            <a:ext cx="235281" cy="235281"/>
            <a:chOff x="4068192" y="3363795"/>
            <a:chExt cx="324957" cy="324957"/>
          </a:xfrm>
        </p:grpSpPr>
        <p:sp>
          <p:nvSpPr>
            <p:cNvPr id="240" name="Rounded Rectangle 239"/>
            <p:cNvSpPr/>
            <p:nvPr/>
          </p:nvSpPr>
          <p:spPr bwMode="auto">
            <a:xfrm>
              <a:off x="4068192" y="3363795"/>
              <a:ext cx="324957" cy="324957"/>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41" name="Rectangle 240"/>
            <p:cNvSpPr/>
            <p:nvPr/>
          </p:nvSpPr>
          <p:spPr bwMode="auto">
            <a:xfrm>
              <a:off x="4106551"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42" name="Rectangle 241"/>
            <p:cNvSpPr/>
            <p:nvPr/>
          </p:nvSpPr>
          <p:spPr bwMode="auto">
            <a:xfrm>
              <a:off x="4245904"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43" name="Oval 242"/>
            <p:cNvSpPr/>
            <p:nvPr/>
          </p:nvSpPr>
          <p:spPr bwMode="auto">
            <a:xfrm>
              <a:off x="4174625"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44" name="Oval 243"/>
            <p:cNvSpPr/>
            <p:nvPr/>
          </p:nvSpPr>
          <p:spPr bwMode="auto">
            <a:xfrm>
              <a:off x="4313978"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45" name="Rectangle 244"/>
            <p:cNvSpPr/>
            <p:nvPr/>
          </p:nvSpPr>
          <p:spPr bwMode="auto">
            <a:xfrm>
              <a:off x="4106551"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46" name="Rectangle 245"/>
            <p:cNvSpPr/>
            <p:nvPr/>
          </p:nvSpPr>
          <p:spPr bwMode="auto">
            <a:xfrm>
              <a:off x="4245904"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47" name="Oval 246"/>
            <p:cNvSpPr/>
            <p:nvPr/>
          </p:nvSpPr>
          <p:spPr bwMode="auto">
            <a:xfrm>
              <a:off x="4174625"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48" name="Oval 247"/>
            <p:cNvSpPr/>
            <p:nvPr/>
          </p:nvSpPr>
          <p:spPr bwMode="auto">
            <a:xfrm>
              <a:off x="4313978"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49" name="Rectangle 248"/>
            <p:cNvSpPr/>
            <p:nvPr/>
          </p:nvSpPr>
          <p:spPr bwMode="auto">
            <a:xfrm>
              <a:off x="4178218"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50" name="Rectangle 249"/>
            <p:cNvSpPr/>
            <p:nvPr/>
          </p:nvSpPr>
          <p:spPr bwMode="auto">
            <a:xfrm>
              <a:off x="4317571"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51" name="Oval 250"/>
            <p:cNvSpPr/>
            <p:nvPr/>
          </p:nvSpPr>
          <p:spPr bwMode="auto">
            <a:xfrm>
              <a:off x="4106939"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52" name="Oval 251"/>
            <p:cNvSpPr/>
            <p:nvPr/>
          </p:nvSpPr>
          <p:spPr bwMode="auto">
            <a:xfrm>
              <a:off x="4246293"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53" name="Rectangle 252"/>
            <p:cNvSpPr/>
            <p:nvPr/>
          </p:nvSpPr>
          <p:spPr bwMode="auto">
            <a:xfrm>
              <a:off x="4178218"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54" name="Rectangle 253"/>
            <p:cNvSpPr/>
            <p:nvPr/>
          </p:nvSpPr>
          <p:spPr bwMode="auto">
            <a:xfrm>
              <a:off x="4317571"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55" name="Oval 254"/>
            <p:cNvSpPr/>
            <p:nvPr/>
          </p:nvSpPr>
          <p:spPr bwMode="auto">
            <a:xfrm>
              <a:off x="4106939"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56" name="Oval 255"/>
            <p:cNvSpPr/>
            <p:nvPr/>
          </p:nvSpPr>
          <p:spPr bwMode="auto">
            <a:xfrm>
              <a:off x="4246293"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1" name="Rectangle 150"/>
          <p:cNvSpPr/>
          <p:nvPr/>
        </p:nvSpPr>
        <p:spPr>
          <a:xfrm>
            <a:off x="8475236" y="2097804"/>
            <a:ext cx="1188495" cy="430887"/>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Cognitive Services</a:t>
            </a:r>
          </a:p>
        </p:txBody>
      </p:sp>
      <p:grpSp>
        <p:nvGrpSpPr>
          <p:cNvPr id="13" name="Group 12"/>
          <p:cNvGrpSpPr/>
          <p:nvPr/>
        </p:nvGrpSpPr>
        <p:grpSpPr>
          <a:xfrm>
            <a:off x="8052041" y="2171242"/>
            <a:ext cx="400356" cy="256716"/>
            <a:chOff x="7822816" y="2717080"/>
            <a:chExt cx="427431" cy="274077"/>
          </a:xfrm>
        </p:grpSpPr>
        <p:sp>
          <p:nvSpPr>
            <p:cNvPr id="257" name="Freeform 256"/>
            <p:cNvSpPr>
              <a:spLocks/>
            </p:cNvSpPr>
            <p:nvPr/>
          </p:nvSpPr>
          <p:spPr bwMode="auto">
            <a:xfrm flipH="1">
              <a:off x="782281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solidFill>
              <a:schemeClr val="tx1"/>
            </a:solidFill>
            <a:ln>
              <a:noFill/>
            </a:ln>
          </p:spPr>
          <p:txBody>
            <a:bodyPr vert="horz" wrap="square" lIns="91403" tIns="45701" rIns="91403" bIns="45701" numCol="1" anchor="t" anchorCtr="0" compatLnSpc="1">
              <a:prstTxWarp prst="textNoShape">
                <a:avLst/>
              </a:prstTxWarp>
              <a:noAutofit/>
            </a:bodyPr>
            <a:lstStyle/>
            <a:p>
              <a:pPr defTabSz="896203"/>
              <a:endParaRPr lang="en-US" sz="1799" kern="0">
                <a:solidFill>
                  <a:sysClr val="windowText" lastClr="000000"/>
                </a:solidFill>
              </a:endParaRPr>
            </a:p>
          </p:txBody>
        </p:sp>
        <p:sp>
          <p:nvSpPr>
            <p:cNvPr id="258" name="Freeform 109"/>
            <p:cNvSpPr>
              <a:spLocks/>
            </p:cNvSpPr>
            <p:nvPr/>
          </p:nvSpPr>
          <p:spPr bwMode="auto">
            <a:xfrm>
              <a:off x="793668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solidFill>
              <a:schemeClr val="tx1"/>
            </a:solidFill>
            <a:ln>
              <a:noFill/>
            </a:ln>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grpSp>
      <p:sp>
        <p:nvSpPr>
          <p:cNvPr id="263" name="Rectangle 262"/>
          <p:cNvSpPr/>
          <p:nvPr/>
        </p:nvSpPr>
        <p:spPr>
          <a:xfrm>
            <a:off x="8298460" y="5090180"/>
            <a:ext cx="1190507" cy="261610"/>
          </a:xfrm>
          <a:prstGeom prst="rect">
            <a:avLst/>
          </a:prstGeom>
        </p:spPr>
        <p:txBody>
          <a:bodyPr wrap="square">
            <a:spAutoFit/>
          </a:bodyPr>
          <a:lstStyle/>
          <a:p>
            <a:pPr defTabSz="896203"/>
            <a:r>
              <a:rPr lang="en-US" sz="1100" kern="0" dirty="0">
                <a:solidFill>
                  <a:sysClr val="windowText" lastClr="000000"/>
                </a:solidFill>
                <a:cs typeface="Segoe UI Semilight" panose="020B0402040204020203" pitchFamily="34" charset="0"/>
              </a:rPr>
              <a:t>Power BI</a:t>
            </a:r>
          </a:p>
        </p:txBody>
      </p:sp>
      <p:grpSp>
        <p:nvGrpSpPr>
          <p:cNvPr id="30" name="Group 29"/>
          <p:cNvGrpSpPr/>
          <p:nvPr/>
        </p:nvGrpSpPr>
        <p:grpSpPr>
          <a:xfrm>
            <a:off x="7963358" y="5115447"/>
            <a:ext cx="304325" cy="194509"/>
            <a:chOff x="7884058" y="5368509"/>
            <a:chExt cx="324905" cy="207663"/>
          </a:xfrm>
        </p:grpSpPr>
        <p:sp>
          <p:nvSpPr>
            <p:cNvPr id="265"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chemeClr val="tx1"/>
            </a:solidFill>
            <a:ln>
              <a:noFill/>
            </a:ln>
          </p:spPr>
          <p:txBody>
            <a:bodyPr vert="horz" wrap="square" lIns="89606" tIns="44803" rIns="89606" bIns="44803" numCol="1" anchor="t" anchorCtr="0" compatLnSpc="1">
              <a:prstTxWarp prst="textNoShape">
                <a:avLst/>
              </a:prstTxWarp>
            </a:bodyPr>
            <a:lstStyle/>
            <a:p>
              <a:pPr defTabSz="896203"/>
              <a:endParaRPr lang="en-US" sz="1764" kern="0">
                <a:solidFill>
                  <a:srgbClr val="FFFFFF"/>
                </a:solidFill>
              </a:endParaRPr>
            </a:p>
          </p:txBody>
        </p:sp>
        <p:sp>
          <p:nvSpPr>
            <p:cNvPr id="266"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chemeClr val="tx1"/>
            </a:solidFill>
            <a:ln>
              <a:noFill/>
            </a:ln>
          </p:spPr>
          <p:txBody>
            <a:bodyPr vert="horz" wrap="square" lIns="89606" tIns="44803" rIns="89606" bIns="44803" numCol="1" anchor="t" anchorCtr="0" compatLnSpc="1">
              <a:prstTxWarp prst="textNoShape">
                <a:avLst/>
              </a:prstTxWarp>
            </a:bodyPr>
            <a:lstStyle/>
            <a:p>
              <a:pPr defTabSz="896203"/>
              <a:endParaRPr lang="en-US" sz="1764" kern="0">
                <a:solidFill>
                  <a:srgbClr val="FFFFFF"/>
                </a:solidFill>
              </a:endParaRPr>
            </a:p>
          </p:txBody>
        </p:sp>
        <p:sp>
          <p:nvSpPr>
            <p:cNvPr id="267"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chemeClr val="tx1"/>
            </a:solidFill>
            <a:ln>
              <a:noFill/>
            </a:ln>
          </p:spPr>
          <p:txBody>
            <a:bodyPr vert="horz" wrap="square" lIns="89606" tIns="44803" rIns="89606" bIns="44803" numCol="1" anchor="t" anchorCtr="0" compatLnSpc="1">
              <a:prstTxWarp prst="textNoShape">
                <a:avLst/>
              </a:prstTxWarp>
            </a:bodyPr>
            <a:lstStyle/>
            <a:p>
              <a:pPr defTabSz="896203"/>
              <a:endParaRPr lang="en-US" sz="1764" kern="0">
                <a:solidFill>
                  <a:srgbClr val="FFFFFF"/>
                </a:solidFill>
              </a:endParaRPr>
            </a:p>
          </p:txBody>
        </p:sp>
        <p:sp>
          <p:nvSpPr>
            <p:cNvPr id="268"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chemeClr val="tx1"/>
            </a:solidFill>
            <a:ln>
              <a:noFill/>
            </a:ln>
          </p:spPr>
          <p:txBody>
            <a:bodyPr vert="horz" wrap="square" lIns="89606" tIns="44803" rIns="89606" bIns="44803" numCol="1" anchor="t" anchorCtr="0" compatLnSpc="1">
              <a:prstTxWarp prst="textNoShape">
                <a:avLst/>
              </a:prstTxWarp>
            </a:bodyPr>
            <a:lstStyle/>
            <a:p>
              <a:pPr defTabSz="896203"/>
              <a:endParaRPr lang="en-US" sz="1764" kern="0">
                <a:solidFill>
                  <a:srgbClr val="FFFFFF"/>
                </a:solidFill>
              </a:endParaRPr>
            </a:p>
          </p:txBody>
        </p:sp>
        <p:sp>
          <p:nvSpPr>
            <p:cNvPr id="269"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chemeClr val="tx1"/>
            </a:solidFill>
            <a:ln>
              <a:noFill/>
            </a:ln>
          </p:spPr>
          <p:txBody>
            <a:bodyPr vert="horz" wrap="square" lIns="89606" tIns="44803" rIns="89606" bIns="44803" numCol="1" anchor="t" anchorCtr="0" compatLnSpc="1">
              <a:prstTxWarp prst="textNoShape">
                <a:avLst/>
              </a:prstTxWarp>
            </a:bodyPr>
            <a:lstStyle/>
            <a:p>
              <a:pPr defTabSz="896203"/>
              <a:endParaRPr lang="en-US" sz="1764" kern="0">
                <a:solidFill>
                  <a:srgbClr val="FFFFFF"/>
                </a:solidFill>
              </a:endParaRPr>
            </a:p>
          </p:txBody>
        </p:sp>
      </p:grpSp>
      <p:sp>
        <p:nvSpPr>
          <p:cNvPr id="156" name="Freeform 155"/>
          <p:cNvSpPr/>
          <p:nvPr/>
        </p:nvSpPr>
        <p:spPr bwMode="auto">
          <a:xfrm>
            <a:off x="8077365" y="2939577"/>
            <a:ext cx="349709" cy="237719"/>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pPr>
            <a:endParaRPr lang="en-US" sz="2399" kern="0">
              <a:solidFill>
                <a:schemeClr val="tx1"/>
              </a:solidFill>
              <a:ea typeface="Segoe UI" pitchFamily="34" charset="0"/>
              <a:cs typeface="Segoe UI" pitchFamily="34" charset="0"/>
            </a:endParaRPr>
          </a:p>
        </p:txBody>
      </p:sp>
      <p:grpSp>
        <p:nvGrpSpPr>
          <p:cNvPr id="259" name="Group 258"/>
          <p:cNvGrpSpPr/>
          <p:nvPr/>
        </p:nvGrpSpPr>
        <p:grpSpPr>
          <a:xfrm>
            <a:off x="6288561" y="4481575"/>
            <a:ext cx="330317" cy="253745"/>
            <a:chOff x="1260022" y="5196402"/>
            <a:chExt cx="3273425" cy="2514600"/>
          </a:xfrm>
          <a:solidFill>
            <a:schemeClr val="tx1"/>
          </a:solidFill>
        </p:grpSpPr>
        <p:sp>
          <p:nvSpPr>
            <p:cNvPr id="260" name="Freeform 259"/>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endParaRPr lang="en-US" sz="1799" dirty="0"/>
            </a:p>
          </p:txBody>
        </p:sp>
        <p:sp>
          <p:nvSpPr>
            <p:cNvPr id="261" name="Freeform 260"/>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endParaRPr lang="en-US" sz="1799" dirty="0"/>
            </a:p>
          </p:txBody>
        </p:sp>
        <p:sp>
          <p:nvSpPr>
            <p:cNvPr id="262" name="Freeform 261"/>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endParaRPr lang="en-US" sz="1799" dirty="0"/>
            </a:p>
          </p:txBody>
        </p:sp>
        <p:sp>
          <p:nvSpPr>
            <p:cNvPr id="270" name="Freeform 269"/>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endParaRPr lang="en-US" sz="1799" dirty="0"/>
            </a:p>
          </p:txBody>
        </p:sp>
      </p:grpSp>
      <p:sp>
        <p:nvSpPr>
          <p:cNvPr id="271" name="Freeform 270"/>
          <p:cNvSpPr>
            <a:spLocks/>
          </p:cNvSpPr>
          <p:nvPr/>
        </p:nvSpPr>
        <p:spPr bwMode="auto">
          <a:xfrm>
            <a:off x="6289794" y="3695351"/>
            <a:ext cx="343172" cy="259696"/>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tx1"/>
          </a:solidFill>
          <a:ln w="6350">
            <a:noFill/>
          </a:ln>
        </p:spPr>
        <p:txBody>
          <a:bodyPr vert="horz" wrap="square" lIns="91403" tIns="45701" rIns="91403" bIns="45701" numCol="1" anchor="t" anchorCtr="0" compatLnSpc="1">
            <a:prstTxWarp prst="textNoShape">
              <a:avLst/>
            </a:prstTxWarp>
          </a:bodyPr>
          <a:lstStyle/>
          <a:p>
            <a:pPr defTabSz="896203"/>
            <a:endParaRPr lang="en-US" sz="1600" kern="0" dirty="0">
              <a:solidFill>
                <a:sysClr val="windowText" lastClr="000000"/>
              </a:solidFill>
            </a:endParaRPr>
          </a:p>
        </p:txBody>
      </p:sp>
      <p:sp>
        <p:nvSpPr>
          <p:cNvPr id="301" name="Freeform 300"/>
          <p:cNvSpPr/>
          <p:nvPr/>
        </p:nvSpPr>
        <p:spPr bwMode="auto">
          <a:xfrm>
            <a:off x="2845577" y="2119698"/>
            <a:ext cx="268315" cy="281962"/>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pPr>
            <a:endParaRPr lang="en-US" sz="2399" kern="0">
              <a:solidFill>
                <a:schemeClr val="tx1"/>
              </a:solidFill>
              <a:ea typeface="Segoe UI" pitchFamily="34" charset="0"/>
              <a:cs typeface="Segoe UI" pitchFamily="34" charset="0"/>
            </a:endParaRPr>
          </a:p>
        </p:txBody>
      </p:sp>
      <p:sp>
        <p:nvSpPr>
          <p:cNvPr id="302" name="Freeform 301"/>
          <p:cNvSpPr/>
          <p:nvPr/>
        </p:nvSpPr>
        <p:spPr bwMode="auto">
          <a:xfrm>
            <a:off x="2864611" y="3707190"/>
            <a:ext cx="216905" cy="226984"/>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pPr>
            <a:endParaRPr lang="en-US" sz="2399" kern="0" dirty="0">
              <a:solidFill>
                <a:schemeClr val="tx1"/>
              </a:solidFill>
              <a:ea typeface="Segoe UI" pitchFamily="34" charset="0"/>
              <a:cs typeface="Segoe UI" pitchFamily="34" charset="0"/>
            </a:endParaRPr>
          </a:p>
        </p:txBody>
      </p:sp>
      <p:sp>
        <p:nvSpPr>
          <p:cNvPr id="303" name="Freeform 302"/>
          <p:cNvSpPr/>
          <p:nvPr/>
        </p:nvSpPr>
        <p:spPr bwMode="auto">
          <a:xfrm flipH="1">
            <a:off x="6330304" y="2171082"/>
            <a:ext cx="250323" cy="264904"/>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pPr>
            <a:endParaRPr lang="en-US" sz="2399" kern="0">
              <a:solidFill>
                <a:schemeClr val="tx1"/>
              </a:solidFill>
              <a:ea typeface="Segoe UI" pitchFamily="34" charset="0"/>
              <a:cs typeface="Segoe UI" pitchFamily="34" charset="0"/>
            </a:endParaRPr>
          </a:p>
        </p:txBody>
      </p:sp>
      <p:grpSp>
        <p:nvGrpSpPr>
          <p:cNvPr id="351" name="Group 350"/>
          <p:cNvGrpSpPr/>
          <p:nvPr/>
        </p:nvGrpSpPr>
        <p:grpSpPr>
          <a:xfrm>
            <a:off x="4544804" y="2919936"/>
            <a:ext cx="232530" cy="284796"/>
            <a:chOff x="-3084513" y="3390510"/>
            <a:chExt cx="2716213" cy="3363913"/>
          </a:xfrm>
          <a:solidFill>
            <a:schemeClr val="tx1"/>
          </a:solidFill>
        </p:grpSpPr>
        <p:sp>
          <p:nvSpPr>
            <p:cNvPr id="348"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349"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grpSp>
      <p:sp>
        <p:nvSpPr>
          <p:cNvPr id="177" name="TextBox 176"/>
          <p:cNvSpPr txBox="1"/>
          <p:nvPr/>
        </p:nvSpPr>
        <p:spPr>
          <a:xfrm>
            <a:off x="1647065" y="1875538"/>
            <a:ext cx="485594" cy="316753"/>
          </a:xfrm>
          <a:prstGeom prst="rect">
            <a:avLst/>
          </a:prstGeom>
          <a:noFill/>
        </p:spPr>
        <p:txBody>
          <a:bodyPr wrap="square" lIns="0" tIns="0" rIns="0" bIns="0" rtlCol="0" anchor="ctr" anchorCtr="0">
            <a:spAutoFit/>
          </a:bodyPr>
          <a:lstStyle/>
          <a:p>
            <a:pPr defTabSz="914005">
              <a:spcAft>
                <a:spcPts val="588"/>
              </a:spcAft>
            </a:pPr>
            <a:r>
              <a:rPr lang="en-US" sz="1029" kern="0" dirty="0">
                <a:solidFill>
                  <a:schemeClr val="bg2"/>
                </a:solidFill>
                <a:cs typeface="Segoe UI Semilight" panose="020B0402040204020203" pitchFamily="34" charset="0"/>
              </a:rPr>
              <a:t>Data Sources</a:t>
            </a:r>
          </a:p>
        </p:txBody>
      </p:sp>
      <p:sp>
        <p:nvSpPr>
          <p:cNvPr id="179" name="TextBox 178"/>
          <p:cNvSpPr txBox="1"/>
          <p:nvPr/>
        </p:nvSpPr>
        <p:spPr>
          <a:xfrm>
            <a:off x="1647065" y="3159518"/>
            <a:ext cx="485594" cy="158377"/>
          </a:xfrm>
          <a:prstGeom prst="rect">
            <a:avLst/>
          </a:prstGeom>
          <a:noFill/>
        </p:spPr>
        <p:txBody>
          <a:bodyPr wrap="square" lIns="0" tIns="0" rIns="0" bIns="0" rtlCol="0" anchor="ctr" anchorCtr="0">
            <a:spAutoFit/>
          </a:bodyPr>
          <a:lstStyle/>
          <a:p>
            <a:pPr defTabSz="914005">
              <a:spcBef>
                <a:spcPct val="0"/>
              </a:spcBef>
              <a:spcAft>
                <a:spcPts val="588"/>
              </a:spcAft>
            </a:pPr>
            <a:r>
              <a:rPr lang="en-US" sz="1029" kern="0" dirty="0">
                <a:solidFill>
                  <a:schemeClr val="bg2"/>
                </a:solidFill>
                <a:cs typeface="Segoe UI Semilight" panose="020B0402040204020203" pitchFamily="34" charset="0"/>
              </a:rPr>
              <a:t>Apps</a:t>
            </a:r>
          </a:p>
        </p:txBody>
      </p:sp>
      <p:sp>
        <p:nvSpPr>
          <p:cNvPr id="181" name="TextBox 180"/>
          <p:cNvSpPr txBox="1"/>
          <p:nvPr/>
        </p:nvSpPr>
        <p:spPr>
          <a:xfrm>
            <a:off x="1647065" y="4377319"/>
            <a:ext cx="675674" cy="475130"/>
          </a:xfrm>
          <a:prstGeom prst="rect">
            <a:avLst/>
          </a:prstGeom>
          <a:noFill/>
        </p:spPr>
        <p:txBody>
          <a:bodyPr wrap="square" lIns="0" tIns="0" rIns="0" bIns="0" rtlCol="0" anchor="ctr" anchorCtr="0">
            <a:spAutoFit/>
          </a:bodyPr>
          <a:lstStyle/>
          <a:p>
            <a:pPr defTabSz="914005">
              <a:spcBef>
                <a:spcPct val="0"/>
              </a:spcBef>
              <a:spcAft>
                <a:spcPts val="588"/>
              </a:spcAft>
            </a:pPr>
            <a:r>
              <a:rPr lang="en-US" sz="1029" kern="0" dirty="0">
                <a:solidFill>
                  <a:schemeClr val="bg2"/>
                </a:solidFill>
                <a:cs typeface="Segoe UI Semilight" panose="020B0402040204020203" pitchFamily="34" charset="0"/>
              </a:rPr>
              <a:t>Sensors </a:t>
            </a:r>
            <a:br>
              <a:rPr lang="en-US" sz="1029" kern="0" dirty="0">
                <a:solidFill>
                  <a:schemeClr val="bg2"/>
                </a:solidFill>
                <a:cs typeface="Segoe UI Semilight" panose="020B0402040204020203" pitchFamily="34" charset="0"/>
              </a:rPr>
            </a:br>
            <a:r>
              <a:rPr lang="en-US" sz="1029" kern="0" dirty="0">
                <a:solidFill>
                  <a:schemeClr val="bg2"/>
                </a:solidFill>
                <a:cs typeface="Segoe UI Semilight" panose="020B0402040204020203" pitchFamily="34" charset="0"/>
              </a:rPr>
              <a:t>and devices</a:t>
            </a:r>
          </a:p>
        </p:txBody>
      </p:sp>
      <p:sp>
        <p:nvSpPr>
          <p:cNvPr id="182" name="TextBox 181"/>
          <p:cNvSpPr txBox="1"/>
          <p:nvPr/>
        </p:nvSpPr>
        <p:spPr>
          <a:xfrm>
            <a:off x="1302783" y="5281207"/>
            <a:ext cx="466474" cy="271485"/>
          </a:xfrm>
          <a:prstGeom prst="rect">
            <a:avLst/>
          </a:prstGeom>
          <a:noFill/>
        </p:spPr>
        <p:txBody>
          <a:bodyPr wrap="none" lIns="0" tIns="0" rIns="0" bIns="0" rtlCol="0" anchor="ctr">
            <a:spAutoFit/>
          </a:bodyPr>
          <a:lstStyle>
            <a:defPPr>
              <a:defRPr lang="en-US"/>
            </a:defPPr>
            <a:lvl1pPr algn="ctr" defTabSz="932563">
              <a:spcBef>
                <a:spcPct val="0"/>
              </a:spcBef>
              <a:spcAft>
                <a:spcPts val="600"/>
              </a:spcAft>
              <a:defRPr sz="1100">
                <a:solidFill>
                  <a:schemeClr val="bg1"/>
                </a:solidFill>
                <a:latin typeface="Segoe UI Semilight" panose="020B0402040204020203" pitchFamily="34" charset="0"/>
                <a:cs typeface="Segoe UI Semilight" panose="020B0402040204020203" pitchFamily="34" charset="0"/>
              </a:defRPr>
            </a:lvl1pPr>
          </a:lstStyle>
          <a:p>
            <a:pPr defTabSz="914005">
              <a:spcAft>
                <a:spcPts val="588"/>
              </a:spcAft>
            </a:pPr>
            <a:r>
              <a:rPr lang="en-US" sz="1764" kern="0" dirty="0">
                <a:solidFill>
                  <a:schemeClr val="bg2"/>
                </a:solidFill>
                <a:latin typeface="+mn-lt"/>
              </a:rPr>
              <a:t>Data</a:t>
            </a:r>
          </a:p>
        </p:txBody>
      </p:sp>
      <p:cxnSp>
        <p:nvCxnSpPr>
          <p:cNvPr id="202" name="Straight Connector 201"/>
          <p:cNvCxnSpPr/>
          <p:nvPr/>
        </p:nvCxnSpPr>
        <p:spPr>
          <a:xfrm>
            <a:off x="2209218" y="3254966"/>
            <a:ext cx="283293" cy="0"/>
          </a:xfrm>
          <a:prstGeom prst="line">
            <a:avLst/>
          </a:prstGeom>
          <a:solidFill>
            <a:srgbClr val="0078D7"/>
          </a:solidFill>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289" name="Picture 28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06941" y="2881718"/>
            <a:ext cx="712822" cy="834049"/>
          </a:xfrm>
          <a:prstGeom prst="rect">
            <a:avLst/>
          </a:prstGeom>
        </p:spPr>
      </p:pic>
      <p:pic>
        <p:nvPicPr>
          <p:cNvPr id="290" name="Picture 28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83548" y="4210323"/>
            <a:ext cx="691514" cy="809118"/>
          </a:xfrm>
          <a:prstGeom prst="rect">
            <a:avLst/>
          </a:prstGeom>
        </p:spPr>
      </p:pic>
      <p:pic>
        <p:nvPicPr>
          <p:cNvPr id="291" name="Picture 29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83682" y="1644107"/>
            <a:ext cx="629815" cy="736926"/>
          </a:xfrm>
          <a:prstGeom prst="rect">
            <a:avLst/>
          </a:prstGeom>
        </p:spPr>
      </p:pic>
    </p:spTree>
    <p:extLst>
      <p:ext uri="{BB962C8B-B14F-4D97-AF65-F5344CB8AC3E}">
        <p14:creationId xmlns:p14="http://schemas.microsoft.com/office/powerpoint/2010/main" val="1707629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Rectangle 78"/>
          <p:cNvSpPr/>
          <p:nvPr/>
        </p:nvSpPr>
        <p:spPr bwMode="auto">
          <a:xfrm>
            <a:off x="0" y="2500032"/>
            <a:ext cx="12188825" cy="3818423"/>
          </a:xfrm>
          <a:prstGeom prst="rect">
            <a:avLst/>
          </a:prstGeom>
          <a:solidFill>
            <a:schemeClr val="tx1">
              <a:lumMod val="95000"/>
            </a:schemeClr>
          </a:solidFill>
          <a:ln w="3175" cap="flat" cmpd="sng" algn="ctr">
            <a:noFill/>
            <a:prstDash val="solid"/>
            <a:headEnd type="none" w="med" len="med"/>
            <a:tailEnd type="none" w="med" len="med"/>
          </a:ln>
          <a:effectLst/>
        </p:spPr>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gradFill>
                <a:gsLst>
                  <a:gs pos="1250">
                    <a:srgbClr val="505050"/>
                  </a:gs>
                  <a:gs pos="76000">
                    <a:srgbClr val="505050"/>
                  </a:gs>
                </a:gsLst>
                <a:lin ang="5400000" scaled="0"/>
              </a:gradFill>
            </a:endParaRPr>
          </a:p>
        </p:txBody>
      </p:sp>
      <p:sp>
        <p:nvSpPr>
          <p:cNvPr id="7" name="Title 6"/>
          <p:cNvSpPr>
            <a:spLocks noGrp="1"/>
          </p:cNvSpPr>
          <p:nvPr>
            <p:ph type="title"/>
          </p:nvPr>
        </p:nvSpPr>
        <p:spPr/>
        <p:txBody>
          <a:bodyPr/>
          <a:lstStyle/>
          <a:p>
            <a:r>
              <a:rPr lang="en-US" sz="3920" dirty="0"/>
              <a:t>Turning telemetry data from vehicles into insight</a:t>
            </a:r>
            <a:br>
              <a:rPr lang="en-US" sz="3920" dirty="0"/>
            </a:br>
            <a:endParaRPr lang="en-US" sz="3920" dirty="0"/>
          </a:p>
        </p:txBody>
      </p:sp>
      <p:grpSp>
        <p:nvGrpSpPr>
          <p:cNvPr id="100" name="Group 99"/>
          <p:cNvGrpSpPr/>
          <p:nvPr/>
        </p:nvGrpSpPr>
        <p:grpSpPr>
          <a:xfrm>
            <a:off x="5251656" y="1455113"/>
            <a:ext cx="1192588" cy="910297"/>
            <a:chOff x="811579" y="1729311"/>
            <a:chExt cx="1475102" cy="1125938"/>
          </a:xfrm>
          <a:solidFill>
            <a:srgbClr val="0072C6"/>
          </a:solidFill>
        </p:grpSpPr>
        <p:sp>
          <p:nvSpPr>
            <p:cNvPr id="101" name="Freeform 5"/>
            <p:cNvSpPr>
              <a:spLocks noEditPoints="1"/>
            </p:cNvSpPr>
            <p:nvPr/>
          </p:nvSpPr>
          <p:spPr bwMode="auto">
            <a:xfrm>
              <a:off x="811579" y="2184749"/>
              <a:ext cx="1475102" cy="670500"/>
            </a:xfrm>
            <a:custGeom>
              <a:avLst/>
              <a:gdLst>
                <a:gd name="T0" fmla="*/ 92 w 128"/>
                <a:gd name="T1" fmla="*/ 16 h 56"/>
                <a:gd name="T2" fmla="*/ 84 w 128"/>
                <a:gd name="T3" fmla="*/ 16 h 56"/>
                <a:gd name="T4" fmla="*/ 68 w 128"/>
                <a:gd name="T5" fmla="*/ 0 h 56"/>
                <a:gd name="T6" fmla="*/ 36 w 128"/>
                <a:gd name="T7" fmla="*/ 0 h 56"/>
                <a:gd name="T8" fmla="*/ 14 w 128"/>
                <a:gd name="T9" fmla="*/ 12 h 56"/>
                <a:gd name="T10" fmla="*/ 12 w 128"/>
                <a:gd name="T11" fmla="*/ 10 h 56"/>
                <a:gd name="T12" fmla="*/ 12 w 128"/>
                <a:gd name="T13" fmla="*/ 4 h 56"/>
                <a:gd name="T14" fmla="*/ 0 w 128"/>
                <a:gd name="T15" fmla="*/ 4 h 56"/>
                <a:gd name="T16" fmla="*/ 0 w 128"/>
                <a:gd name="T17" fmla="*/ 12 h 56"/>
                <a:gd name="T18" fmla="*/ 2 w 128"/>
                <a:gd name="T19" fmla="*/ 12 h 56"/>
                <a:gd name="T20" fmla="*/ 6 w 128"/>
                <a:gd name="T21" fmla="*/ 16 h 56"/>
                <a:gd name="T22" fmla="*/ 0 w 128"/>
                <a:gd name="T23" fmla="*/ 16 h 56"/>
                <a:gd name="T24" fmla="*/ 0 w 128"/>
                <a:gd name="T25" fmla="*/ 32 h 56"/>
                <a:gd name="T26" fmla="*/ 13 w 128"/>
                <a:gd name="T27" fmla="*/ 48 h 56"/>
                <a:gd name="T28" fmla="*/ 24 w 128"/>
                <a:gd name="T29" fmla="*/ 56 h 56"/>
                <a:gd name="T30" fmla="*/ 35 w 128"/>
                <a:gd name="T31" fmla="*/ 48 h 56"/>
                <a:gd name="T32" fmla="*/ 81 w 128"/>
                <a:gd name="T33" fmla="*/ 48 h 56"/>
                <a:gd name="T34" fmla="*/ 92 w 128"/>
                <a:gd name="T35" fmla="*/ 56 h 56"/>
                <a:gd name="T36" fmla="*/ 103 w 128"/>
                <a:gd name="T37" fmla="*/ 48 h 56"/>
                <a:gd name="T38" fmla="*/ 128 w 128"/>
                <a:gd name="T39" fmla="*/ 48 h 56"/>
                <a:gd name="T40" fmla="*/ 128 w 128"/>
                <a:gd name="T41" fmla="*/ 35 h 56"/>
                <a:gd name="T42" fmla="*/ 127 w 128"/>
                <a:gd name="T43" fmla="*/ 33 h 56"/>
                <a:gd name="T44" fmla="*/ 92 w 128"/>
                <a:gd name="T45" fmla="*/ 16 h 56"/>
                <a:gd name="T46" fmla="*/ 73 w 128"/>
                <a:gd name="T47" fmla="*/ 16 h 56"/>
                <a:gd name="T48" fmla="*/ 44 w 128"/>
                <a:gd name="T49" fmla="*/ 16 h 56"/>
                <a:gd name="T50" fmla="*/ 44 w 128"/>
                <a:gd name="T51" fmla="*/ 8 h 56"/>
                <a:gd name="T52" fmla="*/ 65 w 128"/>
                <a:gd name="T53" fmla="*/ 8 h 56"/>
                <a:gd name="T54" fmla="*/ 73 w 128"/>
                <a:gd name="T55" fmla="*/ 16 h 56"/>
                <a:gd name="T56" fmla="*/ 36 w 128"/>
                <a:gd name="T57" fmla="*/ 9 h 56"/>
                <a:gd name="T58" fmla="*/ 36 w 128"/>
                <a:gd name="T59" fmla="*/ 16 h 56"/>
                <a:gd name="T60" fmla="*/ 24 w 128"/>
                <a:gd name="T61" fmla="*/ 16 h 56"/>
                <a:gd name="T62" fmla="*/ 36 w 128"/>
                <a:gd name="T63" fmla="*/ 9 h 56"/>
                <a:gd name="T64" fmla="*/ 24 w 128"/>
                <a:gd name="T65" fmla="*/ 48 h 56"/>
                <a:gd name="T66" fmla="*/ 20 w 128"/>
                <a:gd name="T67" fmla="*/ 44 h 56"/>
                <a:gd name="T68" fmla="*/ 24 w 128"/>
                <a:gd name="T69" fmla="*/ 40 h 56"/>
                <a:gd name="T70" fmla="*/ 28 w 128"/>
                <a:gd name="T71" fmla="*/ 44 h 56"/>
                <a:gd name="T72" fmla="*/ 24 w 128"/>
                <a:gd name="T73" fmla="*/ 48 h 56"/>
                <a:gd name="T74" fmla="*/ 92 w 128"/>
                <a:gd name="T75" fmla="*/ 48 h 56"/>
                <a:gd name="T76" fmla="*/ 88 w 128"/>
                <a:gd name="T77" fmla="*/ 44 h 56"/>
                <a:gd name="T78" fmla="*/ 92 w 128"/>
                <a:gd name="T79" fmla="*/ 40 h 56"/>
                <a:gd name="T80" fmla="*/ 96 w 128"/>
                <a:gd name="T81" fmla="*/ 44 h 56"/>
                <a:gd name="T82" fmla="*/ 92 w 128"/>
                <a:gd name="T83" fmla="*/ 48 h 56"/>
                <a:gd name="T84" fmla="*/ 120 w 128"/>
                <a:gd name="T85" fmla="*/ 40 h 56"/>
                <a:gd name="T86" fmla="*/ 103 w 128"/>
                <a:gd name="T87" fmla="*/ 40 h 56"/>
                <a:gd name="T88" fmla="*/ 92 w 128"/>
                <a:gd name="T89" fmla="*/ 32 h 56"/>
                <a:gd name="T90" fmla="*/ 81 w 128"/>
                <a:gd name="T91" fmla="*/ 40 h 56"/>
                <a:gd name="T92" fmla="*/ 35 w 128"/>
                <a:gd name="T93" fmla="*/ 40 h 56"/>
                <a:gd name="T94" fmla="*/ 24 w 128"/>
                <a:gd name="T95" fmla="*/ 32 h 56"/>
                <a:gd name="T96" fmla="*/ 13 w 128"/>
                <a:gd name="T97" fmla="*/ 39 h 56"/>
                <a:gd name="T98" fmla="*/ 8 w 128"/>
                <a:gd name="T99" fmla="*/ 32 h 56"/>
                <a:gd name="T100" fmla="*/ 8 w 128"/>
                <a:gd name="T101" fmla="*/ 24 h 56"/>
                <a:gd name="T102" fmla="*/ 84 w 128"/>
                <a:gd name="T103" fmla="*/ 24 h 56"/>
                <a:gd name="T104" fmla="*/ 92 w 128"/>
                <a:gd name="T105" fmla="*/ 24 h 56"/>
                <a:gd name="T106" fmla="*/ 120 w 128"/>
                <a:gd name="T107" fmla="*/ 37 h 56"/>
                <a:gd name="T108" fmla="*/ 120 w 128"/>
                <a:gd name="T109" fmla="*/ 4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8" h="56">
                  <a:moveTo>
                    <a:pt x="92" y="16"/>
                  </a:moveTo>
                  <a:cubicBezTo>
                    <a:pt x="84" y="16"/>
                    <a:pt x="84" y="16"/>
                    <a:pt x="84" y="16"/>
                  </a:cubicBezTo>
                  <a:cubicBezTo>
                    <a:pt x="68" y="0"/>
                    <a:pt x="68" y="0"/>
                    <a:pt x="68" y="0"/>
                  </a:cubicBezTo>
                  <a:cubicBezTo>
                    <a:pt x="36" y="0"/>
                    <a:pt x="36" y="0"/>
                    <a:pt x="36" y="0"/>
                  </a:cubicBezTo>
                  <a:cubicBezTo>
                    <a:pt x="14" y="12"/>
                    <a:pt x="14" y="12"/>
                    <a:pt x="14" y="12"/>
                  </a:cubicBezTo>
                  <a:cubicBezTo>
                    <a:pt x="12" y="10"/>
                    <a:pt x="12" y="10"/>
                    <a:pt x="12" y="10"/>
                  </a:cubicBezTo>
                  <a:cubicBezTo>
                    <a:pt x="12" y="4"/>
                    <a:pt x="12" y="4"/>
                    <a:pt x="12" y="4"/>
                  </a:cubicBezTo>
                  <a:cubicBezTo>
                    <a:pt x="0" y="4"/>
                    <a:pt x="0" y="4"/>
                    <a:pt x="0" y="4"/>
                  </a:cubicBezTo>
                  <a:cubicBezTo>
                    <a:pt x="0" y="12"/>
                    <a:pt x="0" y="12"/>
                    <a:pt x="0" y="12"/>
                  </a:cubicBezTo>
                  <a:cubicBezTo>
                    <a:pt x="2" y="12"/>
                    <a:pt x="2" y="12"/>
                    <a:pt x="2" y="12"/>
                  </a:cubicBezTo>
                  <a:cubicBezTo>
                    <a:pt x="6" y="16"/>
                    <a:pt x="6" y="16"/>
                    <a:pt x="6" y="16"/>
                  </a:cubicBezTo>
                  <a:cubicBezTo>
                    <a:pt x="0" y="16"/>
                    <a:pt x="0" y="16"/>
                    <a:pt x="0" y="16"/>
                  </a:cubicBezTo>
                  <a:cubicBezTo>
                    <a:pt x="0" y="32"/>
                    <a:pt x="0" y="32"/>
                    <a:pt x="0" y="32"/>
                  </a:cubicBezTo>
                  <a:cubicBezTo>
                    <a:pt x="0" y="40"/>
                    <a:pt x="5" y="46"/>
                    <a:pt x="13" y="48"/>
                  </a:cubicBezTo>
                  <a:cubicBezTo>
                    <a:pt x="14" y="52"/>
                    <a:pt x="19" y="56"/>
                    <a:pt x="24" y="56"/>
                  </a:cubicBezTo>
                  <a:cubicBezTo>
                    <a:pt x="29" y="56"/>
                    <a:pt x="34" y="53"/>
                    <a:pt x="35" y="48"/>
                  </a:cubicBezTo>
                  <a:cubicBezTo>
                    <a:pt x="81" y="48"/>
                    <a:pt x="81" y="48"/>
                    <a:pt x="81" y="48"/>
                  </a:cubicBezTo>
                  <a:cubicBezTo>
                    <a:pt x="82" y="53"/>
                    <a:pt x="87" y="56"/>
                    <a:pt x="92" y="56"/>
                  </a:cubicBezTo>
                  <a:cubicBezTo>
                    <a:pt x="97" y="56"/>
                    <a:pt x="102" y="53"/>
                    <a:pt x="103" y="48"/>
                  </a:cubicBezTo>
                  <a:cubicBezTo>
                    <a:pt x="128" y="48"/>
                    <a:pt x="128" y="48"/>
                    <a:pt x="128" y="48"/>
                  </a:cubicBezTo>
                  <a:cubicBezTo>
                    <a:pt x="128" y="35"/>
                    <a:pt x="128" y="35"/>
                    <a:pt x="128" y="35"/>
                  </a:cubicBezTo>
                  <a:cubicBezTo>
                    <a:pt x="127" y="33"/>
                    <a:pt x="127" y="33"/>
                    <a:pt x="127" y="33"/>
                  </a:cubicBezTo>
                  <a:cubicBezTo>
                    <a:pt x="118" y="22"/>
                    <a:pt x="105" y="16"/>
                    <a:pt x="92" y="16"/>
                  </a:cubicBezTo>
                  <a:close/>
                  <a:moveTo>
                    <a:pt x="73" y="16"/>
                  </a:moveTo>
                  <a:cubicBezTo>
                    <a:pt x="44" y="16"/>
                    <a:pt x="44" y="16"/>
                    <a:pt x="44" y="16"/>
                  </a:cubicBezTo>
                  <a:cubicBezTo>
                    <a:pt x="44" y="8"/>
                    <a:pt x="44" y="8"/>
                    <a:pt x="44" y="8"/>
                  </a:cubicBezTo>
                  <a:cubicBezTo>
                    <a:pt x="65" y="8"/>
                    <a:pt x="65" y="8"/>
                    <a:pt x="65" y="8"/>
                  </a:cubicBezTo>
                  <a:lnTo>
                    <a:pt x="73" y="16"/>
                  </a:lnTo>
                  <a:close/>
                  <a:moveTo>
                    <a:pt x="36" y="9"/>
                  </a:moveTo>
                  <a:cubicBezTo>
                    <a:pt x="36" y="16"/>
                    <a:pt x="36" y="16"/>
                    <a:pt x="36" y="16"/>
                  </a:cubicBezTo>
                  <a:cubicBezTo>
                    <a:pt x="24" y="16"/>
                    <a:pt x="24" y="16"/>
                    <a:pt x="24" y="16"/>
                  </a:cubicBezTo>
                  <a:lnTo>
                    <a:pt x="36" y="9"/>
                  </a:lnTo>
                  <a:close/>
                  <a:moveTo>
                    <a:pt x="24" y="48"/>
                  </a:moveTo>
                  <a:cubicBezTo>
                    <a:pt x="22" y="48"/>
                    <a:pt x="20" y="46"/>
                    <a:pt x="20" y="44"/>
                  </a:cubicBezTo>
                  <a:cubicBezTo>
                    <a:pt x="20" y="42"/>
                    <a:pt x="22" y="40"/>
                    <a:pt x="24" y="40"/>
                  </a:cubicBezTo>
                  <a:cubicBezTo>
                    <a:pt x="26" y="40"/>
                    <a:pt x="28" y="42"/>
                    <a:pt x="28" y="44"/>
                  </a:cubicBezTo>
                  <a:cubicBezTo>
                    <a:pt x="28" y="46"/>
                    <a:pt x="26" y="48"/>
                    <a:pt x="24" y="48"/>
                  </a:cubicBezTo>
                  <a:close/>
                  <a:moveTo>
                    <a:pt x="92" y="48"/>
                  </a:moveTo>
                  <a:cubicBezTo>
                    <a:pt x="90" y="48"/>
                    <a:pt x="88" y="46"/>
                    <a:pt x="88" y="44"/>
                  </a:cubicBezTo>
                  <a:cubicBezTo>
                    <a:pt x="88" y="42"/>
                    <a:pt x="90" y="40"/>
                    <a:pt x="92" y="40"/>
                  </a:cubicBezTo>
                  <a:cubicBezTo>
                    <a:pt x="94" y="40"/>
                    <a:pt x="96" y="42"/>
                    <a:pt x="96" y="44"/>
                  </a:cubicBezTo>
                  <a:cubicBezTo>
                    <a:pt x="96" y="46"/>
                    <a:pt x="94" y="48"/>
                    <a:pt x="92" y="48"/>
                  </a:cubicBezTo>
                  <a:close/>
                  <a:moveTo>
                    <a:pt x="120" y="40"/>
                  </a:moveTo>
                  <a:cubicBezTo>
                    <a:pt x="103" y="40"/>
                    <a:pt x="103" y="40"/>
                    <a:pt x="103" y="40"/>
                  </a:cubicBezTo>
                  <a:cubicBezTo>
                    <a:pt x="102" y="35"/>
                    <a:pt x="97" y="32"/>
                    <a:pt x="92" y="32"/>
                  </a:cubicBezTo>
                  <a:cubicBezTo>
                    <a:pt x="87" y="32"/>
                    <a:pt x="82" y="35"/>
                    <a:pt x="81" y="40"/>
                  </a:cubicBezTo>
                  <a:cubicBezTo>
                    <a:pt x="35" y="40"/>
                    <a:pt x="35" y="40"/>
                    <a:pt x="35" y="40"/>
                  </a:cubicBezTo>
                  <a:cubicBezTo>
                    <a:pt x="34" y="35"/>
                    <a:pt x="29" y="32"/>
                    <a:pt x="24" y="32"/>
                  </a:cubicBezTo>
                  <a:cubicBezTo>
                    <a:pt x="19" y="32"/>
                    <a:pt x="15" y="35"/>
                    <a:pt x="13" y="39"/>
                  </a:cubicBezTo>
                  <a:cubicBezTo>
                    <a:pt x="10" y="38"/>
                    <a:pt x="8" y="35"/>
                    <a:pt x="8" y="32"/>
                  </a:cubicBezTo>
                  <a:cubicBezTo>
                    <a:pt x="8" y="24"/>
                    <a:pt x="8" y="24"/>
                    <a:pt x="8" y="24"/>
                  </a:cubicBezTo>
                  <a:cubicBezTo>
                    <a:pt x="84" y="24"/>
                    <a:pt x="84" y="24"/>
                    <a:pt x="84" y="24"/>
                  </a:cubicBezTo>
                  <a:cubicBezTo>
                    <a:pt x="92" y="24"/>
                    <a:pt x="92" y="24"/>
                    <a:pt x="92" y="24"/>
                  </a:cubicBezTo>
                  <a:cubicBezTo>
                    <a:pt x="102" y="24"/>
                    <a:pt x="112" y="29"/>
                    <a:pt x="120" y="37"/>
                  </a:cubicBezTo>
                  <a:lnTo>
                    <a:pt x="120" y="40"/>
                  </a:lnTo>
                  <a:close/>
                </a:path>
              </a:pathLst>
            </a:custGeom>
            <a:grpFill/>
            <a:ln w="38100">
              <a:noFill/>
              <a:round/>
              <a:headEnd/>
              <a:tailEnd/>
            </a:ln>
          </p:spPr>
          <p:txBody>
            <a:bodyPr vert="horz" wrap="square" lIns="89619" tIns="44810" rIns="89619" bIns="44810" numCol="1" anchor="t" anchorCtr="0" compatLnSpc="1">
              <a:prstTxWarp prst="textNoShape">
                <a:avLst/>
              </a:prstTxWarp>
            </a:bodyPr>
            <a:lstStyle/>
            <a:p>
              <a:pPr defTabSz="896203">
                <a:defRPr/>
              </a:pPr>
              <a:endParaRPr lang="en-US" sz="1764" kern="0">
                <a:gradFill>
                  <a:gsLst>
                    <a:gs pos="1250">
                      <a:srgbClr val="505050"/>
                    </a:gs>
                    <a:gs pos="76000">
                      <a:srgbClr val="505050"/>
                    </a:gs>
                  </a:gsLst>
                  <a:lin ang="5400000" scaled="0"/>
                </a:gradFill>
              </a:endParaRPr>
            </a:p>
          </p:txBody>
        </p:sp>
        <p:grpSp>
          <p:nvGrpSpPr>
            <p:cNvPr id="102" name="Group 8"/>
            <p:cNvGrpSpPr>
              <a:grpSpLocks noChangeAspect="1"/>
            </p:cNvGrpSpPr>
            <p:nvPr/>
          </p:nvGrpSpPr>
          <p:grpSpPr bwMode="auto">
            <a:xfrm>
              <a:off x="1287193" y="1729311"/>
              <a:ext cx="523875" cy="288925"/>
              <a:chOff x="5218" y="1988"/>
              <a:chExt cx="330" cy="182"/>
            </a:xfrm>
            <a:grpFill/>
          </p:grpSpPr>
          <p:sp>
            <p:nvSpPr>
              <p:cNvPr id="103" name="Freeform 9"/>
              <p:cNvSpPr>
                <a:spLocks/>
              </p:cNvSpPr>
              <p:nvPr/>
            </p:nvSpPr>
            <p:spPr bwMode="auto">
              <a:xfrm>
                <a:off x="5218" y="1988"/>
                <a:ext cx="330" cy="89"/>
              </a:xfrm>
              <a:custGeom>
                <a:avLst/>
                <a:gdLst>
                  <a:gd name="T0" fmla="*/ 96 w 102"/>
                  <a:gd name="T1" fmla="*/ 27 h 27"/>
                  <a:gd name="T2" fmla="*/ 102 w 102"/>
                  <a:gd name="T3" fmla="*/ 21 h 27"/>
                  <a:gd name="T4" fmla="*/ 51 w 102"/>
                  <a:gd name="T5" fmla="*/ 0 h 27"/>
                  <a:gd name="T6" fmla="*/ 0 w 102"/>
                  <a:gd name="T7" fmla="*/ 21 h 27"/>
                  <a:gd name="T8" fmla="*/ 6 w 102"/>
                  <a:gd name="T9" fmla="*/ 27 h 27"/>
                  <a:gd name="T10" fmla="*/ 51 w 102"/>
                  <a:gd name="T11" fmla="*/ 8 h 27"/>
                  <a:gd name="T12" fmla="*/ 96 w 102"/>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102" h="27">
                    <a:moveTo>
                      <a:pt x="96" y="27"/>
                    </a:moveTo>
                    <a:cubicBezTo>
                      <a:pt x="102" y="21"/>
                      <a:pt x="102" y="21"/>
                      <a:pt x="102" y="21"/>
                    </a:cubicBezTo>
                    <a:cubicBezTo>
                      <a:pt x="88" y="8"/>
                      <a:pt x="70" y="0"/>
                      <a:pt x="51" y="0"/>
                    </a:cubicBezTo>
                    <a:cubicBezTo>
                      <a:pt x="32" y="0"/>
                      <a:pt x="14" y="8"/>
                      <a:pt x="0" y="21"/>
                    </a:cubicBezTo>
                    <a:cubicBezTo>
                      <a:pt x="6" y="27"/>
                      <a:pt x="6" y="27"/>
                      <a:pt x="6" y="27"/>
                    </a:cubicBezTo>
                    <a:cubicBezTo>
                      <a:pt x="18" y="15"/>
                      <a:pt x="34" y="8"/>
                      <a:pt x="51" y="8"/>
                    </a:cubicBezTo>
                    <a:cubicBezTo>
                      <a:pt x="68" y="8"/>
                      <a:pt x="84" y="15"/>
                      <a:pt x="96" y="27"/>
                    </a:cubicBezTo>
                    <a:close/>
                  </a:path>
                </a:pathLst>
              </a:custGeom>
              <a:grpFill/>
              <a:ln w="9525">
                <a:noFill/>
                <a:round/>
                <a:headEnd/>
                <a:tailEnd/>
              </a:ln>
              <a:extLst/>
            </p:spPr>
            <p:txBody>
              <a:bodyPr vert="horz" wrap="square" lIns="89619" tIns="44810" rIns="89619" bIns="44810" numCol="1" anchor="t" anchorCtr="0" compatLnSpc="1">
                <a:prstTxWarp prst="textNoShape">
                  <a:avLst/>
                </a:prstTxWarp>
              </a:bodyPr>
              <a:lstStyle/>
              <a:p>
                <a:pPr defTabSz="896203">
                  <a:defRPr/>
                </a:pPr>
                <a:endParaRPr lang="en-US" sz="1764" kern="0">
                  <a:gradFill>
                    <a:gsLst>
                      <a:gs pos="1250">
                        <a:srgbClr val="505050"/>
                      </a:gs>
                      <a:gs pos="76000">
                        <a:srgbClr val="505050"/>
                      </a:gs>
                    </a:gsLst>
                    <a:lin ang="5400000" scaled="0"/>
                  </a:gradFill>
                </a:endParaRPr>
              </a:p>
            </p:txBody>
          </p:sp>
          <p:sp>
            <p:nvSpPr>
              <p:cNvPr id="104" name="Freeform 10"/>
              <p:cNvSpPr>
                <a:spLocks/>
              </p:cNvSpPr>
              <p:nvPr/>
            </p:nvSpPr>
            <p:spPr bwMode="auto">
              <a:xfrm>
                <a:off x="5263" y="2054"/>
                <a:ext cx="240" cy="70"/>
              </a:xfrm>
              <a:custGeom>
                <a:avLst/>
                <a:gdLst>
                  <a:gd name="T0" fmla="*/ 37 w 74"/>
                  <a:gd name="T1" fmla="*/ 8 h 21"/>
                  <a:gd name="T2" fmla="*/ 68 w 74"/>
                  <a:gd name="T3" fmla="*/ 21 h 21"/>
                  <a:gd name="T4" fmla="*/ 74 w 74"/>
                  <a:gd name="T5" fmla="*/ 15 h 21"/>
                  <a:gd name="T6" fmla="*/ 37 w 74"/>
                  <a:gd name="T7" fmla="*/ 0 h 21"/>
                  <a:gd name="T8" fmla="*/ 0 w 74"/>
                  <a:gd name="T9" fmla="*/ 15 h 21"/>
                  <a:gd name="T10" fmla="*/ 6 w 74"/>
                  <a:gd name="T11" fmla="*/ 21 h 21"/>
                  <a:gd name="T12" fmla="*/ 37 w 74"/>
                  <a:gd name="T13" fmla="*/ 8 h 21"/>
                </a:gdLst>
                <a:ahLst/>
                <a:cxnLst>
                  <a:cxn ang="0">
                    <a:pos x="T0" y="T1"/>
                  </a:cxn>
                  <a:cxn ang="0">
                    <a:pos x="T2" y="T3"/>
                  </a:cxn>
                  <a:cxn ang="0">
                    <a:pos x="T4" y="T5"/>
                  </a:cxn>
                  <a:cxn ang="0">
                    <a:pos x="T6" y="T7"/>
                  </a:cxn>
                  <a:cxn ang="0">
                    <a:pos x="T8" y="T9"/>
                  </a:cxn>
                  <a:cxn ang="0">
                    <a:pos x="T10" y="T11"/>
                  </a:cxn>
                  <a:cxn ang="0">
                    <a:pos x="T12" y="T13"/>
                  </a:cxn>
                </a:cxnLst>
                <a:rect l="0" t="0" r="r" b="b"/>
                <a:pathLst>
                  <a:path w="74" h="21">
                    <a:moveTo>
                      <a:pt x="37" y="8"/>
                    </a:moveTo>
                    <a:cubicBezTo>
                      <a:pt x="49" y="8"/>
                      <a:pt x="60" y="13"/>
                      <a:pt x="68" y="21"/>
                    </a:cubicBezTo>
                    <a:cubicBezTo>
                      <a:pt x="74" y="15"/>
                      <a:pt x="74" y="15"/>
                      <a:pt x="74" y="15"/>
                    </a:cubicBezTo>
                    <a:cubicBezTo>
                      <a:pt x="64" y="5"/>
                      <a:pt x="51" y="0"/>
                      <a:pt x="37" y="0"/>
                    </a:cubicBezTo>
                    <a:cubicBezTo>
                      <a:pt x="23" y="0"/>
                      <a:pt x="10" y="5"/>
                      <a:pt x="0" y="15"/>
                    </a:cubicBezTo>
                    <a:cubicBezTo>
                      <a:pt x="6" y="21"/>
                      <a:pt x="6" y="21"/>
                      <a:pt x="6" y="21"/>
                    </a:cubicBezTo>
                    <a:cubicBezTo>
                      <a:pt x="14" y="13"/>
                      <a:pt x="25" y="8"/>
                      <a:pt x="37" y="8"/>
                    </a:cubicBezTo>
                    <a:close/>
                  </a:path>
                </a:pathLst>
              </a:custGeom>
              <a:grpFill/>
              <a:ln w="9525">
                <a:noFill/>
                <a:round/>
                <a:headEnd/>
                <a:tailEnd/>
              </a:ln>
              <a:extLst/>
            </p:spPr>
            <p:txBody>
              <a:bodyPr vert="horz" wrap="square" lIns="89619" tIns="44810" rIns="89619" bIns="44810" numCol="1" anchor="t" anchorCtr="0" compatLnSpc="1">
                <a:prstTxWarp prst="textNoShape">
                  <a:avLst/>
                </a:prstTxWarp>
              </a:bodyPr>
              <a:lstStyle/>
              <a:p>
                <a:pPr defTabSz="896203">
                  <a:defRPr/>
                </a:pPr>
                <a:endParaRPr lang="en-US" sz="1764" kern="0" dirty="0">
                  <a:gradFill>
                    <a:gsLst>
                      <a:gs pos="1250">
                        <a:srgbClr val="505050"/>
                      </a:gs>
                      <a:gs pos="76000">
                        <a:srgbClr val="505050"/>
                      </a:gs>
                    </a:gsLst>
                    <a:lin ang="5400000" scaled="0"/>
                  </a:gradFill>
                </a:endParaRPr>
              </a:p>
            </p:txBody>
          </p:sp>
          <p:sp>
            <p:nvSpPr>
              <p:cNvPr id="105" name="Freeform 11"/>
              <p:cNvSpPr>
                <a:spLocks/>
              </p:cNvSpPr>
              <p:nvPr/>
            </p:nvSpPr>
            <p:spPr bwMode="auto">
              <a:xfrm>
                <a:off x="5312" y="2120"/>
                <a:ext cx="142" cy="50"/>
              </a:xfrm>
              <a:custGeom>
                <a:avLst/>
                <a:gdLst>
                  <a:gd name="T0" fmla="*/ 44 w 44"/>
                  <a:gd name="T1" fmla="*/ 9 h 15"/>
                  <a:gd name="T2" fmla="*/ 22 w 44"/>
                  <a:gd name="T3" fmla="*/ 0 h 15"/>
                  <a:gd name="T4" fmla="*/ 0 w 44"/>
                  <a:gd name="T5" fmla="*/ 9 h 15"/>
                  <a:gd name="T6" fmla="*/ 5 w 44"/>
                  <a:gd name="T7" fmla="*/ 15 h 15"/>
                  <a:gd name="T8" fmla="*/ 22 w 44"/>
                  <a:gd name="T9" fmla="*/ 8 h 15"/>
                  <a:gd name="T10" fmla="*/ 39 w 44"/>
                  <a:gd name="T11" fmla="*/ 15 h 15"/>
                  <a:gd name="T12" fmla="*/ 44 w 44"/>
                  <a:gd name="T13" fmla="*/ 9 h 15"/>
                </a:gdLst>
                <a:ahLst/>
                <a:cxnLst>
                  <a:cxn ang="0">
                    <a:pos x="T0" y="T1"/>
                  </a:cxn>
                  <a:cxn ang="0">
                    <a:pos x="T2" y="T3"/>
                  </a:cxn>
                  <a:cxn ang="0">
                    <a:pos x="T4" y="T5"/>
                  </a:cxn>
                  <a:cxn ang="0">
                    <a:pos x="T6" y="T7"/>
                  </a:cxn>
                  <a:cxn ang="0">
                    <a:pos x="T8" y="T9"/>
                  </a:cxn>
                  <a:cxn ang="0">
                    <a:pos x="T10" y="T11"/>
                  </a:cxn>
                  <a:cxn ang="0">
                    <a:pos x="T12" y="T13"/>
                  </a:cxn>
                </a:cxnLst>
                <a:rect l="0" t="0" r="r" b="b"/>
                <a:pathLst>
                  <a:path w="44" h="15">
                    <a:moveTo>
                      <a:pt x="44" y="9"/>
                    </a:moveTo>
                    <a:cubicBezTo>
                      <a:pt x="38" y="3"/>
                      <a:pt x="30" y="0"/>
                      <a:pt x="22" y="0"/>
                    </a:cubicBezTo>
                    <a:cubicBezTo>
                      <a:pt x="14" y="0"/>
                      <a:pt x="6" y="3"/>
                      <a:pt x="0" y="9"/>
                    </a:cubicBezTo>
                    <a:cubicBezTo>
                      <a:pt x="5" y="15"/>
                      <a:pt x="5" y="15"/>
                      <a:pt x="5" y="15"/>
                    </a:cubicBezTo>
                    <a:cubicBezTo>
                      <a:pt x="10" y="10"/>
                      <a:pt x="16" y="8"/>
                      <a:pt x="22" y="8"/>
                    </a:cubicBezTo>
                    <a:cubicBezTo>
                      <a:pt x="28" y="8"/>
                      <a:pt x="34" y="10"/>
                      <a:pt x="39" y="15"/>
                    </a:cubicBezTo>
                    <a:lnTo>
                      <a:pt x="44" y="9"/>
                    </a:lnTo>
                    <a:close/>
                  </a:path>
                </a:pathLst>
              </a:custGeom>
              <a:grpFill/>
              <a:ln w="9525">
                <a:noFill/>
                <a:round/>
                <a:headEnd/>
                <a:tailEnd/>
              </a:ln>
              <a:extLst/>
            </p:spPr>
            <p:txBody>
              <a:bodyPr vert="horz" wrap="square" lIns="89619" tIns="44810" rIns="89619" bIns="44810" numCol="1" anchor="t" anchorCtr="0" compatLnSpc="1">
                <a:prstTxWarp prst="textNoShape">
                  <a:avLst/>
                </a:prstTxWarp>
              </a:bodyPr>
              <a:lstStyle/>
              <a:p>
                <a:pPr defTabSz="896203">
                  <a:defRPr/>
                </a:pPr>
                <a:endParaRPr lang="en-US" sz="1764" kern="0">
                  <a:gradFill>
                    <a:gsLst>
                      <a:gs pos="1250">
                        <a:srgbClr val="505050"/>
                      </a:gs>
                      <a:gs pos="76000">
                        <a:srgbClr val="505050"/>
                      </a:gs>
                    </a:gsLst>
                    <a:lin ang="5400000" scaled="0"/>
                  </a:gradFill>
                </a:endParaRPr>
              </a:p>
            </p:txBody>
          </p:sp>
        </p:grpSp>
      </p:grpSp>
      <p:grpSp>
        <p:nvGrpSpPr>
          <p:cNvPr id="114" name="Group 113"/>
          <p:cNvGrpSpPr/>
          <p:nvPr/>
        </p:nvGrpSpPr>
        <p:grpSpPr>
          <a:xfrm>
            <a:off x="8087388" y="2694006"/>
            <a:ext cx="787725" cy="787725"/>
            <a:chOff x="8255948" y="1246183"/>
            <a:chExt cx="1016000" cy="1016000"/>
          </a:xfrm>
        </p:grpSpPr>
        <p:sp>
          <p:nvSpPr>
            <p:cNvPr id="157" name="Oval 156"/>
            <p:cNvSpPr/>
            <p:nvPr/>
          </p:nvSpPr>
          <p:spPr bwMode="auto">
            <a:xfrm>
              <a:off x="8255948" y="1246183"/>
              <a:ext cx="1016000" cy="1016000"/>
            </a:xfrm>
            <a:prstGeom prst="ellipse">
              <a:avLst/>
            </a:prstGeom>
            <a:solidFill>
              <a:srgbClr val="0072C6"/>
            </a:solidFill>
            <a:ln w="19050" cap="flat" cmpd="sng" algn="ctr">
              <a:solidFill>
                <a:srgbClr val="FFFFFF"/>
              </a:solidFill>
              <a:prstDash val="solid"/>
              <a:headEnd type="none" w="med" len="med"/>
              <a:tailEnd type="none" w="med" len="med"/>
            </a:ln>
            <a:effectLst/>
          </p:spPr>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2744" kern="0" dirty="0">
                <a:gradFill>
                  <a:gsLst>
                    <a:gs pos="1250">
                      <a:srgbClr val="505050"/>
                    </a:gs>
                    <a:gs pos="76000">
                      <a:srgbClr val="505050"/>
                    </a:gs>
                  </a:gsLst>
                  <a:lin ang="5400000" scaled="0"/>
                </a:gradFill>
              </a:endParaRPr>
            </a:p>
          </p:txBody>
        </p:sp>
        <p:grpSp>
          <p:nvGrpSpPr>
            <p:cNvPr id="158" name="Group 14"/>
            <p:cNvGrpSpPr>
              <a:grpSpLocks noChangeAspect="1"/>
            </p:cNvGrpSpPr>
            <p:nvPr/>
          </p:nvGrpSpPr>
          <p:grpSpPr bwMode="auto">
            <a:xfrm>
              <a:off x="8510745" y="1613690"/>
              <a:ext cx="506413" cy="280987"/>
              <a:chOff x="5338" y="1027"/>
              <a:chExt cx="319" cy="177"/>
            </a:xfrm>
            <a:solidFill>
              <a:srgbClr val="FFFFFF"/>
            </a:solidFill>
          </p:grpSpPr>
          <p:sp>
            <p:nvSpPr>
              <p:cNvPr id="159" name="Rectangle 15"/>
              <p:cNvSpPr>
                <a:spLocks noChangeArrowheads="1"/>
              </p:cNvSpPr>
              <p:nvPr/>
            </p:nvSpPr>
            <p:spPr bwMode="auto">
              <a:xfrm>
                <a:off x="5406" y="1027"/>
                <a:ext cx="251" cy="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2352" kern="0">
                  <a:gradFill>
                    <a:gsLst>
                      <a:gs pos="1250">
                        <a:srgbClr val="505050"/>
                      </a:gs>
                      <a:gs pos="76000">
                        <a:srgbClr val="505050"/>
                      </a:gs>
                    </a:gsLst>
                    <a:lin ang="5400000" scaled="0"/>
                  </a:gradFill>
                </a:endParaRPr>
              </a:p>
            </p:txBody>
          </p:sp>
          <p:sp>
            <p:nvSpPr>
              <p:cNvPr id="160" name="Rectangle 16"/>
              <p:cNvSpPr>
                <a:spLocks noChangeArrowheads="1"/>
              </p:cNvSpPr>
              <p:nvPr/>
            </p:nvSpPr>
            <p:spPr bwMode="auto">
              <a:xfrm>
                <a:off x="5348" y="1106"/>
                <a:ext cx="19" cy="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2352" kern="0">
                  <a:gradFill>
                    <a:gsLst>
                      <a:gs pos="1250">
                        <a:srgbClr val="505050"/>
                      </a:gs>
                      <a:gs pos="76000">
                        <a:srgbClr val="505050"/>
                      </a:gs>
                    </a:gsLst>
                    <a:lin ang="5400000" scaled="0"/>
                  </a:gradFill>
                </a:endParaRPr>
              </a:p>
            </p:txBody>
          </p:sp>
          <p:sp>
            <p:nvSpPr>
              <p:cNvPr id="161" name="Rectangle 17"/>
              <p:cNvSpPr>
                <a:spLocks noChangeArrowheads="1"/>
              </p:cNvSpPr>
              <p:nvPr/>
            </p:nvSpPr>
            <p:spPr bwMode="auto">
              <a:xfrm>
                <a:off x="5348" y="1027"/>
                <a:ext cx="19" cy="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2352" kern="0">
                  <a:gradFill>
                    <a:gsLst>
                      <a:gs pos="1250">
                        <a:srgbClr val="505050"/>
                      </a:gs>
                      <a:gs pos="76000">
                        <a:srgbClr val="505050"/>
                      </a:gs>
                    </a:gsLst>
                    <a:lin ang="5400000" scaled="0"/>
                  </a:gradFill>
                </a:endParaRPr>
              </a:p>
            </p:txBody>
          </p:sp>
          <p:sp>
            <p:nvSpPr>
              <p:cNvPr id="162" name="Rectangle 18"/>
              <p:cNvSpPr>
                <a:spLocks noChangeArrowheads="1"/>
              </p:cNvSpPr>
              <p:nvPr/>
            </p:nvSpPr>
            <p:spPr bwMode="auto">
              <a:xfrm>
                <a:off x="5406" y="1106"/>
                <a:ext cx="251" cy="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2352" kern="0">
                  <a:gradFill>
                    <a:gsLst>
                      <a:gs pos="1250">
                        <a:srgbClr val="505050"/>
                      </a:gs>
                      <a:gs pos="76000">
                        <a:srgbClr val="505050"/>
                      </a:gs>
                    </a:gsLst>
                    <a:lin ang="5400000" scaled="0"/>
                  </a:gradFill>
                </a:endParaRPr>
              </a:p>
            </p:txBody>
          </p:sp>
          <p:sp>
            <p:nvSpPr>
              <p:cNvPr id="163" name="Rectangle 19"/>
              <p:cNvSpPr>
                <a:spLocks noChangeArrowheads="1"/>
              </p:cNvSpPr>
              <p:nvPr/>
            </p:nvSpPr>
            <p:spPr bwMode="auto">
              <a:xfrm>
                <a:off x="5406" y="1184"/>
                <a:ext cx="251" cy="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2352" kern="0">
                  <a:gradFill>
                    <a:gsLst>
                      <a:gs pos="1250">
                        <a:srgbClr val="505050"/>
                      </a:gs>
                      <a:gs pos="76000">
                        <a:srgbClr val="505050"/>
                      </a:gs>
                    </a:gsLst>
                    <a:lin ang="5400000" scaled="0"/>
                  </a:gradFill>
                </a:endParaRPr>
              </a:p>
            </p:txBody>
          </p:sp>
          <p:sp>
            <p:nvSpPr>
              <p:cNvPr id="164" name="Freeform 20"/>
              <p:cNvSpPr>
                <a:spLocks/>
              </p:cNvSpPr>
              <p:nvPr/>
            </p:nvSpPr>
            <p:spPr bwMode="auto">
              <a:xfrm>
                <a:off x="5338" y="1157"/>
                <a:ext cx="56" cy="47"/>
              </a:xfrm>
              <a:custGeom>
                <a:avLst/>
                <a:gdLst>
                  <a:gd name="T0" fmla="*/ 20 w 56"/>
                  <a:gd name="T1" fmla="*/ 47 h 47"/>
                  <a:gd name="T2" fmla="*/ 0 w 56"/>
                  <a:gd name="T3" fmla="*/ 27 h 47"/>
                  <a:gd name="T4" fmla="*/ 10 w 56"/>
                  <a:gd name="T5" fmla="*/ 18 h 47"/>
                  <a:gd name="T6" fmla="*/ 20 w 56"/>
                  <a:gd name="T7" fmla="*/ 27 h 47"/>
                  <a:gd name="T8" fmla="*/ 44 w 56"/>
                  <a:gd name="T9" fmla="*/ 0 h 47"/>
                  <a:gd name="T10" fmla="*/ 56 w 56"/>
                  <a:gd name="T11" fmla="*/ 13 h 47"/>
                  <a:gd name="T12" fmla="*/ 20 w 56"/>
                  <a:gd name="T13" fmla="*/ 47 h 47"/>
                </a:gdLst>
                <a:ahLst/>
                <a:cxnLst>
                  <a:cxn ang="0">
                    <a:pos x="T0" y="T1"/>
                  </a:cxn>
                  <a:cxn ang="0">
                    <a:pos x="T2" y="T3"/>
                  </a:cxn>
                  <a:cxn ang="0">
                    <a:pos x="T4" y="T5"/>
                  </a:cxn>
                  <a:cxn ang="0">
                    <a:pos x="T6" y="T7"/>
                  </a:cxn>
                  <a:cxn ang="0">
                    <a:pos x="T8" y="T9"/>
                  </a:cxn>
                  <a:cxn ang="0">
                    <a:pos x="T10" y="T11"/>
                  </a:cxn>
                  <a:cxn ang="0">
                    <a:pos x="T12" y="T13"/>
                  </a:cxn>
                </a:cxnLst>
                <a:rect l="0" t="0" r="r" b="b"/>
                <a:pathLst>
                  <a:path w="56" h="47">
                    <a:moveTo>
                      <a:pt x="20" y="47"/>
                    </a:moveTo>
                    <a:lnTo>
                      <a:pt x="0" y="27"/>
                    </a:lnTo>
                    <a:lnTo>
                      <a:pt x="10" y="18"/>
                    </a:lnTo>
                    <a:lnTo>
                      <a:pt x="20" y="27"/>
                    </a:lnTo>
                    <a:lnTo>
                      <a:pt x="44" y="0"/>
                    </a:lnTo>
                    <a:lnTo>
                      <a:pt x="56" y="13"/>
                    </a:lnTo>
                    <a:lnTo>
                      <a:pt x="20" y="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2352" kern="0">
                  <a:gradFill>
                    <a:gsLst>
                      <a:gs pos="1250">
                        <a:srgbClr val="505050"/>
                      </a:gs>
                      <a:gs pos="76000">
                        <a:srgbClr val="505050"/>
                      </a:gs>
                    </a:gsLst>
                    <a:lin ang="5400000" scaled="0"/>
                  </a:gradFill>
                </a:endParaRPr>
              </a:p>
            </p:txBody>
          </p:sp>
        </p:grpSp>
      </p:grpSp>
      <p:grpSp>
        <p:nvGrpSpPr>
          <p:cNvPr id="115" name="Group 114"/>
          <p:cNvGrpSpPr/>
          <p:nvPr/>
        </p:nvGrpSpPr>
        <p:grpSpPr>
          <a:xfrm>
            <a:off x="8087388" y="5086352"/>
            <a:ext cx="787725" cy="787725"/>
            <a:chOff x="9874008" y="2120048"/>
            <a:chExt cx="1016000" cy="1016000"/>
          </a:xfrm>
        </p:grpSpPr>
        <p:sp>
          <p:nvSpPr>
            <p:cNvPr id="155" name="Oval 154"/>
            <p:cNvSpPr/>
            <p:nvPr/>
          </p:nvSpPr>
          <p:spPr bwMode="auto">
            <a:xfrm>
              <a:off x="9874008" y="2120048"/>
              <a:ext cx="1016000" cy="1016000"/>
            </a:xfrm>
            <a:prstGeom prst="ellipse">
              <a:avLst/>
            </a:prstGeom>
            <a:solidFill>
              <a:srgbClr val="0072C6"/>
            </a:solidFill>
            <a:ln w="19050" cap="flat" cmpd="sng" algn="ctr">
              <a:solidFill>
                <a:srgbClr val="FFFFFF"/>
              </a:solidFill>
              <a:prstDash val="solid"/>
              <a:headEnd type="none" w="med" len="med"/>
              <a:tailEnd type="none" w="med" len="med"/>
            </a:ln>
            <a:effectLst/>
          </p:spPr>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2744" kern="0" dirty="0">
                <a:gradFill>
                  <a:gsLst>
                    <a:gs pos="1250">
                      <a:srgbClr val="505050"/>
                    </a:gs>
                    <a:gs pos="76000">
                      <a:srgbClr val="505050"/>
                    </a:gs>
                  </a:gsLst>
                  <a:lin ang="5400000" scaled="0"/>
                </a:gradFill>
              </a:endParaRPr>
            </a:p>
          </p:txBody>
        </p:sp>
        <p:sp>
          <p:nvSpPr>
            <p:cNvPr id="156" name="Freeform 24"/>
            <p:cNvSpPr>
              <a:spLocks noEditPoints="1"/>
            </p:cNvSpPr>
            <p:nvPr/>
          </p:nvSpPr>
          <p:spPr bwMode="auto">
            <a:xfrm>
              <a:off x="10212146" y="2416117"/>
              <a:ext cx="339725" cy="423862"/>
            </a:xfrm>
            <a:custGeom>
              <a:avLst/>
              <a:gdLst>
                <a:gd name="T0" fmla="*/ 114 w 214"/>
                <a:gd name="T1" fmla="*/ 53 h 267"/>
                <a:gd name="T2" fmla="*/ 114 w 214"/>
                <a:gd name="T3" fmla="*/ 0 h 267"/>
                <a:gd name="T4" fmla="*/ 95 w 214"/>
                <a:gd name="T5" fmla="*/ 0 h 267"/>
                <a:gd name="T6" fmla="*/ 95 w 214"/>
                <a:gd name="T7" fmla="*/ 53 h 267"/>
                <a:gd name="T8" fmla="*/ 0 w 214"/>
                <a:gd name="T9" fmla="*/ 53 h 267"/>
                <a:gd name="T10" fmla="*/ 0 w 214"/>
                <a:gd name="T11" fmla="*/ 267 h 267"/>
                <a:gd name="T12" fmla="*/ 214 w 214"/>
                <a:gd name="T13" fmla="*/ 267 h 267"/>
                <a:gd name="T14" fmla="*/ 214 w 214"/>
                <a:gd name="T15" fmla="*/ 53 h 267"/>
                <a:gd name="T16" fmla="*/ 114 w 214"/>
                <a:gd name="T17" fmla="*/ 53 h 267"/>
                <a:gd name="T18" fmla="*/ 195 w 214"/>
                <a:gd name="T19" fmla="*/ 247 h 267"/>
                <a:gd name="T20" fmla="*/ 19 w 214"/>
                <a:gd name="T21" fmla="*/ 247 h 267"/>
                <a:gd name="T22" fmla="*/ 19 w 214"/>
                <a:gd name="T23" fmla="*/ 70 h 267"/>
                <a:gd name="T24" fmla="*/ 95 w 214"/>
                <a:gd name="T25" fmla="*/ 70 h 267"/>
                <a:gd name="T26" fmla="*/ 95 w 214"/>
                <a:gd name="T27" fmla="*/ 182 h 267"/>
                <a:gd name="T28" fmla="*/ 63 w 214"/>
                <a:gd name="T29" fmla="*/ 150 h 267"/>
                <a:gd name="T30" fmla="*/ 51 w 214"/>
                <a:gd name="T31" fmla="*/ 165 h 267"/>
                <a:gd name="T32" fmla="*/ 105 w 214"/>
                <a:gd name="T33" fmla="*/ 221 h 267"/>
                <a:gd name="T34" fmla="*/ 161 w 214"/>
                <a:gd name="T35" fmla="*/ 165 h 267"/>
                <a:gd name="T36" fmla="*/ 149 w 214"/>
                <a:gd name="T37" fmla="*/ 150 h 267"/>
                <a:gd name="T38" fmla="*/ 114 w 214"/>
                <a:gd name="T39" fmla="*/ 182 h 267"/>
                <a:gd name="T40" fmla="*/ 114 w 214"/>
                <a:gd name="T41" fmla="*/ 70 h 267"/>
                <a:gd name="T42" fmla="*/ 195 w 214"/>
                <a:gd name="T43" fmla="*/ 70 h 267"/>
                <a:gd name="T44" fmla="*/ 195 w 214"/>
                <a:gd name="T45" fmla="*/ 247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4" h="267">
                  <a:moveTo>
                    <a:pt x="114" y="53"/>
                  </a:moveTo>
                  <a:lnTo>
                    <a:pt x="114" y="0"/>
                  </a:lnTo>
                  <a:lnTo>
                    <a:pt x="95" y="0"/>
                  </a:lnTo>
                  <a:lnTo>
                    <a:pt x="95" y="53"/>
                  </a:lnTo>
                  <a:lnTo>
                    <a:pt x="0" y="53"/>
                  </a:lnTo>
                  <a:lnTo>
                    <a:pt x="0" y="267"/>
                  </a:lnTo>
                  <a:lnTo>
                    <a:pt x="214" y="267"/>
                  </a:lnTo>
                  <a:lnTo>
                    <a:pt x="214" y="53"/>
                  </a:lnTo>
                  <a:lnTo>
                    <a:pt x="114" y="53"/>
                  </a:lnTo>
                  <a:close/>
                  <a:moveTo>
                    <a:pt x="195" y="247"/>
                  </a:moveTo>
                  <a:lnTo>
                    <a:pt x="19" y="247"/>
                  </a:lnTo>
                  <a:lnTo>
                    <a:pt x="19" y="70"/>
                  </a:lnTo>
                  <a:lnTo>
                    <a:pt x="95" y="70"/>
                  </a:lnTo>
                  <a:lnTo>
                    <a:pt x="95" y="182"/>
                  </a:lnTo>
                  <a:lnTo>
                    <a:pt x="63" y="150"/>
                  </a:lnTo>
                  <a:lnTo>
                    <a:pt x="51" y="165"/>
                  </a:lnTo>
                  <a:lnTo>
                    <a:pt x="105" y="221"/>
                  </a:lnTo>
                  <a:lnTo>
                    <a:pt x="161" y="165"/>
                  </a:lnTo>
                  <a:lnTo>
                    <a:pt x="149" y="150"/>
                  </a:lnTo>
                  <a:lnTo>
                    <a:pt x="114" y="182"/>
                  </a:lnTo>
                  <a:lnTo>
                    <a:pt x="114" y="70"/>
                  </a:lnTo>
                  <a:lnTo>
                    <a:pt x="195" y="70"/>
                  </a:lnTo>
                  <a:lnTo>
                    <a:pt x="195" y="247"/>
                  </a:lnTo>
                  <a:close/>
                </a:path>
              </a:pathLst>
            </a:custGeom>
            <a:solidFill>
              <a:srgbClr val="FFFFFF"/>
            </a:solidFill>
            <a:ln>
              <a:noFill/>
            </a:ln>
          </p:spPr>
          <p:txBody>
            <a:bodyPr vert="horz" wrap="square" lIns="89619" tIns="44810" rIns="89619" bIns="44810" numCol="1" anchor="t" anchorCtr="0" compatLnSpc="1">
              <a:prstTxWarp prst="textNoShape">
                <a:avLst/>
              </a:prstTxWarp>
            </a:bodyPr>
            <a:lstStyle/>
            <a:p>
              <a:pPr defTabSz="896203">
                <a:defRPr/>
              </a:pPr>
              <a:endParaRPr lang="en-US" sz="2352" kern="0">
                <a:gradFill>
                  <a:gsLst>
                    <a:gs pos="1250">
                      <a:srgbClr val="505050"/>
                    </a:gs>
                    <a:gs pos="76000">
                      <a:srgbClr val="505050"/>
                    </a:gs>
                  </a:gsLst>
                  <a:lin ang="5400000" scaled="0"/>
                </a:gradFill>
              </a:endParaRPr>
            </a:p>
          </p:txBody>
        </p:sp>
      </p:grpSp>
      <p:grpSp>
        <p:nvGrpSpPr>
          <p:cNvPr id="116" name="Group 115"/>
          <p:cNvGrpSpPr/>
          <p:nvPr/>
        </p:nvGrpSpPr>
        <p:grpSpPr>
          <a:xfrm>
            <a:off x="139649" y="3914662"/>
            <a:ext cx="787725" cy="787725"/>
            <a:chOff x="9101692" y="5077564"/>
            <a:chExt cx="1016000" cy="1016000"/>
          </a:xfrm>
        </p:grpSpPr>
        <p:sp>
          <p:nvSpPr>
            <p:cNvPr id="151" name="Oval 150"/>
            <p:cNvSpPr/>
            <p:nvPr/>
          </p:nvSpPr>
          <p:spPr bwMode="auto">
            <a:xfrm>
              <a:off x="9101692" y="5077564"/>
              <a:ext cx="1016000" cy="1016000"/>
            </a:xfrm>
            <a:prstGeom prst="ellipse">
              <a:avLst/>
            </a:prstGeom>
            <a:solidFill>
              <a:srgbClr val="0072C6"/>
            </a:solidFill>
            <a:ln w="19050" cap="flat" cmpd="sng" algn="ctr">
              <a:solidFill>
                <a:srgbClr val="FFFFFF"/>
              </a:solidFill>
              <a:prstDash val="solid"/>
              <a:headEnd type="none" w="med" len="med"/>
              <a:tailEnd type="none" w="med" len="med"/>
            </a:ln>
            <a:effectLst/>
          </p:spPr>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2744" kern="0" dirty="0">
                <a:gradFill>
                  <a:gsLst>
                    <a:gs pos="1250">
                      <a:srgbClr val="505050"/>
                    </a:gs>
                    <a:gs pos="76000">
                      <a:srgbClr val="505050"/>
                    </a:gs>
                  </a:gsLst>
                  <a:lin ang="5400000" scaled="0"/>
                </a:gradFill>
              </a:endParaRPr>
            </a:p>
          </p:txBody>
        </p:sp>
        <p:grpSp>
          <p:nvGrpSpPr>
            <p:cNvPr id="152" name="Group 27"/>
            <p:cNvGrpSpPr>
              <a:grpSpLocks noChangeAspect="1"/>
            </p:cNvGrpSpPr>
            <p:nvPr/>
          </p:nvGrpSpPr>
          <p:grpSpPr bwMode="auto">
            <a:xfrm>
              <a:off x="9429750" y="5395666"/>
              <a:ext cx="359884" cy="379798"/>
              <a:chOff x="5905" y="3448"/>
              <a:chExt cx="253" cy="267"/>
            </a:xfrm>
            <a:solidFill>
              <a:srgbClr val="FFFFFF"/>
            </a:solidFill>
          </p:grpSpPr>
          <p:sp>
            <p:nvSpPr>
              <p:cNvPr id="153" name="Freeform 28"/>
              <p:cNvSpPr>
                <a:spLocks noEditPoints="1"/>
              </p:cNvSpPr>
              <p:nvPr/>
            </p:nvSpPr>
            <p:spPr bwMode="auto">
              <a:xfrm>
                <a:off x="5905" y="3448"/>
                <a:ext cx="253" cy="267"/>
              </a:xfrm>
              <a:custGeom>
                <a:avLst/>
                <a:gdLst>
                  <a:gd name="T0" fmla="*/ 72 w 104"/>
                  <a:gd name="T1" fmla="*/ 78 h 110"/>
                  <a:gd name="T2" fmla="*/ 72 w 104"/>
                  <a:gd name="T3" fmla="*/ 94 h 110"/>
                  <a:gd name="T4" fmla="*/ 64 w 104"/>
                  <a:gd name="T5" fmla="*/ 94 h 110"/>
                  <a:gd name="T6" fmla="*/ 34 w 104"/>
                  <a:gd name="T7" fmla="*/ 63 h 110"/>
                  <a:gd name="T8" fmla="*/ 32 w 104"/>
                  <a:gd name="T9" fmla="*/ 62 h 110"/>
                  <a:gd name="T10" fmla="*/ 30 w 104"/>
                  <a:gd name="T11" fmla="*/ 63 h 110"/>
                  <a:gd name="T12" fmla="*/ 0 w 104"/>
                  <a:gd name="T13" fmla="*/ 94 h 110"/>
                  <a:gd name="T14" fmla="*/ 0 w 104"/>
                  <a:gd name="T15" fmla="*/ 98 h 110"/>
                  <a:gd name="T16" fmla="*/ 8 w 104"/>
                  <a:gd name="T17" fmla="*/ 98 h 110"/>
                  <a:gd name="T18" fmla="*/ 8 w 104"/>
                  <a:gd name="T19" fmla="*/ 94 h 110"/>
                  <a:gd name="T20" fmla="*/ 8 w 104"/>
                  <a:gd name="T21" fmla="*/ 90 h 110"/>
                  <a:gd name="T22" fmla="*/ 32 w 104"/>
                  <a:gd name="T23" fmla="*/ 110 h 110"/>
                  <a:gd name="T24" fmla="*/ 56 w 104"/>
                  <a:gd name="T25" fmla="*/ 90 h 110"/>
                  <a:gd name="T26" fmla="*/ 56 w 104"/>
                  <a:gd name="T27" fmla="*/ 94 h 110"/>
                  <a:gd name="T28" fmla="*/ 56 w 104"/>
                  <a:gd name="T29" fmla="*/ 102 h 110"/>
                  <a:gd name="T30" fmla="*/ 104 w 104"/>
                  <a:gd name="T31" fmla="*/ 102 h 110"/>
                  <a:gd name="T32" fmla="*/ 104 w 104"/>
                  <a:gd name="T33" fmla="*/ 78 h 110"/>
                  <a:gd name="T34" fmla="*/ 100 w 104"/>
                  <a:gd name="T35" fmla="*/ 78 h 110"/>
                  <a:gd name="T36" fmla="*/ 100 w 104"/>
                  <a:gd name="T37" fmla="*/ 70 h 110"/>
                  <a:gd name="T38" fmla="*/ 104 w 104"/>
                  <a:gd name="T39" fmla="*/ 70 h 110"/>
                  <a:gd name="T40" fmla="*/ 104 w 104"/>
                  <a:gd name="T41" fmla="*/ 62 h 110"/>
                  <a:gd name="T42" fmla="*/ 100 w 104"/>
                  <a:gd name="T43" fmla="*/ 62 h 110"/>
                  <a:gd name="T44" fmla="*/ 100 w 104"/>
                  <a:gd name="T45" fmla="*/ 58 h 110"/>
                  <a:gd name="T46" fmla="*/ 88 w 104"/>
                  <a:gd name="T47" fmla="*/ 46 h 110"/>
                  <a:gd name="T48" fmla="*/ 60 w 104"/>
                  <a:gd name="T49" fmla="*/ 46 h 110"/>
                  <a:gd name="T50" fmla="*/ 48 w 104"/>
                  <a:gd name="T51" fmla="*/ 32 h 110"/>
                  <a:gd name="T52" fmla="*/ 75 w 104"/>
                  <a:gd name="T53" fmla="*/ 5 h 110"/>
                  <a:gd name="T54" fmla="*/ 69 w 104"/>
                  <a:gd name="T55" fmla="*/ 0 h 110"/>
                  <a:gd name="T56" fmla="*/ 25 w 104"/>
                  <a:gd name="T57" fmla="*/ 43 h 110"/>
                  <a:gd name="T58" fmla="*/ 11 w 104"/>
                  <a:gd name="T59" fmla="*/ 6 h 110"/>
                  <a:gd name="T60" fmla="*/ 0 w 104"/>
                  <a:gd name="T61" fmla="*/ 6 h 110"/>
                  <a:gd name="T62" fmla="*/ 0 w 104"/>
                  <a:gd name="T63" fmla="*/ 54 h 110"/>
                  <a:gd name="T64" fmla="*/ 88 w 104"/>
                  <a:gd name="T65" fmla="*/ 54 h 110"/>
                  <a:gd name="T66" fmla="*/ 92 w 104"/>
                  <a:gd name="T67" fmla="*/ 58 h 110"/>
                  <a:gd name="T68" fmla="*/ 92 w 104"/>
                  <a:gd name="T69" fmla="*/ 78 h 110"/>
                  <a:gd name="T70" fmla="*/ 72 w 104"/>
                  <a:gd name="T71" fmla="*/ 78 h 110"/>
                  <a:gd name="T72" fmla="*/ 32 w 104"/>
                  <a:gd name="T73" fmla="*/ 102 h 110"/>
                  <a:gd name="T74" fmla="*/ 16 w 104"/>
                  <a:gd name="T75" fmla="*/ 86 h 110"/>
                  <a:gd name="T76" fmla="*/ 32 w 104"/>
                  <a:gd name="T77" fmla="*/ 70 h 110"/>
                  <a:gd name="T78" fmla="*/ 48 w 104"/>
                  <a:gd name="T79" fmla="*/ 86 h 110"/>
                  <a:gd name="T80" fmla="*/ 32 w 104"/>
                  <a:gd name="T81" fmla="*/ 102 h 110"/>
                  <a:gd name="T82" fmla="*/ 51 w 104"/>
                  <a:gd name="T83" fmla="*/ 46 h 110"/>
                  <a:gd name="T84" fmla="*/ 34 w 104"/>
                  <a:gd name="T85" fmla="*/ 46 h 110"/>
                  <a:gd name="T86" fmla="*/ 42 w 104"/>
                  <a:gd name="T87" fmla="*/ 39 h 110"/>
                  <a:gd name="T88" fmla="*/ 51 w 104"/>
                  <a:gd name="T89" fmla="*/ 46 h 110"/>
                  <a:gd name="T90" fmla="*/ 8 w 104"/>
                  <a:gd name="T91" fmla="*/ 46 h 110"/>
                  <a:gd name="T92" fmla="*/ 8 w 104"/>
                  <a:gd name="T93" fmla="*/ 21 h 110"/>
                  <a:gd name="T94" fmla="*/ 18 w 104"/>
                  <a:gd name="T95" fmla="*/ 46 h 110"/>
                  <a:gd name="T96" fmla="*/ 8 w 104"/>
                  <a:gd name="T97" fmla="*/ 46 h 110"/>
                  <a:gd name="T98" fmla="*/ 96 w 104"/>
                  <a:gd name="T99" fmla="*/ 94 h 110"/>
                  <a:gd name="T100" fmla="*/ 80 w 104"/>
                  <a:gd name="T101" fmla="*/ 94 h 110"/>
                  <a:gd name="T102" fmla="*/ 80 w 104"/>
                  <a:gd name="T103" fmla="*/ 86 h 110"/>
                  <a:gd name="T104" fmla="*/ 96 w 104"/>
                  <a:gd name="T105" fmla="*/ 86 h 110"/>
                  <a:gd name="T106" fmla="*/ 96 w 104"/>
                  <a:gd name="T107" fmla="*/ 9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4" h="110">
                    <a:moveTo>
                      <a:pt x="72" y="78"/>
                    </a:moveTo>
                    <a:cubicBezTo>
                      <a:pt x="72" y="94"/>
                      <a:pt x="72" y="94"/>
                      <a:pt x="72" y="94"/>
                    </a:cubicBezTo>
                    <a:cubicBezTo>
                      <a:pt x="64" y="94"/>
                      <a:pt x="64" y="94"/>
                      <a:pt x="64" y="94"/>
                    </a:cubicBezTo>
                    <a:cubicBezTo>
                      <a:pt x="64" y="78"/>
                      <a:pt x="51" y="64"/>
                      <a:pt x="34" y="63"/>
                    </a:cubicBezTo>
                    <a:cubicBezTo>
                      <a:pt x="34" y="62"/>
                      <a:pt x="33" y="62"/>
                      <a:pt x="32" y="62"/>
                    </a:cubicBezTo>
                    <a:cubicBezTo>
                      <a:pt x="31" y="62"/>
                      <a:pt x="30" y="62"/>
                      <a:pt x="30" y="63"/>
                    </a:cubicBezTo>
                    <a:cubicBezTo>
                      <a:pt x="13" y="64"/>
                      <a:pt x="0" y="78"/>
                      <a:pt x="0" y="94"/>
                    </a:cubicBezTo>
                    <a:cubicBezTo>
                      <a:pt x="0" y="98"/>
                      <a:pt x="0" y="98"/>
                      <a:pt x="0" y="98"/>
                    </a:cubicBezTo>
                    <a:cubicBezTo>
                      <a:pt x="8" y="98"/>
                      <a:pt x="8" y="98"/>
                      <a:pt x="8" y="98"/>
                    </a:cubicBezTo>
                    <a:cubicBezTo>
                      <a:pt x="8" y="94"/>
                      <a:pt x="8" y="94"/>
                      <a:pt x="8" y="94"/>
                    </a:cubicBezTo>
                    <a:cubicBezTo>
                      <a:pt x="8" y="93"/>
                      <a:pt x="8" y="92"/>
                      <a:pt x="8" y="90"/>
                    </a:cubicBezTo>
                    <a:cubicBezTo>
                      <a:pt x="10" y="102"/>
                      <a:pt x="20" y="110"/>
                      <a:pt x="32" y="110"/>
                    </a:cubicBezTo>
                    <a:cubicBezTo>
                      <a:pt x="44" y="110"/>
                      <a:pt x="54" y="102"/>
                      <a:pt x="56" y="90"/>
                    </a:cubicBezTo>
                    <a:cubicBezTo>
                      <a:pt x="56" y="92"/>
                      <a:pt x="56" y="93"/>
                      <a:pt x="56" y="94"/>
                    </a:cubicBezTo>
                    <a:cubicBezTo>
                      <a:pt x="56" y="102"/>
                      <a:pt x="56" y="102"/>
                      <a:pt x="56" y="102"/>
                    </a:cubicBezTo>
                    <a:cubicBezTo>
                      <a:pt x="104" y="102"/>
                      <a:pt x="104" y="102"/>
                      <a:pt x="104" y="102"/>
                    </a:cubicBezTo>
                    <a:cubicBezTo>
                      <a:pt x="104" y="78"/>
                      <a:pt x="104" y="78"/>
                      <a:pt x="104" y="78"/>
                    </a:cubicBezTo>
                    <a:cubicBezTo>
                      <a:pt x="100" y="78"/>
                      <a:pt x="100" y="78"/>
                      <a:pt x="100" y="78"/>
                    </a:cubicBezTo>
                    <a:cubicBezTo>
                      <a:pt x="100" y="70"/>
                      <a:pt x="100" y="70"/>
                      <a:pt x="100" y="70"/>
                    </a:cubicBezTo>
                    <a:cubicBezTo>
                      <a:pt x="104" y="70"/>
                      <a:pt x="104" y="70"/>
                      <a:pt x="104" y="70"/>
                    </a:cubicBezTo>
                    <a:cubicBezTo>
                      <a:pt x="104" y="62"/>
                      <a:pt x="104" y="62"/>
                      <a:pt x="104" y="62"/>
                    </a:cubicBezTo>
                    <a:cubicBezTo>
                      <a:pt x="100" y="62"/>
                      <a:pt x="100" y="62"/>
                      <a:pt x="100" y="62"/>
                    </a:cubicBezTo>
                    <a:cubicBezTo>
                      <a:pt x="100" y="58"/>
                      <a:pt x="100" y="58"/>
                      <a:pt x="100" y="58"/>
                    </a:cubicBezTo>
                    <a:cubicBezTo>
                      <a:pt x="100" y="52"/>
                      <a:pt x="95" y="46"/>
                      <a:pt x="88" y="46"/>
                    </a:cubicBezTo>
                    <a:cubicBezTo>
                      <a:pt x="60" y="46"/>
                      <a:pt x="60" y="46"/>
                      <a:pt x="60" y="46"/>
                    </a:cubicBezTo>
                    <a:cubicBezTo>
                      <a:pt x="58" y="40"/>
                      <a:pt x="54" y="35"/>
                      <a:pt x="48" y="32"/>
                    </a:cubicBezTo>
                    <a:cubicBezTo>
                      <a:pt x="75" y="5"/>
                      <a:pt x="75" y="5"/>
                      <a:pt x="75" y="5"/>
                    </a:cubicBezTo>
                    <a:cubicBezTo>
                      <a:pt x="69" y="0"/>
                      <a:pt x="69" y="0"/>
                      <a:pt x="69" y="0"/>
                    </a:cubicBezTo>
                    <a:cubicBezTo>
                      <a:pt x="25" y="43"/>
                      <a:pt x="25" y="43"/>
                      <a:pt x="25" y="43"/>
                    </a:cubicBezTo>
                    <a:cubicBezTo>
                      <a:pt x="11" y="6"/>
                      <a:pt x="11" y="6"/>
                      <a:pt x="11" y="6"/>
                    </a:cubicBezTo>
                    <a:cubicBezTo>
                      <a:pt x="0" y="6"/>
                      <a:pt x="0" y="6"/>
                      <a:pt x="0" y="6"/>
                    </a:cubicBezTo>
                    <a:cubicBezTo>
                      <a:pt x="0" y="54"/>
                      <a:pt x="0" y="54"/>
                      <a:pt x="0" y="54"/>
                    </a:cubicBezTo>
                    <a:cubicBezTo>
                      <a:pt x="88" y="54"/>
                      <a:pt x="88" y="54"/>
                      <a:pt x="88" y="54"/>
                    </a:cubicBezTo>
                    <a:cubicBezTo>
                      <a:pt x="90" y="54"/>
                      <a:pt x="92" y="56"/>
                      <a:pt x="92" y="58"/>
                    </a:cubicBezTo>
                    <a:cubicBezTo>
                      <a:pt x="92" y="78"/>
                      <a:pt x="92" y="78"/>
                      <a:pt x="92" y="78"/>
                    </a:cubicBezTo>
                    <a:lnTo>
                      <a:pt x="72" y="78"/>
                    </a:lnTo>
                    <a:close/>
                    <a:moveTo>
                      <a:pt x="32" y="102"/>
                    </a:moveTo>
                    <a:cubicBezTo>
                      <a:pt x="23" y="102"/>
                      <a:pt x="16" y="95"/>
                      <a:pt x="16" y="86"/>
                    </a:cubicBezTo>
                    <a:cubicBezTo>
                      <a:pt x="16" y="78"/>
                      <a:pt x="23" y="70"/>
                      <a:pt x="32" y="70"/>
                    </a:cubicBezTo>
                    <a:cubicBezTo>
                      <a:pt x="41" y="70"/>
                      <a:pt x="48" y="78"/>
                      <a:pt x="48" y="86"/>
                    </a:cubicBezTo>
                    <a:cubicBezTo>
                      <a:pt x="48" y="95"/>
                      <a:pt x="41" y="102"/>
                      <a:pt x="32" y="102"/>
                    </a:cubicBezTo>
                    <a:close/>
                    <a:moveTo>
                      <a:pt x="51" y="46"/>
                    </a:moveTo>
                    <a:cubicBezTo>
                      <a:pt x="34" y="46"/>
                      <a:pt x="34" y="46"/>
                      <a:pt x="34" y="46"/>
                    </a:cubicBezTo>
                    <a:cubicBezTo>
                      <a:pt x="42" y="39"/>
                      <a:pt x="42" y="39"/>
                      <a:pt x="42" y="39"/>
                    </a:cubicBezTo>
                    <a:cubicBezTo>
                      <a:pt x="46" y="39"/>
                      <a:pt x="50" y="42"/>
                      <a:pt x="51" y="46"/>
                    </a:cubicBezTo>
                    <a:close/>
                    <a:moveTo>
                      <a:pt x="8" y="46"/>
                    </a:moveTo>
                    <a:cubicBezTo>
                      <a:pt x="8" y="21"/>
                      <a:pt x="8" y="21"/>
                      <a:pt x="8" y="21"/>
                    </a:cubicBezTo>
                    <a:cubicBezTo>
                      <a:pt x="18" y="46"/>
                      <a:pt x="18" y="46"/>
                      <a:pt x="18" y="46"/>
                    </a:cubicBezTo>
                    <a:lnTo>
                      <a:pt x="8" y="46"/>
                    </a:lnTo>
                    <a:close/>
                    <a:moveTo>
                      <a:pt x="96" y="94"/>
                    </a:moveTo>
                    <a:cubicBezTo>
                      <a:pt x="80" y="94"/>
                      <a:pt x="80" y="94"/>
                      <a:pt x="80" y="94"/>
                    </a:cubicBezTo>
                    <a:cubicBezTo>
                      <a:pt x="80" y="86"/>
                      <a:pt x="80" y="86"/>
                      <a:pt x="80" y="86"/>
                    </a:cubicBezTo>
                    <a:cubicBezTo>
                      <a:pt x="96" y="86"/>
                      <a:pt x="96" y="86"/>
                      <a:pt x="96" y="86"/>
                    </a:cubicBezTo>
                    <a:lnTo>
                      <a:pt x="96" y="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2352" kern="0">
                  <a:gradFill>
                    <a:gsLst>
                      <a:gs pos="1250">
                        <a:srgbClr val="505050"/>
                      </a:gs>
                      <a:gs pos="76000">
                        <a:srgbClr val="505050"/>
                      </a:gs>
                    </a:gsLst>
                    <a:lin ang="5400000" scaled="0"/>
                  </a:gradFill>
                </a:endParaRPr>
              </a:p>
            </p:txBody>
          </p:sp>
          <p:sp>
            <p:nvSpPr>
              <p:cNvPr id="154" name="Oval 29"/>
              <p:cNvSpPr>
                <a:spLocks noChangeArrowheads="1"/>
              </p:cNvSpPr>
              <p:nvPr/>
            </p:nvSpPr>
            <p:spPr bwMode="auto">
              <a:xfrm>
                <a:off x="5974" y="3647"/>
                <a:ext cx="19" cy="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2352" kern="0">
                  <a:gradFill>
                    <a:gsLst>
                      <a:gs pos="1250">
                        <a:srgbClr val="505050"/>
                      </a:gs>
                      <a:gs pos="76000">
                        <a:srgbClr val="505050"/>
                      </a:gs>
                    </a:gsLst>
                    <a:lin ang="5400000" scaled="0"/>
                  </a:gradFill>
                </a:endParaRPr>
              </a:p>
            </p:txBody>
          </p:sp>
        </p:grpSp>
      </p:grpSp>
      <p:grpSp>
        <p:nvGrpSpPr>
          <p:cNvPr id="117" name="Group 116"/>
          <p:cNvGrpSpPr/>
          <p:nvPr/>
        </p:nvGrpSpPr>
        <p:grpSpPr>
          <a:xfrm>
            <a:off x="3819857" y="3914662"/>
            <a:ext cx="787725" cy="787725"/>
            <a:chOff x="10191578" y="3747236"/>
            <a:chExt cx="1016000" cy="1016000"/>
          </a:xfrm>
        </p:grpSpPr>
        <p:sp>
          <p:nvSpPr>
            <p:cNvPr id="136" name="Oval 135"/>
            <p:cNvSpPr/>
            <p:nvPr/>
          </p:nvSpPr>
          <p:spPr bwMode="auto">
            <a:xfrm>
              <a:off x="10191578" y="3747236"/>
              <a:ext cx="1016000" cy="1016000"/>
            </a:xfrm>
            <a:prstGeom prst="ellipse">
              <a:avLst/>
            </a:prstGeom>
            <a:solidFill>
              <a:srgbClr val="0072C6"/>
            </a:solidFill>
            <a:ln w="19050" cap="flat" cmpd="sng" algn="ctr">
              <a:solidFill>
                <a:srgbClr val="FFFFFF"/>
              </a:solidFill>
              <a:prstDash val="solid"/>
              <a:headEnd type="none" w="med" len="med"/>
              <a:tailEnd type="none" w="med" len="med"/>
            </a:ln>
            <a:effectLst/>
          </p:spPr>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2744" kern="0" dirty="0">
                <a:gradFill>
                  <a:gsLst>
                    <a:gs pos="1250">
                      <a:srgbClr val="505050"/>
                    </a:gs>
                    <a:gs pos="76000">
                      <a:srgbClr val="505050"/>
                    </a:gs>
                  </a:gsLst>
                  <a:lin ang="5400000" scaled="0"/>
                </a:gradFill>
              </a:endParaRPr>
            </a:p>
          </p:txBody>
        </p:sp>
        <p:grpSp>
          <p:nvGrpSpPr>
            <p:cNvPr id="137" name="Group 136"/>
            <p:cNvGrpSpPr/>
            <p:nvPr/>
          </p:nvGrpSpPr>
          <p:grpSpPr>
            <a:xfrm>
              <a:off x="10432874" y="4043364"/>
              <a:ext cx="533408" cy="423746"/>
              <a:chOff x="10432072" y="4001501"/>
              <a:chExt cx="598248" cy="475257"/>
            </a:xfrm>
          </p:grpSpPr>
          <p:grpSp>
            <p:nvGrpSpPr>
              <p:cNvPr id="138" name="Group 32"/>
              <p:cNvGrpSpPr>
                <a:grpSpLocks noChangeAspect="1"/>
              </p:cNvGrpSpPr>
              <p:nvPr/>
            </p:nvGrpSpPr>
            <p:grpSpPr bwMode="auto">
              <a:xfrm>
                <a:off x="10486721" y="4165607"/>
                <a:ext cx="488950" cy="311151"/>
                <a:chOff x="6627" y="2624"/>
                <a:chExt cx="308" cy="196"/>
              </a:xfrm>
              <a:solidFill>
                <a:srgbClr val="FFFFFF"/>
              </a:solidFill>
            </p:grpSpPr>
            <p:sp>
              <p:nvSpPr>
                <p:cNvPr id="148" name="Freeform 33"/>
                <p:cNvSpPr>
                  <a:spLocks noEditPoints="1"/>
                </p:cNvSpPr>
                <p:nvPr/>
              </p:nvSpPr>
              <p:spPr bwMode="auto">
                <a:xfrm>
                  <a:off x="6627" y="2624"/>
                  <a:ext cx="308" cy="196"/>
                </a:xfrm>
                <a:custGeom>
                  <a:avLst/>
                  <a:gdLst>
                    <a:gd name="T0" fmla="*/ 280 w 308"/>
                    <a:gd name="T1" fmla="*/ 58 h 196"/>
                    <a:gd name="T2" fmla="*/ 251 w 308"/>
                    <a:gd name="T3" fmla="*/ 0 h 196"/>
                    <a:gd name="T4" fmla="*/ 38 w 308"/>
                    <a:gd name="T5" fmla="*/ 58 h 196"/>
                    <a:gd name="T6" fmla="*/ 9 w 308"/>
                    <a:gd name="T7" fmla="*/ 58 h 196"/>
                    <a:gd name="T8" fmla="*/ 0 w 308"/>
                    <a:gd name="T9" fmla="*/ 117 h 196"/>
                    <a:gd name="T10" fmla="*/ 0 w 308"/>
                    <a:gd name="T11" fmla="*/ 137 h 196"/>
                    <a:gd name="T12" fmla="*/ 0 w 308"/>
                    <a:gd name="T13" fmla="*/ 166 h 196"/>
                    <a:gd name="T14" fmla="*/ 9 w 308"/>
                    <a:gd name="T15" fmla="*/ 176 h 196"/>
                    <a:gd name="T16" fmla="*/ 48 w 308"/>
                    <a:gd name="T17" fmla="*/ 196 h 196"/>
                    <a:gd name="T18" fmla="*/ 260 w 308"/>
                    <a:gd name="T19" fmla="*/ 176 h 196"/>
                    <a:gd name="T20" fmla="*/ 299 w 308"/>
                    <a:gd name="T21" fmla="*/ 196 h 196"/>
                    <a:gd name="T22" fmla="*/ 308 w 308"/>
                    <a:gd name="T23" fmla="*/ 176 h 196"/>
                    <a:gd name="T24" fmla="*/ 308 w 308"/>
                    <a:gd name="T25" fmla="*/ 156 h 196"/>
                    <a:gd name="T26" fmla="*/ 308 w 308"/>
                    <a:gd name="T27" fmla="*/ 127 h 196"/>
                    <a:gd name="T28" fmla="*/ 299 w 308"/>
                    <a:gd name="T29" fmla="*/ 117 h 196"/>
                    <a:gd name="T30" fmla="*/ 280 w 308"/>
                    <a:gd name="T31" fmla="*/ 78 h 196"/>
                    <a:gd name="T32" fmla="*/ 222 w 308"/>
                    <a:gd name="T33" fmla="*/ 117 h 196"/>
                    <a:gd name="T34" fmla="*/ 270 w 308"/>
                    <a:gd name="T35" fmla="*/ 78 h 196"/>
                    <a:gd name="T36" fmla="*/ 125 w 308"/>
                    <a:gd name="T37" fmla="*/ 78 h 196"/>
                    <a:gd name="T38" fmla="*/ 106 w 308"/>
                    <a:gd name="T39" fmla="*/ 117 h 196"/>
                    <a:gd name="T40" fmla="*/ 125 w 308"/>
                    <a:gd name="T41" fmla="*/ 78 h 196"/>
                    <a:gd name="T42" fmla="*/ 164 w 308"/>
                    <a:gd name="T43" fmla="*/ 78 h 196"/>
                    <a:gd name="T44" fmla="*/ 144 w 308"/>
                    <a:gd name="T45" fmla="*/ 117 h 196"/>
                    <a:gd name="T46" fmla="*/ 183 w 308"/>
                    <a:gd name="T47" fmla="*/ 78 h 196"/>
                    <a:gd name="T48" fmla="*/ 202 w 308"/>
                    <a:gd name="T49" fmla="*/ 117 h 196"/>
                    <a:gd name="T50" fmla="*/ 183 w 308"/>
                    <a:gd name="T51" fmla="*/ 78 h 196"/>
                    <a:gd name="T52" fmla="*/ 236 w 308"/>
                    <a:gd name="T53" fmla="*/ 19 h 196"/>
                    <a:gd name="T54" fmla="*/ 57 w 308"/>
                    <a:gd name="T55" fmla="*/ 58 h 196"/>
                    <a:gd name="T56" fmla="*/ 28 w 308"/>
                    <a:gd name="T57" fmla="*/ 78 h 196"/>
                    <a:gd name="T58" fmla="*/ 86 w 308"/>
                    <a:gd name="T59" fmla="*/ 78 h 196"/>
                    <a:gd name="T60" fmla="*/ 28 w 308"/>
                    <a:gd name="T61" fmla="*/ 117 h 196"/>
                    <a:gd name="T62" fmla="*/ 289 w 308"/>
                    <a:gd name="T63" fmla="*/ 156 h 196"/>
                    <a:gd name="T64" fmla="*/ 19 w 308"/>
                    <a:gd name="T65" fmla="*/ 137 h 196"/>
                    <a:gd name="T66" fmla="*/ 289 w 308"/>
                    <a:gd name="T67" fmla="*/ 15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8" h="196">
                      <a:moveTo>
                        <a:pt x="299" y="58"/>
                      </a:moveTo>
                      <a:lnTo>
                        <a:pt x="280" y="58"/>
                      </a:lnTo>
                      <a:lnTo>
                        <a:pt x="270" y="58"/>
                      </a:lnTo>
                      <a:lnTo>
                        <a:pt x="251" y="0"/>
                      </a:lnTo>
                      <a:lnTo>
                        <a:pt x="57" y="0"/>
                      </a:lnTo>
                      <a:lnTo>
                        <a:pt x="38" y="58"/>
                      </a:lnTo>
                      <a:lnTo>
                        <a:pt x="28" y="58"/>
                      </a:lnTo>
                      <a:lnTo>
                        <a:pt x="9" y="58"/>
                      </a:lnTo>
                      <a:lnTo>
                        <a:pt x="9" y="117"/>
                      </a:lnTo>
                      <a:lnTo>
                        <a:pt x="0" y="117"/>
                      </a:lnTo>
                      <a:lnTo>
                        <a:pt x="0" y="127"/>
                      </a:lnTo>
                      <a:lnTo>
                        <a:pt x="0" y="137"/>
                      </a:lnTo>
                      <a:lnTo>
                        <a:pt x="0" y="156"/>
                      </a:lnTo>
                      <a:lnTo>
                        <a:pt x="0" y="166"/>
                      </a:lnTo>
                      <a:lnTo>
                        <a:pt x="0" y="176"/>
                      </a:lnTo>
                      <a:lnTo>
                        <a:pt x="9" y="176"/>
                      </a:lnTo>
                      <a:lnTo>
                        <a:pt x="9" y="196"/>
                      </a:lnTo>
                      <a:lnTo>
                        <a:pt x="48" y="196"/>
                      </a:lnTo>
                      <a:lnTo>
                        <a:pt x="48" y="176"/>
                      </a:lnTo>
                      <a:lnTo>
                        <a:pt x="260" y="176"/>
                      </a:lnTo>
                      <a:lnTo>
                        <a:pt x="260" y="196"/>
                      </a:lnTo>
                      <a:lnTo>
                        <a:pt x="299" y="196"/>
                      </a:lnTo>
                      <a:lnTo>
                        <a:pt x="299" y="176"/>
                      </a:lnTo>
                      <a:lnTo>
                        <a:pt x="308" y="176"/>
                      </a:lnTo>
                      <a:lnTo>
                        <a:pt x="308" y="166"/>
                      </a:lnTo>
                      <a:lnTo>
                        <a:pt x="308" y="156"/>
                      </a:lnTo>
                      <a:lnTo>
                        <a:pt x="308" y="137"/>
                      </a:lnTo>
                      <a:lnTo>
                        <a:pt x="308" y="127"/>
                      </a:lnTo>
                      <a:lnTo>
                        <a:pt x="308" y="117"/>
                      </a:lnTo>
                      <a:lnTo>
                        <a:pt x="299" y="117"/>
                      </a:lnTo>
                      <a:lnTo>
                        <a:pt x="299" y="58"/>
                      </a:lnTo>
                      <a:close/>
                      <a:moveTo>
                        <a:pt x="280" y="78"/>
                      </a:moveTo>
                      <a:lnTo>
                        <a:pt x="280" y="117"/>
                      </a:lnTo>
                      <a:lnTo>
                        <a:pt x="222" y="117"/>
                      </a:lnTo>
                      <a:lnTo>
                        <a:pt x="222" y="78"/>
                      </a:lnTo>
                      <a:lnTo>
                        <a:pt x="270" y="78"/>
                      </a:lnTo>
                      <a:lnTo>
                        <a:pt x="280" y="78"/>
                      </a:lnTo>
                      <a:close/>
                      <a:moveTo>
                        <a:pt x="125" y="78"/>
                      </a:moveTo>
                      <a:lnTo>
                        <a:pt x="125" y="117"/>
                      </a:lnTo>
                      <a:lnTo>
                        <a:pt x="106" y="117"/>
                      </a:lnTo>
                      <a:lnTo>
                        <a:pt x="106" y="78"/>
                      </a:lnTo>
                      <a:lnTo>
                        <a:pt x="125" y="78"/>
                      </a:lnTo>
                      <a:close/>
                      <a:moveTo>
                        <a:pt x="144" y="78"/>
                      </a:moveTo>
                      <a:lnTo>
                        <a:pt x="164" y="78"/>
                      </a:lnTo>
                      <a:lnTo>
                        <a:pt x="164" y="117"/>
                      </a:lnTo>
                      <a:lnTo>
                        <a:pt x="144" y="117"/>
                      </a:lnTo>
                      <a:lnTo>
                        <a:pt x="144" y="78"/>
                      </a:lnTo>
                      <a:close/>
                      <a:moveTo>
                        <a:pt x="183" y="78"/>
                      </a:moveTo>
                      <a:lnTo>
                        <a:pt x="202" y="78"/>
                      </a:lnTo>
                      <a:lnTo>
                        <a:pt x="202" y="117"/>
                      </a:lnTo>
                      <a:lnTo>
                        <a:pt x="183" y="117"/>
                      </a:lnTo>
                      <a:lnTo>
                        <a:pt x="183" y="78"/>
                      </a:lnTo>
                      <a:close/>
                      <a:moveTo>
                        <a:pt x="72" y="19"/>
                      </a:moveTo>
                      <a:lnTo>
                        <a:pt x="236" y="19"/>
                      </a:lnTo>
                      <a:lnTo>
                        <a:pt x="251" y="58"/>
                      </a:lnTo>
                      <a:lnTo>
                        <a:pt x="57" y="58"/>
                      </a:lnTo>
                      <a:lnTo>
                        <a:pt x="72" y="19"/>
                      </a:lnTo>
                      <a:close/>
                      <a:moveTo>
                        <a:pt x="28" y="78"/>
                      </a:moveTo>
                      <a:lnTo>
                        <a:pt x="38" y="78"/>
                      </a:lnTo>
                      <a:lnTo>
                        <a:pt x="86" y="78"/>
                      </a:lnTo>
                      <a:lnTo>
                        <a:pt x="86" y="117"/>
                      </a:lnTo>
                      <a:lnTo>
                        <a:pt x="28" y="117"/>
                      </a:lnTo>
                      <a:lnTo>
                        <a:pt x="28" y="78"/>
                      </a:lnTo>
                      <a:close/>
                      <a:moveTo>
                        <a:pt x="289" y="156"/>
                      </a:moveTo>
                      <a:lnTo>
                        <a:pt x="19" y="156"/>
                      </a:lnTo>
                      <a:lnTo>
                        <a:pt x="19" y="137"/>
                      </a:lnTo>
                      <a:lnTo>
                        <a:pt x="289" y="137"/>
                      </a:lnTo>
                      <a:lnTo>
                        <a:pt x="289" y="1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2352" kern="0">
                    <a:gradFill>
                      <a:gsLst>
                        <a:gs pos="1250">
                          <a:srgbClr val="505050"/>
                        </a:gs>
                        <a:gs pos="76000">
                          <a:srgbClr val="505050"/>
                        </a:gs>
                      </a:gsLst>
                      <a:lin ang="5400000" scaled="0"/>
                    </a:gradFill>
                  </a:endParaRPr>
                </a:p>
              </p:txBody>
            </p:sp>
            <p:sp>
              <p:nvSpPr>
                <p:cNvPr id="149" name="Oval 34"/>
                <p:cNvSpPr>
                  <a:spLocks noChangeArrowheads="1"/>
                </p:cNvSpPr>
                <p:nvPr/>
              </p:nvSpPr>
              <p:spPr bwMode="auto">
                <a:xfrm>
                  <a:off x="6675" y="2712"/>
                  <a:ext cx="19" cy="1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2352" kern="0">
                    <a:gradFill>
                      <a:gsLst>
                        <a:gs pos="1250">
                          <a:srgbClr val="505050"/>
                        </a:gs>
                        <a:gs pos="76000">
                          <a:srgbClr val="505050"/>
                        </a:gs>
                      </a:gsLst>
                      <a:lin ang="5400000" scaled="0"/>
                    </a:gradFill>
                  </a:endParaRPr>
                </a:p>
              </p:txBody>
            </p:sp>
            <p:sp>
              <p:nvSpPr>
                <p:cNvPr id="150" name="Oval 35"/>
                <p:cNvSpPr>
                  <a:spLocks noChangeArrowheads="1"/>
                </p:cNvSpPr>
                <p:nvPr/>
              </p:nvSpPr>
              <p:spPr bwMode="auto">
                <a:xfrm>
                  <a:off x="6868" y="2712"/>
                  <a:ext cx="19" cy="1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2352" kern="0">
                    <a:gradFill>
                      <a:gsLst>
                        <a:gs pos="1250">
                          <a:srgbClr val="505050"/>
                        </a:gs>
                        <a:gs pos="76000">
                          <a:srgbClr val="505050"/>
                        </a:gs>
                      </a:gsLst>
                      <a:lin ang="5400000" scaled="0"/>
                    </a:gradFill>
                  </a:endParaRPr>
                </a:p>
              </p:txBody>
            </p:sp>
          </p:grpSp>
          <p:grpSp>
            <p:nvGrpSpPr>
              <p:cNvPr id="139" name="Group 138"/>
              <p:cNvGrpSpPr/>
              <p:nvPr/>
            </p:nvGrpSpPr>
            <p:grpSpPr>
              <a:xfrm>
                <a:off x="10432072" y="4001501"/>
                <a:ext cx="598248" cy="123717"/>
                <a:chOff x="10432072" y="4001501"/>
                <a:chExt cx="598248" cy="123717"/>
              </a:xfrm>
            </p:grpSpPr>
            <p:grpSp>
              <p:nvGrpSpPr>
                <p:cNvPr id="140" name="Group 32"/>
                <p:cNvGrpSpPr>
                  <a:grpSpLocks noChangeAspect="1"/>
                </p:cNvGrpSpPr>
                <p:nvPr/>
              </p:nvGrpSpPr>
              <p:grpSpPr bwMode="auto">
                <a:xfrm>
                  <a:off x="10432072" y="4001501"/>
                  <a:ext cx="194412" cy="123717"/>
                  <a:chOff x="6627" y="2624"/>
                  <a:chExt cx="308" cy="196"/>
                </a:xfrm>
                <a:solidFill>
                  <a:srgbClr val="FFFFFF"/>
                </a:solidFill>
              </p:grpSpPr>
              <p:sp>
                <p:nvSpPr>
                  <p:cNvPr id="145" name="Freeform 33"/>
                  <p:cNvSpPr>
                    <a:spLocks noEditPoints="1"/>
                  </p:cNvSpPr>
                  <p:nvPr/>
                </p:nvSpPr>
                <p:spPr bwMode="auto">
                  <a:xfrm>
                    <a:off x="6627" y="2624"/>
                    <a:ext cx="308" cy="196"/>
                  </a:xfrm>
                  <a:custGeom>
                    <a:avLst/>
                    <a:gdLst>
                      <a:gd name="T0" fmla="*/ 280 w 308"/>
                      <a:gd name="T1" fmla="*/ 58 h 196"/>
                      <a:gd name="T2" fmla="*/ 251 w 308"/>
                      <a:gd name="T3" fmla="*/ 0 h 196"/>
                      <a:gd name="T4" fmla="*/ 38 w 308"/>
                      <a:gd name="T5" fmla="*/ 58 h 196"/>
                      <a:gd name="T6" fmla="*/ 9 w 308"/>
                      <a:gd name="T7" fmla="*/ 58 h 196"/>
                      <a:gd name="T8" fmla="*/ 0 w 308"/>
                      <a:gd name="T9" fmla="*/ 117 h 196"/>
                      <a:gd name="T10" fmla="*/ 0 w 308"/>
                      <a:gd name="T11" fmla="*/ 137 h 196"/>
                      <a:gd name="T12" fmla="*/ 0 w 308"/>
                      <a:gd name="T13" fmla="*/ 166 h 196"/>
                      <a:gd name="T14" fmla="*/ 9 w 308"/>
                      <a:gd name="T15" fmla="*/ 176 h 196"/>
                      <a:gd name="T16" fmla="*/ 48 w 308"/>
                      <a:gd name="T17" fmla="*/ 196 h 196"/>
                      <a:gd name="T18" fmla="*/ 260 w 308"/>
                      <a:gd name="T19" fmla="*/ 176 h 196"/>
                      <a:gd name="T20" fmla="*/ 299 w 308"/>
                      <a:gd name="T21" fmla="*/ 196 h 196"/>
                      <a:gd name="T22" fmla="*/ 308 w 308"/>
                      <a:gd name="T23" fmla="*/ 176 h 196"/>
                      <a:gd name="T24" fmla="*/ 308 w 308"/>
                      <a:gd name="T25" fmla="*/ 156 h 196"/>
                      <a:gd name="T26" fmla="*/ 308 w 308"/>
                      <a:gd name="T27" fmla="*/ 127 h 196"/>
                      <a:gd name="T28" fmla="*/ 299 w 308"/>
                      <a:gd name="T29" fmla="*/ 117 h 196"/>
                      <a:gd name="T30" fmla="*/ 280 w 308"/>
                      <a:gd name="T31" fmla="*/ 78 h 196"/>
                      <a:gd name="T32" fmla="*/ 222 w 308"/>
                      <a:gd name="T33" fmla="*/ 117 h 196"/>
                      <a:gd name="T34" fmla="*/ 270 w 308"/>
                      <a:gd name="T35" fmla="*/ 78 h 196"/>
                      <a:gd name="T36" fmla="*/ 125 w 308"/>
                      <a:gd name="T37" fmla="*/ 78 h 196"/>
                      <a:gd name="T38" fmla="*/ 106 w 308"/>
                      <a:gd name="T39" fmla="*/ 117 h 196"/>
                      <a:gd name="T40" fmla="*/ 125 w 308"/>
                      <a:gd name="T41" fmla="*/ 78 h 196"/>
                      <a:gd name="T42" fmla="*/ 164 w 308"/>
                      <a:gd name="T43" fmla="*/ 78 h 196"/>
                      <a:gd name="T44" fmla="*/ 144 w 308"/>
                      <a:gd name="T45" fmla="*/ 117 h 196"/>
                      <a:gd name="T46" fmla="*/ 183 w 308"/>
                      <a:gd name="T47" fmla="*/ 78 h 196"/>
                      <a:gd name="T48" fmla="*/ 202 w 308"/>
                      <a:gd name="T49" fmla="*/ 117 h 196"/>
                      <a:gd name="T50" fmla="*/ 183 w 308"/>
                      <a:gd name="T51" fmla="*/ 78 h 196"/>
                      <a:gd name="T52" fmla="*/ 236 w 308"/>
                      <a:gd name="T53" fmla="*/ 19 h 196"/>
                      <a:gd name="T54" fmla="*/ 57 w 308"/>
                      <a:gd name="T55" fmla="*/ 58 h 196"/>
                      <a:gd name="T56" fmla="*/ 28 w 308"/>
                      <a:gd name="T57" fmla="*/ 78 h 196"/>
                      <a:gd name="T58" fmla="*/ 86 w 308"/>
                      <a:gd name="T59" fmla="*/ 78 h 196"/>
                      <a:gd name="T60" fmla="*/ 28 w 308"/>
                      <a:gd name="T61" fmla="*/ 117 h 196"/>
                      <a:gd name="T62" fmla="*/ 289 w 308"/>
                      <a:gd name="T63" fmla="*/ 156 h 196"/>
                      <a:gd name="T64" fmla="*/ 19 w 308"/>
                      <a:gd name="T65" fmla="*/ 137 h 196"/>
                      <a:gd name="T66" fmla="*/ 289 w 308"/>
                      <a:gd name="T67" fmla="*/ 15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8" h="196">
                        <a:moveTo>
                          <a:pt x="299" y="58"/>
                        </a:moveTo>
                        <a:lnTo>
                          <a:pt x="280" y="58"/>
                        </a:lnTo>
                        <a:lnTo>
                          <a:pt x="270" y="58"/>
                        </a:lnTo>
                        <a:lnTo>
                          <a:pt x="251" y="0"/>
                        </a:lnTo>
                        <a:lnTo>
                          <a:pt x="57" y="0"/>
                        </a:lnTo>
                        <a:lnTo>
                          <a:pt x="38" y="58"/>
                        </a:lnTo>
                        <a:lnTo>
                          <a:pt x="28" y="58"/>
                        </a:lnTo>
                        <a:lnTo>
                          <a:pt x="9" y="58"/>
                        </a:lnTo>
                        <a:lnTo>
                          <a:pt x="9" y="117"/>
                        </a:lnTo>
                        <a:lnTo>
                          <a:pt x="0" y="117"/>
                        </a:lnTo>
                        <a:lnTo>
                          <a:pt x="0" y="127"/>
                        </a:lnTo>
                        <a:lnTo>
                          <a:pt x="0" y="137"/>
                        </a:lnTo>
                        <a:lnTo>
                          <a:pt x="0" y="156"/>
                        </a:lnTo>
                        <a:lnTo>
                          <a:pt x="0" y="166"/>
                        </a:lnTo>
                        <a:lnTo>
                          <a:pt x="0" y="176"/>
                        </a:lnTo>
                        <a:lnTo>
                          <a:pt x="9" y="176"/>
                        </a:lnTo>
                        <a:lnTo>
                          <a:pt x="9" y="196"/>
                        </a:lnTo>
                        <a:lnTo>
                          <a:pt x="48" y="196"/>
                        </a:lnTo>
                        <a:lnTo>
                          <a:pt x="48" y="176"/>
                        </a:lnTo>
                        <a:lnTo>
                          <a:pt x="260" y="176"/>
                        </a:lnTo>
                        <a:lnTo>
                          <a:pt x="260" y="196"/>
                        </a:lnTo>
                        <a:lnTo>
                          <a:pt x="299" y="196"/>
                        </a:lnTo>
                        <a:lnTo>
                          <a:pt x="299" y="176"/>
                        </a:lnTo>
                        <a:lnTo>
                          <a:pt x="308" y="176"/>
                        </a:lnTo>
                        <a:lnTo>
                          <a:pt x="308" y="166"/>
                        </a:lnTo>
                        <a:lnTo>
                          <a:pt x="308" y="156"/>
                        </a:lnTo>
                        <a:lnTo>
                          <a:pt x="308" y="137"/>
                        </a:lnTo>
                        <a:lnTo>
                          <a:pt x="308" y="127"/>
                        </a:lnTo>
                        <a:lnTo>
                          <a:pt x="308" y="117"/>
                        </a:lnTo>
                        <a:lnTo>
                          <a:pt x="299" y="117"/>
                        </a:lnTo>
                        <a:lnTo>
                          <a:pt x="299" y="58"/>
                        </a:lnTo>
                        <a:close/>
                        <a:moveTo>
                          <a:pt x="280" y="78"/>
                        </a:moveTo>
                        <a:lnTo>
                          <a:pt x="280" y="117"/>
                        </a:lnTo>
                        <a:lnTo>
                          <a:pt x="222" y="117"/>
                        </a:lnTo>
                        <a:lnTo>
                          <a:pt x="222" y="78"/>
                        </a:lnTo>
                        <a:lnTo>
                          <a:pt x="270" y="78"/>
                        </a:lnTo>
                        <a:lnTo>
                          <a:pt x="280" y="78"/>
                        </a:lnTo>
                        <a:close/>
                        <a:moveTo>
                          <a:pt x="125" y="78"/>
                        </a:moveTo>
                        <a:lnTo>
                          <a:pt x="125" y="117"/>
                        </a:lnTo>
                        <a:lnTo>
                          <a:pt x="106" y="117"/>
                        </a:lnTo>
                        <a:lnTo>
                          <a:pt x="106" y="78"/>
                        </a:lnTo>
                        <a:lnTo>
                          <a:pt x="125" y="78"/>
                        </a:lnTo>
                        <a:close/>
                        <a:moveTo>
                          <a:pt x="144" y="78"/>
                        </a:moveTo>
                        <a:lnTo>
                          <a:pt x="164" y="78"/>
                        </a:lnTo>
                        <a:lnTo>
                          <a:pt x="164" y="117"/>
                        </a:lnTo>
                        <a:lnTo>
                          <a:pt x="144" y="117"/>
                        </a:lnTo>
                        <a:lnTo>
                          <a:pt x="144" y="78"/>
                        </a:lnTo>
                        <a:close/>
                        <a:moveTo>
                          <a:pt x="183" y="78"/>
                        </a:moveTo>
                        <a:lnTo>
                          <a:pt x="202" y="78"/>
                        </a:lnTo>
                        <a:lnTo>
                          <a:pt x="202" y="117"/>
                        </a:lnTo>
                        <a:lnTo>
                          <a:pt x="183" y="117"/>
                        </a:lnTo>
                        <a:lnTo>
                          <a:pt x="183" y="78"/>
                        </a:lnTo>
                        <a:close/>
                        <a:moveTo>
                          <a:pt x="72" y="19"/>
                        </a:moveTo>
                        <a:lnTo>
                          <a:pt x="236" y="19"/>
                        </a:lnTo>
                        <a:lnTo>
                          <a:pt x="251" y="58"/>
                        </a:lnTo>
                        <a:lnTo>
                          <a:pt x="57" y="58"/>
                        </a:lnTo>
                        <a:lnTo>
                          <a:pt x="72" y="19"/>
                        </a:lnTo>
                        <a:close/>
                        <a:moveTo>
                          <a:pt x="28" y="78"/>
                        </a:moveTo>
                        <a:lnTo>
                          <a:pt x="38" y="78"/>
                        </a:lnTo>
                        <a:lnTo>
                          <a:pt x="86" y="78"/>
                        </a:lnTo>
                        <a:lnTo>
                          <a:pt x="86" y="117"/>
                        </a:lnTo>
                        <a:lnTo>
                          <a:pt x="28" y="117"/>
                        </a:lnTo>
                        <a:lnTo>
                          <a:pt x="28" y="78"/>
                        </a:lnTo>
                        <a:close/>
                        <a:moveTo>
                          <a:pt x="289" y="156"/>
                        </a:moveTo>
                        <a:lnTo>
                          <a:pt x="19" y="156"/>
                        </a:lnTo>
                        <a:lnTo>
                          <a:pt x="19" y="137"/>
                        </a:lnTo>
                        <a:lnTo>
                          <a:pt x="289" y="137"/>
                        </a:lnTo>
                        <a:lnTo>
                          <a:pt x="289" y="1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2352" kern="0">
                      <a:gradFill>
                        <a:gsLst>
                          <a:gs pos="1250">
                            <a:srgbClr val="505050"/>
                          </a:gs>
                          <a:gs pos="76000">
                            <a:srgbClr val="505050"/>
                          </a:gs>
                        </a:gsLst>
                        <a:lin ang="5400000" scaled="0"/>
                      </a:gradFill>
                    </a:endParaRPr>
                  </a:p>
                </p:txBody>
              </p:sp>
              <p:sp>
                <p:nvSpPr>
                  <p:cNvPr id="146" name="Oval 34"/>
                  <p:cNvSpPr>
                    <a:spLocks noChangeArrowheads="1"/>
                  </p:cNvSpPr>
                  <p:nvPr/>
                </p:nvSpPr>
                <p:spPr bwMode="auto">
                  <a:xfrm>
                    <a:off x="6675" y="2712"/>
                    <a:ext cx="19" cy="1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2352" kern="0">
                      <a:gradFill>
                        <a:gsLst>
                          <a:gs pos="1250">
                            <a:srgbClr val="505050"/>
                          </a:gs>
                          <a:gs pos="76000">
                            <a:srgbClr val="505050"/>
                          </a:gs>
                        </a:gsLst>
                        <a:lin ang="5400000" scaled="0"/>
                      </a:gradFill>
                    </a:endParaRPr>
                  </a:p>
                </p:txBody>
              </p:sp>
              <p:sp>
                <p:nvSpPr>
                  <p:cNvPr id="147" name="Oval 35"/>
                  <p:cNvSpPr>
                    <a:spLocks noChangeArrowheads="1"/>
                  </p:cNvSpPr>
                  <p:nvPr/>
                </p:nvSpPr>
                <p:spPr bwMode="auto">
                  <a:xfrm>
                    <a:off x="6868" y="2712"/>
                    <a:ext cx="19" cy="1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2352" kern="0">
                      <a:gradFill>
                        <a:gsLst>
                          <a:gs pos="1250">
                            <a:srgbClr val="505050"/>
                          </a:gs>
                          <a:gs pos="76000">
                            <a:srgbClr val="505050"/>
                          </a:gs>
                        </a:gsLst>
                        <a:lin ang="5400000" scaled="0"/>
                      </a:gradFill>
                    </a:endParaRPr>
                  </a:p>
                </p:txBody>
              </p:sp>
            </p:grpSp>
            <p:grpSp>
              <p:nvGrpSpPr>
                <p:cNvPr id="141" name="Group 32"/>
                <p:cNvGrpSpPr>
                  <a:grpSpLocks noChangeAspect="1"/>
                </p:cNvGrpSpPr>
                <p:nvPr/>
              </p:nvGrpSpPr>
              <p:grpSpPr bwMode="auto">
                <a:xfrm>
                  <a:off x="10835908" y="4001501"/>
                  <a:ext cx="194412" cy="123717"/>
                  <a:chOff x="6627" y="2624"/>
                  <a:chExt cx="308" cy="196"/>
                </a:xfrm>
                <a:solidFill>
                  <a:srgbClr val="FFFFFF"/>
                </a:solidFill>
              </p:grpSpPr>
              <p:sp>
                <p:nvSpPr>
                  <p:cNvPr id="142" name="Freeform 33"/>
                  <p:cNvSpPr>
                    <a:spLocks noEditPoints="1"/>
                  </p:cNvSpPr>
                  <p:nvPr/>
                </p:nvSpPr>
                <p:spPr bwMode="auto">
                  <a:xfrm>
                    <a:off x="6627" y="2624"/>
                    <a:ext cx="308" cy="196"/>
                  </a:xfrm>
                  <a:custGeom>
                    <a:avLst/>
                    <a:gdLst>
                      <a:gd name="T0" fmla="*/ 280 w 308"/>
                      <a:gd name="T1" fmla="*/ 58 h 196"/>
                      <a:gd name="T2" fmla="*/ 251 w 308"/>
                      <a:gd name="T3" fmla="*/ 0 h 196"/>
                      <a:gd name="T4" fmla="*/ 38 w 308"/>
                      <a:gd name="T5" fmla="*/ 58 h 196"/>
                      <a:gd name="T6" fmla="*/ 9 w 308"/>
                      <a:gd name="T7" fmla="*/ 58 h 196"/>
                      <a:gd name="T8" fmla="*/ 0 w 308"/>
                      <a:gd name="T9" fmla="*/ 117 h 196"/>
                      <a:gd name="T10" fmla="*/ 0 w 308"/>
                      <a:gd name="T11" fmla="*/ 137 h 196"/>
                      <a:gd name="T12" fmla="*/ 0 w 308"/>
                      <a:gd name="T13" fmla="*/ 166 h 196"/>
                      <a:gd name="T14" fmla="*/ 9 w 308"/>
                      <a:gd name="T15" fmla="*/ 176 h 196"/>
                      <a:gd name="T16" fmla="*/ 48 w 308"/>
                      <a:gd name="T17" fmla="*/ 196 h 196"/>
                      <a:gd name="T18" fmla="*/ 260 w 308"/>
                      <a:gd name="T19" fmla="*/ 176 h 196"/>
                      <a:gd name="T20" fmla="*/ 299 w 308"/>
                      <a:gd name="T21" fmla="*/ 196 h 196"/>
                      <a:gd name="T22" fmla="*/ 308 w 308"/>
                      <a:gd name="T23" fmla="*/ 176 h 196"/>
                      <a:gd name="T24" fmla="*/ 308 w 308"/>
                      <a:gd name="T25" fmla="*/ 156 h 196"/>
                      <a:gd name="T26" fmla="*/ 308 w 308"/>
                      <a:gd name="T27" fmla="*/ 127 h 196"/>
                      <a:gd name="T28" fmla="*/ 299 w 308"/>
                      <a:gd name="T29" fmla="*/ 117 h 196"/>
                      <a:gd name="T30" fmla="*/ 280 w 308"/>
                      <a:gd name="T31" fmla="*/ 78 h 196"/>
                      <a:gd name="T32" fmla="*/ 222 w 308"/>
                      <a:gd name="T33" fmla="*/ 117 h 196"/>
                      <a:gd name="T34" fmla="*/ 270 w 308"/>
                      <a:gd name="T35" fmla="*/ 78 h 196"/>
                      <a:gd name="T36" fmla="*/ 125 w 308"/>
                      <a:gd name="T37" fmla="*/ 78 h 196"/>
                      <a:gd name="T38" fmla="*/ 106 w 308"/>
                      <a:gd name="T39" fmla="*/ 117 h 196"/>
                      <a:gd name="T40" fmla="*/ 125 w 308"/>
                      <a:gd name="T41" fmla="*/ 78 h 196"/>
                      <a:gd name="T42" fmla="*/ 164 w 308"/>
                      <a:gd name="T43" fmla="*/ 78 h 196"/>
                      <a:gd name="T44" fmla="*/ 144 w 308"/>
                      <a:gd name="T45" fmla="*/ 117 h 196"/>
                      <a:gd name="T46" fmla="*/ 183 w 308"/>
                      <a:gd name="T47" fmla="*/ 78 h 196"/>
                      <a:gd name="T48" fmla="*/ 202 w 308"/>
                      <a:gd name="T49" fmla="*/ 117 h 196"/>
                      <a:gd name="T50" fmla="*/ 183 w 308"/>
                      <a:gd name="T51" fmla="*/ 78 h 196"/>
                      <a:gd name="T52" fmla="*/ 236 w 308"/>
                      <a:gd name="T53" fmla="*/ 19 h 196"/>
                      <a:gd name="T54" fmla="*/ 57 w 308"/>
                      <a:gd name="T55" fmla="*/ 58 h 196"/>
                      <a:gd name="T56" fmla="*/ 28 w 308"/>
                      <a:gd name="T57" fmla="*/ 78 h 196"/>
                      <a:gd name="T58" fmla="*/ 86 w 308"/>
                      <a:gd name="T59" fmla="*/ 78 h 196"/>
                      <a:gd name="T60" fmla="*/ 28 w 308"/>
                      <a:gd name="T61" fmla="*/ 117 h 196"/>
                      <a:gd name="T62" fmla="*/ 289 w 308"/>
                      <a:gd name="T63" fmla="*/ 156 h 196"/>
                      <a:gd name="T64" fmla="*/ 19 w 308"/>
                      <a:gd name="T65" fmla="*/ 137 h 196"/>
                      <a:gd name="T66" fmla="*/ 289 w 308"/>
                      <a:gd name="T67" fmla="*/ 15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8" h="196">
                        <a:moveTo>
                          <a:pt x="299" y="58"/>
                        </a:moveTo>
                        <a:lnTo>
                          <a:pt x="280" y="58"/>
                        </a:lnTo>
                        <a:lnTo>
                          <a:pt x="270" y="58"/>
                        </a:lnTo>
                        <a:lnTo>
                          <a:pt x="251" y="0"/>
                        </a:lnTo>
                        <a:lnTo>
                          <a:pt x="57" y="0"/>
                        </a:lnTo>
                        <a:lnTo>
                          <a:pt x="38" y="58"/>
                        </a:lnTo>
                        <a:lnTo>
                          <a:pt x="28" y="58"/>
                        </a:lnTo>
                        <a:lnTo>
                          <a:pt x="9" y="58"/>
                        </a:lnTo>
                        <a:lnTo>
                          <a:pt x="9" y="117"/>
                        </a:lnTo>
                        <a:lnTo>
                          <a:pt x="0" y="117"/>
                        </a:lnTo>
                        <a:lnTo>
                          <a:pt x="0" y="127"/>
                        </a:lnTo>
                        <a:lnTo>
                          <a:pt x="0" y="137"/>
                        </a:lnTo>
                        <a:lnTo>
                          <a:pt x="0" y="156"/>
                        </a:lnTo>
                        <a:lnTo>
                          <a:pt x="0" y="166"/>
                        </a:lnTo>
                        <a:lnTo>
                          <a:pt x="0" y="176"/>
                        </a:lnTo>
                        <a:lnTo>
                          <a:pt x="9" y="176"/>
                        </a:lnTo>
                        <a:lnTo>
                          <a:pt x="9" y="196"/>
                        </a:lnTo>
                        <a:lnTo>
                          <a:pt x="48" y="196"/>
                        </a:lnTo>
                        <a:lnTo>
                          <a:pt x="48" y="176"/>
                        </a:lnTo>
                        <a:lnTo>
                          <a:pt x="260" y="176"/>
                        </a:lnTo>
                        <a:lnTo>
                          <a:pt x="260" y="196"/>
                        </a:lnTo>
                        <a:lnTo>
                          <a:pt x="299" y="196"/>
                        </a:lnTo>
                        <a:lnTo>
                          <a:pt x="299" y="176"/>
                        </a:lnTo>
                        <a:lnTo>
                          <a:pt x="308" y="176"/>
                        </a:lnTo>
                        <a:lnTo>
                          <a:pt x="308" y="166"/>
                        </a:lnTo>
                        <a:lnTo>
                          <a:pt x="308" y="156"/>
                        </a:lnTo>
                        <a:lnTo>
                          <a:pt x="308" y="137"/>
                        </a:lnTo>
                        <a:lnTo>
                          <a:pt x="308" y="127"/>
                        </a:lnTo>
                        <a:lnTo>
                          <a:pt x="308" y="117"/>
                        </a:lnTo>
                        <a:lnTo>
                          <a:pt x="299" y="117"/>
                        </a:lnTo>
                        <a:lnTo>
                          <a:pt x="299" y="58"/>
                        </a:lnTo>
                        <a:close/>
                        <a:moveTo>
                          <a:pt x="280" y="78"/>
                        </a:moveTo>
                        <a:lnTo>
                          <a:pt x="280" y="117"/>
                        </a:lnTo>
                        <a:lnTo>
                          <a:pt x="222" y="117"/>
                        </a:lnTo>
                        <a:lnTo>
                          <a:pt x="222" y="78"/>
                        </a:lnTo>
                        <a:lnTo>
                          <a:pt x="270" y="78"/>
                        </a:lnTo>
                        <a:lnTo>
                          <a:pt x="280" y="78"/>
                        </a:lnTo>
                        <a:close/>
                        <a:moveTo>
                          <a:pt x="125" y="78"/>
                        </a:moveTo>
                        <a:lnTo>
                          <a:pt x="125" y="117"/>
                        </a:lnTo>
                        <a:lnTo>
                          <a:pt x="106" y="117"/>
                        </a:lnTo>
                        <a:lnTo>
                          <a:pt x="106" y="78"/>
                        </a:lnTo>
                        <a:lnTo>
                          <a:pt x="125" y="78"/>
                        </a:lnTo>
                        <a:close/>
                        <a:moveTo>
                          <a:pt x="144" y="78"/>
                        </a:moveTo>
                        <a:lnTo>
                          <a:pt x="164" y="78"/>
                        </a:lnTo>
                        <a:lnTo>
                          <a:pt x="164" y="117"/>
                        </a:lnTo>
                        <a:lnTo>
                          <a:pt x="144" y="117"/>
                        </a:lnTo>
                        <a:lnTo>
                          <a:pt x="144" y="78"/>
                        </a:lnTo>
                        <a:close/>
                        <a:moveTo>
                          <a:pt x="183" y="78"/>
                        </a:moveTo>
                        <a:lnTo>
                          <a:pt x="202" y="78"/>
                        </a:lnTo>
                        <a:lnTo>
                          <a:pt x="202" y="117"/>
                        </a:lnTo>
                        <a:lnTo>
                          <a:pt x="183" y="117"/>
                        </a:lnTo>
                        <a:lnTo>
                          <a:pt x="183" y="78"/>
                        </a:lnTo>
                        <a:close/>
                        <a:moveTo>
                          <a:pt x="72" y="19"/>
                        </a:moveTo>
                        <a:lnTo>
                          <a:pt x="236" y="19"/>
                        </a:lnTo>
                        <a:lnTo>
                          <a:pt x="251" y="58"/>
                        </a:lnTo>
                        <a:lnTo>
                          <a:pt x="57" y="58"/>
                        </a:lnTo>
                        <a:lnTo>
                          <a:pt x="72" y="19"/>
                        </a:lnTo>
                        <a:close/>
                        <a:moveTo>
                          <a:pt x="28" y="78"/>
                        </a:moveTo>
                        <a:lnTo>
                          <a:pt x="38" y="78"/>
                        </a:lnTo>
                        <a:lnTo>
                          <a:pt x="86" y="78"/>
                        </a:lnTo>
                        <a:lnTo>
                          <a:pt x="86" y="117"/>
                        </a:lnTo>
                        <a:lnTo>
                          <a:pt x="28" y="117"/>
                        </a:lnTo>
                        <a:lnTo>
                          <a:pt x="28" y="78"/>
                        </a:lnTo>
                        <a:close/>
                        <a:moveTo>
                          <a:pt x="289" y="156"/>
                        </a:moveTo>
                        <a:lnTo>
                          <a:pt x="19" y="156"/>
                        </a:lnTo>
                        <a:lnTo>
                          <a:pt x="19" y="137"/>
                        </a:lnTo>
                        <a:lnTo>
                          <a:pt x="289" y="137"/>
                        </a:lnTo>
                        <a:lnTo>
                          <a:pt x="289" y="1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2352" kern="0">
                      <a:gradFill>
                        <a:gsLst>
                          <a:gs pos="1250">
                            <a:srgbClr val="505050"/>
                          </a:gs>
                          <a:gs pos="76000">
                            <a:srgbClr val="505050"/>
                          </a:gs>
                        </a:gsLst>
                        <a:lin ang="5400000" scaled="0"/>
                      </a:gradFill>
                    </a:endParaRPr>
                  </a:p>
                </p:txBody>
              </p:sp>
              <p:sp>
                <p:nvSpPr>
                  <p:cNvPr id="143" name="Oval 34"/>
                  <p:cNvSpPr>
                    <a:spLocks noChangeArrowheads="1"/>
                  </p:cNvSpPr>
                  <p:nvPr/>
                </p:nvSpPr>
                <p:spPr bwMode="auto">
                  <a:xfrm>
                    <a:off x="6675" y="2712"/>
                    <a:ext cx="19" cy="1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2352" kern="0">
                      <a:gradFill>
                        <a:gsLst>
                          <a:gs pos="1250">
                            <a:srgbClr val="505050"/>
                          </a:gs>
                          <a:gs pos="76000">
                            <a:srgbClr val="505050"/>
                          </a:gs>
                        </a:gsLst>
                        <a:lin ang="5400000" scaled="0"/>
                      </a:gradFill>
                    </a:endParaRPr>
                  </a:p>
                </p:txBody>
              </p:sp>
              <p:sp>
                <p:nvSpPr>
                  <p:cNvPr id="144" name="Oval 35"/>
                  <p:cNvSpPr>
                    <a:spLocks noChangeArrowheads="1"/>
                  </p:cNvSpPr>
                  <p:nvPr/>
                </p:nvSpPr>
                <p:spPr bwMode="auto">
                  <a:xfrm>
                    <a:off x="6868" y="2712"/>
                    <a:ext cx="19" cy="1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2352" kern="0">
                      <a:gradFill>
                        <a:gsLst>
                          <a:gs pos="1250">
                            <a:srgbClr val="505050"/>
                          </a:gs>
                          <a:gs pos="76000">
                            <a:srgbClr val="505050"/>
                          </a:gs>
                        </a:gsLst>
                        <a:lin ang="5400000" scaled="0"/>
                      </a:gradFill>
                    </a:endParaRPr>
                  </a:p>
                </p:txBody>
              </p:sp>
            </p:grpSp>
          </p:grpSp>
        </p:grpSp>
      </p:grpSp>
      <p:grpSp>
        <p:nvGrpSpPr>
          <p:cNvPr id="122" name="Group 121"/>
          <p:cNvGrpSpPr/>
          <p:nvPr/>
        </p:nvGrpSpPr>
        <p:grpSpPr>
          <a:xfrm>
            <a:off x="139649" y="5086352"/>
            <a:ext cx="787725" cy="787725"/>
            <a:chOff x="7410211" y="5077564"/>
            <a:chExt cx="1016000" cy="1016000"/>
          </a:xfrm>
        </p:grpSpPr>
        <p:sp>
          <p:nvSpPr>
            <p:cNvPr id="134" name="Oval 133"/>
            <p:cNvSpPr/>
            <p:nvPr/>
          </p:nvSpPr>
          <p:spPr bwMode="auto">
            <a:xfrm>
              <a:off x="7410211" y="5077564"/>
              <a:ext cx="1016000" cy="1016000"/>
            </a:xfrm>
            <a:prstGeom prst="ellipse">
              <a:avLst/>
            </a:prstGeom>
            <a:solidFill>
              <a:srgbClr val="0072C6"/>
            </a:solidFill>
            <a:ln w="19050" cap="flat" cmpd="sng" algn="ctr">
              <a:solidFill>
                <a:srgbClr val="FFFFFF"/>
              </a:solidFill>
              <a:prstDash val="solid"/>
              <a:headEnd type="none" w="med" len="med"/>
              <a:tailEnd type="none" w="med" len="med"/>
            </a:ln>
            <a:effectLst/>
          </p:spPr>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2744" kern="0" dirty="0">
                <a:gradFill>
                  <a:gsLst>
                    <a:gs pos="1250">
                      <a:srgbClr val="505050"/>
                    </a:gs>
                    <a:gs pos="76000">
                      <a:srgbClr val="505050"/>
                    </a:gs>
                  </a:gsLst>
                  <a:lin ang="5400000" scaled="0"/>
                </a:gradFill>
              </a:endParaRPr>
            </a:p>
          </p:txBody>
        </p:sp>
        <p:sp>
          <p:nvSpPr>
            <p:cNvPr id="135" name="Freeform 39"/>
            <p:cNvSpPr>
              <a:spLocks noEditPoints="1"/>
            </p:cNvSpPr>
            <p:nvPr/>
          </p:nvSpPr>
          <p:spPr bwMode="auto">
            <a:xfrm>
              <a:off x="7704085" y="5383952"/>
              <a:ext cx="428252" cy="403224"/>
            </a:xfrm>
            <a:custGeom>
              <a:avLst/>
              <a:gdLst>
                <a:gd name="T0" fmla="*/ 88 w 128"/>
                <a:gd name="T1" fmla="*/ 0 h 120"/>
                <a:gd name="T2" fmla="*/ 64 w 128"/>
                <a:gd name="T3" fmla="*/ 8 h 120"/>
                <a:gd name="T4" fmla="*/ 40 w 128"/>
                <a:gd name="T5" fmla="*/ 0 h 120"/>
                <a:gd name="T6" fmla="*/ 12 w 128"/>
                <a:gd name="T7" fmla="*/ 12 h 120"/>
                <a:gd name="T8" fmla="*/ 0 w 128"/>
                <a:gd name="T9" fmla="*/ 40 h 120"/>
                <a:gd name="T10" fmla="*/ 12 w 128"/>
                <a:gd name="T11" fmla="*/ 68 h 120"/>
                <a:gd name="T12" fmla="*/ 64 w 128"/>
                <a:gd name="T13" fmla="*/ 120 h 120"/>
                <a:gd name="T14" fmla="*/ 116 w 128"/>
                <a:gd name="T15" fmla="*/ 68 h 120"/>
                <a:gd name="T16" fmla="*/ 128 w 128"/>
                <a:gd name="T17" fmla="*/ 40 h 120"/>
                <a:gd name="T18" fmla="*/ 116 w 128"/>
                <a:gd name="T19" fmla="*/ 12 h 120"/>
                <a:gd name="T20" fmla="*/ 88 w 128"/>
                <a:gd name="T21" fmla="*/ 0 h 120"/>
                <a:gd name="T22" fmla="*/ 19 w 128"/>
                <a:gd name="T23" fmla="*/ 64 h 120"/>
                <a:gd name="T24" fmla="*/ 30 w 128"/>
                <a:gd name="T25" fmla="*/ 64 h 120"/>
                <a:gd name="T26" fmla="*/ 36 w 128"/>
                <a:gd name="T27" fmla="*/ 58 h 120"/>
                <a:gd name="T28" fmla="*/ 64 w 128"/>
                <a:gd name="T29" fmla="*/ 86 h 120"/>
                <a:gd name="T30" fmla="*/ 96 w 128"/>
                <a:gd name="T31" fmla="*/ 54 h 120"/>
                <a:gd name="T32" fmla="*/ 106 w 128"/>
                <a:gd name="T33" fmla="*/ 64 h 120"/>
                <a:gd name="T34" fmla="*/ 109 w 128"/>
                <a:gd name="T35" fmla="*/ 64 h 120"/>
                <a:gd name="T36" fmla="*/ 64 w 128"/>
                <a:gd name="T37" fmla="*/ 109 h 120"/>
                <a:gd name="T38" fmla="*/ 19 w 128"/>
                <a:gd name="T39" fmla="*/ 64 h 120"/>
                <a:gd name="T40" fmla="*/ 116 w 128"/>
                <a:gd name="T41" fmla="*/ 56 h 120"/>
                <a:gd name="T42" fmla="*/ 110 w 128"/>
                <a:gd name="T43" fmla="*/ 56 h 120"/>
                <a:gd name="T44" fmla="*/ 96 w 128"/>
                <a:gd name="T45" fmla="*/ 43 h 120"/>
                <a:gd name="T46" fmla="*/ 64 w 128"/>
                <a:gd name="T47" fmla="*/ 75 h 120"/>
                <a:gd name="T48" fmla="*/ 36 w 128"/>
                <a:gd name="T49" fmla="*/ 47 h 120"/>
                <a:gd name="T50" fmla="*/ 26 w 128"/>
                <a:gd name="T51" fmla="*/ 56 h 120"/>
                <a:gd name="T52" fmla="*/ 12 w 128"/>
                <a:gd name="T53" fmla="*/ 56 h 120"/>
                <a:gd name="T54" fmla="*/ 8 w 128"/>
                <a:gd name="T55" fmla="*/ 40 h 120"/>
                <a:gd name="T56" fmla="*/ 17 w 128"/>
                <a:gd name="T57" fmla="*/ 18 h 120"/>
                <a:gd name="T58" fmla="*/ 40 w 128"/>
                <a:gd name="T59" fmla="*/ 8 h 120"/>
                <a:gd name="T60" fmla="*/ 61 w 128"/>
                <a:gd name="T61" fmla="*/ 16 h 120"/>
                <a:gd name="T62" fmla="*/ 64 w 128"/>
                <a:gd name="T63" fmla="*/ 19 h 120"/>
                <a:gd name="T64" fmla="*/ 67 w 128"/>
                <a:gd name="T65" fmla="*/ 16 h 120"/>
                <a:gd name="T66" fmla="*/ 88 w 128"/>
                <a:gd name="T67" fmla="*/ 8 h 120"/>
                <a:gd name="T68" fmla="*/ 111 w 128"/>
                <a:gd name="T69" fmla="*/ 18 h 120"/>
                <a:gd name="T70" fmla="*/ 120 w 128"/>
                <a:gd name="T71" fmla="*/ 40 h 120"/>
                <a:gd name="T72" fmla="*/ 116 w 128"/>
                <a:gd name="T73" fmla="*/ 56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20">
                  <a:moveTo>
                    <a:pt x="88" y="0"/>
                  </a:moveTo>
                  <a:cubicBezTo>
                    <a:pt x="79" y="0"/>
                    <a:pt x="71" y="3"/>
                    <a:pt x="64" y="8"/>
                  </a:cubicBezTo>
                  <a:cubicBezTo>
                    <a:pt x="57" y="3"/>
                    <a:pt x="49" y="0"/>
                    <a:pt x="40" y="0"/>
                  </a:cubicBezTo>
                  <a:cubicBezTo>
                    <a:pt x="29" y="0"/>
                    <a:pt x="19" y="4"/>
                    <a:pt x="12" y="12"/>
                  </a:cubicBezTo>
                  <a:cubicBezTo>
                    <a:pt x="4" y="19"/>
                    <a:pt x="0" y="30"/>
                    <a:pt x="0" y="40"/>
                  </a:cubicBezTo>
                  <a:cubicBezTo>
                    <a:pt x="0" y="51"/>
                    <a:pt x="4" y="61"/>
                    <a:pt x="12" y="68"/>
                  </a:cubicBezTo>
                  <a:cubicBezTo>
                    <a:pt x="64" y="120"/>
                    <a:pt x="64" y="120"/>
                    <a:pt x="64" y="120"/>
                  </a:cubicBezTo>
                  <a:cubicBezTo>
                    <a:pt x="116" y="68"/>
                    <a:pt x="116" y="68"/>
                    <a:pt x="116" y="68"/>
                  </a:cubicBezTo>
                  <a:cubicBezTo>
                    <a:pt x="124" y="61"/>
                    <a:pt x="128" y="51"/>
                    <a:pt x="128" y="40"/>
                  </a:cubicBezTo>
                  <a:cubicBezTo>
                    <a:pt x="128" y="30"/>
                    <a:pt x="124" y="19"/>
                    <a:pt x="116" y="12"/>
                  </a:cubicBezTo>
                  <a:cubicBezTo>
                    <a:pt x="109" y="4"/>
                    <a:pt x="99" y="0"/>
                    <a:pt x="88" y="0"/>
                  </a:cubicBezTo>
                  <a:moveTo>
                    <a:pt x="19" y="64"/>
                  </a:moveTo>
                  <a:cubicBezTo>
                    <a:pt x="30" y="64"/>
                    <a:pt x="30" y="64"/>
                    <a:pt x="30" y="64"/>
                  </a:cubicBezTo>
                  <a:cubicBezTo>
                    <a:pt x="36" y="58"/>
                    <a:pt x="36" y="58"/>
                    <a:pt x="36" y="58"/>
                  </a:cubicBezTo>
                  <a:cubicBezTo>
                    <a:pt x="64" y="86"/>
                    <a:pt x="64" y="86"/>
                    <a:pt x="64" y="86"/>
                  </a:cubicBezTo>
                  <a:cubicBezTo>
                    <a:pt x="96" y="54"/>
                    <a:pt x="96" y="54"/>
                    <a:pt x="96" y="54"/>
                  </a:cubicBezTo>
                  <a:cubicBezTo>
                    <a:pt x="106" y="64"/>
                    <a:pt x="106" y="64"/>
                    <a:pt x="106" y="64"/>
                  </a:cubicBezTo>
                  <a:cubicBezTo>
                    <a:pt x="109" y="64"/>
                    <a:pt x="109" y="64"/>
                    <a:pt x="109" y="64"/>
                  </a:cubicBezTo>
                  <a:cubicBezTo>
                    <a:pt x="64" y="109"/>
                    <a:pt x="64" y="109"/>
                    <a:pt x="64" y="109"/>
                  </a:cubicBezTo>
                  <a:lnTo>
                    <a:pt x="19" y="64"/>
                  </a:lnTo>
                  <a:close/>
                  <a:moveTo>
                    <a:pt x="116" y="56"/>
                  </a:moveTo>
                  <a:cubicBezTo>
                    <a:pt x="110" y="56"/>
                    <a:pt x="110" y="56"/>
                    <a:pt x="110" y="56"/>
                  </a:cubicBezTo>
                  <a:cubicBezTo>
                    <a:pt x="96" y="43"/>
                    <a:pt x="96" y="43"/>
                    <a:pt x="96" y="43"/>
                  </a:cubicBezTo>
                  <a:cubicBezTo>
                    <a:pt x="64" y="75"/>
                    <a:pt x="64" y="75"/>
                    <a:pt x="64" y="75"/>
                  </a:cubicBezTo>
                  <a:cubicBezTo>
                    <a:pt x="36" y="47"/>
                    <a:pt x="36" y="47"/>
                    <a:pt x="36" y="47"/>
                  </a:cubicBezTo>
                  <a:cubicBezTo>
                    <a:pt x="26" y="56"/>
                    <a:pt x="26" y="56"/>
                    <a:pt x="26" y="56"/>
                  </a:cubicBezTo>
                  <a:cubicBezTo>
                    <a:pt x="12" y="56"/>
                    <a:pt x="12" y="56"/>
                    <a:pt x="12" y="56"/>
                  </a:cubicBezTo>
                  <a:cubicBezTo>
                    <a:pt x="10" y="51"/>
                    <a:pt x="8" y="46"/>
                    <a:pt x="8" y="40"/>
                  </a:cubicBezTo>
                  <a:cubicBezTo>
                    <a:pt x="8" y="32"/>
                    <a:pt x="11" y="24"/>
                    <a:pt x="17" y="18"/>
                  </a:cubicBezTo>
                  <a:cubicBezTo>
                    <a:pt x="23" y="12"/>
                    <a:pt x="31" y="8"/>
                    <a:pt x="40" y="8"/>
                  </a:cubicBezTo>
                  <a:cubicBezTo>
                    <a:pt x="48" y="8"/>
                    <a:pt x="55" y="11"/>
                    <a:pt x="61" y="16"/>
                  </a:cubicBezTo>
                  <a:cubicBezTo>
                    <a:pt x="64" y="19"/>
                    <a:pt x="64" y="19"/>
                    <a:pt x="64" y="19"/>
                  </a:cubicBezTo>
                  <a:cubicBezTo>
                    <a:pt x="67" y="16"/>
                    <a:pt x="67" y="16"/>
                    <a:pt x="67" y="16"/>
                  </a:cubicBezTo>
                  <a:cubicBezTo>
                    <a:pt x="73" y="11"/>
                    <a:pt x="80" y="8"/>
                    <a:pt x="88" y="8"/>
                  </a:cubicBezTo>
                  <a:cubicBezTo>
                    <a:pt x="97" y="8"/>
                    <a:pt x="105" y="12"/>
                    <a:pt x="111" y="18"/>
                  </a:cubicBezTo>
                  <a:cubicBezTo>
                    <a:pt x="117" y="24"/>
                    <a:pt x="120" y="32"/>
                    <a:pt x="120" y="40"/>
                  </a:cubicBezTo>
                  <a:cubicBezTo>
                    <a:pt x="120" y="46"/>
                    <a:pt x="118" y="51"/>
                    <a:pt x="116" y="56"/>
                  </a:cubicBezTo>
                </a:path>
              </a:pathLst>
            </a:custGeom>
            <a:solidFill>
              <a:srgbClr val="FFFFFF"/>
            </a:solidFill>
            <a:ln>
              <a:noFill/>
            </a:ln>
          </p:spPr>
          <p:txBody>
            <a:bodyPr vert="horz" wrap="square" lIns="89619" tIns="44810" rIns="89619" bIns="44810" numCol="1" anchor="t" anchorCtr="0" compatLnSpc="1">
              <a:prstTxWarp prst="textNoShape">
                <a:avLst/>
              </a:prstTxWarp>
            </a:bodyPr>
            <a:lstStyle/>
            <a:p>
              <a:pPr defTabSz="896203">
                <a:defRPr/>
              </a:pPr>
              <a:endParaRPr lang="en-US" sz="2352" kern="0">
                <a:gradFill>
                  <a:gsLst>
                    <a:gs pos="1250">
                      <a:srgbClr val="505050"/>
                    </a:gs>
                    <a:gs pos="76000">
                      <a:srgbClr val="505050"/>
                    </a:gs>
                  </a:gsLst>
                  <a:lin ang="5400000" scaled="0"/>
                </a:gradFill>
              </a:endParaRPr>
            </a:p>
          </p:txBody>
        </p:sp>
      </p:grpSp>
      <p:grpSp>
        <p:nvGrpSpPr>
          <p:cNvPr id="123" name="Group 122"/>
          <p:cNvGrpSpPr/>
          <p:nvPr/>
        </p:nvGrpSpPr>
        <p:grpSpPr>
          <a:xfrm>
            <a:off x="3819857" y="5086352"/>
            <a:ext cx="787725" cy="787725"/>
            <a:chOff x="6320325" y="3747236"/>
            <a:chExt cx="1016000" cy="1016000"/>
          </a:xfrm>
        </p:grpSpPr>
        <p:sp>
          <p:nvSpPr>
            <p:cNvPr id="130" name="Oval 129"/>
            <p:cNvSpPr/>
            <p:nvPr/>
          </p:nvSpPr>
          <p:spPr bwMode="auto">
            <a:xfrm>
              <a:off x="6320325" y="3747236"/>
              <a:ext cx="1016000" cy="1016000"/>
            </a:xfrm>
            <a:prstGeom prst="ellipse">
              <a:avLst/>
            </a:prstGeom>
            <a:solidFill>
              <a:srgbClr val="0072C6"/>
            </a:solidFill>
            <a:ln w="19050" cap="flat" cmpd="sng" algn="ctr">
              <a:solidFill>
                <a:srgbClr val="FFFFFF"/>
              </a:solidFill>
              <a:prstDash val="solid"/>
              <a:headEnd type="none" w="med" len="med"/>
              <a:tailEnd type="none" w="med" len="med"/>
            </a:ln>
            <a:effectLst/>
          </p:spPr>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2744" kern="0" dirty="0">
                <a:gradFill>
                  <a:gsLst>
                    <a:gs pos="1250">
                      <a:srgbClr val="505050"/>
                    </a:gs>
                    <a:gs pos="76000">
                      <a:srgbClr val="505050"/>
                    </a:gs>
                  </a:gsLst>
                  <a:lin ang="5400000" scaled="0"/>
                </a:gradFill>
              </a:endParaRPr>
            </a:p>
          </p:txBody>
        </p:sp>
        <p:grpSp>
          <p:nvGrpSpPr>
            <p:cNvPr id="131" name="Group 42"/>
            <p:cNvGrpSpPr>
              <a:grpSpLocks noChangeAspect="1"/>
            </p:cNvGrpSpPr>
            <p:nvPr/>
          </p:nvGrpSpPr>
          <p:grpSpPr bwMode="auto">
            <a:xfrm>
              <a:off x="6634650" y="4061561"/>
              <a:ext cx="387350" cy="387350"/>
              <a:chOff x="4176" y="2543"/>
              <a:chExt cx="244" cy="244"/>
            </a:xfrm>
            <a:solidFill>
              <a:srgbClr val="FFFFFF"/>
            </a:solidFill>
          </p:grpSpPr>
          <p:sp>
            <p:nvSpPr>
              <p:cNvPr id="132" name="Freeform 43"/>
              <p:cNvSpPr>
                <a:spLocks/>
              </p:cNvSpPr>
              <p:nvPr/>
            </p:nvSpPr>
            <p:spPr bwMode="auto">
              <a:xfrm>
                <a:off x="4179" y="2546"/>
                <a:ext cx="197" cy="197"/>
              </a:xfrm>
              <a:custGeom>
                <a:avLst/>
                <a:gdLst>
                  <a:gd name="T0" fmla="*/ 62 w 81"/>
                  <a:gd name="T1" fmla="*/ 38 h 81"/>
                  <a:gd name="T2" fmla="*/ 81 w 81"/>
                  <a:gd name="T3" fmla="*/ 19 h 81"/>
                  <a:gd name="T4" fmla="*/ 62 w 81"/>
                  <a:gd name="T5" fmla="*/ 0 h 81"/>
                  <a:gd name="T6" fmla="*/ 56 w 81"/>
                  <a:gd name="T7" fmla="*/ 6 h 81"/>
                  <a:gd name="T8" fmla="*/ 65 w 81"/>
                  <a:gd name="T9" fmla="*/ 15 h 81"/>
                  <a:gd name="T10" fmla="*/ 51 w 81"/>
                  <a:gd name="T11" fmla="*/ 15 h 81"/>
                  <a:gd name="T12" fmla="*/ 15 w 81"/>
                  <a:gd name="T13" fmla="*/ 51 h 81"/>
                  <a:gd name="T14" fmla="*/ 15 w 81"/>
                  <a:gd name="T15" fmla="*/ 65 h 81"/>
                  <a:gd name="T16" fmla="*/ 6 w 81"/>
                  <a:gd name="T17" fmla="*/ 56 h 81"/>
                  <a:gd name="T18" fmla="*/ 0 w 81"/>
                  <a:gd name="T19" fmla="*/ 62 h 81"/>
                  <a:gd name="T20" fmla="*/ 19 w 81"/>
                  <a:gd name="T21" fmla="*/ 81 h 81"/>
                  <a:gd name="T22" fmla="*/ 38 w 81"/>
                  <a:gd name="T23" fmla="*/ 62 h 81"/>
                  <a:gd name="T24" fmla="*/ 32 w 81"/>
                  <a:gd name="T25" fmla="*/ 56 h 81"/>
                  <a:gd name="T26" fmla="*/ 23 w 81"/>
                  <a:gd name="T27" fmla="*/ 65 h 81"/>
                  <a:gd name="T28" fmla="*/ 23 w 81"/>
                  <a:gd name="T29" fmla="*/ 51 h 81"/>
                  <a:gd name="T30" fmla="*/ 51 w 81"/>
                  <a:gd name="T31" fmla="*/ 23 h 81"/>
                  <a:gd name="T32" fmla="*/ 65 w 81"/>
                  <a:gd name="T33" fmla="*/ 23 h 81"/>
                  <a:gd name="T34" fmla="*/ 56 w 81"/>
                  <a:gd name="T35" fmla="*/ 32 h 81"/>
                  <a:gd name="T36" fmla="*/ 62 w 81"/>
                  <a:gd name="T37" fmla="*/ 3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1" h="81">
                    <a:moveTo>
                      <a:pt x="62" y="38"/>
                    </a:moveTo>
                    <a:cubicBezTo>
                      <a:pt x="81" y="19"/>
                      <a:pt x="81" y="19"/>
                      <a:pt x="81" y="19"/>
                    </a:cubicBezTo>
                    <a:cubicBezTo>
                      <a:pt x="62" y="0"/>
                      <a:pt x="62" y="0"/>
                      <a:pt x="62" y="0"/>
                    </a:cubicBezTo>
                    <a:cubicBezTo>
                      <a:pt x="56" y="6"/>
                      <a:pt x="56" y="6"/>
                      <a:pt x="56" y="6"/>
                    </a:cubicBezTo>
                    <a:cubicBezTo>
                      <a:pt x="65" y="15"/>
                      <a:pt x="65" y="15"/>
                      <a:pt x="65" y="15"/>
                    </a:cubicBezTo>
                    <a:cubicBezTo>
                      <a:pt x="51" y="15"/>
                      <a:pt x="51" y="15"/>
                      <a:pt x="51" y="15"/>
                    </a:cubicBezTo>
                    <a:cubicBezTo>
                      <a:pt x="31" y="15"/>
                      <a:pt x="15" y="31"/>
                      <a:pt x="15" y="51"/>
                    </a:cubicBezTo>
                    <a:cubicBezTo>
                      <a:pt x="15" y="65"/>
                      <a:pt x="15" y="65"/>
                      <a:pt x="15" y="65"/>
                    </a:cubicBezTo>
                    <a:cubicBezTo>
                      <a:pt x="6" y="56"/>
                      <a:pt x="6" y="56"/>
                      <a:pt x="6" y="56"/>
                    </a:cubicBezTo>
                    <a:cubicBezTo>
                      <a:pt x="0" y="62"/>
                      <a:pt x="0" y="62"/>
                      <a:pt x="0" y="62"/>
                    </a:cubicBezTo>
                    <a:cubicBezTo>
                      <a:pt x="19" y="81"/>
                      <a:pt x="19" y="81"/>
                      <a:pt x="19" y="81"/>
                    </a:cubicBezTo>
                    <a:cubicBezTo>
                      <a:pt x="38" y="62"/>
                      <a:pt x="38" y="62"/>
                      <a:pt x="38" y="62"/>
                    </a:cubicBezTo>
                    <a:cubicBezTo>
                      <a:pt x="32" y="56"/>
                      <a:pt x="32" y="56"/>
                      <a:pt x="32" y="56"/>
                    </a:cubicBezTo>
                    <a:cubicBezTo>
                      <a:pt x="23" y="65"/>
                      <a:pt x="23" y="65"/>
                      <a:pt x="23" y="65"/>
                    </a:cubicBezTo>
                    <a:cubicBezTo>
                      <a:pt x="23" y="51"/>
                      <a:pt x="23" y="51"/>
                      <a:pt x="23" y="51"/>
                    </a:cubicBezTo>
                    <a:cubicBezTo>
                      <a:pt x="23" y="36"/>
                      <a:pt x="36" y="23"/>
                      <a:pt x="51" y="23"/>
                    </a:cubicBezTo>
                    <a:cubicBezTo>
                      <a:pt x="65" y="23"/>
                      <a:pt x="65" y="23"/>
                      <a:pt x="65" y="23"/>
                    </a:cubicBezTo>
                    <a:cubicBezTo>
                      <a:pt x="56" y="32"/>
                      <a:pt x="56" y="32"/>
                      <a:pt x="56" y="32"/>
                    </a:cubicBezTo>
                    <a:lnTo>
                      <a:pt x="62"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2352" kern="0">
                  <a:gradFill>
                    <a:gsLst>
                      <a:gs pos="1250">
                        <a:srgbClr val="505050"/>
                      </a:gs>
                      <a:gs pos="76000">
                        <a:srgbClr val="505050"/>
                      </a:gs>
                    </a:gsLst>
                    <a:lin ang="5400000" scaled="0"/>
                  </a:gradFill>
                </a:endParaRPr>
              </a:p>
            </p:txBody>
          </p:sp>
          <p:sp>
            <p:nvSpPr>
              <p:cNvPr id="133" name="Freeform 44"/>
              <p:cNvSpPr>
                <a:spLocks noEditPoints="1"/>
              </p:cNvSpPr>
              <p:nvPr/>
            </p:nvSpPr>
            <p:spPr bwMode="auto">
              <a:xfrm>
                <a:off x="4176" y="2543"/>
                <a:ext cx="244" cy="244"/>
              </a:xfrm>
              <a:custGeom>
                <a:avLst/>
                <a:gdLst>
                  <a:gd name="T0" fmla="*/ 244 w 244"/>
                  <a:gd name="T1" fmla="*/ 0 h 244"/>
                  <a:gd name="T2" fmla="*/ 224 w 244"/>
                  <a:gd name="T3" fmla="*/ 0 h 244"/>
                  <a:gd name="T4" fmla="*/ 224 w 244"/>
                  <a:gd name="T5" fmla="*/ 166 h 244"/>
                  <a:gd name="T6" fmla="*/ 166 w 244"/>
                  <a:gd name="T7" fmla="*/ 166 h 244"/>
                  <a:gd name="T8" fmla="*/ 166 w 244"/>
                  <a:gd name="T9" fmla="*/ 224 h 244"/>
                  <a:gd name="T10" fmla="*/ 0 w 244"/>
                  <a:gd name="T11" fmla="*/ 224 h 244"/>
                  <a:gd name="T12" fmla="*/ 0 w 244"/>
                  <a:gd name="T13" fmla="*/ 244 h 244"/>
                  <a:gd name="T14" fmla="*/ 244 w 244"/>
                  <a:gd name="T15" fmla="*/ 244 h 244"/>
                  <a:gd name="T16" fmla="*/ 244 w 244"/>
                  <a:gd name="T17" fmla="*/ 0 h 244"/>
                  <a:gd name="T18" fmla="*/ 185 w 244"/>
                  <a:gd name="T19" fmla="*/ 224 h 244"/>
                  <a:gd name="T20" fmla="*/ 185 w 244"/>
                  <a:gd name="T21" fmla="*/ 185 h 244"/>
                  <a:gd name="T22" fmla="*/ 224 w 244"/>
                  <a:gd name="T23" fmla="*/ 185 h 244"/>
                  <a:gd name="T24" fmla="*/ 224 w 244"/>
                  <a:gd name="T25" fmla="*/ 224 h 244"/>
                  <a:gd name="T26" fmla="*/ 185 w 244"/>
                  <a:gd name="T27" fmla="*/ 22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4" h="244">
                    <a:moveTo>
                      <a:pt x="244" y="0"/>
                    </a:moveTo>
                    <a:lnTo>
                      <a:pt x="224" y="0"/>
                    </a:lnTo>
                    <a:lnTo>
                      <a:pt x="224" y="166"/>
                    </a:lnTo>
                    <a:lnTo>
                      <a:pt x="166" y="166"/>
                    </a:lnTo>
                    <a:lnTo>
                      <a:pt x="166" y="224"/>
                    </a:lnTo>
                    <a:lnTo>
                      <a:pt x="0" y="224"/>
                    </a:lnTo>
                    <a:lnTo>
                      <a:pt x="0" y="244"/>
                    </a:lnTo>
                    <a:lnTo>
                      <a:pt x="244" y="244"/>
                    </a:lnTo>
                    <a:lnTo>
                      <a:pt x="244" y="0"/>
                    </a:lnTo>
                    <a:close/>
                    <a:moveTo>
                      <a:pt x="185" y="224"/>
                    </a:moveTo>
                    <a:lnTo>
                      <a:pt x="185" y="185"/>
                    </a:lnTo>
                    <a:lnTo>
                      <a:pt x="224" y="185"/>
                    </a:lnTo>
                    <a:lnTo>
                      <a:pt x="224" y="224"/>
                    </a:lnTo>
                    <a:lnTo>
                      <a:pt x="185"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2352" kern="0">
                  <a:gradFill>
                    <a:gsLst>
                      <a:gs pos="1250">
                        <a:srgbClr val="505050"/>
                      </a:gs>
                      <a:gs pos="76000">
                        <a:srgbClr val="505050"/>
                      </a:gs>
                    </a:gsLst>
                    <a:lin ang="5400000" scaled="0"/>
                  </a:gradFill>
                </a:endParaRPr>
              </a:p>
            </p:txBody>
          </p:sp>
        </p:grpSp>
      </p:grpSp>
      <p:grpSp>
        <p:nvGrpSpPr>
          <p:cNvPr id="124" name="Group 123"/>
          <p:cNvGrpSpPr/>
          <p:nvPr/>
        </p:nvGrpSpPr>
        <p:grpSpPr>
          <a:xfrm>
            <a:off x="8087388" y="3914662"/>
            <a:ext cx="787725" cy="787725"/>
            <a:chOff x="6637894" y="2120048"/>
            <a:chExt cx="1016000" cy="1016000"/>
          </a:xfrm>
        </p:grpSpPr>
        <p:sp>
          <p:nvSpPr>
            <p:cNvPr id="125" name="Oval 124"/>
            <p:cNvSpPr/>
            <p:nvPr/>
          </p:nvSpPr>
          <p:spPr bwMode="auto">
            <a:xfrm>
              <a:off x="6637894" y="2120048"/>
              <a:ext cx="1016000" cy="1016000"/>
            </a:xfrm>
            <a:prstGeom prst="ellipse">
              <a:avLst/>
            </a:prstGeom>
            <a:solidFill>
              <a:srgbClr val="0072C6"/>
            </a:solidFill>
            <a:ln w="19050" cap="flat" cmpd="sng" algn="ctr">
              <a:solidFill>
                <a:srgbClr val="FFFFFF"/>
              </a:solidFill>
              <a:prstDash val="solid"/>
              <a:headEnd type="none" w="med" len="med"/>
              <a:tailEnd type="none" w="med" len="med"/>
            </a:ln>
            <a:effectLst/>
          </p:spPr>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2744" kern="0" dirty="0">
                <a:gradFill>
                  <a:gsLst>
                    <a:gs pos="1250">
                      <a:srgbClr val="505050"/>
                    </a:gs>
                    <a:gs pos="76000">
                      <a:srgbClr val="505050"/>
                    </a:gs>
                  </a:gsLst>
                  <a:lin ang="5400000" scaled="0"/>
                </a:gradFill>
              </a:endParaRPr>
            </a:p>
          </p:txBody>
        </p:sp>
        <p:grpSp>
          <p:nvGrpSpPr>
            <p:cNvPr id="126" name="Group 47"/>
            <p:cNvGrpSpPr>
              <a:grpSpLocks noChangeAspect="1"/>
            </p:cNvGrpSpPr>
            <p:nvPr/>
          </p:nvGrpSpPr>
          <p:grpSpPr bwMode="auto">
            <a:xfrm>
              <a:off x="6921898" y="2447928"/>
              <a:ext cx="447992" cy="360240"/>
              <a:chOff x="4379" y="1525"/>
              <a:chExt cx="291" cy="234"/>
            </a:xfrm>
            <a:solidFill>
              <a:srgbClr val="FFFFFF"/>
            </a:solidFill>
          </p:grpSpPr>
          <p:sp>
            <p:nvSpPr>
              <p:cNvPr id="127" name="Freeform 48"/>
              <p:cNvSpPr>
                <a:spLocks noEditPoints="1"/>
              </p:cNvSpPr>
              <p:nvPr/>
            </p:nvSpPr>
            <p:spPr bwMode="auto">
              <a:xfrm>
                <a:off x="4379" y="1525"/>
                <a:ext cx="97" cy="234"/>
              </a:xfrm>
              <a:custGeom>
                <a:avLst/>
                <a:gdLst>
                  <a:gd name="T0" fmla="*/ 19 w 97"/>
                  <a:gd name="T1" fmla="*/ 234 h 234"/>
                  <a:gd name="T2" fmla="*/ 78 w 97"/>
                  <a:gd name="T3" fmla="*/ 234 h 234"/>
                  <a:gd name="T4" fmla="*/ 78 w 97"/>
                  <a:gd name="T5" fmla="*/ 195 h 234"/>
                  <a:gd name="T6" fmla="*/ 97 w 97"/>
                  <a:gd name="T7" fmla="*/ 195 h 234"/>
                  <a:gd name="T8" fmla="*/ 97 w 97"/>
                  <a:gd name="T9" fmla="*/ 176 h 234"/>
                  <a:gd name="T10" fmla="*/ 78 w 97"/>
                  <a:gd name="T11" fmla="*/ 176 h 234"/>
                  <a:gd name="T12" fmla="*/ 78 w 97"/>
                  <a:gd name="T13" fmla="*/ 0 h 234"/>
                  <a:gd name="T14" fmla="*/ 19 w 97"/>
                  <a:gd name="T15" fmla="*/ 0 h 234"/>
                  <a:gd name="T16" fmla="*/ 19 w 97"/>
                  <a:gd name="T17" fmla="*/ 176 h 234"/>
                  <a:gd name="T18" fmla="*/ 0 w 97"/>
                  <a:gd name="T19" fmla="*/ 176 h 234"/>
                  <a:gd name="T20" fmla="*/ 0 w 97"/>
                  <a:gd name="T21" fmla="*/ 195 h 234"/>
                  <a:gd name="T22" fmla="*/ 19 w 97"/>
                  <a:gd name="T23" fmla="*/ 195 h 234"/>
                  <a:gd name="T24" fmla="*/ 19 w 97"/>
                  <a:gd name="T25" fmla="*/ 234 h 234"/>
                  <a:gd name="T26" fmla="*/ 39 w 97"/>
                  <a:gd name="T27" fmla="*/ 20 h 234"/>
                  <a:gd name="T28" fmla="*/ 58 w 97"/>
                  <a:gd name="T29" fmla="*/ 20 h 234"/>
                  <a:gd name="T30" fmla="*/ 58 w 97"/>
                  <a:gd name="T31" fmla="*/ 176 h 234"/>
                  <a:gd name="T32" fmla="*/ 39 w 97"/>
                  <a:gd name="T33" fmla="*/ 176 h 234"/>
                  <a:gd name="T34" fmla="*/ 39 w 97"/>
                  <a:gd name="T35" fmla="*/ 20 h 234"/>
                  <a:gd name="T36" fmla="*/ 58 w 97"/>
                  <a:gd name="T37" fmla="*/ 195 h 234"/>
                  <a:gd name="T38" fmla="*/ 58 w 97"/>
                  <a:gd name="T39" fmla="*/ 215 h 234"/>
                  <a:gd name="T40" fmla="*/ 39 w 97"/>
                  <a:gd name="T41" fmla="*/ 215 h 234"/>
                  <a:gd name="T42" fmla="*/ 39 w 97"/>
                  <a:gd name="T43" fmla="*/ 195 h 234"/>
                  <a:gd name="T44" fmla="*/ 58 w 97"/>
                  <a:gd name="T45" fmla="*/ 19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7" h="234">
                    <a:moveTo>
                      <a:pt x="19" y="234"/>
                    </a:moveTo>
                    <a:lnTo>
                      <a:pt x="78" y="234"/>
                    </a:lnTo>
                    <a:lnTo>
                      <a:pt x="78" y="195"/>
                    </a:lnTo>
                    <a:lnTo>
                      <a:pt x="97" y="195"/>
                    </a:lnTo>
                    <a:lnTo>
                      <a:pt x="97" y="176"/>
                    </a:lnTo>
                    <a:lnTo>
                      <a:pt x="78" y="176"/>
                    </a:lnTo>
                    <a:lnTo>
                      <a:pt x="78" y="0"/>
                    </a:lnTo>
                    <a:lnTo>
                      <a:pt x="19" y="0"/>
                    </a:lnTo>
                    <a:lnTo>
                      <a:pt x="19" y="176"/>
                    </a:lnTo>
                    <a:lnTo>
                      <a:pt x="0" y="176"/>
                    </a:lnTo>
                    <a:lnTo>
                      <a:pt x="0" y="195"/>
                    </a:lnTo>
                    <a:lnTo>
                      <a:pt x="19" y="195"/>
                    </a:lnTo>
                    <a:lnTo>
                      <a:pt x="19" y="234"/>
                    </a:lnTo>
                    <a:close/>
                    <a:moveTo>
                      <a:pt x="39" y="20"/>
                    </a:moveTo>
                    <a:lnTo>
                      <a:pt x="58" y="20"/>
                    </a:lnTo>
                    <a:lnTo>
                      <a:pt x="58" y="176"/>
                    </a:lnTo>
                    <a:lnTo>
                      <a:pt x="39" y="176"/>
                    </a:lnTo>
                    <a:lnTo>
                      <a:pt x="39" y="20"/>
                    </a:lnTo>
                    <a:close/>
                    <a:moveTo>
                      <a:pt x="58" y="195"/>
                    </a:moveTo>
                    <a:lnTo>
                      <a:pt x="58" y="215"/>
                    </a:lnTo>
                    <a:lnTo>
                      <a:pt x="39" y="215"/>
                    </a:lnTo>
                    <a:lnTo>
                      <a:pt x="39" y="195"/>
                    </a:lnTo>
                    <a:lnTo>
                      <a:pt x="58"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2352" kern="0">
                  <a:gradFill>
                    <a:gsLst>
                      <a:gs pos="1250">
                        <a:srgbClr val="505050"/>
                      </a:gs>
                      <a:gs pos="76000">
                        <a:srgbClr val="505050"/>
                      </a:gs>
                    </a:gsLst>
                    <a:lin ang="5400000" scaled="0"/>
                  </a:gradFill>
                </a:endParaRPr>
              </a:p>
            </p:txBody>
          </p:sp>
          <p:sp>
            <p:nvSpPr>
              <p:cNvPr id="128" name="Freeform 49"/>
              <p:cNvSpPr>
                <a:spLocks noEditPoints="1"/>
              </p:cNvSpPr>
              <p:nvPr/>
            </p:nvSpPr>
            <p:spPr bwMode="auto">
              <a:xfrm>
                <a:off x="4476" y="1525"/>
                <a:ext cx="97" cy="234"/>
              </a:xfrm>
              <a:custGeom>
                <a:avLst/>
                <a:gdLst>
                  <a:gd name="T0" fmla="*/ 19 w 97"/>
                  <a:gd name="T1" fmla="*/ 234 h 234"/>
                  <a:gd name="T2" fmla="*/ 78 w 97"/>
                  <a:gd name="T3" fmla="*/ 234 h 234"/>
                  <a:gd name="T4" fmla="*/ 78 w 97"/>
                  <a:gd name="T5" fmla="*/ 127 h 234"/>
                  <a:gd name="T6" fmla="*/ 97 w 97"/>
                  <a:gd name="T7" fmla="*/ 127 h 234"/>
                  <a:gd name="T8" fmla="*/ 97 w 97"/>
                  <a:gd name="T9" fmla="*/ 107 h 234"/>
                  <a:gd name="T10" fmla="*/ 78 w 97"/>
                  <a:gd name="T11" fmla="*/ 107 h 234"/>
                  <a:gd name="T12" fmla="*/ 78 w 97"/>
                  <a:gd name="T13" fmla="*/ 0 h 234"/>
                  <a:gd name="T14" fmla="*/ 19 w 97"/>
                  <a:gd name="T15" fmla="*/ 0 h 234"/>
                  <a:gd name="T16" fmla="*/ 19 w 97"/>
                  <a:gd name="T17" fmla="*/ 107 h 234"/>
                  <a:gd name="T18" fmla="*/ 0 w 97"/>
                  <a:gd name="T19" fmla="*/ 107 h 234"/>
                  <a:gd name="T20" fmla="*/ 0 w 97"/>
                  <a:gd name="T21" fmla="*/ 127 h 234"/>
                  <a:gd name="T22" fmla="*/ 19 w 97"/>
                  <a:gd name="T23" fmla="*/ 127 h 234"/>
                  <a:gd name="T24" fmla="*/ 19 w 97"/>
                  <a:gd name="T25" fmla="*/ 234 h 234"/>
                  <a:gd name="T26" fmla="*/ 58 w 97"/>
                  <a:gd name="T27" fmla="*/ 215 h 234"/>
                  <a:gd name="T28" fmla="*/ 39 w 97"/>
                  <a:gd name="T29" fmla="*/ 215 h 234"/>
                  <a:gd name="T30" fmla="*/ 39 w 97"/>
                  <a:gd name="T31" fmla="*/ 127 h 234"/>
                  <a:gd name="T32" fmla="*/ 58 w 97"/>
                  <a:gd name="T33" fmla="*/ 127 h 234"/>
                  <a:gd name="T34" fmla="*/ 58 w 97"/>
                  <a:gd name="T35" fmla="*/ 215 h 234"/>
                  <a:gd name="T36" fmla="*/ 39 w 97"/>
                  <a:gd name="T37" fmla="*/ 20 h 234"/>
                  <a:gd name="T38" fmla="*/ 58 w 97"/>
                  <a:gd name="T39" fmla="*/ 20 h 234"/>
                  <a:gd name="T40" fmla="*/ 58 w 97"/>
                  <a:gd name="T41" fmla="*/ 107 h 234"/>
                  <a:gd name="T42" fmla="*/ 39 w 97"/>
                  <a:gd name="T43" fmla="*/ 107 h 234"/>
                  <a:gd name="T44" fmla="*/ 39 w 97"/>
                  <a:gd name="T45" fmla="*/ 20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7" h="234">
                    <a:moveTo>
                      <a:pt x="19" y="234"/>
                    </a:moveTo>
                    <a:lnTo>
                      <a:pt x="78" y="234"/>
                    </a:lnTo>
                    <a:lnTo>
                      <a:pt x="78" y="127"/>
                    </a:lnTo>
                    <a:lnTo>
                      <a:pt x="97" y="127"/>
                    </a:lnTo>
                    <a:lnTo>
                      <a:pt x="97" y="107"/>
                    </a:lnTo>
                    <a:lnTo>
                      <a:pt x="78" y="107"/>
                    </a:lnTo>
                    <a:lnTo>
                      <a:pt x="78" y="0"/>
                    </a:lnTo>
                    <a:lnTo>
                      <a:pt x="19" y="0"/>
                    </a:lnTo>
                    <a:lnTo>
                      <a:pt x="19" y="107"/>
                    </a:lnTo>
                    <a:lnTo>
                      <a:pt x="0" y="107"/>
                    </a:lnTo>
                    <a:lnTo>
                      <a:pt x="0" y="127"/>
                    </a:lnTo>
                    <a:lnTo>
                      <a:pt x="19" y="127"/>
                    </a:lnTo>
                    <a:lnTo>
                      <a:pt x="19" y="234"/>
                    </a:lnTo>
                    <a:close/>
                    <a:moveTo>
                      <a:pt x="58" y="215"/>
                    </a:moveTo>
                    <a:lnTo>
                      <a:pt x="39" y="215"/>
                    </a:lnTo>
                    <a:lnTo>
                      <a:pt x="39" y="127"/>
                    </a:lnTo>
                    <a:lnTo>
                      <a:pt x="58" y="127"/>
                    </a:lnTo>
                    <a:lnTo>
                      <a:pt x="58" y="215"/>
                    </a:lnTo>
                    <a:close/>
                    <a:moveTo>
                      <a:pt x="39" y="20"/>
                    </a:moveTo>
                    <a:lnTo>
                      <a:pt x="58" y="20"/>
                    </a:lnTo>
                    <a:lnTo>
                      <a:pt x="58" y="107"/>
                    </a:lnTo>
                    <a:lnTo>
                      <a:pt x="39" y="107"/>
                    </a:lnTo>
                    <a:lnTo>
                      <a:pt x="39"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2352" kern="0">
                  <a:gradFill>
                    <a:gsLst>
                      <a:gs pos="1250">
                        <a:srgbClr val="505050"/>
                      </a:gs>
                      <a:gs pos="76000">
                        <a:srgbClr val="505050"/>
                      </a:gs>
                    </a:gsLst>
                    <a:lin ang="5400000" scaled="0"/>
                  </a:gradFill>
                </a:endParaRPr>
              </a:p>
            </p:txBody>
          </p:sp>
          <p:sp>
            <p:nvSpPr>
              <p:cNvPr id="129" name="Freeform 50"/>
              <p:cNvSpPr>
                <a:spLocks noEditPoints="1"/>
              </p:cNvSpPr>
              <p:nvPr/>
            </p:nvSpPr>
            <p:spPr bwMode="auto">
              <a:xfrm>
                <a:off x="4573" y="1525"/>
                <a:ext cx="97" cy="234"/>
              </a:xfrm>
              <a:custGeom>
                <a:avLst/>
                <a:gdLst>
                  <a:gd name="T0" fmla="*/ 97 w 97"/>
                  <a:gd name="T1" fmla="*/ 39 h 234"/>
                  <a:gd name="T2" fmla="*/ 78 w 97"/>
                  <a:gd name="T3" fmla="*/ 39 h 234"/>
                  <a:gd name="T4" fmla="*/ 78 w 97"/>
                  <a:gd name="T5" fmla="*/ 0 h 234"/>
                  <a:gd name="T6" fmla="*/ 19 w 97"/>
                  <a:gd name="T7" fmla="*/ 0 h 234"/>
                  <a:gd name="T8" fmla="*/ 19 w 97"/>
                  <a:gd name="T9" fmla="*/ 39 h 234"/>
                  <a:gd name="T10" fmla="*/ 0 w 97"/>
                  <a:gd name="T11" fmla="*/ 39 h 234"/>
                  <a:gd name="T12" fmla="*/ 0 w 97"/>
                  <a:gd name="T13" fmla="*/ 59 h 234"/>
                  <a:gd name="T14" fmla="*/ 19 w 97"/>
                  <a:gd name="T15" fmla="*/ 59 h 234"/>
                  <a:gd name="T16" fmla="*/ 19 w 97"/>
                  <a:gd name="T17" fmla="*/ 234 h 234"/>
                  <a:gd name="T18" fmla="*/ 78 w 97"/>
                  <a:gd name="T19" fmla="*/ 234 h 234"/>
                  <a:gd name="T20" fmla="*/ 78 w 97"/>
                  <a:gd name="T21" fmla="*/ 59 h 234"/>
                  <a:gd name="T22" fmla="*/ 97 w 97"/>
                  <a:gd name="T23" fmla="*/ 59 h 234"/>
                  <a:gd name="T24" fmla="*/ 97 w 97"/>
                  <a:gd name="T25" fmla="*/ 39 h 234"/>
                  <a:gd name="T26" fmla="*/ 39 w 97"/>
                  <a:gd name="T27" fmla="*/ 20 h 234"/>
                  <a:gd name="T28" fmla="*/ 58 w 97"/>
                  <a:gd name="T29" fmla="*/ 20 h 234"/>
                  <a:gd name="T30" fmla="*/ 58 w 97"/>
                  <a:gd name="T31" fmla="*/ 39 h 234"/>
                  <a:gd name="T32" fmla="*/ 39 w 97"/>
                  <a:gd name="T33" fmla="*/ 39 h 234"/>
                  <a:gd name="T34" fmla="*/ 39 w 97"/>
                  <a:gd name="T35" fmla="*/ 20 h 234"/>
                  <a:gd name="T36" fmla="*/ 58 w 97"/>
                  <a:gd name="T37" fmla="*/ 215 h 234"/>
                  <a:gd name="T38" fmla="*/ 39 w 97"/>
                  <a:gd name="T39" fmla="*/ 215 h 234"/>
                  <a:gd name="T40" fmla="*/ 39 w 97"/>
                  <a:gd name="T41" fmla="*/ 59 h 234"/>
                  <a:gd name="T42" fmla="*/ 58 w 97"/>
                  <a:gd name="T43" fmla="*/ 59 h 234"/>
                  <a:gd name="T44" fmla="*/ 58 w 97"/>
                  <a:gd name="T45"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7" h="234">
                    <a:moveTo>
                      <a:pt x="97" y="39"/>
                    </a:moveTo>
                    <a:lnTo>
                      <a:pt x="78" y="39"/>
                    </a:lnTo>
                    <a:lnTo>
                      <a:pt x="78" y="0"/>
                    </a:lnTo>
                    <a:lnTo>
                      <a:pt x="19" y="0"/>
                    </a:lnTo>
                    <a:lnTo>
                      <a:pt x="19" y="39"/>
                    </a:lnTo>
                    <a:lnTo>
                      <a:pt x="0" y="39"/>
                    </a:lnTo>
                    <a:lnTo>
                      <a:pt x="0" y="59"/>
                    </a:lnTo>
                    <a:lnTo>
                      <a:pt x="19" y="59"/>
                    </a:lnTo>
                    <a:lnTo>
                      <a:pt x="19" y="234"/>
                    </a:lnTo>
                    <a:lnTo>
                      <a:pt x="78" y="234"/>
                    </a:lnTo>
                    <a:lnTo>
                      <a:pt x="78" y="59"/>
                    </a:lnTo>
                    <a:lnTo>
                      <a:pt x="97" y="59"/>
                    </a:lnTo>
                    <a:lnTo>
                      <a:pt x="97" y="39"/>
                    </a:lnTo>
                    <a:close/>
                    <a:moveTo>
                      <a:pt x="39" y="20"/>
                    </a:moveTo>
                    <a:lnTo>
                      <a:pt x="58" y="20"/>
                    </a:lnTo>
                    <a:lnTo>
                      <a:pt x="58" y="39"/>
                    </a:lnTo>
                    <a:lnTo>
                      <a:pt x="39" y="39"/>
                    </a:lnTo>
                    <a:lnTo>
                      <a:pt x="39" y="20"/>
                    </a:lnTo>
                    <a:close/>
                    <a:moveTo>
                      <a:pt x="58" y="215"/>
                    </a:moveTo>
                    <a:lnTo>
                      <a:pt x="39" y="215"/>
                    </a:lnTo>
                    <a:lnTo>
                      <a:pt x="39" y="59"/>
                    </a:lnTo>
                    <a:lnTo>
                      <a:pt x="58" y="59"/>
                    </a:lnTo>
                    <a:lnTo>
                      <a:pt x="58" y="2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2352" kern="0">
                  <a:gradFill>
                    <a:gsLst>
                      <a:gs pos="1250">
                        <a:srgbClr val="505050"/>
                      </a:gs>
                      <a:gs pos="76000">
                        <a:srgbClr val="505050"/>
                      </a:gs>
                    </a:gsLst>
                    <a:lin ang="5400000" scaled="0"/>
                  </a:gradFill>
                </a:endParaRPr>
              </a:p>
            </p:txBody>
          </p:sp>
        </p:grpSp>
      </p:grpSp>
      <p:grpSp>
        <p:nvGrpSpPr>
          <p:cNvPr id="106" name="Group 105"/>
          <p:cNvGrpSpPr/>
          <p:nvPr/>
        </p:nvGrpSpPr>
        <p:grpSpPr>
          <a:xfrm>
            <a:off x="269170" y="1306997"/>
            <a:ext cx="4982485" cy="1178271"/>
            <a:chOff x="2673185" y="1454808"/>
            <a:chExt cx="4978426" cy="1118673"/>
          </a:xfrm>
        </p:grpSpPr>
        <p:sp>
          <p:nvSpPr>
            <p:cNvPr id="107" name="Rectangle 106"/>
            <p:cNvSpPr/>
            <p:nvPr/>
          </p:nvSpPr>
          <p:spPr>
            <a:xfrm>
              <a:off x="2673185" y="1454808"/>
              <a:ext cx="2406282" cy="1118673"/>
            </a:xfrm>
            <a:prstGeom prst="rect">
              <a:avLst/>
            </a:prstGeom>
          </p:spPr>
          <p:txBody>
            <a:bodyPr wrap="square">
              <a:spAutoFit/>
            </a:bodyPr>
            <a:lstStyle/>
            <a:p>
              <a:pPr defTabSz="896203">
                <a:lnSpc>
                  <a:spcPct val="90000"/>
                </a:lnSpc>
                <a:defRPr/>
              </a:pPr>
              <a:r>
                <a:rPr lang="en-US" sz="7841" kern="0" dirty="0">
                  <a:gradFill>
                    <a:gsLst>
                      <a:gs pos="1250">
                        <a:srgbClr val="0078D7"/>
                      </a:gs>
                      <a:gs pos="76000">
                        <a:srgbClr val="0078D7"/>
                      </a:gs>
                    </a:gsLst>
                    <a:lin ang="5400000" scaled="0"/>
                  </a:gradFill>
                  <a:latin typeface="Segoe UI Light"/>
                </a:rPr>
                <a:t>75%</a:t>
              </a:r>
              <a:endParaRPr lang="en-US" sz="3136" kern="0" dirty="0">
                <a:gradFill>
                  <a:gsLst>
                    <a:gs pos="1250">
                      <a:srgbClr val="0078D7"/>
                    </a:gs>
                    <a:gs pos="76000">
                      <a:srgbClr val="0078D7"/>
                    </a:gs>
                  </a:gsLst>
                  <a:lin ang="5400000" scaled="0"/>
                </a:gradFill>
                <a:cs typeface="Segoe UI" panose="020B0502040204020203" pitchFamily="34" charset="0"/>
              </a:endParaRPr>
            </a:p>
          </p:txBody>
        </p:sp>
        <p:sp>
          <p:nvSpPr>
            <p:cNvPr id="108" name="Rectangle 107"/>
            <p:cNvSpPr/>
            <p:nvPr/>
          </p:nvSpPr>
          <p:spPr>
            <a:xfrm>
              <a:off x="4666335" y="1540724"/>
              <a:ext cx="2985276" cy="912422"/>
            </a:xfrm>
            <a:prstGeom prst="rect">
              <a:avLst/>
            </a:prstGeom>
          </p:spPr>
          <p:txBody>
            <a:bodyPr wrap="square">
              <a:spAutoFit/>
            </a:bodyPr>
            <a:lstStyle/>
            <a:p>
              <a:pPr defTabSz="896203">
                <a:lnSpc>
                  <a:spcPct val="90000"/>
                </a:lnSpc>
                <a:defRPr/>
              </a:pPr>
              <a:r>
                <a:rPr lang="en-US" sz="1568" kern="0" dirty="0">
                  <a:gradFill>
                    <a:gsLst>
                      <a:gs pos="1250">
                        <a:srgbClr val="505050"/>
                      </a:gs>
                      <a:gs pos="76000">
                        <a:srgbClr val="505050"/>
                      </a:gs>
                    </a:gsLst>
                    <a:lin ang="5400000" scaled="0"/>
                  </a:gradFill>
                </a:rPr>
                <a:t>of the cars shipped globally by </a:t>
              </a:r>
              <a:r>
                <a:rPr lang="en-US" sz="1568" b="1" kern="0" dirty="0">
                  <a:gradFill>
                    <a:gsLst>
                      <a:gs pos="1250">
                        <a:srgbClr val="505050"/>
                      </a:gs>
                      <a:gs pos="76000">
                        <a:srgbClr val="505050"/>
                      </a:gs>
                    </a:gsLst>
                    <a:lin ang="5400000" scaled="0"/>
                  </a:gradFill>
                </a:rPr>
                <a:t>2020</a:t>
              </a:r>
              <a:r>
                <a:rPr lang="en-US" sz="1568" kern="0" dirty="0">
                  <a:gradFill>
                    <a:gsLst>
                      <a:gs pos="1250">
                        <a:srgbClr val="505050"/>
                      </a:gs>
                      <a:gs pos="76000">
                        <a:srgbClr val="505050"/>
                      </a:gs>
                    </a:gsLst>
                    <a:lin ang="5400000" scaled="0"/>
                  </a:gradFill>
                </a:rPr>
                <a:t> will be built with the necessary hardware to connect to the Internet</a:t>
              </a:r>
            </a:p>
          </p:txBody>
        </p:sp>
      </p:grpSp>
      <p:sp>
        <p:nvSpPr>
          <p:cNvPr id="2" name="TextBox 1"/>
          <p:cNvSpPr txBox="1"/>
          <p:nvPr/>
        </p:nvSpPr>
        <p:spPr>
          <a:xfrm>
            <a:off x="253826" y="2720058"/>
            <a:ext cx="6451115" cy="723955"/>
          </a:xfrm>
          <a:prstGeom prst="rect">
            <a:avLst/>
          </a:prstGeom>
          <a:noFill/>
        </p:spPr>
        <p:txBody>
          <a:bodyPr wrap="none" lIns="179238" tIns="143391" rIns="179238" bIns="143391" rtlCol="0">
            <a:spAutoFit/>
          </a:bodyPr>
          <a:lstStyle/>
          <a:p>
            <a:pPr defTabSz="896203">
              <a:lnSpc>
                <a:spcPct val="90000"/>
              </a:lnSpc>
              <a:spcAft>
                <a:spcPts val="588"/>
              </a:spcAft>
            </a:pPr>
            <a:r>
              <a:rPr lang="en-US" sz="3136" kern="0" dirty="0">
                <a:gradFill>
                  <a:gsLst>
                    <a:gs pos="2917">
                      <a:srgbClr val="505050"/>
                    </a:gs>
                    <a:gs pos="30000">
                      <a:srgbClr val="505050"/>
                    </a:gs>
                  </a:gsLst>
                  <a:lin ang="5400000" scaled="0"/>
                </a:gradFill>
              </a:rPr>
              <a:t>So what can we do with that data?</a:t>
            </a:r>
          </a:p>
        </p:txBody>
      </p:sp>
      <p:sp>
        <p:nvSpPr>
          <p:cNvPr id="71" name="TextBox 70"/>
          <p:cNvSpPr txBox="1"/>
          <p:nvPr/>
        </p:nvSpPr>
        <p:spPr>
          <a:xfrm>
            <a:off x="8832369" y="2639849"/>
            <a:ext cx="3032942" cy="1043701"/>
          </a:xfrm>
          <a:prstGeom prst="rect">
            <a:avLst/>
          </a:prstGeom>
          <a:noFill/>
        </p:spPr>
        <p:txBody>
          <a:bodyPr wrap="none" lIns="179238" tIns="143391" rIns="179238" bIns="143391" rtlCol="0">
            <a:spAutoFit/>
          </a:bodyPr>
          <a:lstStyle/>
          <a:p>
            <a:pPr defTabSz="896203">
              <a:lnSpc>
                <a:spcPct val="90000"/>
              </a:lnSpc>
              <a:spcAft>
                <a:spcPts val="588"/>
              </a:spcAft>
            </a:pPr>
            <a:r>
              <a:rPr lang="en-US" sz="1764" kern="0" dirty="0">
                <a:gradFill>
                  <a:gsLst>
                    <a:gs pos="2917">
                      <a:srgbClr val="505050"/>
                    </a:gs>
                    <a:gs pos="30000">
                      <a:srgbClr val="505050"/>
                    </a:gs>
                  </a:gsLst>
                  <a:lin ang="5400000" scaled="0"/>
                </a:gradFill>
              </a:rPr>
              <a:t>Vehicle diagnostic</a:t>
            </a:r>
          </a:p>
          <a:p>
            <a:pPr defTabSz="896203">
              <a:lnSpc>
                <a:spcPct val="90000"/>
              </a:lnSpc>
              <a:spcAft>
                <a:spcPts val="588"/>
              </a:spcAft>
            </a:pPr>
            <a:r>
              <a:rPr lang="en-US" sz="1568" i="1" kern="0" dirty="0">
                <a:solidFill>
                  <a:schemeClr val="accent1"/>
                </a:solidFill>
              </a:rPr>
              <a:t>What parts need maintenance </a:t>
            </a:r>
            <a:br>
              <a:rPr lang="en-US" sz="1568" i="1" kern="0" dirty="0">
                <a:solidFill>
                  <a:schemeClr val="accent1"/>
                </a:solidFill>
              </a:rPr>
            </a:br>
            <a:r>
              <a:rPr lang="en-US" sz="1568" i="1" kern="0" dirty="0">
                <a:solidFill>
                  <a:schemeClr val="accent1"/>
                </a:solidFill>
              </a:rPr>
              <a:t>first on all Ford F-150’s sold?</a:t>
            </a:r>
          </a:p>
        </p:txBody>
      </p:sp>
      <p:sp>
        <p:nvSpPr>
          <p:cNvPr id="72" name="TextBox 71"/>
          <p:cNvSpPr txBox="1"/>
          <p:nvPr/>
        </p:nvSpPr>
        <p:spPr>
          <a:xfrm>
            <a:off x="8832369" y="4989207"/>
            <a:ext cx="3201740" cy="1043701"/>
          </a:xfrm>
          <a:prstGeom prst="rect">
            <a:avLst/>
          </a:prstGeom>
          <a:noFill/>
        </p:spPr>
        <p:txBody>
          <a:bodyPr wrap="none" lIns="179238" tIns="143391" rIns="179238" bIns="143391" rtlCol="0">
            <a:spAutoFit/>
          </a:bodyPr>
          <a:lstStyle/>
          <a:p>
            <a:pPr defTabSz="896203">
              <a:lnSpc>
                <a:spcPct val="90000"/>
              </a:lnSpc>
              <a:spcAft>
                <a:spcPts val="588"/>
              </a:spcAft>
            </a:pPr>
            <a:r>
              <a:rPr lang="en-US" sz="1764" kern="0" dirty="0">
                <a:gradFill>
                  <a:gsLst>
                    <a:gs pos="2917">
                      <a:srgbClr val="505050"/>
                    </a:gs>
                    <a:gs pos="30000">
                      <a:srgbClr val="505050"/>
                    </a:gs>
                  </a:gsLst>
                  <a:lin ang="5400000" scaled="0"/>
                </a:gradFill>
              </a:rPr>
              <a:t>Usage-based insurance</a:t>
            </a:r>
          </a:p>
          <a:p>
            <a:pPr defTabSz="896203">
              <a:lnSpc>
                <a:spcPct val="90000"/>
              </a:lnSpc>
              <a:spcAft>
                <a:spcPts val="588"/>
              </a:spcAft>
            </a:pPr>
            <a:r>
              <a:rPr lang="en-US" sz="1568" i="1" kern="0" dirty="0">
                <a:solidFill>
                  <a:schemeClr val="accent1"/>
                </a:solidFill>
              </a:rPr>
              <a:t>Are there any vehicles below the </a:t>
            </a:r>
            <a:br>
              <a:rPr lang="en-US" sz="1568" i="1" kern="0" dirty="0">
                <a:solidFill>
                  <a:schemeClr val="accent1"/>
                </a:solidFill>
              </a:rPr>
            </a:br>
            <a:r>
              <a:rPr lang="en-US" sz="1568" i="1" kern="0" dirty="0">
                <a:solidFill>
                  <a:schemeClr val="accent1"/>
                </a:solidFill>
              </a:rPr>
              <a:t>insurance price break threshold?</a:t>
            </a:r>
          </a:p>
        </p:txBody>
      </p:sp>
      <p:sp>
        <p:nvSpPr>
          <p:cNvPr id="74" name="TextBox 73"/>
          <p:cNvSpPr txBox="1"/>
          <p:nvPr/>
        </p:nvSpPr>
        <p:spPr>
          <a:xfrm>
            <a:off x="4491711" y="3786675"/>
            <a:ext cx="3416476" cy="1043701"/>
          </a:xfrm>
          <a:prstGeom prst="rect">
            <a:avLst/>
          </a:prstGeom>
          <a:noFill/>
        </p:spPr>
        <p:txBody>
          <a:bodyPr wrap="none" lIns="179238" tIns="143391" rIns="179238" bIns="143391" rtlCol="0">
            <a:spAutoFit/>
          </a:bodyPr>
          <a:lstStyle/>
          <a:p>
            <a:pPr defTabSz="896203">
              <a:lnSpc>
                <a:spcPct val="90000"/>
              </a:lnSpc>
              <a:spcAft>
                <a:spcPts val="588"/>
              </a:spcAft>
            </a:pPr>
            <a:r>
              <a:rPr lang="en-US" sz="1764" kern="0" dirty="0">
                <a:gradFill>
                  <a:gsLst>
                    <a:gs pos="2917">
                      <a:srgbClr val="505050"/>
                    </a:gs>
                    <a:gs pos="30000">
                      <a:srgbClr val="505050"/>
                    </a:gs>
                  </a:gsLst>
                  <a:lin ang="5400000" scaled="0"/>
                </a:gradFill>
              </a:rPr>
              <a:t>Fleet management</a:t>
            </a:r>
          </a:p>
          <a:p>
            <a:pPr defTabSz="896203">
              <a:lnSpc>
                <a:spcPct val="90000"/>
              </a:lnSpc>
              <a:spcAft>
                <a:spcPts val="588"/>
              </a:spcAft>
            </a:pPr>
            <a:r>
              <a:rPr lang="en-US" sz="1568" i="1" kern="0" dirty="0">
                <a:solidFill>
                  <a:schemeClr val="accent1"/>
                </a:solidFill>
              </a:rPr>
              <a:t>Show me the location of all </a:t>
            </a:r>
            <a:br>
              <a:rPr lang="en-US" sz="1568" i="1" kern="0" dirty="0">
                <a:solidFill>
                  <a:schemeClr val="accent1"/>
                </a:solidFill>
              </a:rPr>
            </a:br>
            <a:r>
              <a:rPr lang="en-US" sz="1568" i="1" kern="0" dirty="0">
                <a:solidFill>
                  <a:schemeClr val="accent1"/>
                </a:solidFill>
              </a:rPr>
              <a:t>vehicles within 50mi of my location</a:t>
            </a:r>
          </a:p>
        </p:txBody>
      </p:sp>
      <p:sp>
        <p:nvSpPr>
          <p:cNvPr id="75" name="TextBox 74"/>
          <p:cNvSpPr txBox="1"/>
          <p:nvPr/>
        </p:nvSpPr>
        <p:spPr>
          <a:xfrm>
            <a:off x="885007" y="3881693"/>
            <a:ext cx="1361186" cy="853663"/>
          </a:xfrm>
          <a:prstGeom prst="rect">
            <a:avLst/>
          </a:prstGeom>
          <a:noFill/>
        </p:spPr>
        <p:txBody>
          <a:bodyPr wrap="none" lIns="179238" tIns="143391" rIns="179238" bIns="143391" rtlCol="0">
            <a:spAutoFit/>
          </a:bodyPr>
          <a:lstStyle/>
          <a:p>
            <a:pPr defTabSz="896203">
              <a:lnSpc>
                <a:spcPct val="90000"/>
              </a:lnSpc>
              <a:spcAft>
                <a:spcPts val="588"/>
              </a:spcAft>
            </a:pPr>
            <a:r>
              <a:rPr lang="en-US" sz="1764" kern="0" dirty="0">
                <a:gradFill>
                  <a:gsLst>
                    <a:gs pos="2917">
                      <a:srgbClr val="505050"/>
                    </a:gs>
                    <a:gs pos="30000">
                      <a:srgbClr val="505050"/>
                    </a:gs>
                  </a:gsLst>
                  <a:lin ang="5400000" scaled="0"/>
                </a:gradFill>
              </a:rPr>
              <a:t>Roadside </a:t>
            </a:r>
          </a:p>
          <a:p>
            <a:pPr defTabSz="896203">
              <a:lnSpc>
                <a:spcPct val="90000"/>
              </a:lnSpc>
              <a:spcAft>
                <a:spcPts val="588"/>
              </a:spcAft>
            </a:pPr>
            <a:r>
              <a:rPr lang="en-US" sz="1764" kern="0" dirty="0">
                <a:gradFill>
                  <a:gsLst>
                    <a:gs pos="2917">
                      <a:srgbClr val="505050"/>
                    </a:gs>
                    <a:gs pos="30000">
                      <a:srgbClr val="505050"/>
                    </a:gs>
                  </a:gsLst>
                  <a:lin ang="5400000" scaled="0"/>
                </a:gradFill>
              </a:rPr>
              <a:t>assistance</a:t>
            </a:r>
          </a:p>
        </p:txBody>
      </p:sp>
      <p:sp>
        <p:nvSpPr>
          <p:cNvPr id="76" name="TextBox 75"/>
          <p:cNvSpPr txBox="1"/>
          <p:nvPr/>
        </p:nvSpPr>
        <p:spPr>
          <a:xfrm>
            <a:off x="885008" y="4989207"/>
            <a:ext cx="3021819" cy="1043701"/>
          </a:xfrm>
          <a:prstGeom prst="rect">
            <a:avLst/>
          </a:prstGeom>
          <a:noFill/>
        </p:spPr>
        <p:txBody>
          <a:bodyPr wrap="none" lIns="179238" tIns="143391" rIns="179238" bIns="143391" rtlCol="0">
            <a:spAutoFit/>
          </a:bodyPr>
          <a:lstStyle/>
          <a:p>
            <a:pPr defTabSz="896203">
              <a:lnSpc>
                <a:spcPct val="90000"/>
              </a:lnSpc>
              <a:spcAft>
                <a:spcPts val="588"/>
              </a:spcAft>
            </a:pPr>
            <a:r>
              <a:rPr lang="en-US" sz="1764" kern="0" dirty="0">
                <a:gradFill>
                  <a:gsLst>
                    <a:gs pos="2917">
                      <a:srgbClr val="505050"/>
                    </a:gs>
                    <a:gs pos="30000">
                      <a:srgbClr val="505050"/>
                    </a:gs>
                  </a:gsLst>
                  <a:lin ang="5400000" scaled="0"/>
                </a:gradFill>
              </a:rPr>
              <a:t>Eco-driving</a:t>
            </a:r>
          </a:p>
          <a:p>
            <a:pPr defTabSz="896203">
              <a:lnSpc>
                <a:spcPct val="90000"/>
              </a:lnSpc>
              <a:spcAft>
                <a:spcPts val="588"/>
              </a:spcAft>
            </a:pPr>
            <a:r>
              <a:rPr lang="en-US" sz="1568" i="1" kern="0" dirty="0">
                <a:solidFill>
                  <a:schemeClr val="accent1"/>
                </a:solidFill>
              </a:rPr>
              <a:t>How does the reported </a:t>
            </a:r>
            <a:br>
              <a:rPr lang="en-US" sz="1568" i="1" kern="0" dirty="0">
                <a:solidFill>
                  <a:schemeClr val="accent1"/>
                </a:solidFill>
              </a:rPr>
            </a:br>
            <a:r>
              <a:rPr lang="en-US" sz="1568" i="1" kern="0" dirty="0">
                <a:solidFill>
                  <a:schemeClr val="accent1"/>
                </a:solidFill>
              </a:rPr>
              <a:t>MPG compare to actual MPG? </a:t>
            </a:r>
          </a:p>
        </p:txBody>
      </p:sp>
      <p:sp>
        <p:nvSpPr>
          <p:cNvPr id="77" name="TextBox 76"/>
          <p:cNvSpPr txBox="1"/>
          <p:nvPr/>
        </p:nvSpPr>
        <p:spPr>
          <a:xfrm>
            <a:off x="4551940" y="4989206"/>
            <a:ext cx="3527908" cy="1045239"/>
          </a:xfrm>
          <a:prstGeom prst="rect">
            <a:avLst/>
          </a:prstGeom>
          <a:noFill/>
        </p:spPr>
        <p:txBody>
          <a:bodyPr wrap="none" lIns="179238" tIns="143391" rIns="179238" bIns="143391" rtlCol="0">
            <a:spAutoFit/>
          </a:bodyPr>
          <a:lstStyle/>
          <a:p>
            <a:pPr defTabSz="896203">
              <a:lnSpc>
                <a:spcPct val="90000"/>
              </a:lnSpc>
              <a:spcAft>
                <a:spcPts val="588"/>
              </a:spcAft>
            </a:pPr>
            <a:r>
              <a:rPr lang="en-US" sz="1764" kern="0" dirty="0">
                <a:gradFill>
                  <a:gsLst>
                    <a:gs pos="2917">
                      <a:srgbClr val="505050"/>
                    </a:gs>
                    <a:gs pos="30000">
                      <a:srgbClr val="505050"/>
                    </a:gs>
                  </a:gsLst>
                  <a:lin ang="5400000" scaled="0"/>
                </a:gradFill>
              </a:rPr>
              <a:t>Engine performance remapping</a:t>
            </a:r>
          </a:p>
          <a:p>
            <a:pPr defTabSz="896203">
              <a:lnSpc>
                <a:spcPct val="90000"/>
              </a:lnSpc>
              <a:spcAft>
                <a:spcPts val="588"/>
              </a:spcAft>
            </a:pPr>
            <a:r>
              <a:rPr lang="en-US" sz="1568" i="1" kern="0" dirty="0">
                <a:solidFill>
                  <a:schemeClr val="accent1"/>
                </a:solidFill>
              </a:rPr>
              <a:t>What parts of the engine are </a:t>
            </a:r>
            <a:br>
              <a:rPr lang="en-US" sz="1568" i="1" kern="0" dirty="0">
                <a:solidFill>
                  <a:schemeClr val="accent1"/>
                </a:solidFill>
              </a:rPr>
            </a:br>
            <a:r>
              <a:rPr lang="en-US" sz="1568" i="1" kern="0" dirty="0">
                <a:solidFill>
                  <a:schemeClr val="accent1"/>
                </a:solidFill>
              </a:rPr>
              <a:t>not meeting requirements?</a:t>
            </a:r>
          </a:p>
        </p:txBody>
      </p:sp>
      <p:sp>
        <p:nvSpPr>
          <p:cNvPr id="78" name="TextBox 77"/>
          <p:cNvSpPr txBox="1"/>
          <p:nvPr/>
        </p:nvSpPr>
        <p:spPr>
          <a:xfrm>
            <a:off x="8795357" y="3786675"/>
            <a:ext cx="2857422" cy="1043701"/>
          </a:xfrm>
          <a:prstGeom prst="rect">
            <a:avLst/>
          </a:prstGeom>
          <a:noFill/>
        </p:spPr>
        <p:txBody>
          <a:bodyPr wrap="none" lIns="179238" tIns="143391" rIns="179238" bIns="143391" rtlCol="0">
            <a:spAutoFit/>
          </a:bodyPr>
          <a:lstStyle/>
          <a:p>
            <a:pPr defTabSz="896203">
              <a:lnSpc>
                <a:spcPct val="90000"/>
              </a:lnSpc>
              <a:spcAft>
                <a:spcPts val="588"/>
              </a:spcAft>
            </a:pPr>
            <a:r>
              <a:rPr lang="en-US" sz="1764" kern="0" dirty="0">
                <a:gradFill>
                  <a:gsLst>
                    <a:gs pos="2917">
                      <a:srgbClr val="505050"/>
                    </a:gs>
                    <a:gs pos="30000">
                      <a:srgbClr val="505050"/>
                    </a:gs>
                  </a:gsLst>
                  <a:lin ang="5400000" scaled="0"/>
                </a:gradFill>
              </a:rPr>
              <a:t>Engine emission control</a:t>
            </a:r>
          </a:p>
          <a:p>
            <a:pPr defTabSz="896203">
              <a:lnSpc>
                <a:spcPct val="90000"/>
              </a:lnSpc>
              <a:spcAft>
                <a:spcPts val="588"/>
              </a:spcAft>
            </a:pPr>
            <a:r>
              <a:rPr lang="en-US" sz="1568" i="1" kern="0" dirty="0">
                <a:solidFill>
                  <a:schemeClr val="accent1"/>
                </a:solidFill>
              </a:rPr>
              <a:t>What is the emissions status </a:t>
            </a:r>
            <a:br>
              <a:rPr lang="en-US" sz="1568" i="1" kern="0" dirty="0">
                <a:solidFill>
                  <a:schemeClr val="accent1"/>
                </a:solidFill>
              </a:rPr>
            </a:br>
            <a:r>
              <a:rPr lang="en-US" sz="1568" i="1" kern="0" dirty="0">
                <a:solidFill>
                  <a:schemeClr val="accent1"/>
                </a:solidFill>
              </a:rPr>
              <a:t>of vehicle B204?</a:t>
            </a:r>
          </a:p>
        </p:txBody>
      </p:sp>
    </p:spTree>
    <p:extLst>
      <p:ext uri="{BB962C8B-B14F-4D97-AF65-F5344CB8AC3E}">
        <p14:creationId xmlns:p14="http://schemas.microsoft.com/office/powerpoint/2010/main" val="1164911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of Cortana Intelligence Suite in action</a:t>
            </a:r>
          </a:p>
        </p:txBody>
      </p:sp>
      <p:sp>
        <p:nvSpPr>
          <p:cNvPr id="6" name="Rectangle 5"/>
          <p:cNvSpPr/>
          <p:nvPr/>
        </p:nvSpPr>
        <p:spPr bwMode="auto">
          <a:xfrm>
            <a:off x="448097" y="1009310"/>
            <a:ext cx="11053027" cy="5198221"/>
          </a:xfrm>
          <a:prstGeom prst="rect">
            <a:avLst/>
          </a:prstGeom>
          <a:solidFill>
            <a:srgbClr val="0072C6"/>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auto">
          <a:xfrm>
            <a:off x="539210" y="1516944"/>
            <a:ext cx="10870801" cy="4600811"/>
          </a:xfrm>
          <a:prstGeom prst="rect">
            <a:avLst/>
          </a:prstGeom>
          <a:solidFill>
            <a:schemeClr val="tx1">
              <a:lumMod val="9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TextBox 7"/>
          <p:cNvSpPr txBox="1"/>
          <p:nvPr/>
        </p:nvSpPr>
        <p:spPr>
          <a:xfrm>
            <a:off x="520671" y="1119018"/>
            <a:ext cx="1338122" cy="271483"/>
          </a:xfrm>
          <a:prstGeom prst="rect">
            <a:avLst/>
          </a:prstGeom>
          <a:noFill/>
        </p:spPr>
        <p:txBody>
          <a:bodyPr wrap="none" lIns="0" tIns="0" rIns="0" bIns="0" rtlCol="0">
            <a:spAutoFit/>
          </a:bodyPr>
          <a:lstStyle/>
          <a:p>
            <a:pPr algn="ctr" defTabSz="896203"/>
            <a:r>
              <a:rPr lang="en-US" sz="1764" kern="0" dirty="0">
                <a:solidFill>
                  <a:sysClr val="windowText" lastClr="000000"/>
                </a:solidFill>
                <a:latin typeface="Segoe UI Semibold" panose="020B0702040204020203" pitchFamily="34" charset="0"/>
                <a:cs typeface="Segoe UI Semibold" panose="020B0702040204020203" pitchFamily="34" charset="0"/>
              </a:rPr>
              <a:t>Data Sources</a:t>
            </a:r>
          </a:p>
        </p:txBody>
      </p:sp>
      <p:sp>
        <p:nvSpPr>
          <p:cNvPr id="9" name="TextBox 8"/>
          <p:cNvSpPr txBox="1"/>
          <p:nvPr/>
        </p:nvSpPr>
        <p:spPr>
          <a:xfrm>
            <a:off x="2368259" y="1119018"/>
            <a:ext cx="611152" cy="271483"/>
          </a:xfrm>
          <a:prstGeom prst="rect">
            <a:avLst/>
          </a:prstGeom>
          <a:noFill/>
        </p:spPr>
        <p:txBody>
          <a:bodyPr wrap="none" lIns="0" tIns="0" rIns="0" bIns="0" rtlCol="0">
            <a:spAutoFit/>
          </a:bodyPr>
          <a:lstStyle/>
          <a:p>
            <a:pPr algn="ctr" defTabSz="896203"/>
            <a:r>
              <a:rPr lang="en-US" sz="1764" kern="0" dirty="0">
                <a:solidFill>
                  <a:sysClr val="windowText" lastClr="000000"/>
                </a:solidFill>
              </a:rPr>
              <a:t>Ingest</a:t>
            </a:r>
          </a:p>
        </p:txBody>
      </p:sp>
      <p:sp>
        <p:nvSpPr>
          <p:cNvPr id="10" name="TextBox 9"/>
          <p:cNvSpPr txBox="1"/>
          <p:nvPr/>
        </p:nvSpPr>
        <p:spPr>
          <a:xfrm>
            <a:off x="4258405" y="1119018"/>
            <a:ext cx="769442" cy="271485"/>
          </a:xfrm>
          <a:prstGeom prst="rect">
            <a:avLst/>
          </a:prstGeom>
          <a:noFill/>
        </p:spPr>
        <p:txBody>
          <a:bodyPr wrap="none" lIns="0" tIns="0" rIns="0" bIns="0" rtlCol="0">
            <a:spAutoFit/>
          </a:bodyPr>
          <a:lstStyle/>
          <a:p>
            <a:pPr algn="ctr" defTabSz="896203"/>
            <a:r>
              <a:rPr lang="en-US" sz="1764" kern="0" dirty="0">
                <a:solidFill>
                  <a:sysClr val="windowText" lastClr="000000"/>
                </a:solidFill>
              </a:rPr>
              <a:t>Prepare</a:t>
            </a:r>
          </a:p>
        </p:txBody>
      </p:sp>
      <p:sp>
        <p:nvSpPr>
          <p:cNvPr id="11" name="TextBox 10"/>
          <p:cNvSpPr txBox="1"/>
          <p:nvPr/>
        </p:nvSpPr>
        <p:spPr>
          <a:xfrm>
            <a:off x="6185158" y="1119018"/>
            <a:ext cx="772973" cy="271483"/>
          </a:xfrm>
          <a:prstGeom prst="rect">
            <a:avLst/>
          </a:prstGeom>
          <a:noFill/>
        </p:spPr>
        <p:txBody>
          <a:bodyPr wrap="none" lIns="0" tIns="0" rIns="0" bIns="0" rtlCol="0">
            <a:spAutoFit/>
          </a:bodyPr>
          <a:lstStyle/>
          <a:p>
            <a:pPr algn="ctr" defTabSz="896203"/>
            <a:r>
              <a:rPr lang="en-US" sz="1764" kern="0" dirty="0">
                <a:solidFill>
                  <a:sysClr val="windowText" lastClr="000000"/>
                </a:solidFill>
              </a:rPr>
              <a:t>Analyze</a:t>
            </a:r>
          </a:p>
        </p:txBody>
      </p:sp>
      <p:sp>
        <p:nvSpPr>
          <p:cNvPr id="12" name="TextBox 11"/>
          <p:cNvSpPr txBox="1"/>
          <p:nvPr/>
        </p:nvSpPr>
        <p:spPr>
          <a:xfrm>
            <a:off x="8060423" y="1119018"/>
            <a:ext cx="721127" cy="271483"/>
          </a:xfrm>
          <a:prstGeom prst="rect">
            <a:avLst/>
          </a:prstGeom>
          <a:noFill/>
        </p:spPr>
        <p:txBody>
          <a:bodyPr wrap="none" lIns="0" tIns="0" rIns="0" bIns="0" rtlCol="0">
            <a:spAutoFit/>
          </a:bodyPr>
          <a:lstStyle/>
          <a:p>
            <a:pPr algn="ctr" defTabSz="896203"/>
            <a:r>
              <a:rPr lang="en-US" sz="1764" kern="0" dirty="0">
                <a:solidFill>
                  <a:sysClr val="windowText" lastClr="000000"/>
                </a:solidFill>
              </a:rPr>
              <a:t>Publish</a:t>
            </a:r>
          </a:p>
        </p:txBody>
      </p:sp>
      <p:sp>
        <p:nvSpPr>
          <p:cNvPr id="13" name="TextBox 12"/>
          <p:cNvSpPr txBox="1"/>
          <p:nvPr/>
        </p:nvSpPr>
        <p:spPr>
          <a:xfrm>
            <a:off x="9965447" y="1119018"/>
            <a:ext cx="934794" cy="271483"/>
          </a:xfrm>
          <a:prstGeom prst="rect">
            <a:avLst/>
          </a:prstGeom>
          <a:noFill/>
        </p:spPr>
        <p:txBody>
          <a:bodyPr wrap="none" lIns="0" tIns="0" rIns="0" bIns="0" rtlCol="0">
            <a:spAutoFit/>
          </a:bodyPr>
          <a:lstStyle/>
          <a:p>
            <a:pPr algn="ctr" defTabSz="896203"/>
            <a:r>
              <a:rPr lang="en-US" sz="1764" kern="0" dirty="0">
                <a:solidFill>
                  <a:sysClr val="windowText" lastClr="000000"/>
                </a:solidFill>
              </a:rPr>
              <a:t>Consume</a:t>
            </a:r>
          </a:p>
        </p:txBody>
      </p:sp>
      <p:sp>
        <p:nvSpPr>
          <p:cNvPr id="14" name="Isosceles Triangle 13"/>
          <p:cNvSpPr/>
          <p:nvPr/>
        </p:nvSpPr>
        <p:spPr bwMode="auto">
          <a:xfrm rot="5400000">
            <a:off x="2165629" y="1203272"/>
            <a:ext cx="160993" cy="13878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Isosceles Triangle 14"/>
          <p:cNvSpPr/>
          <p:nvPr/>
        </p:nvSpPr>
        <p:spPr bwMode="auto">
          <a:xfrm rot="5400000">
            <a:off x="4062824" y="1203273"/>
            <a:ext cx="160993" cy="13878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 name="Isosceles Triangle 15"/>
          <p:cNvSpPr/>
          <p:nvPr/>
        </p:nvSpPr>
        <p:spPr bwMode="auto">
          <a:xfrm rot="5400000">
            <a:off x="5963507" y="1203274"/>
            <a:ext cx="160993" cy="13878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Isosceles Triangle 16"/>
          <p:cNvSpPr/>
          <p:nvPr/>
        </p:nvSpPr>
        <p:spPr bwMode="auto">
          <a:xfrm rot="5400000">
            <a:off x="7857817" y="1203275"/>
            <a:ext cx="160993" cy="13878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Isosceles Triangle 17"/>
          <p:cNvSpPr/>
          <p:nvPr/>
        </p:nvSpPr>
        <p:spPr bwMode="auto">
          <a:xfrm rot="5400000">
            <a:off x="9753264" y="1203277"/>
            <a:ext cx="160993" cy="13878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9" name="Freeform 18"/>
          <p:cNvSpPr/>
          <p:nvPr/>
        </p:nvSpPr>
        <p:spPr bwMode="auto">
          <a:xfrm>
            <a:off x="639324" y="1880359"/>
            <a:ext cx="679635" cy="679635"/>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96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TextBox 19"/>
          <p:cNvSpPr txBox="1"/>
          <p:nvPr/>
        </p:nvSpPr>
        <p:spPr>
          <a:xfrm>
            <a:off x="692588" y="2606981"/>
            <a:ext cx="780828" cy="361977"/>
          </a:xfrm>
          <a:prstGeom prst="rect">
            <a:avLst/>
          </a:prstGeom>
          <a:noFill/>
        </p:spPr>
        <p:txBody>
          <a:bodyPr wrap="none" lIns="0" tIns="0" rIns="0" bIns="0" rtlCol="0">
            <a:spAutoFit/>
          </a:bodyPr>
          <a:lstStyle/>
          <a:p>
            <a:pPr defTabSz="896203"/>
            <a:r>
              <a:rPr lang="en-US" sz="1176" kern="0" dirty="0">
                <a:solidFill>
                  <a:schemeClr val="bg1"/>
                </a:solidFill>
              </a:rPr>
              <a:t>Sensors </a:t>
            </a:r>
            <a:br>
              <a:rPr lang="en-US" sz="1176" kern="0" dirty="0">
                <a:solidFill>
                  <a:schemeClr val="bg1"/>
                </a:solidFill>
              </a:rPr>
            </a:br>
            <a:r>
              <a:rPr lang="en-US" sz="1176" kern="0" dirty="0">
                <a:solidFill>
                  <a:schemeClr val="bg1"/>
                </a:solidFill>
              </a:rPr>
              <a:t>and devices</a:t>
            </a:r>
          </a:p>
        </p:txBody>
      </p:sp>
      <p:sp>
        <p:nvSpPr>
          <p:cNvPr id="22" name="TextBox 21"/>
          <p:cNvSpPr txBox="1"/>
          <p:nvPr/>
        </p:nvSpPr>
        <p:spPr>
          <a:xfrm>
            <a:off x="3497331" y="3165597"/>
            <a:ext cx="589596" cy="361977"/>
          </a:xfrm>
          <a:prstGeom prst="rect">
            <a:avLst/>
          </a:prstGeom>
          <a:noFill/>
        </p:spPr>
        <p:txBody>
          <a:bodyPr wrap="none" lIns="0" tIns="0" rIns="0" bIns="0" rtlCol="0">
            <a:spAutoFit/>
          </a:bodyPr>
          <a:lstStyle/>
          <a:p>
            <a:pPr defTabSz="896203"/>
            <a:r>
              <a:rPr lang="en-US" sz="1176" kern="0" dirty="0">
                <a:solidFill>
                  <a:schemeClr val="bg1"/>
                </a:solidFill>
              </a:rPr>
              <a:t>Stream</a:t>
            </a:r>
            <a:br>
              <a:rPr lang="en-US" sz="1176" kern="0" dirty="0">
                <a:solidFill>
                  <a:schemeClr val="bg1"/>
                </a:solidFill>
              </a:rPr>
            </a:br>
            <a:r>
              <a:rPr lang="en-US" sz="1176" kern="0" dirty="0">
                <a:solidFill>
                  <a:schemeClr val="bg1"/>
                </a:solidFill>
              </a:rPr>
              <a:t>Analytics</a:t>
            </a:r>
          </a:p>
        </p:txBody>
      </p:sp>
      <p:sp>
        <p:nvSpPr>
          <p:cNvPr id="25" name="TextBox 24"/>
          <p:cNvSpPr txBox="1"/>
          <p:nvPr/>
        </p:nvSpPr>
        <p:spPr>
          <a:xfrm>
            <a:off x="6087162" y="3414065"/>
            <a:ext cx="573130" cy="361977"/>
          </a:xfrm>
          <a:prstGeom prst="rect">
            <a:avLst/>
          </a:prstGeom>
          <a:noFill/>
        </p:spPr>
        <p:txBody>
          <a:bodyPr wrap="none" lIns="0" tIns="0" rIns="0" bIns="0" rtlCol="0">
            <a:spAutoFit/>
          </a:bodyPr>
          <a:lstStyle/>
          <a:p>
            <a:pPr defTabSz="896203"/>
            <a:r>
              <a:rPr lang="en-US" sz="1176" kern="0" dirty="0">
                <a:solidFill>
                  <a:schemeClr val="bg1"/>
                </a:solidFill>
              </a:rPr>
              <a:t>Machine</a:t>
            </a:r>
            <a:br>
              <a:rPr lang="en-US" sz="1176" kern="0" dirty="0">
                <a:solidFill>
                  <a:schemeClr val="bg1"/>
                </a:solidFill>
              </a:rPr>
            </a:br>
            <a:r>
              <a:rPr lang="en-US" sz="1176" kern="0" dirty="0">
                <a:solidFill>
                  <a:schemeClr val="bg1"/>
                </a:solidFill>
              </a:rPr>
              <a:t>Learning</a:t>
            </a:r>
          </a:p>
        </p:txBody>
      </p:sp>
      <p:sp>
        <p:nvSpPr>
          <p:cNvPr id="26" name="TextBox 25"/>
          <p:cNvSpPr txBox="1"/>
          <p:nvPr/>
        </p:nvSpPr>
        <p:spPr>
          <a:xfrm>
            <a:off x="10341771" y="3761818"/>
            <a:ext cx="527506" cy="180989"/>
          </a:xfrm>
          <a:prstGeom prst="rect">
            <a:avLst/>
          </a:prstGeom>
          <a:noFill/>
        </p:spPr>
        <p:txBody>
          <a:bodyPr wrap="none" lIns="0" tIns="0" rIns="0" bIns="0" rtlCol="0">
            <a:spAutoFit/>
          </a:bodyPr>
          <a:lstStyle/>
          <a:p>
            <a:pPr algn="ctr" defTabSz="896203"/>
            <a:r>
              <a:rPr lang="en-US" sz="1176" kern="0" dirty="0">
                <a:solidFill>
                  <a:schemeClr val="bg1"/>
                </a:solidFill>
              </a:rPr>
              <a:t>Cortana</a:t>
            </a:r>
          </a:p>
        </p:txBody>
      </p:sp>
      <p:sp>
        <p:nvSpPr>
          <p:cNvPr id="27" name="TextBox 26"/>
          <p:cNvSpPr txBox="1"/>
          <p:nvPr/>
        </p:nvSpPr>
        <p:spPr>
          <a:xfrm>
            <a:off x="1395100" y="4724086"/>
            <a:ext cx="564019" cy="361977"/>
          </a:xfrm>
          <a:prstGeom prst="rect">
            <a:avLst/>
          </a:prstGeom>
          <a:noFill/>
        </p:spPr>
        <p:txBody>
          <a:bodyPr wrap="none" lIns="0" tIns="0" rIns="0" bIns="0" rtlCol="0">
            <a:spAutoFit/>
          </a:bodyPr>
          <a:lstStyle/>
          <a:p>
            <a:pPr defTabSz="896203"/>
            <a:r>
              <a:rPr lang="en-US" sz="1176" kern="0" dirty="0">
                <a:solidFill>
                  <a:schemeClr val="bg1"/>
                </a:solidFill>
              </a:rPr>
              <a:t>Business</a:t>
            </a:r>
            <a:br>
              <a:rPr lang="en-US" sz="1176" kern="0" dirty="0">
                <a:solidFill>
                  <a:schemeClr val="bg1"/>
                </a:solidFill>
              </a:rPr>
            </a:br>
            <a:r>
              <a:rPr lang="en-US" sz="1176" kern="0" dirty="0">
                <a:solidFill>
                  <a:schemeClr val="bg1"/>
                </a:solidFill>
              </a:rPr>
              <a:t>apps</a:t>
            </a:r>
          </a:p>
        </p:txBody>
      </p:sp>
      <p:sp>
        <p:nvSpPr>
          <p:cNvPr id="28" name="TextBox 27"/>
          <p:cNvSpPr txBox="1"/>
          <p:nvPr/>
        </p:nvSpPr>
        <p:spPr>
          <a:xfrm>
            <a:off x="8982924" y="4108292"/>
            <a:ext cx="750205" cy="361894"/>
          </a:xfrm>
          <a:prstGeom prst="rect">
            <a:avLst/>
          </a:prstGeom>
          <a:noFill/>
        </p:spPr>
        <p:txBody>
          <a:bodyPr wrap="none" lIns="0" tIns="0" rIns="0" bIns="0" rtlCol="0">
            <a:spAutoFit/>
          </a:bodyPr>
          <a:lstStyle/>
          <a:p>
            <a:pPr algn="ctr" defTabSz="896203"/>
            <a:r>
              <a:rPr lang="en-US" sz="1176" kern="0" dirty="0">
                <a:solidFill>
                  <a:schemeClr val="bg1"/>
                </a:solidFill>
              </a:rPr>
              <a:t>SQL Data </a:t>
            </a:r>
          </a:p>
          <a:p>
            <a:pPr algn="ctr" defTabSz="896203"/>
            <a:r>
              <a:rPr lang="en-US" sz="1176" kern="0" dirty="0">
                <a:solidFill>
                  <a:schemeClr val="bg1"/>
                </a:solidFill>
              </a:rPr>
              <a:t>Warehouse</a:t>
            </a:r>
          </a:p>
        </p:txBody>
      </p:sp>
      <p:sp>
        <p:nvSpPr>
          <p:cNvPr id="29" name="Freeform 28"/>
          <p:cNvSpPr/>
          <p:nvPr/>
        </p:nvSpPr>
        <p:spPr bwMode="auto">
          <a:xfrm>
            <a:off x="2792474" y="1880359"/>
            <a:ext cx="679635" cy="679635"/>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96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31" name="Freeform 30"/>
          <p:cNvSpPr/>
          <p:nvPr/>
        </p:nvSpPr>
        <p:spPr bwMode="auto">
          <a:xfrm>
            <a:off x="10260842" y="1880359"/>
            <a:ext cx="679635" cy="679635"/>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96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32" name="Freeform 31"/>
          <p:cNvSpPr/>
          <p:nvPr/>
        </p:nvSpPr>
        <p:spPr bwMode="auto">
          <a:xfrm>
            <a:off x="2792474" y="3006114"/>
            <a:ext cx="679635" cy="679635"/>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96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34" name="Freeform 33"/>
          <p:cNvSpPr/>
          <p:nvPr/>
        </p:nvSpPr>
        <p:spPr bwMode="auto">
          <a:xfrm>
            <a:off x="656877" y="4567444"/>
            <a:ext cx="679635" cy="679635"/>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96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35" name="Freeform 34"/>
          <p:cNvSpPr/>
          <p:nvPr/>
        </p:nvSpPr>
        <p:spPr bwMode="auto">
          <a:xfrm>
            <a:off x="667291" y="5342599"/>
            <a:ext cx="679635" cy="679635"/>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960" kern="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36" name="Straight Connector 35"/>
          <p:cNvCxnSpPr/>
          <p:nvPr/>
        </p:nvCxnSpPr>
        <p:spPr>
          <a:xfrm>
            <a:off x="2184853" y="1600398"/>
            <a:ext cx="0" cy="4424123"/>
          </a:xfrm>
          <a:prstGeom prst="line">
            <a:avLst/>
          </a:prstGeom>
          <a:ln w="6350">
            <a:solidFill>
              <a:schemeClr val="bg1">
                <a:lumMod val="8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4079732" y="1600398"/>
            <a:ext cx="0" cy="4424123"/>
          </a:xfrm>
          <a:prstGeom prst="line">
            <a:avLst/>
          </a:prstGeom>
          <a:ln w="6350">
            <a:solidFill>
              <a:schemeClr val="bg1">
                <a:lumMod val="8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5974610" y="1600398"/>
            <a:ext cx="0" cy="4424123"/>
          </a:xfrm>
          <a:prstGeom prst="line">
            <a:avLst/>
          </a:prstGeom>
          <a:ln w="6350">
            <a:solidFill>
              <a:schemeClr val="bg1">
                <a:lumMod val="8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7869488" y="1600398"/>
            <a:ext cx="0" cy="4424123"/>
          </a:xfrm>
          <a:prstGeom prst="line">
            <a:avLst/>
          </a:prstGeom>
          <a:ln w="6350">
            <a:solidFill>
              <a:schemeClr val="bg1">
                <a:lumMod val="8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9764368" y="1600398"/>
            <a:ext cx="0" cy="4424123"/>
          </a:xfrm>
          <a:prstGeom prst="line">
            <a:avLst/>
          </a:prstGeom>
          <a:ln w="6350">
            <a:solidFill>
              <a:schemeClr val="bg1">
                <a:lumMod val="8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41" name="Freeform 40"/>
          <p:cNvSpPr/>
          <p:nvPr/>
        </p:nvSpPr>
        <p:spPr bwMode="auto">
          <a:xfrm>
            <a:off x="10260842" y="3006114"/>
            <a:ext cx="679635" cy="679635"/>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96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2" name="TextBox 41"/>
          <p:cNvSpPr txBox="1"/>
          <p:nvPr/>
        </p:nvSpPr>
        <p:spPr>
          <a:xfrm>
            <a:off x="1436074" y="1836928"/>
            <a:ext cx="702273" cy="361977"/>
          </a:xfrm>
          <a:prstGeom prst="rect">
            <a:avLst/>
          </a:prstGeom>
          <a:noFill/>
        </p:spPr>
        <p:txBody>
          <a:bodyPr wrap="none" lIns="0" tIns="0" rIns="0" bIns="0" rtlCol="0">
            <a:spAutoFit/>
          </a:bodyPr>
          <a:lstStyle/>
          <a:p>
            <a:pPr defTabSz="896203"/>
            <a:r>
              <a:rPr lang="en-US" sz="1176" kern="0" dirty="0">
                <a:solidFill>
                  <a:schemeClr val="bg1"/>
                </a:solidFill>
              </a:rPr>
              <a:t>Diagnostic</a:t>
            </a:r>
            <a:br>
              <a:rPr lang="en-US" sz="1176" kern="0" dirty="0">
                <a:solidFill>
                  <a:schemeClr val="bg1"/>
                </a:solidFill>
              </a:rPr>
            </a:br>
            <a:r>
              <a:rPr lang="en-US" sz="1176" kern="0" dirty="0">
                <a:solidFill>
                  <a:schemeClr val="bg1"/>
                </a:solidFill>
              </a:rPr>
              <a:t>Streaming</a:t>
            </a:r>
          </a:p>
        </p:txBody>
      </p:sp>
      <p:sp>
        <p:nvSpPr>
          <p:cNvPr id="43" name="TextBox 42"/>
          <p:cNvSpPr txBox="1"/>
          <p:nvPr/>
        </p:nvSpPr>
        <p:spPr>
          <a:xfrm>
            <a:off x="10311458" y="1609471"/>
            <a:ext cx="581891" cy="180947"/>
          </a:xfrm>
          <a:prstGeom prst="rect">
            <a:avLst/>
          </a:prstGeom>
          <a:noFill/>
        </p:spPr>
        <p:txBody>
          <a:bodyPr wrap="none" lIns="0" tIns="0" rIns="0" bIns="0" rtlCol="0">
            <a:spAutoFit/>
          </a:bodyPr>
          <a:lstStyle/>
          <a:p>
            <a:pPr algn="ctr" defTabSz="896203"/>
            <a:r>
              <a:rPr lang="en-US" sz="1176" kern="0" dirty="0">
                <a:solidFill>
                  <a:schemeClr val="bg1"/>
                </a:solidFill>
              </a:rPr>
              <a:t>Power BI</a:t>
            </a:r>
          </a:p>
        </p:txBody>
      </p:sp>
      <p:sp>
        <p:nvSpPr>
          <p:cNvPr id="44" name="TextBox 43"/>
          <p:cNvSpPr txBox="1"/>
          <p:nvPr/>
        </p:nvSpPr>
        <p:spPr>
          <a:xfrm>
            <a:off x="1359851" y="5486827"/>
            <a:ext cx="1542649" cy="361977"/>
          </a:xfrm>
          <a:prstGeom prst="rect">
            <a:avLst/>
          </a:prstGeom>
          <a:noFill/>
        </p:spPr>
        <p:txBody>
          <a:bodyPr wrap="square" lIns="0" tIns="0" rIns="0" bIns="0" rtlCol="0">
            <a:spAutoFit/>
          </a:bodyPr>
          <a:lstStyle/>
          <a:p>
            <a:pPr defTabSz="896203"/>
            <a:r>
              <a:rPr lang="en-US" sz="1176" kern="0" dirty="0">
                <a:solidFill>
                  <a:schemeClr val="bg1"/>
                </a:solidFill>
              </a:rPr>
              <a:t>Enterprise </a:t>
            </a:r>
          </a:p>
          <a:p>
            <a:pPr defTabSz="896203"/>
            <a:r>
              <a:rPr lang="en-US" sz="1176" kern="0" dirty="0">
                <a:solidFill>
                  <a:schemeClr val="bg1"/>
                </a:solidFill>
              </a:rPr>
              <a:t>data sources</a:t>
            </a:r>
          </a:p>
        </p:txBody>
      </p:sp>
      <p:grpSp>
        <p:nvGrpSpPr>
          <p:cNvPr id="45" name="Group 44"/>
          <p:cNvGrpSpPr/>
          <p:nvPr/>
        </p:nvGrpSpPr>
        <p:grpSpPr>
          <a:xfrm>
            <a:off x="2176732" y="4765817"/>
            <a:ext cx="5692188" cy="200115"/>
            <a:chOff x="2220958" y="5044094"/>
            <a:chExt cx="5807841" cy="204181"/>
          </a:xfrm>
          <a:solidFill>
            <a:schemeClr val="tx1"/>
          </a:solidFill>
        </p:grpSpPr>
        <p:cxnSp>
          <p:nvCxnSpPr>
            <p:cNvPr id="46" name="Straight Connector 45"/>
            <p:cNvCxnSpPr/>
            <p:nvPr/>
          </p:nvCxnSpPr>
          <p:spPr>
            <a:xfrm>
              <a:off x="2229244" y="5044094"/>
              <a:ext cx="0" cy="204181"/>
            </a:xfrm>
            <a:prstGeom prst="line">
              <a:avLst/>
            </a:prstGeom>
            <a:grpFill/>
            <a:ln w="3175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2220958" y="5146185"/>
              <a:ext cx="5807841" cy="0"/>
            </a:xfrm>
            <a:prstGeom prst="line">
              <a:avLst/>
            </a:prstGeom>
            <a:grpFill/>
            <a:ln w="3175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8028799" y="5044094"/>
              <a:ext cx="0" cy="204181"/>
            </a:xfrm>
            <a:prstGeom prst="line">
              <a:avLst/>
            </a:prstGeom>
            <a:grpFill/>
            <a:ln w="3175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9" name="Group 48"/>
          <p:cNvGrpSpPr/>
          <p:nvPr/>
        </p:nvGrpSpPr>
        <p:grpSpPr>
          <a:xfrm>
            <a:off x="2176732" y="5140835"/>
            <a:ext cx="7587635" cy="200115"/>
            <a:chOff x="2220958" y="5044094"/>
            <a:chExt cx="5807841" cy="204181"/>
          </a:xfrm>
          <a:solidFill>
            <a:schemeClr val="tx1"/>
          </a:solidFill>
        </p:grpSpPr>
        <p:cxnSp>
          <p:nvCxnSpPr>
            <p:cNvPr id="50" name="Straight Connector 49"/>
            <p:cNvCxnSpPr/>
            <p:nvPr/>
          </p:nvCxnSpPr>
          <p:spPr>
            <a:xfrm>
              <a:off x="2229244" y="5044094"/>
              <a:ext cx="0" cy="204181"/>
            </a:xfrm>
            <a:prstGeom prst="line">
              <a:avLst/>
            </a:prstGeom>
            <a:grpFill/>
            <a:ln w="3175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2220958" y="5146185"/>
              <a:ext cx="5807841" cy="0"/>
            </a:xfrm>
            <a:prstGeom prst="line">
              <a:avLst/>
            </a:prstGeom>
            <a:grpFill/>
            <a:ln w="3175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8028799" y="5044094"/>
              <a:ext cx="0" cy="204181"/>
            </a:xfrm>
            <a:prstGeom prst="line">
              <a:avLst/>
            </a:prstGeom>
            <a:grpFill/>
            <a:ln w="3175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53" name="Group 52"/>
          <p:cNvGrpSpPr/>
          <p:nvPr/>
        </p:nvGrpSpPr>
        <p:grpSpPr>
          <a:xfrm>
            <a:off x="2176732" y="5515851"/>
            <a:ext cx="9100343" cy="200115"/>
            <a:chOff x="2220958" y="5044094"/>
            <a:chExt cx="5807841" cy="204181"/>
          </a:xfrm>
          <a:solidFill>
            <a:schemeClr val="tx1"/>
          </a:solidFill>
        </p:grpSpPr>
        <p:cxnSp>
          <p:nvCxnSpPr>
            <p:cNvPr id="54" name="Straight Connector 53"/>
            <p:cNvCxnSpPr/>
            <p:nvPr/>
          </p:nvCxnSpPr>
          <p:spPr>
            <a:xfrm>
              <a:off x="2229244" y="5044094"/>
              <a:ext cx="0" cy="204181"/>
            </a:xfrm>
            <a:prstGeom prst="line">
              <a:avLst/>
            </a:prstGeom>
            <a:grpFill/>
            <a:ln w="3175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a:off x="2220958" y="5146185"/>
              <a:ext cx="5807841" cy="0"/>
            </a:xfrm>
            <a:prstGeom prst="line">
              <a:avLst/>
            </a:prstGeom>
            <a:grpFill/>
            <a:ln w="3175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8028799" y="5044094"/>
              <a:ext cx="0" cy="204181"/>
            </a:xfrm>
            <a:prstGeom prst="line">
              <a:avLst/>
            </a:prstGeom>
            <a:grpFill/>
            <a:ln w="3175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58" name="TextBox 57"/>
          <p:cNvSpPr txBox="1"/>
          <p:nvPr/>
        </p:nvSpPr>
        <p:spPr>
          <a:xfrm>
            <a:off x="3943576" y="4731986"/>
            <a:ext cx="3226289" cy="271483"/>
          </a:xfrm>
          <a:prstGeom prst="rect">
            <a:avLst/>
          </a:prstGeom>
          <a:solidFill>
            <a:srgbClr val="F2F2F2"/>
          </a:solidFill>
          <a:ln w="28575">
            <a:solidFill>
              <a:schemeClr val="accent1"/>
            </a:solidFill>
          </a:ln>
        </p:spPr>
        <p:txBody>
          <a:bodyPr wrap="square" lIns="44810" tIns="44810" rIns="44810" bIns="44810" rtlCol="0">
            <a:spAutoFit/>
          </a:bodyPr>
          <a:lstStyle/>
          <a:p>
            <a:pPr algn="ctr" defTabSz="896203"/>
            <a:r>
              <a:rPr lang="en-US" sz="1176" kern="0" dirty="0">
                <a:solidFill>
                  <a:schemeClr val="accent1"/>
                </a:solidFill>
              </a:rPr>
              <a:t>Azure Blob storage</a:t>
            </a:r>
          </a:p>
        </p:txBody>
      </p:sp>
      <p:sp>
        <p:nvSpPr>
          <p:cNvPr id="59" name="TextBox 58"/>
          <p:cNvSpPr txBox="1"/>
          <p:nvPr/>
        </p:nvSpPr>
        <p:spPr>
          <a:xfrm>
            <a:off x="3226580" y="5105150"/>
            <a:ext cx="4660195" cy="271483"/>
          </a:xfrm>
          <a:prstGeom prst="rect">
            <a:avLst/>
          </a:prstGeom>
          <a:solidFill>
            <a:srgbClr val="F2F2F2"/>
          </a:solidFill>
          <a:ln w="28575">
            <a:solidFill>
              <a:schemeClr val="accent1"/>
            </a:solidFill>
          </a:ln>
        </p:spPr>
        <p:txBody>
          <a:bodyPr wrap="square" lIns="44810" tIns="44810" rIns="44810" bIns="44810" rtlCol="0">
            <a:spAutoFit/>
          </a:bodyPr>
          <a:lstStyle>
            <a:defPPr>
              <a:defRPr lang="en-US"/>
            </a:defPPr>
            <a:lvl1pPr algn="ctr">
              <a:defRPr sz="1200">
                <a:solidFill>
                  <a:schemeClr val="accent1"/>
                </a:solidFill>
              </a:defRPr>
            </a:lvl1pPr>
          </a:lstStyle>
          <a:p>
            <a:pPr defTabSz="896203"/>
            <a:r>
              <a:rPr lang="en-US" sz="1176" kern="0" dirty="0"/>
              <a:t> Data Factory: Move data, orchestrate, schedule and monitor</a:t>
            </a:r>
          </a:p>
        </p:txBody>
      </p:sp>
      <p:sp>
        <p:nvSpPr>
          <p:cNvPr id="60" name="TextBox 59"/>
          <p:cNvSpPr txBox="1"/>
          <p:nvPr/>
        </p:nvSpPr>
        <p:spPr>
          <a:xfrm>
            <a:off x="3946799" y="5482598"/>
            <a:ext cx="5817568" cy="271483"/>
          </a:xfrm>
          <a:prstGeom prst="rect">
            <a:avLst/>
          </a:prstGeom>
          <a:solidFill>
            <a:srgbClr val="F2F2F2"/>
          </a:solidFill>
          <a:ln w="28575">
            <a:solidFill>
              <a:schemeClr val="accent1"/>
            </a:solidFill>
          </a:ln>
        </p:spPr>
        <p:txBody>
          <a:bodyPr wrap="square" lIns="44810" tIns="44810" rIns="44810" bIns="44810" rtlCol="0">
            <a:spAutoFit/>
          </a:bodyPr>
          <a:lstStyle>
            <a:defPPr>
              <a:defRPr lang="en-US"/>
            </a:defPPr>
            <a:lvl1pPr algn="ctr">
              <a:defRPr sz="1200">
                <a:solidFill>
                  <a:schemeClr val="accent1"/>
                </a:solidFill>
              </a:defRPr>
            </a:lvl1pPr>
          </a:lstStyle>
          <a:p>
            <a:pPr defTabSz="896203"/>
            <a:r>
              <a:rPr lang="en-US" sz="1176" kern="0" dirty="0"/>
              <a:t>Data Catalog: Register, annotate, understand, discover data sets</a:t>
            </a:r>
          </a:p>
        </p:txBody>
      </p:sp>
      <p:sp>
        <p:nvSpPr>
          <p:cNvPr id="65" name="TextBox 64"/>
          <p:cNvSpPr txBox="1"/>
          <p:nvPr/>
        </p:nvSpPr>
        <p:spPr>
          <a:xfrm>
            <a:off x="4914668" y="3960451"/>
            <a:ext cx="664568" cy="180989"/>
          </a:xfrm>
          <a:prstGeom prst="rect">
            <a:avLst/>
          </a:prstGeom>
          <a:noFill/>
        </p:spPr>
        <p:txBody>
          <a:bodyPr wrap="none" lIns="0" tIns="0" rIns="0" bIns="0" rtlCol="0">
            <a:spAutoFit/>
          </a:bodyPr>
          <a:lstStyle/>
          <a:p>
            <a:pPr defTabSz="896203"/>
            <a:r>
              <a:rPr lang="en-US" sz="1176" kern="0" dirty="0">
                <a:solidFill>
                  <a:schemeClr val="bg1"/>
                </a:solidFill>
              </a:rPr>
              <a:t>HDInsight</a:t>
            </a:r>
          </a:p>
        </p:txBody>
      </p:sp>
      <p:cxnSp>
        <p:nvCxnSpPr>
          <p:cNvPr id="66" name="Straight Arrow Connector 65"/>
          <p:cNvCxnSpPr/>
          <p:nvPr/>
        </p:nvCxnSpPr>
        <p:spPr>
          <a:xfrm flipH="1">
            <a:off x="4463053" y="4422806"/>
            <a:ext cx="0" cy="273732"/>
          </a:xfrm>
          <a:prstGeom prst="straightConnector1">
            <a:avLst/>
          </a:prstGeom>
          <a:ln w="19050">
            <a:solidFill>
              <a:srgbClr val="0072C6"/>
            </a:solidFill>
            <a:headEnd type="triangl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p:nvPr/>
        </p:nvCxnSpPr>
        <p:spPr>
          <a:xfrm flipH="1">
            <a:off x="6855583" y="4450354"/>
            <a:ext cx="0" cy="273732"/>
          </a:xfrm>
          <a:prstGeom prst="straightConnector1">
            <a:avLst/>
          </a:prstGeom>
          <a:ln w="19050">
            <a:solidFill>
              <a:srgbClr val="0072C6"/>
            </a:solidFill>
            <a:headEnd type="triangl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a:stCxn id="58" idx="3"/>
          </p:cNvCxnSpPr>
          <p:nvPr/>
        </p:nvCxnSpPr>
        <p:spPr>
          <a:xfrm flipV="1">
            <a:off x="7169865" y="4429465"/>
            <a:ext cx="1048824" cy="438262"/>
          </a:xfrm>
          <a:prstGeom prst="straightConnector1">
            <a:avLst/>
          </a:prstGeom>
          <a:ln w="19050">
            <a:solidFill>
              <a:srgbClr val="0072C6"/>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p:nvPr/>
        </p:nvCxnSpPr>
        <p:spPr>
          <a:xfrm flipV="1">
            <a:off x="8887153" y="2495807"/>
            <a:ext cx="1454618" cy="1478084"/>
          </a:xfrm>
          <a:prstGeom prst="straightConnector1">
            <a:avLst/>
          </a:prstGeom>
          <a:ln w="19050">
            <a:solidFill>
              <a:srgbClr val="0072C6"/>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p:nvPr/>
        </p:nvCxnSpPr>
        <p:spPr>
          <a:xfrm>
            <a:off x="10600659" y="2645576"/>
            <a:ext cx="0" cy="274957"/>
          </a:xfrm>
          <a:prstGeom prst="straightConnector1">
            <a:avLst/>
          </a:prstGeom>
          <a:ln w="19050">
            <a:solidFill>
              <a:srgbClr val="0072C6"/>
            </a:solidFill>
            <a:headEnd type="triangl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77" name="Straight Arrow Connector 76"/>
          <p:cNvCxnSpPr>
            <a:stCxn id="19" idx="6"/>
          </p:cNvCxnSpPr>
          <p:nvPr/>
        </p:nvCxnSpPr>
        <p:spPr>
          <a:xfrm flipV="1">
            <a:off x="1318958" y="2211318"/>
            <a:ext cx="1439007" cy="8859"/>
          </a:xfrm>
          <a:prstGeom prst="straightConnector1">
            <a:avLst/>
          </a:prstGeom>
          <a:ln w="19050">
            <a:solidFill>
              <a:srgbClr val="0072C6"/>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78" name="Straight Arrow Connector 77"/>
          <p:cNvCxnSpPr>
            <a:stCxn id="29" idx="6"/>
          </p:cNvCxnSpPr>
          <p:nvPr/>
        </p:nvCxnSpPr>
        <p:spPr>
          <a:xfrm>
            <a:off x="3472110" y="2220177"/>
            <a:ext cx="3057952" cy="0"/>
          </a:xfrm>
          <a:prstGeom prst="straightConnector1">
            <a:avLst/>
          </a:prstGeom>
          <a:ln w="19050">
            <a:solidFill>
              <a:srgbClr val="0072C6"/>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79" name="Straight Arrow Connector 78"/>
          <p:cNvCxnSpPr/>
          <p:nvPr/>
        </p:nvCxnSpPr>
        <p:spPr>
          <a:xfrm flipV="1">
            <a:off x="7250136" y="2217115"/>
            <a:ext cx="2965149" cy="3062"/>
          </a:xfrm>
          <a:prstGeom prst="straightConnector1">
            <a:avLst/>
          </a:prstGeom>
          <a:ln w="19050">
            <a:solidFill>
              <a:srgbClr val="0072C6"/>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80" name="Straight Arrow Connector 79"/>
          <p:cNvCxnSpPr>
            <a:stCxn id="29" idx="7"/>
          </p:cNvCxnSpPr>
          <p:nvPr/>
        </p:nvCxnSpPr>
        <p:spPr>
          <a:xfrm>
            <a:off x="3132292" y="2559994"/>
            <a:ext cx="0" cy="429492"/>
          </a:xfrm>
          <a:prstGeom prst="straightConnector1">
            <a:avLst/>
          </a:prstGeom>
          <a:ln w="19050">
            <a:solidFill>
              <a:srgbClr val="0072C6"/>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81" name="Straight Arrow Connector 80"/>
          <p:cNvCxnSpPr>
            <a:stCxn id="32" idx="7"/>
          </p:cNvCxnSpPr>
          <p:nvPr/>
        </p:nvCxnSpPr>
        <p:spPr>
          <a:xfrm>
            <a:off x="3132292" y="3685749"/>
            <a:ext cx="2977" cy="1165049"/>
          </a:xfrm>
          <a:prstGeom prst="straightConnector1">
            <a:avLst/>
          </a:prstGeom>
          <a:ln w="19050">
            <a:solidFill>
              <a:srgbClr val="0072C6"/>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82" name="Straight Arrow Connector 81"/>
          <p:cNvCxnSpPr/>
          <p:nvPr/>
        </p:nvCxnSpPr>
        <p:spPr>
          <a:xfrm>
            <a:off x="7267902" y="2235254"/>
            <a:ext cx="1099314" cy="1727886"/>
          </a:xfrm>
          <a:prstGeom prst="straightConnector1">
            <a:avLst/>
          </a:prstGeom>
          <a:ln w="19050">
            <a:solidFill>
              <a:srgbClr val="0072C6"/>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sp>
        <p:nvSpPr>
          <p:cNvPr id="83" name="Freeform 82"/>
          <p:cNvSpPr/>
          <p:nvPr/>
        </p:nvSpPr>
        <p:spPr bwMode="auto">
          <a:xfrm>
            <a:off x="781660" y="2102107"/>
            <a:ext cx="394963" cy="236140"/>
          </a:xfrm>
          <a:custGeom>
            <a:avLst/>
            <a:gdLst>
              <a:gd name="connsiteX0" fmla="*/ 420975 w 841949"/>
              <a:gd name="connsiteY0" fmla="*/ 392795 h 503385"/>
              <a:gd name="connsiteX1" fmla="*/ 443835 w 841949"/>
              <a:gd name="connsiteY1" fmla="*/ 415655 h 503385"/>
              <a:gd name="connsiteX2" fmla="*/ 420975 w 841949"/>
              <a:gd name="connsiteY2" fmla="*/ 438515 h 503385"/>
              <a:gd name="connsiteX3" fmla="*/ 398115 w 841949"/>
              <a:gd name="connsiteY3" fmla="*/ 415655 h 503385"/>
              <a:gd name="connsiteX4" fmla="*/ 420975 w 841949"/>
              <a:gd name="connsiteY4" fmla="*/ 392795 h 503385"/>
              <a:gd name="connsiteX5" fmla="*/ 44058 w 841949"/>
              <a:gd name="connsiteY5" fmla="*/ 39656 h 503385"/>
              <a:gd name="connsiteX6" fmla="*/ 44058 w 841949"/>
              <a:gd name="connsiteY6" fmla="*/ 463729 h 503385"/>
              <a:gd name="connsiteX7" fmla="*/ 797891 w 841949"/>
              <a:gd name="connsiteY7" fmla="*/ 463729 h 503385"/>
              <a:gd name="connsiteX8" fmla="*/ 797891 w 841949"/>
              <a:gd name="connsiteY8" fmla="*/ 39656 h 503385"/>
              <a:gd name="connsiteX9" fmla="*/ 36747 w 841949"/>
              <a:gd name="connsiteY9" fmla="*/ 0 h 503385"/>
              <a:gd name="connsiteX10" fmla="*/ 805202 w 841949"/>
              <a:gd name="connsiteY10" fmla="*/ 0 h 503385"/>
              <a:gd name="connsiteX11" fmla="*/ 841949 w 841949"/>
              <a:gd name="connsiteY11" fmla="*/ 36747 h 503385"/>
              <a:gd name="connsiteX12" fmla="*/ 841949 w 841949"/>
              <a:gd name="connsiteY12" fmla="*/ 466638 h 503385"/>
              <a:gd name="connsiteX13" fmla="*/ 805202 w 841949"/>
              <a:gd name="connsiteY13" fmla="*/ 503385 h 503385"/>
              <a:gd name="connsiteX14" fmla="*/ 36747 w 841949"/>
              <a:gd name="connsiteY14" fmla="*/ 503385 h 503385"/>
              <a:gd name="connsiteX15" fmla="*/ 0 w 841949"/>
              <a:gd name="connsiteY15" fmla="*/ 466638 h 503385"/>
              <a:gd name="connsiteX16" fmla="*/ 0 w 841949"/>
              <a:gd name="connsiteY16" fmla="*/ 36747 h 503385"/>
              <a:gd name="connsiteX17" fmla="*/ 36747 w 841949"/>
              <a:gd name="connsiteY17" fmla="*/ 0 h 503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41949" h="503385">
                <a:moveTo>
                  <a:pt x="420975" y="392795"/>
                </a:moveTo>
                <a:cubicBezTo>
                  <a:pt x="433600" y="392795"/>
                  <a:pt x="443835" y="403030"/>
                  <a:pt x="443835" y="415655"/>
                </a:cubicBezTo>
                <a:cubicBezTo>
                  <a:pt x="443835" y="428280"/>
                  <a:pt x="433600" y="438515"/>
                  <a:pt x="420975" y="438515"/>
                </a:cubicBezTo>
                <a:cubicBezTo>
                  <a:pt x="408350" y="438515"/>
                  <a:pt x="398115" y="428280"/>
                  <a:pt x="398115" y="415655"/>
                </a:cubicBezTo>
                <a:cubicBezTo>
                  <a:pt x="398115" y="403030"/>
                  <a:pt x="408350" y="392795"/>
                  <a:pt x="420975" y="392795"/>
                </a:cubicBezTo>
                <a:close/>
                <a:moveTo>
                  <a:pt x="44058" y="39656"/>
                </a:moveTo>
                <a:lnTo>
                  <a:pt x="44058" y="463729"/>
                </a:lnTo>
                <a:lnTo>
                  <a:pt x="797891" y="463729"/>
                </a:lnTo>
                <a:lnTo>
                  <a:pt x="797891" y="39656"/>
                </a:lnTo>
                <a:close/>
                <a:moveTo>
                  <a:pt x="36747" y="0"/>
                </a:moveTo>
                <a:lnTo>
                  <a:pt x="805202" y="0"/>
                </a:lnTo>
                <a:cubicBezTo>
                  <a:pt x="825497" y="0"/>
                  <a:pt x="841949" y="16452"/>
                  <a:pt x="841949" y="36747"/>
                </a:cubicBezTo>
                <a:lnTo>
                  <a:pt x="841949" y="466638"/>
                </a:lnTo>
                <a:cubicBezTo>
                  <a:pt x="841949" y="486933"/>
                  <a:pt x="825497" y="503385"/>
                  <a:pt x="805202" y="503385"/>
                </a:cubicBezTo>
                <a:lnTo>
                  <a:pt x="36747" y="503385"/>
                </a:lnTo>
                <a:cubicBezTo>
                  <a:pt x="16452" y="503385"/>
                  <a:pt x="0" y="486933"/>
                  <a:pt x="0" y="466638"/>
                </a:cubicBezTo>
                <a:lnTo>
                  <a:pt x="0" y="36747"/>
                </a:lnTo>
                <a:cubicBezTo>
                  <a:pt x="0" y="16452"/>
                  <a:pt x="16452" y="0"/>
                  <a:pt x="36747"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86" name="Freeform 85"/>
          <p:cNvSpPr/>
          <p:nvPr>
            <p:custDataLst>
              <p:tags r:id="rId1"/>
            </p:custDataLst>
          </p:nvPr>
        </p:nvSpPr>
        <p:spPr>
          <a:xfrm>
            <a:off x="10460072" y="2049299"/>
            <a:ext cx="281176" cy="341757"/>
          </a:xfrm>
          <a:custGeom>
            <a:avLst/>
            <a:gdLst>
              <a:gd name="connsiteX0" fmla="*/ 0 w 1022348"/>
              <a:gd name="connsiteY0" fmla="*/ 629228 h 1172168"/>
              <a:gd name="connsiteX1" fmla="*/ 142875 w 1022348"/>
              <a:gd name="connsiteY1" fmla="*/ 629228 h 1172168"/>
              <a:gd name="connsiteX2" fmla="*/ 142875 w 1022348"/>
              <a:gd name="connsiteY2" fmla="*/ 1172168 h 1172168"/>
              <a:gd name="connsiteX3" fmla="*/ 0 w 1022348"/>
              <a:gd name="connsiteY3" fmla="*/ 1172168 h 1172168"/>
              <a:gd name="connsiteX4" fmla="*/ 293158 w 1022348"/>
              <a:gd name="connsiteY4" fmla="*/ 434974 h 1172168"/>
              <a:gd name="connsiteX5" fmla="*/ 436033 w 1022348"/>
              <a:gd name="connsiteY5" fmla="*/ 434974 h 1172168"/>
              <a:gd name="connsiteX6" fmla="*/ 436033 w 1022348"/>
              <a:gd name="connsiteY6" fmla="*/ 1172168 h 1172168"/>
              <a:gd name="connsiteX7" fmla="*/ 293158 w 1022348"/>
              <a:gd name="connsiteY7" fmla="*/ 1172168 h 1172168"/>
              <a:gd name="connsiteX8" fmla="*/ 586316 w 1022348"/>
              <a:gd name="connsiteY8" fmla="*/ 225425 h 1172168"/>
              <a:gd name="connsiteX9" fmla="*/ 729191 w 1022348"/>
              <a:gd name="connsiteY9" fmla="*/ 225425 h 1172168"/>
              <a:gd name="connsiteX10" fmla="*/ 729191 w 1022348"/>
              <a:gd name="connsiteY10" fmla="*/ 1172168 h 1172168"/>
              <a:gd name="connsiteX11" fmla="*/ 586316 w 1022348"/>
              <a:gd name="connsiteY11" fmla="*/ 1172168 h 1172168"/>
              <a:gd name="connsiteX12" fmla="*/ 879473 w 1022348"/>
              <a:gd name="connsiteY12" fmla="*/ 0 h 1172168"/>
              <a:gd name="connsiteX13" fmla="*/ 1022348 w 1022348"/>
              <a:gd name="connsiteY13" fmla="*/ 0 h 1172168"/>
              <a:gd name="connsiteX14" fmla="*/ 1022348 w 1022348"/>
              <a:gd name="connsiteY14" fmla="*/ 1172168 h 1172168"/>
              <a:gd name="connsiteX15" fmla="*/ 879473 w 1022348"/>
              <a:gd name="connsiteY15" fmla="*/ 1172168 h 1172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22348" h="1172168">
                <a:moveTo>
                  <a:pt x="0" y="629228"/>
                </a:moveTo>
                <a:lnTo>
                  <a:pt x="142875" y="629228"/>
                </a:lnTo>
                <a:lnTo>
                  <a:pt x="142875" y="1172168"/>
                </a:lnTo>
                <a:lnTo>
                  <a:pt x="0" y="1172168"/>
                </a:lnTo>
                <a:close/>
                <a:moveTo>
                  <a:pt x="293158" y="434974"/>
                </a:moveTo>
                <a:lnTo>
                  <a:pt x="436033" y="434974"/>
                </a:lnTo>
                <a:lnTo>
                  <a:pt x="436033" y="1172168"/>
                </a:lnTo>
                <a:lnTo>
                  <a:pt x="293158" y="1172168"/>
                </a:lnTo>
                <a:close/>
                <a:moveTo>
                  <a:pt x="586316" y="225425"/>
                </a:moveTo>
                <a:lnTo>
                  <a:pt x="729191" y="225425"/>
                </a:lnTo>
                <a:lnTo>
                  <a:pt x="729191" y="1172168"/>
                </a:lnTo>
                <a:lnTo>
                  <a:pt x="586316" y="1172168"/>
                </a:lnTo>
                <a:close/>
                <a:moveTo>
                  <a:pt x="879473" y="0"/>
                </a:moveTo>
                <a:lnTo>
                  <a:pt x="1022348" y="0"/>
                </a:lnTo>
                <a:lnTo>
                  <a:pt x="1022348" y="1172168"/>
                </a:lnTo>
                <a:lnTo>
                  <a:pt x="879473" y="1172168"/>
                </a:lnTo>
                <a:close/>
              </a:path>
            </a:pathLst>
          </a:custGeom>
          <a:solidFill>
            <a:srgbClr val="0072C6"/>
          </a:solidFill>
          <a:ln w="19050" cap="flat" cmpd="sng" algn="ctr">
            <a:noFill/>
            <a:prstDash val="solid"/>
          </a:ln>
          <a:effectLst/>
        </p:spPr>
        <p:txBody>
          <a:bodyPr wrap="square" rtlCol="0" anchor="ctr">
            <a:noAutofit/>
          </a:bodyPr>
          <a:lstStyle/>
          <a:p>
            <a:pPr algn="ctr" defTabSz="896203">
              <a:defRPr/>
            </a:pPr>
            <a:endParaRPr lang="en-US" sz="1764" kern="0">
              <a:solidFill>
                <a:sysClr val="window" lastClr="FFFFFF"/>
              </a:solidFill>
              <a:latin typeface="Arial"/>
            </a:endParaRPr>
          </a:p>
        </p:txBody>
      </p:sp>
      <p:sp>
        <p:nvSpPr>
          <p:cNvPr id="90" name="Freeform 89"/>
          <p:cNvSpPr/>
          <p:nvPr/>
        </p:nvSpPr>
        <p:spPr bwMode="auto">
          <a:xfrm>
            <a:off x="891969" y="4748567"/>
            <a:ext cx="209450" cy="317389"/>
          </a:xfrm>
          <a:custGeom>
            <a:avLst/>
            <a:gdLst>
              <a:gd name="connsiteX0" fmla="*/ 43974 w 1487862"/>
              <a:gd name="connsiteY0" fmla="*/ 1576652 h 2254622"/>
              <a:gd name="connsiteX1" fmla="*/ 43974 w 1487862"/>
              <a:gd name="connsiteY1" fmla="*/ 2210648 h 2254622"/>
              <a:gd name="connsiteX2" fmla="*/ 677970 w 1487862"/>
              <a:gd name="connsiteY2" fmla="*/ 2210648 h 2254622"/>
              <a:gd name="connsiteX3" fmla="*/ 677970 w 1487862"/>
              <a:gd name="connsiteY3" fmla="*/ 1576652 h 2254622"/>
              <a:gd name="connsiteX4" fmla="*/ 0 w 1487862"/>
              <a:gd name="connsiteY4" fmla="*/ 1532678 h 2254622"/>
              <a:gd name="connsiteX5" fmla="*/ 721944 w 1487862"/>
              <a:gd name="connsiteY5" fmla="*/ 1532678 h 2254622"/>
              <a:gd name="connsiteX6" fmla="*/ 721944 w 1487862"/>
              <a:gd name="connsiteY6" fmla="*/ 2254622 h 2254622"/>
              <a:gd name="connsiteX7" fmla="*/ 0 w 1487862"/>
              <a:gd name="connsiteY7" fmla="*/ 2254622 h 2254622"/>
              <a:gd name="connsiteX8" fmla="*/ 43552 w 1487862"/>
              <a:gd name="connsiteY8" fmla="*/ 810313 h 2254622"/>
              <a:gd name="connsiteX9" fmla="*/ 43552 w 1487862"/>
              <a:gd name="connsiteY9" fmla="*/ 1444309 h 2254622"/>
              <a:gd name="connsiteX10" fmla="*/ 1444310 w 1487862"/>
              <a:gd name="connsiteY10" fmla="*/ 1444309 h 2254622"/>
              <a:gd name="connsiteX11" fmla="*/ 1444310 w 1487862"/>
              <a:gd name="connsiteY11" fmla="*/ 810313 h 2254622"/>
              <a:gd name="connsiteX12" fmla="*/ 0 w 1487862"/>
              <a:gd name="connsiteY12" fmla="*/ 766339 h 2254622"/>
              <a:gd name="connsiteX13" fmla="*/ 1487862 w 1487862"/>
              <a:gd name="connsiteY13" fmla="*/ 766339 h 2254622"/>
              <a:gd name="connsiteX14" fmla="*/ 1487862 w 1487862"/>
              <a:gd name="connsiteY14" fmla="*/ 1488283 h 2254622"/>
              <a:gd name="connsiteX15" fmla="*/ 0 w 1487862"/>
              <a:gd name="connsiteY15" fmla="*/ 1488283 h 2254622"/>
              <a:gd name="connsiteX16" fmla="*/ 43974 w 1487862"/>
              <a:gd name="connsiteY16" fmla="*/ 43974 h 2254622"/>
              <a:gd name="connsiteX17" fmla="*/ 43974 w 1487862"/>
              <a:gd name="connsiteY17" fmla="*/ 677970 h 2254622"/>
              <a:gd name="connsiteX18" fmla="*/ 677970 w 1487862"/>
              <a:gd name="connsiteY18" fmla="*/ 677970 h 2254622"/>
              <a:gd name="connsiteX19" fmla="*/ 677970 w 1487862"/>
              <a:gd name="connsiteY19" fmla="*/ 43974 h 2254622"/>
              <a:gd name="connsiteX20" fmla="*/ 765918 w 1487862"/>
              <a:gd name="connsiteY20" fmla="*/ 0 h 2254622"/>
              <a:gd name="connsiteX21" fmla="*/ 1487862 w 1487862"/>
              <a:gd name="connsiteY21" fmla="*/ 0 h 2254622"/>
              <a:gd name="connsiteX22" fmla="*/ 1487862 w 1487862"/>
              <a:gd name="connsiteY22" fmla="*/ 721944 h 2254622"/>
              <a:gd name="connsiteX23" fmla="*/ 765918 w 1487862"/>
              <a:gd name="connsiteY23" fmla="*/ 721944 h 2254622"/>
              <a:gd name="connsiteX24" fmla="*/ 0 w 1487862"/>
              <a:gd name="connsiteY24" fmla="*/ 0 h 2254622"/>
              <a:gd name="connsiteX25" fmla="*/ 721944 w 1487862"/>
              <a:gd name="connsiteY25" fmla="*/ 0 h 2254622"/>
              <a:gd name="connsiteX26" fmla="*/ 721944 w 1487862"/>
              <a:gd name="connsiteY26" fmla="*/ 721944 h 2254622"/>
              <a:gd name="connsiteX27" fmla="*/ 0 w 1487862"/>
              <a:gd name="connsiteY27" fmla="*/ 721944 h 2254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487862" h="2254622">
                <a:moveTo>
                  <a:pt x="43974" y="1576652"/>
                </a:moveTo>
                <a:lnTo>
                  <a:pt x="43974" y="2210648"/>
                </a:lnTo>
                <a:lnTo>
                  <a:pt x="677970" y="2210648"/>
                </a:lnTo>
                <a:lnTo>
                  <a:pt x="677970" y="1576652"/>
                </a:lnTo>
                <a:close/>
                <a:moveTo>
                  <a:pt x="0" y="1532678"/>
                </a:moveTo>
                <a:lnTo>
                  <a:pt x="721944" y="1532678"/>
                </a:lnTo>
                <a:lnTo>
                  <a:pt x="721944" y="2254622"/>
                </a:lnTo>
                <a:lnTo>
                  <a:pt x="0" y="2254622"/>
                </a:lnTo>
                <a:close/>
                <a:moveTo>
                  <a:pt x="43552" y="810313"/>
                </a:moveTo>
                <a:lnTo>
                  <a:pt x="43552" y="1444309"/>
                </a:lnTo>
                <a:lnTo>
                  <a:pt x="1444310" y="1444309"/>
                </a:lnTo>
                <a:lnTo>
                  <a:pt x="1444310" y="810313"/>
                </a:lnTo>
                <a:close/>
                <a:moveTo>
                  <a:pt x="0" y="766339"/>
                </a:moveTo>
                <a:lnTo>
                  <a:pt x="1487862" y="766339"/>
                </a:lnTo>
                <a:lnTo>
                  <a:pt x="1487862" y="1488283"/>
                </a:lnTo>
                <a:lnTo>
                  <a:pt x="0" y="1488283"/>
                </a:lnTo>
                <a:close/>
                <a:moveTo>
                  <a:pt x="43974" y="43974"/>
                </a:moveTo>
                <a:lnTo>
                  <a:pt x="43974" y="677970"/>
                </a:lnTo>
                <a:lnTo>
                  <a:pt x="677970" y="677970"/>
                </a:lnTo>
                <a:lnTo>
                  <a:pt x="677970" y="43974"/>
                </a:lnTo>
                <a:close/>
                <a:moveTo>
                  <a:pt x="765918" y="0"/>
                </a:moveTo>
                <a:lnTo>
                  <a:pt x="1487862" y="0"/>
                </a:lnTo>
                <a:lnTo>
                  <a:pt x="1487862" y="721944"/>
                </a:lnTo>
                <a:lnTo>
                  <a:pt x="765918" y="721944"/>
                </a:lnTo>
                <a:close/>
                <a:moveTo>
                  <a:pt x="0" y="0"/>
                </a:moveTo>
                <a:lnTo>
                  <a:pt x="721944" y="0"/>
                </a:lnTo>
                <a:lnTo>
                  <a:pt x="721944" y="721944"/>
                </a:lnTo>
                <a:lnTo>
                  <a:pt x="0" y="721944"/>
                </a:ln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91" name="Freeform 90"/>
          <p:cNvSpPr/>
          <p:nvPr/>
        </p:nvSpPr>
        <p:spPr bwMode="auto">
          <a:xfrm>
            <a:off x="11053027" y="2219479"/>
            <a:ext cx="224048" cy="3076924"/>
          </a:xfrm>
          <a:custGeom>
            <a:avLst/>
            <a:gdLst>
              <a:gd name="connsiteX0" fmla="*/ 0 w 228600"/>
              <a:gd name="connsiteY0" fmla="*/ 0 h 3139440"/>
              <a:gd name="connsiteX1" fmla="*/ 228600 w 228600"/>
              <a:gd name="connsiteY1" fmla="*/ 0 h 3139440"/>
              <a:gd name="connsiteX2" fmla="*/ 228600 w 228600"/>
              <a:gd name="connsiteY2" fmla="*/ 3139440 h 3139440"/>
            </a:gdLst>
            <a:ahLst/>
            <a:cxnLst>
              <a:cxn ang="0">
                <a:pos x="connsiteX0" y="connsiteY0"/>
              </a:cxn>
              <a:cxn ang="0">
                <a:pos x="connsiteX1" y="connsiteY1"/>
              </a:cxn>
              <a:cxn ang="0">
                <a:pos x="connsiteX2" y="connsiteY2"/>
              </a:cxn>
            </a:cxnLst>
            <a:rect l="l" t="t" r="r" b="b"/>
            <a:pathLst>
              <a:path w="228600" h="3139440">
                <a:moveTo>
                  <a:pt x="0" y="0"/>
                </a:moveTo>
                <a:lnTo>
                  <a:pt x="228600" y="0"/>
                </a:lnTo>
                <a:lnTo>
                  <a:pt x="228600" y="3139440"/>
                </a:lnTo>
              </a:path>
            </a:pathLst>
          </a:custGeom>
          <a:noFill/>
          <a:ln w="19050">
            <a:solidFill>
              <a:srgbClr val="0072C6"/>
            </a:solidFill>
            <a:headEnd type="none" w="med" len="sm"/>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algn="ctr" defTabSz="896203"/>
            <a:endParaRPr lang="en-US" sz="1764" kern="0">
              <a:solidFill>
                <a:sysClr val="windowText" lastClr="000000"/>
              </a:solidFill>
            </a:endParaRPr>
          </a:p>
        </p:txBody>
      </p:sp>
      <p:sp>
        <p:nvSpPr>
          <p:cNvPr id="94" name="Freeform 93"/>
          <p:cNvSpPr/>
          <p:nvPr/>
        </p:nvSpPr>
        <p:spPr bwMode="auto">
          <a:xfrm>
            <a:off x="2939124" y="2033261"/>
            <a:ext cx="352191" cy="356113"/>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pPr>
            <a:endParaRPr lang="en-US" sz="2399" kern="0" dirty="0">
              <a:solidFill>
                <a:schemeClr val="tx1"/>
              </a:solidFill>
              <a:ea typeface="Segoe UI" pitchFamily="34" charset="0"/>
              <a:cs typeface="Segoe UI" pitchFamily="34" charset="0"/>
            </a:endParaRPr>
          </a:p>
        </p:txBody>
      </p:sp>
      <p:sp>
        <p:nvSpPr>
          <p:cNvPr id="95" name="Oval 88"/>
          <p:cNvSpPr/>
          <p:nvPr/>
        </p:nvSpPr>
        <p:spPr>
          <a:xfrm>
            <a:off x="857328" y="5526528"/>
            <a:ext cx="299563" cy="311778"/>
          </a:xfrm>
          <a:custGeom>
            <a:avLst/>
            <a:gdLst/>
            <a:ahLst/>
            <a:cxnLst/>
            <a:rect l="l" t="t" r="r" b="b"/>
            <a:pathLst>
              <a:path w="1255211" h="1656051">
                <a:moveTo>
                  <a:pt x="638840" y="98404"/>
                </a:moveTo>
                <a:cubicBezTo>
                  <a:pt x="356498" y="98404"/>
                  <a:pt x="127615" y="169347"/>
                  <a:pt x="127615" y="256860"/>
                </a:cubicBezTo>
                <a:cubicBezTo>
                  <a:pt x="127615" y="344373"/>
                  <a:pt x="356498" y="415316"/>
                  <a:pt x="638840" y="415316"/>
                </a:cubicBezTo>
                <a:cubicBezTo>
                  <a:pt x="921182" y="415316"/>
                  <a:pt x="1150065" y="344373"/>
                  <a:pt x="1150065" y="256860"/>
                </a:cubicBezTo>
                <a:cubicBezTo>
                  <a:pt x="1150065" y="169347"/>
                  <a:pt x="921182" y="98404"/>
                  <a:pt x="638840" y="98404"/>
                </a:cubicBezTo>
                <a:close/>
                <a:moveTo>
                  <a:pt x="627606" y="7"/>
                </a:moveTo>
                <a:cubicBezTo>
                  <a:pt x="834366" y="-787"/>
                  <a:pt x="1214415" y="70042"/>
                  <a:pt x="1247888" y="228376"/>
                </a:cubicBezTo>
                <a:lnTo>
                  <a:pt x="1255211" y="223614"/>
                </a:lnTo>
                <a:lnTo>
                  <a:pt x="1255211" y="317516"/>
                </a:lnTo>
                <a:lnTo>
                  <a:pt x="1255211" y="1338542"/>
                </a:lnTo>
                <a:lnTo>
                  <a:pt x="1255211" y="1404562"/>
                </a:lnTo>
                <a:lnTo>
                  <a:pt x="1241216" y="1404562"/>
                </a:lnTo>
                <a:cubicBezTo>
                  <a:pt x="1181427" y="1548293"/>
                  <a:pt x="929392" y="1656051"/>
                  <a:pt x="627606" y="1656051"/>
                </a:cubicBezTo>
                <a:cubicBezTo>
                  <a:pt x="325821" y="1656051"/>
                  <a:pt x="73786" y="1548293"/>
                  <a:pt x="13998" y="1404562"/>
                </a:cubicBezTo>
                <a:lnTo>
                  <a:pt x="0" y="1404562"/>
                </a:lnTo>
                <a:lnTo>
                  <a:pt x="0" y="1338542"/>
                </a:lnTo>
                <a:lnTo>
                  <a:pt x="0" y="317516"/>
                </a:lnTo>
                <a:lnTo>
                  <a:pt x="0" y="280764"/>
                </a:lnTo>
                <a:cubicBezTo>
                  <a:pt x="2442" y="280764"/>
                  <a:pt x="4882" y="233138"/>
                  <a:pt x="7323" y="233138"/>
                </a:cubicBezTo>
                <a:cubicBezTo>
                  <a:pt x="40799" y="74804"/>
                  <a:pt x="420845" y="801"/>
                  <a:pt x="627606" y="7"/>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80"/>
            <a:endParaRPr lang="en-US" sz="1323">
              <a:gradFill>
                <a:gsLst>
                  <a:gs pos="1250">
                    <a:srgbClr val="505050"/>
                  </a:gs>
                  <a:gs pos="74000">
                    <a:srgbClr val="505050"/>
                  </a:gs>
                </a:gsLst>
                <a:lin ang="5400000" scaled="0"/>
              </a:gradFill>
            </a:endParaRPr>
          </a:p>
        </p:txBody>
      </p:sp>
      <p:grpSp>
        <p:nvGrpSpPr>
          <p:cNvPr id="98" name="Group 97"/>
          <p:cNvGrpSpPr>
            <a:grpSpLocks noChangeAspect="1"/>
          </p:cNvGrpSpPr>
          <p:nvPr/>
        </p:nvGrpSpPr>
        <p:grpSpPr>
          <a:xfrm>
            <a:off x="2893047" y="3185045"/>
            <a:ext cx="448096" cy="344222"/>
            <a:chOff x="1260022" y="5196402"/>
            <a:chExt cx="3273425" cy="2514600"/>
          </a:xfrm>
          <a:solidFill>
            <a:schemeClr val="accent1"/>
          </a:solidFill>
        </p:grpSpPr>
        <p:sp>
          <p:nvSpPr>
            <p:cNvPr id="99" name="Freeform 98"/>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endParaRPr lang="en-US" sz="2352" dirty="0"/>
            </a:p>
          </p:txBody>
        </p:sp>
        <p:sp>
          <p:nvSpPr>
            <p:cNvPr id="100" name="Freeform 99"/>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endParaRPr lang="en-US" sz="2352" dirty="0"/>
            </a:p>
          </p:txBody>
        </p:sp>
        <p:sp>
          <p:nvSpPr>
            <p:cNvPr id="101" name="Freeform 100"/>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endParaRPr lang="en-US" sz="2352" dirty="0"/>
            </a:p>
          </p:txBody>
        </p:sp>
        <p:sp>
          <p:nvSpPr>
            <p:cNvPr id="102" name="Freeform 101"/>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endParaRPr lang="en-US" sz="2352" dirty="0"/>
            </a:p>
          </p:txBody>
        </p:sp>
      </p:grpSp>
      <p:sp>
        <p:nvSpPr>
          <p:cNvPr id="103" name="Freeform 102"/>
          <p:cNvSpPr>
            <a:spLocks noChangeAspect="1"/>
          </p:cNvSpPr>
          <p:nvPr/>
        </p:nvSpPr>
        <p:spPr bwMode="auto">
          <a:xfrm>
            <a:off x="4259780" y="3879991"/>
            <a:ext cx="473706" cy="358477"/>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1"/>
          </a:solidFill>
          <a:ln w="6350">
            <a:noFill/>
          </a:ln>
        </p:spPr>
        <p:txBody>
          <a:bodyPr vert="horz" wrap="square" lIns="91403" tIns="45701" rIns="91403" bIns="45701" numCol="1" anchor="t" anchorCtr="0" compatLnSpc="1">
            <a:prstTxWarp prst="textNoShape">
              <a:avLst/>
            </a:prstTxWarp>
          </a:bodyPr>
          <a:lstStyle/>
          <a:p>
            <a:pPr defTabSz="896203"/>
            <a:endParaRPr lang="en-US" sz="1600" kern="0" dirty="0">
              <a:solidFill>
                <a:sysClr val="windowText" lastClr="000000"/>
              </a:solidFill>
            </a:endParaRPr>
          </a:p>
        </p:txBody>
      </p:sp>
      <p:sp>
        <p:nvSpPr>
          <p:cNvPr id="105" name="Freeform 104"/>
          <p:cNvSpPr>
            <a:spLocks noChangeAspect="1"/>
          </p:cNvSpPr>
          <p:nvPr/>
        </p:nvSpPr>
        <p:spPr bwMode="auto">
          <a:xfrm>
            <a:off x="3385025" y="5148750"/>
            <a:ext cx="183421" cy="192751"/>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pPr>
            <a:endParaRPr lang="en-US" sz="2399" kern="0">
              <a:solidFill>
                <a:schemeClr val="tx1"/>
              </a:solidFill>
              <a:ea typeface="Segoe UI" pitchFamily="34" charset="0"/>
              <a:cs typeface="Segoe UI" pitchFamily="34" charset="0"/>
            </a:endParaRPr>
          </a:p>
        </p:txBody>
      </p:sp>
      <p:grpSp>
        <p:nvGrpSpPr>
          <p:cNvPr id="106" name="Group 105"/>
          <p:cNvGrpSpPr>
            <a:grpSpLocks noChangeAspect="1"/>
          </p:cNvGrpSpPr>
          <p:nvPr/>
        </p:nvGrpSpPr>
        <p:grpSpPr>
          <a:xfrm>
            <a:off x="4103016" y="5532608"/>
            <a:ext cx="185347" cy="197162"/>
            <a:chOff x="3232150" y="382588"/>
            <a:chExt cx="5727700" cy="6092825"/>
          </a:xfrm>
          <a:solidFill>
            <a:schemeClr val="accent1"/>
          </a:solidFill>
        </p:grpSpPr>
        <p:sp>
          <p:nvSpPr>
            <p:cNvPr id="107"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108"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109"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grpSp>
      <p:sp>
        <p:nvSpPr>
          <p:cNvPr id="110" name="TextBox 109"/>
          <p:cNvSpPr txBox="1"/>
          <p:nvPr/>
        </p:nvSpPr>
        <p:spPr>
          <a:xfrm>
            <a:off x="3496472" y="2267185"/>
            <a:ext cx="363611" cy="361977"/>
          </a:xfrm>
          <a:prstGeom prst="rect">
            <a:avLst/>
          </a:prstGeom>
          <a:noFill/>
        </p:spPr>
        <p:txBody>
          <a:bodyPr wrap="none" lIns="0" tIns="0" rIns="0" bIns="0" rtlCol="0">
            <a:spAutoFit/>
          </a:bodyPr>
          <a:lstStyle/>
          <a:p>
            <a:pPr defTabSz="896203"/>
            <a:r>
              <a:rPr lang="en-US" sz="1176" kern="0" dirty="0">
                <a:solidFill>
                  <a:schemeClr val="bg1"/>
                </a:solidFill>
              </a:rPr>
              <a:t>Event</a:t>
            </a:r>
          </a:p>
          <a:p>
            <a:pPr defTabSz="896203"/>
            <a:r>
              <a:rPr lang="en-US" sz="1176" kern="0" dirty="0">
                <a:solidFill>
                  <a:schemeClr val="bg1"/>
                </a:solidFill>
              </a:rPr>
              <a:t>Hubs</a:t>
            </a:r>
          </a:p>
        </p:txBody>
      </p:sp>
      <p:sp>
        <p:nvSpPr>
          <p:cNvPr id="114" name="Freeform 113"/>
          <p:cNvSpPr>
            <a:spLocks noChangeAspect="1"/>
          </p:cNvSpPr>
          <p:nvPr/>
        </p:nvSpPr>
        <p:spPr bwMode="auto">
          <a:xfrm flipH="1">
            <a:off x="6277134" y="3960452"/>
            <a:ext cx="358477" cy="379357"/>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pPr>
            <a:endParaRPr lang="en-US" sz="2399" kern="0">
              <a:solidFill>
                <a:schemeClr val="tx1"/>
              </a:solidFill>
              <a:ea typeface="Segoe UI" pitchFamily="34" charset="0"/>
              <a:cs typeface="Segoe UI" pitchFamily="34" charset="0"/>
            </a:endParaRPr>
          </a:p>
        </p:txBody>
      </p:sp>
      <p:grpSp>
        <p:nvGrpSpPr>
          <p:cNvPr id="115" name="Group 114"/>
          <p:cNvGrpSpPr>
            <a:grpSpLocks noChangeAspect="1"/>
          </p:cNvGrpSpPr>
          <p:nvPr/>
        </p:nvGrpSpPr>
        <p:grpSpPr>
          <a:xfrm>
            <a:off x="8442684" y="4067124"/>
            <a:ext cx="358477" cy="439050"/>
            <a:chOff x="-3084513" y="3390510"/>
            <a:chExt cx="2716213" cy="3363913"/>
          </a:xfrm>
          <a:solidFill>
            <a:schemeClr val="accent1"/>
          </a:solidFill>
        </p:grpSpPr>
        <p:sp>
          <p:nvSpPr>
            <p:cNvPr id="116"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sp>
          <p:nvSpPr>
            <p:cNvPr id="117"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896203"/>
              <a:endParaRPr lang="en-US" sz="1799" kern="0">
                <a:solidFill>
                  <a:sysClr val="windowText" lastClr="000000"/>
                </a:solidFill>
              </a:endParaRPr>
            </a:p>
          </p:txBody>
        </p:sp>
      </p:grpSp>
      <p:sp>
        <p:nvSpPr>
          <p:cNvPr id="119" name="Freeform 118"/>
          <p:cNvSpPr/>
          <p:nvPr/>
        </p:nvSpPr>
        <p:spPr bwMode="auto">
          <a:xfrm>
            <a:off x="4138392" y="3703198"/>
            <a:ext cx="679635" cy="679635"/>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96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0" name="Freeform 119"/>
          <p:cNvSpPr/>
          <p:nvPr/>
        </p:nvSpPr>
        <p:spPr bwMode="auto">
          <a:xfrm>
            <a:off x="6141903" y="3828074"/>
            <a:ext cx="679635" cy="679635"/>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96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1" name="Freeform 120"/>
          <p:cNvSpPr>
            <a:spLocks noChangeAspect="1"/>
          </p:cNvSpPr>
          <p:nvPr/>
        </p:nvSpPr>
        <p:spPr bwMode="auto">
          <a:xfrm>
            <a:off x="7023015" y="4004866"/>
            <a:ext cx="473706" cy="358477"/>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1"/>
          </a:solidFill>
          <a:ln w="6350">
            <a:noFill/>
          </a:ln>
        </p:spPr>
        <p:txBody>
          <a:bodyPr vert="horz" wrap="square" lIns="91403" tIns="45701" rIns="91403" bIns="45701" numCol="1" anchor="t" anchorCtr="0" compatLnSpc="1">
            <a:prstTxWarp prst="textNoShape">
              <a:avLst/>
            </a:prstTxWarp>
          </a:bodyPr>
          <a:lstStyle/>
          <a:p>
            <a:pPr defTabSz="896203"/>
            <a:endParaRPr lang="en-US" sz="1600" kern="0" dirty="0">
              <a:solidFill>
                <a:sysClr val="windowText" lastClr="000000"/>
              </a:solidFill>
            </a:endParaRPr>
          </a:p>
        </p:txBody>
      </p:sp>
      <p:sp>
        <p:nvSpPr>
          <p:cNvPr id="122" name="Freeform 121"/>
          <p:cNvSpPr/>
          <p:nvPr/>
        </p:nvSpPr>
        <p:spPr bwMode="auto">
          <a:xfrm>
            <a:off x="6901626" y="3828074"/>
            <a:ext cx="679635" cy="679635"/>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96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3" name="TextBox 122"/>
          <p:cNvSpPr txBox="1"/>
          <p:nvPr/>
        </p:nvSpPr>
        <p:spPr>
          <a:xfrm>
            <a:off x="6933927" y="3486854"/>
            <a:ext cx="664568" cy="361977"/>
          </a:xfrm>
          <a:prstGeom prst="rect">
            <a:avLst/>
          </a:prstGeom>
          <a:noFill/>
        </p:spPr>
        <p:txBody>
          <a:bodyPr wrap="none" lIns="0" tIns="0" rIns="0" bIns="0" rtlCol="0">
            <a:spAutoFit/>
          </a:bodyPr>
          <a:lstStyle/>
          <a:p>
            <a:pPr defTabSz="896203"/>
            <a:r>
              <a:rPr lang="en-US" sz="1176" kern="0" dirty="0">
                <a:solidFill>
                  <a:schemeClr val="bg1"/>
                </a:solidFill>
              </a:rPr>
              <a:t>HDInsight</a:t>
            </a:r>
            <a:br>
              <a:rPr lang="en-US" sz="1176" kern="0" dirty="0">
                <a:solidFill>
                  <a:schemeClr val="bg1"/>
                </a:solidFill>
              </a:rPr>
            </a:br>
            <a:endParaRPr lang="en-US" sz="1176" kern="0" dirty="0">
              <a:solidFill>
                <a:schemeClr val="bg1"/>
              </a:solidFill>
            </a:endParaRPr>
          </a:p>
        </p:txBody>
      </p:sp>
      <p:grpSp>
        <p:nvGrpSpPr>
          <p:cNvPr id="127" name="Group 126"/>
          <p:cNvGrpSpPr/>
          <p:nvPr/>
        </p:nvGrpSpPr>
        <p:grpSpPr>
          <a:xfrm>
            <a:off x="6591764" y="1587549"/>
            <a:ext cx="679635" cy="679635"/>
            <a:chOff x="6419093" y="4056844"/>
            <a:chExt cx="693444" cy="693444"/>
          </a:xfrm>
        </p:grpSpPr>
        <p:sp>
          <p:nvSpPr>
            <p:cNvPr id="125" name="Freeform 124"/>
            <p:cNvSpPr>
              <a:spLocks noChangeAspect="1"/>
            </p:cNvSpPr>
            <p:nvPr/>
          </p:nvSpPr>
          <p:spPr bwMode="auto">
            <a:xfrm flipH="1">
              <a:off x="6582472" y="4191911"/>
              <a:ext cx="365760" cy="387065"/>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91403" bIns="45701" numCol="1" spcCol="0" rtlCol="0" fromWordArt="0" anchor="ctr" anchorCtr="0" forceAA="0" compatLnSpc="1">
              <a:prstTxWarp prst="textNoShape">
                <a:avLst/>
              </a:prstTxWarp>
              <a:noAutofit/>
            </a:bodyPr>
            <a:lstStyle/>
            <a:p>
              <a:pPr algn="ctr" defTabSz="932103" fontAlgn="base">
                <a:spcBef>
                  <a:spcPct val="0"/>
                </a:spcBef>
                <a:spcAft>
                  <a:spcPct val="0"/>
                </a:spcAft>
              </a:pPr>
              <a:endParaRPr lang="en-US" sz="2399" kern="0">
                <a:solidFill>
                  <a:schemeClr val="tx1"/>
                </a:solidFill>
                <a:ea typeface="Segoe UI" pitchFamily="34" charset="0"/>
                <a:cs typeface="Segoe UI" pitchFamily="34" charset="0"/>
              </a:endParaRPr>
            </a:p>
          </p:txBody>
        </p:sp>
        <p:sp>
          <p:nvSpPr>
            <p:cNvPr id="126" name="Freeform 125"/>
            <p:cNvSpPr/>
            <p:nvPr/>
          </p:nvSpPr>
          <p:spPr bwMode="auto">
            <a:xfrm>
              <a:off x="6419093" y="4056844"/>
              <a:ext cx="693444" cy="693444"/>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960"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34" name="Group 133"/>
          <p:cNvGrpSpPr/>
          <p:nvPr/>
        </p:nvGrpSpPr>
        <p:grpSpPr>
          <a:xfrm>
            <a:off x="6616658" y="2333438"/>
            <a:ext cx="679635" cy="679635"/>
            <a:chOff x="3001611" y="3218184"/>
            <a:chExt cx="693444" cy="693444"/>
          </a:xfrm>
        </p:grpSpPr>
        <p:sp>
          <p:nvSpPr>
            <p:cNvPr id="128" name="Freeform 127"/>
            <p:cNvSpPr/>
            <p:nvPr/>
          </p:nvSpPr>
          <p:spPr bwMode="auto">
            <a:xfrm>
              <a:off x="3001611" y="3218184"/>
              <a:ext cx="693444" cy="693444"/>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960"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29" name="Group 128"/>
            <p:cNvGrpSpPr>
              <a:grpSpLocks noChangeAspect="1"/>
            </p:cNvGrpSpPr>
            <p:nvPr/>
          </p:nvGrpSpPr>
          <p:grpSpPr>
            <a:xfrm>
              <a:off x="3104228" y="3400750"/>
              <a:ext cx="457200" cy="351216"/>
              <a:chOff x="1260022" y="5196402"/>
              <a:chExt cx="3273425" cy="2514600"/>
            </a:xfrm>
            <a:solidFill>
              <a:schemeClr val="accent1"/>
            </a:solidFill>
          </p:grpSpPr>
          <p:sp>
            <p:nvSpPr>
              <p:cNvPr id="130" name="Freeform 129"/>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endParaRPr lang="en-US" sz="2352" dirty="0"/>
              </a:p>
            </p:txBody>
          </p:sp>
          <p:sp>
            <p:nvSpPr>
              <p:cNvPr id="131" name="Freeform 130"/>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endParaRPr lang="en-US" sz="2352" dirty="0"/>
              </a:p>
            </p:txBody>
          </p:sp>
          <p:sp>
            <p:nvSpPr>
              <p:cNvPr id="132" name="Freeform 131"/>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endParaRPr lang="en-US" sz="2352" dirty="0"/>
              </a:p>
            </p:txBody>
          </p:sp>
          <p:sp>
            <p:nvSpPr>
              <p:cNvPr id="133" name="Freeform 132"/>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03"/>
                <a:endParaRPr lang="en-US" sz="2352" dirty="0"/>
              </a:p>
            </p:txBody>
          </p:sp>
        </p:grpSp>
      </p:grpSp>
      <p:sp>
        <p:nvSpPr>
          <p:cNvPr id="137" name="TextBox 136"/>
          <p:cNvSpPr txBox="1"/>
          <p:nvPr/>
        </p:nvSpPr>
        <p:spPr>
          <a:xfrm>
            <a:off x="7270479" y="1659069"/>
            <a:ext cx="573130" cy="361977"/>
          </a:xfrm>
          <a:prstGeom prst="rect">
            <a:avLst/>
          </a:prstGeom>
          <a:noFill/>
        </p:spPr>
        <p:txBody>
          <a:bodyPr wrap="none" lIns="0" tIns="0" rIns="0" bIns="0" rtlCol="0">
            <a:spAutoFit/>
          </a:bodyPr>
          <a:lstStyle/>
          <a:p>
            <a:pPr defTabSz="896203"/>
            <a:r>
              <a:rPr lang="en-US" sz="1176" kern="0" dirty="0">
                <a:solidFill>
                  <a:schemeClr val="bg1"/>
                </a:solidFill>
              </a:rPr>
              <a:t>Machine</a:t>
            </a:r>
            <a:br>
              <a:rPr lang="en-US" sz="1176" kern="0" dirty="0">
                <a:solidFill>
                  <a:schemeClr val="bg1"/>
                </a:solidFill>
              </a:rPr>
            </a:br>
            <a:r>
              <a:rPr lang="en-US" sz="1176" kern="0" dirty="0">
                <a:solidFill>
                  <a:schemeClr val="bg1"/>
                </a:solidFill>
              </a:rPr>
              <a:t>Learning</a:t>
            </a:r>
          </a:p>
        </p:txBody>
      </p:sp>
      <p:sp>
        <p:nvSpPr>
          <p:cNvPr id="138" name="TextBox 137"/>
          <p:cNvSpPr txBox="1"/>
          <p:nvPr/>
        </p:nvSpPr>
        <p:spPr>
          <a:xfrm>
            <a:off x="6036260" y="2481249"/>
            <a:ext cx="589596" cy="361977"/>
          </a:xfrm>
          <a:prstGeom prst="rect">
            <a:avLst/>
          </a:prstGeom>
          <a:noFill/>
        </p:spPr>
        <p:txBody>
          <a:bodyPr wrap="none" lIns="0" tIns="0" rIns="0" bIns="0" rtlCol="0">
            <a:spAutoFit/>
          </a:bodyPr>
          <a:lstStyle/>
          <a:p>
            <a:pPr defTabSz="896203"/>
            <a:r>
              <a:rPr lang="en-US" sz="1176" kern="0" dirty="0">
                <a:solidFill>
                  <a:schemeClr val="bg1"/>
                </a:solidFill>
              </a:rPr>
              <a:t>Stream</a:t>
            </a:r>
            <a:br>
              <a:rPr lang="en-US" sz="1176" kern="0" dirty="0">
                <a:solidFill>
                  <a:schemeClr val="bg1"/>
                </a:solidFill>
              </a:rPr>
            </a:br>
            <a:r>
              <a:rPr lang="en-US" sz="1176" kern="0" dirty="0">
                <a:solidFill>
                  <a:schemeClr val="bg1"/>
                </a:solidFill>
              </a:rPr>
              <a:t>Analytics</a:t>
            </a:r>
          </a:p>
        </p:txBody>
      </p:sp>
      <p:sp>
        <p:nvSpPr>
          <p:cNvPr id="142" name="Freeform 141"/>
          <p:cNvSpPr/>
          <p:nvPr/>
        </p:nvSpPr>
        <p:spPr bwMode="auto">
          <a:xfrm>
            <a:off x="8273236" y="3951117"/>
            <a:ext cx="679635" cy="679635"/>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960"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46" name="Group 145"/>
          <p:cNvGrpSpPr/>
          <p:nvPr/>
        </p:nvGrpSpPr>
        <p:grpSpPr>
          <a:xfrm>
            <a:off x="10457117" y="3205328"/>
            <a:ext cx="295758" cy="295758"/>
            <a:chOff x="3236100" y="589298"/>
            <a:chExt cx="5641200" cy="5641200"/>
          </a:xfrm>
        </p:grpSpPr>
        <p:sp>
          <p:nvSpPr>
            <p:cNvPr id="147" name="Freeform 146"/>
            <p:cNvSpPr/>
            <p:nvPr/>
          </p:nvSpPr>
          <p:spPr bwMode="auto">
            <a:xfrm>
              <a:off x="3236100" y="589298"/>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algn="ctr" defTabSz="932103" fontAlgn="base">
                <a:spcBef>
                  <a:spcPct val="0"/>
                </a:spcBef>
                <a:spcAft>
                  <a:spcPct val="0"/>
                </a:spcAft>
              </a:pPr>
              <a:endParaRPr lang="en-US" sz="3599" kern="0" dirty="0" err="1">
                <a:solidFill>
                  <a:schemeClr val="tx1"/>
                </a:solidFill>
                <a:ea typeface="Segoe UI" pitchFamily="34" charset="0"/>
                <a:cs typeface="Segoe UI" pitchFamily="34" charset="0"/>
              </a:endParaRPr>
            </a:p>
          </p:txBody>
        </p:sp>
        <p:sp>
          <p:nvSpPr>
            <p:cNvPr id="148" name="Freeform 147"/>
            <p:cNvSpPr/>
            <p:nvPr/>
          </p:nvSpPr>
          <p:spPr bwMode="auto">
            <a:xfrm>
              <a:off x="3615099" y="968297"/>
              <a:ext cx="4883202" cy="4883202"/>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algn="ctr" defTabSz="932103" fontAlgn="base">
                <a:spcBef>
                  <a:spcPct val="0"/>
                </a:spcBef>
                <a:spcAft>
                  <a:spcPct val="0"/>
                </a:spcAft>
              </a:pPr>
              <a:endParaRPr lang="en-US" sz="3599" kern="0" dirty="0" err="1">
                <a:solidFill>
                  <a:schemeClr val="tx1"/>
                </a:solidFill>
                <a:ea typeface="Segoe UI" pitchFamily="34" charset="0"/>
                <a:cs typeface="Segoe UI" pitchFamily="34" charset="0"/>
              </a:endParaRPr>
            </a:p>
          </p:txBody>
        </p:sp>
      </p:grpSp>
      <p:pic>
        <p:nvPicPr>
          <p:cNvPr id="111" name="Picture 110"/>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072537" y="4766945"/>
            <a:ext cx="221123" cy="221123"/>
          </a:xfrm>
          <a:prstGeom prst="rect">
            <a:avLst/>
          </a:prstGeom>
        </p:spPr>
      </p:pic>
    </p:spTree>
    <p:extLst>
      <p:ext uri="{BB962C8B-B14F-4D97-AF65-F5344CB8AC3E}">
        <p14:creationId xmlns:p14="http://schemas.microsoft.com/office/powerpoint/2010/main" val="4120892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Rectangle 78"/>
          <p:cNvSpPr/>
          <p:nvPr/>
        </p:nvSpPr>
        <p:spPr bwMode="auto">
          <a:xfrm>
            <a:off x="0" y="2508774"/>
            <a:ext cx="12188825" cy="3818423"/>
          </a:xfrm>
          <a:prstGeom prst="rect">
            <a:avLst/>
          </a:prstGeom>
          <a:solidFill>
            <a:schemeClr val="tx1">
              <a:lumMod val="95000"/>
            </a:schemeClr>
          </a:solidFill>
          <a:ln w="3175" cap="flat" cmpd="sng" algn="ctr">
            <a:noFill/>
            <a:prstDash val="solid"/>
            <a:headEnd type="none" w="med" len="med"/>
            <a:tailEnd type="none" w="med" len="med"/>
          </a:ln>
          <a:effectLst/>
        </p:spPr>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gradFill>
                <a:gsLst>
                  <a:gs pos="1250">
                    <a:srgbClr val="505050"/>
                  </a:gs>
                  <a:gs pos="76000">
                    <a:srgbClr val="505050"/>
                  </a:gs>
                </a:gsLst>
                <a:lin ang="5400000" scaled="0"/>
              </a:gradFill>
            </a:endParaRPr>
          </a:p>
        </p:txBody>
      </p:sp>
      <p:sp>
        <p:nvSpPr>
          <p:cNvPr id="7" name="Title 6"/>
          <p:cNvSpPr>
            <a:spLocks noGrp="1"/>
          </p:cNvSpPr>
          <p:nvPr>
            <p:ph type="title"/>
          </p:nvPr>
        </p:nvSpPr>
        <p:spPr/>
        <p:txBody>
          <a:bodyPr/>
          <a:lstStyle/>
          <a:p>
            <a:r>
              <a:rPr lang="en-US" dirty="0"/>
              <a:t>With Cortana Intelligence, better predict needs and trends</a:t>
            </a:r>
          </a:p>
        </p:txBody>
      </p:sp>
      <p:grpSp>
        <p:nvGrpSpPr>
          <p:cNvPr id="114" name="Group 113"/>
          <p:cNvGrpSpPr/>
          <p:nvPr/>
        </p:nvGrpSpPr>
        <p:grpSpPr>
          <a:xfrm>
            <a:off x="8087388" y="2702748"/>
            <a:ext cx="787725" cy="787725"/>
            <a:chOff x="8255948" y="1246183"/>
            <a:chExt cx="1016000" cy="1016000"/>
          </a:xfrm>
        </p:grpSpPr>
        <p:sp>
          <p:nvSpPr>
            <p:cNvPr id="157" name="Oval 156"/>
            <p:cNvSpPr/>
            <p:nvPr/>
          </p:nvSpPr>
          <p:spPr bwMode="auto">
            <a:xfrm>
              <a:off x="8255948" y="1246183"/>
              <a:ext cx="1016000" cy="1016000"/>
            </a:xfrm>
            <a:prstGeom prst="ellipse">
              <a:avLst/>
            </a:prstGeom>
            <a:solidFill>
              <a:srgbClr val="0072C6"/>
            </a:solidFill>
            <a:ln w="19050" cap="flat" cmpd="sng" algn="ctr">
              <a:solidFill>
                <a:srgbClr val="FFFFFF"/>
              </a:solidFill>
              <a:prstDash val="solid"/>
              <a:headEnd type="none" w="med" len="med"/>
              <a:tailEnd type="none" w="med" len="med"/>
            </a:ln>
            <a:effectLst/>
          </p:spPr>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2744" kern="0" dirty="0">
                <a:gradFill>
                  <a:gsLst>
                    <a:gs pos="1250">
                      <a:srgbClr val="505050"/>
                    </a:gs>
                    <a:gs pos="76000">
                      <a:srgbClr val="505050"/>
                    </a:gs>
                  </a:gsLst>
                  <a:lin ang="5400000" scaled="0"/>
                </a:gradFill>
              </a:endParaRPr>
            </a:p>
          </p:txBody>
        </p:sp>
        <p:grpSp>
          <p:nvGrpSpPr>
            <p:cNvPr id="158" name="Group 14"/>
            <p:cNvGrpSpPr>
              <a:grpSpLocks noChangeAspect="1"/>
            </p:cNvGrpSpPr>
            <p:nvPr/>
          </p:nvGrpSpPr>
          <p:grpSpPr bwMode="auto">
            <a:xfrm>
              <a:off x="8510745" y="1613690"/>
              <a:ext cx="506413" cy="280987"/>
              <a:chOff x="5338" y="1027"/>
              <a:chExt cx="319" cy="177"/>
            </a:xfrm>
            <a:solidFill>
              <a:srgbClr val="FFFFFF"/>
            </a:solidFill>
          </p:grpSpPr>
          <p:sp>
            <p:nvSpPr>
              <p:cNvPr id="159" name="Rectangle 15"/>
              <p:cNvSpPr>
                <a:spLocks noChangeArrowheads="1"/>
              </p:cNvSpPr>
              <p:nvPr/>
            </p:nvSpPr>
            <p:spPr bwMode="auto">
              <a:xfrm>
                <a:off x="5406" y="1027"/>
                <a:ext cx="251" cy="20"/>
              </a:xfrm>
              <a:prstGeom prst="rect">
                <a:avLst/>
              </a:prstGeom>
              <a:solidFill>
                <a:srgbClr val="0072C6"/>
              </a:solidFill>
              <a:ln w="19050" cap="flat" cmpd="sng" algn="ctr">
                <a:solidFill>
                  <a:srgbClr val="FFFFFF"/>
                </a:solidFill>
                <a:prstDash val="solid"/>
                <a:headEnd type="none" w="med" len="med"/>
                <a:tailEnd type="none" w="med" len="med"/>
              </a:ln>
              <a:effectLst/>
              <a:extLst/>
            </p:spPr>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2744" kern="0">
                  <a:gradFill>
                    <a:gsLst>
                      <a:gs pos="1250">
                        <a:srgbClr val="505050"/>
                      </a:gs>
                      <a:gs pos="76000">
                        <a:srgbClr val="505050"/>
                      </a:gs>
                    </a:gsLst>
                    <a:lin ang="5400000" scaled="0"/>
                  </a:gradFill>
                </a:endParaRPr>
              </a:p>
            </p:txBody>
          </p:sp>
          <p:sp>
            <p:nvSpPr>
              <p:cNvPr id="160" name="Rectangle 16"/>
              <p:cNvSpPr>
                <a:spLocks noChangeArrowheads="1"/>
              </p:cNvSpPr>
              <p:nvPr/>
            </p:nvSpPr>
            <p:spPr bwMode="auto">
              <a:xfrm>
                <a:off x="5348" y="1106"/>
                <a:ext cx="19" cy="19"/>
              </a:xfrm>
              <a:prstGeom prst="rect">
                <a:avLst/>
              </a:prstGeom>
              <a:solidFill>
                <a:srgbClr val="0072C6"/>
              </a:solidFill>
              <a:ln w="19050" cap="flat" cmpd="sng" algn="ctr">
                <a:solidFill>
                  <a:srgbClr val="FFFFFF"/>
                </a:solidFill>
                <a:prstDash val="solid"/>
                <a:headEnd type="none" w="med" len="med"/>
                <a:tailEnd type="none" w="med" len="med"/>
              </a:ln>
              <a:effectLst/>
              <a:extLst/>
            </p:spPr>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2744" kern="0">
                  <a:gradFill>
                    <a:gsLst>
                      <a:gs pos="1250">
                        <a:srgbClr val="505050"/>
                      </a:gs>
                      <a:gs pos="76000">
                        <a:srgbClr val="505050"/>
                      </a:gs>
                    </a:gsLst>
                    <a:lin ang="5400000" scaled="0"/>
                  </a:gradFill>
                </a:endParaRPr>
              </a:p>
            </p:txBody>
          </p:sp>
          <p:sp>
            <p:nvSpPr>
              <p:cNvPr id="161" name="Rectangle 17"/>
              <p:cNvSpPr>
                <a:spLocks noChangeArrowheads="1"/>
              </p:cNvSpPr>
              <p:nvPr/>
            </p:nvSpPr>
            <p:spPr bwMode="auto">
              <a:xfrm>
                <a:off x="5348" y="1027"/>
                <a:ext cx="19" cy="20"/>
              </a:xfrm>
              <a:prstGeom prst="rect">
                <a:avLst/>
              </a:prstGeom>
              <a:solidFill>
                <a:srgbClr val="0072C6"/>
              </a:solidFill>
              <a:ln w="19050" cap="flat" cmpd="sng" algn="ctr">
                <a:solidFill>
                  <a:srgbClr val="FFFFFF"/>
                </a:solidFill>
                <a:prstDash val="solid"/>
                <a:headEnd type="none" w="med" len="med"/>
                <a:tailEnd type="none" w="med" len="med"/>
              </a:ln>
              <a:effectLst/>
              <a:extLst/>
            </p:spPr>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2744" kern="0">
                  <a:gradFill>
                    <a:gsLst>
                      <a:gs pos="1250">
                        <a:srgbClr val="505050"/>
                      </a:gs>
                      <a:gs pos="76000">
                        <a:srgbClr val="505050"/>
                      </a:gs>
                    </a:gsLst>
                    <a:lin ang="5400000" scaled="0"/>
                  </a:gradFill>
                </a:endParaRPr>
              </a:p>
            </p:txBody>
          </p:sp>
          <p:sp>
            <p:nvSpPr>
              <p:cNvPr id="162" name="Rectangle 18"/>
              <p:cNvSpPr>
                <a:spLocks noChangeArrowheads="1"/>
              </p:cNvSpPr>
              <p:nvPr/>
            </p:nvSpPr>
            <p:spPr bwMode="auto">
              <a:xfrm>
                <a:off x="5406" y="1106"/>
                <a:ext cx="251" cy="19"/>
              </a:xfrm>
              <a:prstGeom prst="rect">
                <a:avLst/>
              </a:prstGeom>
              <a:solidFill>
                <a:srgbClr val="0072C6"/>
              </a:solidFill>
              <a:ln w="19050" cap="flat" cmpd="sng" algn="ctr">
                <a:solidFill>
                  <a:srgbClr val="FFFFFF"/>
                </a:solidFill>
                <a:prstDash val="solid"/>
                <a:headEnd type="none" w="med" len="med"/>
                <a:tailEnd type="none" w="med" len="med"/>
              </a:ln>
              <a:effectLst/>
              <a:extLst/>
            </p:spPr>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2744" kern="0">
                  <a:gradFill>
                    <a:gsLst>
                      <a:gs pos="1250">
                        <a:srgbClr val="505050"/>
                      </a:gs>
                      <a:gs pos="76000">
                        <a:srgbClr val="505050"/>
                      </a:gs>
                    </a:gsLst>
                    <a:lin ang="5400000" scaled="0"/>
                  </a:gradFill>
                </a:endParaRPr>
              </a:p>
            </p:txBody>
          </p:sp>
          <p:sp>
            <p:nvSpPr>
              <p:cNvPr id="163" name="Rectangle 19"/>
              <p:cNvSpPr>
                <a:spLocks noChangeArrowheads="1"/>
              </p:cNvSpPr>
              <p:nvPr/>
            </p:nvSpPr>
            <p:spPr bwMode="auto">
              <a:xfrm>
                <a:off x="5406" y="1184"/>
                <a:ext cx="251" cy="20"/>
              </a:xfrm>
              <a:prstGeom prst="rect">
                <a:avLst/>
              </a:prstGeom>
              <a:solidFill>
                <a:srgbClr val="0072C6"/>
              </a:solidFill>
              <a:ln w="19050" cap="flat" cmpd="sng" algn="ctr">
                <a:solidFill>
                  <a:srgbClr val="FFFFFF"/>
                </a:solidFill>
                <a:prstDash val="solid"/>
                <a:headEnd type="none" w="med" len="med"/>
                <a:tailEnd type="none" w="med" len="med"/>
              </a:ln>
              <a:effectLst/>
              <a:extLst/>
            </p:spPr>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2744" kern="0">
                  <a:gradFill>
                    <a:gsLst>
                      <a:gs pos="1250">
                        <a:srgbClr val="505050"/>
                      </a:gs>
                      <a:gs pos="76000">
                        <a:srgbClr val="505050"/>
                      </a:gs>
                    </a:gsLst>
                    <a:lin ang="5400000" scaled="0"/>
                  </a:gradFill>
                </a:endParaRPr>
              </a:p>
            </p:txBody>
          </p:sp>
          <p:sp>
            <p:nvSpPr>
              <p:cNvPr id="164" name="Freeform 20"/>
              <p:cNvSpPr>
                <a:spLocks/>
              </p:cNvSpPr>
              <p:nvPr/>
            </p:nvSpPr>
            <p:spPr bwMode="auto">
              <a:xfrm>
                <a:off x="5338" y="1157"/>
                <a:ext cx="56" cy="47"/>
              </a:xfrm>
              <a:custGeom>
                <a:avLst/>
                <a:gdLst>
                  <a:gd name="T0" fmla="*/ 20 w 56"/>
                  <a:gd name="T1" fmla="*/ 47 h 47"/>
                  <a:gd name="T2" fmla="*/ 0 w 56"/>
                  <a:gd name="T3" fmla="*/ 27 h 47"/>
                  <a:gd name="T4" fmla="*/ 10 w 56"/>
                  <a:gd name="T5" fmla="*/ 18 h 47"/>
                  <a:gd name="T6" fmla="*/ 20 w 56"/>
                  <a:gd name="T7" fmla="*/ 27 h 47"/>
                  <a:gd name="T8" fmla="*/ 44 w 56"/>
                  <a:gd name="T9" fmla="*/ 0 h 47"/>
                  <a:gd name="T10" fmla="*/ 56 w 56"/>
                  <a:gd name="T11" fmla="*/ 13 h 47"/>
                  <a:gd name="T12" fmla="*/ 20 w 56"/>
                  <a:gd name="T13" fmla="*/ 47 h 47"/>
                </a:gdLst>
                <a:ahLst/>
                <a:cxnLst>
                  <a:cxn ang="0">
                    <a:pos x="T0" y="T1"/>
                  </a:cxn>
                  <a:cxn ang="0">
                    <a:pos x="T2" y="T3"/>
                  </a:cxn>
                  <a:cxn ang="0">
                    <a:pos x="T4" y="T5"/>
                  </a:cxn>
                  <a:cxn ang="0">
                    <a:pos x="T6" y="T7"/>
                  </a:cxn>
                  <a:cxn ang="0">
                    <a:pos x="T8" y="T9"/>
                  </a:cxn>
                  <a:cxn ang="0">
                    <a:pos x="T10" y="T11"/>
                  </a:cxn>
                  <a:cxn ang="0">
                    <a:pos x="T12" y="T13"/>
                  </a:cxn>
                </a:cxnLst>
                <a:rect l="0" t="0" r="r" b="b"/>
                <a:pathLst>
                  <a:path w="56" h="47">
                    <a:moveTo>
                      <a:pt x="20" y="47"/>
                    </a:moveTo>
                    <a:lnTo>
                      <a:pt x="0" y="27"/>
                    </a:lnTo>
                    <a:lnTo>
                      <a:pt x="10" y="18"/>
                    </a:lnTo>
                    <a:lnTo>
                      <a:pt x="20" y="27"/>
                    </a:lnTo>
                    <a:lnTo>
                      <a:pt x="44" y="0"/>
                    </a:lnTo>
                    <a:lnTo>
                      <a:pt x="56" y="13"/>
                    </a:lnTo>
                    <a:lnTo>
                      <a:pt x="20" y="47"/>
                    </a:lnTo>
                    <a:close/>
                  </a:path>
                </a:pathLst>
              </a:custGeom>
              <a:solidFill>
                <a:srgbClr val="0072C6"/>
              </a:solidFill>
              <a:ln w="19050" cap="flat" cmpd="sng" algn="ctr">
                <a:solidFill>
                  <a:srgbClr val="FFFFFF"/>
                </a:solidFill>
                <a:prstDash val="solid"/>
                <a:headEnd type="none" w="med" len="med"/>
                <a:tailEnd type="none" w="med" len="med"/>
              </a:ln>
              <a:effectLst/>
              <a:extLst/>
            </p:spPr>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2744" kern="0">
                  <a:gradFill>
                    <a:gsLst>
                      <a:gs pos="1250">
                        <a:srgbClr val="505050"/>
                      </a:gs>
                      <a:gs pos="76000">
                        <a:srgbClr val="505050"/>
                      </a:gs>
                    </a:gsLst>
                    <a:lin ang="5400000" scaled="0"/>
                  </a:gradFill>
                </a:endParaRPr>
              </a:p>
            </p:txBody>
          </p:sp>
        </p:grpSp>
      </p:grpSp>
      <p:grpSp>
        <p:nvGrpSpPr>
          <p:cNvPr id="115" name="Group 114"/>
          <p:cNvGrpSpPr/>
          <p:nvPr/>
        </p:nvGrpSpPr>
        <p:grpSpPr>
          <a:xfrm>
            <a:off x="8087388" y="5095095"/>
            <a:ext cx="787725" cy="787725"/>
            <a:chOff x="9874008" y="2120048"/>
            <a:chExt cx="1016000" cy="1016000"/>
          </a:xfrm>
        </p:grpSpPr>
        <p:sp>
          <p:nvSpPr>
            <p:cNvPr id="155" name="Oval 154"/>
            <p:cNvSpPr/>
            <p:nvPr/>
          </p:nvSpPr>
          <p:spPr bwMode="auto">
            <a:xfrm>
              <a:off x="9874008" y="2120048"/>
              <a:ext cx="1016000" cy="1016000"/>
            </a:xfrm>
            <a:prstGeom prst="ellipse">
              <a:avLst/>
            </a:prstGeom>
            <a:solidFill>
              <a:srgbClr val="0072C6"/>
            </a:solidFill>
            <a:ln w="19050" cap="flat" cmpd="sng" algn="ctr">
              <a:solidFill>
                <a:srgbClr val="FFFFFF"/>
              </a:solidFill>
              <a:prstDash val="solid"/>
              <a:headEnd type="none" w="med" len="med"/>
              <a:tailEnd type="none" w="med" len="med"/>
            </a:ln>
            <a:effectLst/>
          </p:spPr>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2744" kern="0" dirty="0">
                <a:gradFill>
                  <a:gsLst>
                    <a:gs pos="1250">
                      <a:srgbClr val="505050"/>
                    </a:gs>
                    <a:gs pos="76000">
                      <a:srgbClr val="505050"/>
                    </a:gs>
                  </a:gsLst>
                  <a:lin ang="5400000" scaled="0"/>
                </a:gradFill>
              </a:endParaRPr>
            </a:p>
          </p:txBody>
        </p:sp>
        <p:sp>
          <p:nvSpPr>
            <p:cNvPr id="156" name="Freeform 24"/>
            <p:cNvSpPr>
              <a:spLocks noEditPoints="1"/>
            </p:cNvSpPr>
            <p:nvPr/>
          </p:nvSpPr>
          <p:spPr bwMode="auto">
            <a:xfrm>
              <a:off x="10212146" y="2416117"/>
              <a:ext cx="339725" cy="423862"/>
            </a:xfrm>
            <a:custGeom>
              <a:avLst/>
              <a:gdLst>
                <a:gd name="T0" fmla="*/ 114 w 214"/>
                <a:gd name="T1" fmla="*/ 53 h 267"/>
                <a:gd name="T2" fmla="*/ 114 w 214"/>
                <a:gd name="T3" fmla="*/ 0 h 267"/>
                <a:gd name="T4" fmla="*/ 95 w 214"/>
                <a:gd name="T5" fmla="*/ 0 h 267"/>
                <a:gd name="T6" fmla="*/ 95 w 214"/>
                <a:gd name="T7" fmla="*/ 53 h 267"/>
                <a:gd name="T8" fmla="*/ 0 w 214"/>
                <a:gd name="T9" fmla="*/ 53 h 267"/>
                <a:gd name="T10" fmla="*/ 0 w 214"/>
                <a:gd name="T11" fmla="*/ 267 h 267"/>
                <a:gd name="T12" fmla="*/ 214 w 214"/>
                <a:gd name="T13" fmla="*/ 267 h 267"/>
                <a:gd name="T14" fmla="*/ 214 w 214"/>
                <a:gd name="T15" fmla="*/ 53 h 267"/>
                <a:gd name="T16" fmla="*/ 114 w 214"/>
                <a:gd name="T17" fmla="*/ 53 h 267"/>
                <a:gd name="T18" fmla="*/ 195 w 214"/>
                <a:gd name="T19" fmla="*/ 247 h 267"/>
                <a:gd name="T20" fmla="*/ 19 w 214"/>
                <a:gd name="T21" fmla="*/ 247 h 267"/>
                <a:gd name="T22" fmla="*/ 19 w 214"/>
                <a:gd name="T23" fmla="*/ 70 h 267"/>
                <a:gd name="T24" fmla="*/ 95 w 214"/>
                <a:gd name="T25" fmla="*/ 70 h 267"/>
                <a:gd name="T26" fmla="*/ 95 w 214"/>
                <a:gd name="T27" fmla="*/ 182 h 267"/>
                <a:gd name="T28" fmla="*/ 63 w 214"/>
                <a:gd name="T29" fmla="*/ 150 h 267"/>
                <a:gd name="T30" fmla="*/ 51 w 214"/>
                <a:gd name="T31" fmla="*/ 165 h 267"/>
                <a:gd name="T32" fmla="*/ 105 w 214"/>
                <a:gd name="T33" fmla="*/ 221 h 267"/>
                <a:gd name="T34" fmla="*/ 161 w 214"/>
                <a:gd name="T35" fmla="*/ 165 h 267"/>
                <a:gd name="T36" fmla="*/ 149 w 214"/>
                <a:gd name="T37" fmla="*/ 150 h 267"/>
                <a:gd name="T38" fmla="*/ 114 w 214"/>
                <a:gd name="T39" fmla="*/ 182 h 267"/>
                <a:gd name="T40" fmla="*/ 114 w 214"/>
                <a:gd name="T41" fmla="*/ 70 h 267"/>
                <a:gd name="T42" fmla="*/ 195 w 214"/>
                <a:gd name="T43" fmla="*/ 70 h 267"/>
                <a:gd name="T44" fmla="*/ 195 w 214"/>
                <a:gd name="T45" fmla="*/ 247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4" h="267">
                  <a:moveTo>
                    <a:pt x="114" y="53"/>
                  </a:moveTo>
                  <a:lnTo>
                    <a:pt x="114" y="0"/>
                  </a:lnTo>
                  <a:lnTo>
                    <a:pt x="95" y="0"/>
                  </a:lnTo>
                  <a:lnTo>
                    <a:pt x="95" y="53"/>
                  </a:lnTo>
                  <a:lnTo>
                    <a:pt x="0" y="53"/>
                  </a:lnTo>
                  <a:lnTo>
                    <a:pt x="0" y="267"/>
                  </a:lnTo>
                  <a:lnTo>
                    <a:pt x="214" y="267"/>
                  </a:lnTo>
                  <a:lnTo>
                    <a:pt x="214" y="53"/>
                  </a:lnTo>
                  <a:lnTo>
                    <a:pt x="114" y="53"/>
                  </a:lnTo>
                  <a:close/>
                  <a:moveTo>
                    <a:pt x="195" y="247"/>
                  </a:moveTo>
                  <a:lnTo>
                    <a:pt x="19" y="247"/>
                  </a:lnTo>
                  <a:lnTo>
                    <a:pt x="19" y="70"/>
                  </a:lnTo>
                  <a:lnTo>
                    <a:pt x="95" y="70"/>
                  </a:lnTo>
                  <a:lnTo>
                    <a:pt x="95" y="182"/>
                  </a:lnTo>
                  <a:lnTo>
                    <a:pt x="63" y="150"/>
                  </a:lnTo>
                  <a:lnTo>
                    <a:pt x="51" y="165"/>
                  </a:lnTo>
                  <a:lnTo>
                    <a:pt x="105" y="221"/>
                  </a:lnTo>
                  <a:lnTo>
                    <a:pt x="161" y="165"/>
                  </a:lnTo>
                  <a:lnTo>
                    <a:pt x="149" y="150"/>
                  </a:lnTo>
                  <a:lnTo>
                    <a:pt x="114" y="182"/>
                  </a:lnTo>
                  <a:lnTo>
                    <a:pt x="114" y="70"/>
                  </a:lnTo>
                  <a:lnTo>
                    <a:pt x="195" y="70"/>
                  </a:lnTo>
                  <a:lnTo>
                    <a:pt x="195" y="247"/>
                  </a:lnTo>
                  <a:close/>
                </a:path>
              </a:pathLst>
            </a:custGeom>
            <a:solidFill>
              <a:srgbClr val="0072C6"/>
            </a:solidFill>
            <a:ln w="19050" cap="flat" cmpd="sng" algn="ctr">
              <a:solidFill>
                <a:srgbClr val="FFFFFF"/>
              </a:solidFill>
              <a:prstDash val="solid"/>
              <a:headEnd type="none" w="med" len="med"/>
              <a:tailEnd type="none" w="med" len="med"/>
            </a:ln>
            <a:effectLst/>
          </p:spPr>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2744" kern="0">
                <a:gradFill>
                  <a:gsLst>
                    <a:gs pos="1250">
                      <a:srgbClr val="505050"/>
                    </a:gs>
                    <a:gs pos="76000">
                      <a:srgbClr val="505050"/>
                    </a:gs>
                  </a:gsLst>
                  <a:lin ang="5400000" scaled="0"/>
                </a:gradFill>
              </a:endParaRPr>
            </a:p>
          </p:txBody>
        </p:sp>
      </p:grpSp>
      <p:grpSp>
        <p:nvGrpSpPr>
          <p:cNvPr id="116" name="Group 115"/>
          <p:cNvGrpSpPr/>
          <p:nvPr/>
        </p:nvGrpSpPr>
        <p:grpSpPr>
          <a:xfrm>
            <a:off x="139649" y="3923405"/>
            <a:ext cx="787725" cy="787725"/>
            <a:chOff x="9101692" y="5077564"/>
            <a:chExt cx="1016000" cy="1016000"/>
          </a:xfrm>
        </p:grpSpPr>
        <p:sp>
          <p:nvSpPr>
            <p:cNvPr id="151" name="Oval 150"/>
            <p:cNvSpPr/>
            <p:nvPr/>
          </p:nvSpPr>
          <p:spPr bwMode="auto">
            <a:xfrm>
              <a:off x="9101692" y="5077564"/>
              <a:ext cx="1016000" cy="1016000"/>
            </a:xfrm>
            <a:prstGeom prst="ellipse">
              <a:avLst/>
            </a:prstGeom>
            <a:solidFill>
              <a:srgbClr val="0072C6"/>
            </a:solidFill>
            <a:ln w="19050" cap="flat" cmpd="sng" algn="ctr">
              <a:solidFill>
                <a:srgbClr val="FFFFFF"/>
              </a:solidFill>
              <a:prstDash val="solid"/>
              <a:headEnd type="none" w="med" len="med"/>
              <a:tailEnd type="none" w="med" len="med"/>
            </a:ln>
            <a:effectLst/>
          </p:spPr>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2744" kern="0" dirty="0">
                <a:gradFill>
                  <a:gsLst>
                    <a:gs pos="1250">
                      <a:srgbClr val="505050"/>
                    </a:gs>
                    <a:gs pos="76000">
                      <a:srgbClr val="505050"/>
                    </a:gs>
                  </a:gsLst>
                  <a:lin ang="5400000" scaled="0"/>
                </a:gradFill>
              </a:endParaRPr>
            </a:p>
          </p:txBody>
        </p:sp>
        <p:grpSp>
          <p:nvGrpSpPr>
            <p:cNvPr id="152" name="Group 27"/>
            <p:cNvGrpSpPr>
              <a:grpSpLocks noChangeAspect="1"/>
            </p:cNvGrpSpPr>
            <p:nvPr/>
          </p:nvGrpSpPr>
          <p:grpSpPr bwMode="auto">
            <a:xfrm>
              <a:off x="9429750" y="5395666"/>
              <a:ext cx="359884" cy="379798"/>
              <a:chOff x="5905" y="3448"/>
              <a:chExt cx="253" cy="267"/>
            </a:xfrm>
            <a:solidFill>
              <a:srgbClr val="FFFFFF"/>
            </a:solidFill>
          </p:grpSpPr>
          <p:sp>
            <p:nvSpPr>
              <p:cNvPr id="153" name="Freeform 28"/>
              <p:cNvSpPr>
                <a:spLocks noEditPoints="1"/>
              </p:cNvSpPr>
              <p:nvPr/>
            </p:nvSpPr>
            <p:spPr bwMode="auto">
              <a:xfrm>
                <a:off x="5905" y="3448"/>
                <a:ext cx="253" cy="267"/>
              </a:xfrm>
              <a:custGeom>
                <a:avLst/>
                <a:gdLst>
                  <a:gd name="T0" fmla="*/ 72 w 104"/>
                  <a:gd name="T1" fmla="*/ 78 h 110"/>
                  <a:gd name="T2" fmla="*/ 72 w 104"/>
                  <a:gd name="T3" fmla="*/ 94 h 110"/>
                  <a:gd name="T4" fmla="*/ 64 w 104"/>
                  <a:gd name="T5" fmla="*/ 94 h 110"/>
                  <a:gd name="T6" fmla="*/ 34 w 104"/>
                  <a:gd name="T7" fmla="*/ 63 h 110"/>
                  <a:gd name="T8" fmla="*/ 32 w 104"/>
                  <a:gd name="T9" fmla="*/ 62 h 110"/>
                  <a:gd name="T10" fmla="*/ 30 w 104"/>
                  <a:gd name="T11" fmla="*/ 63 h 110"/>
                  <a:gd name="T12" fmla="*/ 0 w 104"/>
                  <a:gd name="T13" fmla="*/ 94 h 110"/>
                  <a:gd name="T14" fmla="*/ 0 w 104"/>
                  <a:gd name="T15" fmla="*/ 98 h 110"/>
                  <a:gd name="T16" fmla="*/ 8 w 104"/>
                  <a:gd name="T17" fmla="*/ 98 h 110"/>
                  <a:gd name="T18" fmla="*/ 8 w 104"/>
                  <a:gd name="T19" fmla="*/ 94 h 110"/>
                  <a:gd name="T20" fmla="*/ 8 w 104"/>
                  <a:gd name="T21" fmla="*/ 90 h 110"/>
                  <a:gd name="T22" fmla="*/ 32 w 104"/>
                  <a:gd name="T23" fmla="*/ 110 h 110"/>
                  <a:gd name="T24" fmla="*/ 56 w 104"/>
                  <a:gd name="T25" fmla="*/ 90 h 110"/>
                  <a:gd name="T26" fmla="*/ 56 w 104"/>
                  <a:gd name="T27" fmla="*/ 94 h 110"/>
                  <a:gd name="T28" fmla="*/ 56 w 104"/>
                  <a:gd name="T29" fmla="*/ 102 h 110"/>
                  <a:gd name="T30" fmla="*/ 104 w 104"/>
                  <a:gd name="T31" fmla="*/ 102 h 110"/>
                  <a:gd name="T32" fmla="*/ 104 w 104"/>
                  <a:gd name="T33" fmla="*/ 78 h 110"/>
                  <a:gd name="T34" fmla="*/ 100 w 104"/>
                  <a:gd name="T35" fmla="*/ 78 h 110"/>
                  <a:gd name="T36" fmla="*/ 100 w 104"/>
                  <a:gd name="T37" fmla="*/ 70 h 110"/>
                  <a:gd name="T38" fmla="*/ 104 w 104"/>
                  <a:gd name="T39" fmla="*/ 70 h 110"/>
                  <a:gd name="T40" fmla="*/ 104 w 104"/>
                  <a:gd name="T41" fmla="*/ 62 h 110"/>
                  <a:gd name="T42" fmla="*/ 100 w 104"/>
                  <a:gd name="T43" fmla="*/ 62 h 110"/>
                  <a:gd name="T44" fmla="*/ 100 w 104"/>
                  <a:gd name="T45" fmla="*/ 58 h 110"/>
                  <a:gd name="T46" fmla="*/ 88 w 104"/>
                  <a:gd name="T47" fmla="*/ 46 h 110"/>
                  <a:gd name="T48" fmla="*/ 60 w 104"/>
                  <a:gd name="T49" fmla="*/ 46 h 110"/>
                  <a:gd name="T50" fmla="*/ 48 w 104"/>
                  <a:gd name="T51" fmla="*/ 32 h 110"/>
                  <a:gd name="T52" fmla="*/ 75 w 104"/>
                  <a:gd name="T53" fmla="*/ 5 h 110"/>
                  <a:gd name="T54" fmla="*/ 69 w 104"/>
                  <a:gd name="T55" fmla="*/ 0 h 110"/>
                  <a:gd name="T56" fmla="*/ 25 w 104"/>
                  <a:gd name="T57" fmla="*/ 43 h 110"/>
                  <a:gd name="T58" fmla="*/ 11 w 104"/>
                  <a:gd name="T59" fmla="*/ 6 h 110"/>
                  <a:gd name="T60" fmla="*/ 0 w 104"/>
                  <a:gd name="T61" fmla="*/ 6 h 110"/>
                  <a:gd name="T62" fmla="*/ 0 w 104"/>
                  <a:gd name="T63" fmla="*/ 54 h 110"/>
                  <a:gd name="T64" fmla="*/ 88 w 104"/>
                  <a:gd name="T65" fmla="*/ 54 h 110"/>
                  <a:gd name="T66" fmla="*/ 92 w 104"/>
                  <a:gd name="T67" fmla="*/ 58 h 110"/>
                  <a:gd name="T68" fmla="*/ 92 w 104"/>
                  <a:gd name="T69" fmla="*/ 78 h 110"/>
                  <a:gd name="T70" fmla="*/ 72 w 104"/>
                  <a:gd name="T71" fmla="*/ 78 h 110"/>
                  <a:gd name="T72" fmla="*/ 32 w 104"/>
                  <a:gd name="T73" fmla="*/ 102 h 110"/>
                  <a:gd name="T74" fmla="*/ 16 w 104"/>
                  <a:gd name="T75" fmla="*/ 86 h 110"/>
                  <a:gd name="T76" fmla="*/ 32 w 104"/>
                  <a:gd name="T77" fmla="*/ 70 h 110"/>
                  <a:gd name="T78" fmla="*/ 48 w 104"/>
                  <a:gd name="T79" fmla="*/ 86 h 110"/>
                  <a:gd name="T80" fmla="*/ 32 w 104"/>
                  <a:gd name="T81" fmla="*/ 102 h 110"/>
                  <a:gd name="T82" fmla="*/ 51 w 104"/>
                  <a:gd name="T83" fmla="*/ 46 h 110"/>
                  <a:gd name="T84" fmla="*/ 34 w 104"/>
                  <a:gd name="T85" fmla="*/ 46 h 110"/>
                  <a:gd name="T86" fmla="*/ 42 w 104"/>
                  <a:gd name="T87" fmla="*/ 39 h 110"/>
                  <a:gd name="T88" fmla="*/ 51 w 104"/>
                  <a:gd name="T89" fmla="*/ 46 h 110"/>
                  <a:gd name="T90" fmla="*/ 8 w 104"/>
                  <a:gd name="T91" fmla="*/ 46 h 110"/>
                  <a:gd name="T92" fmla="*/ 8 w 104"/>
                  <a:gd name="T93" fmla="*/ 21 h 110"/>
                  <a:gd name="T94" fmla="*/ 18 w 104"/>
                  <a:gd name="T95" fmla="*/ 46 h 110"/>
                  <a:gd name="T96" fmla="*/ 8 w 104"/>
                  <a:gd name="T97" fmla="*/ 46 h 110"/>
                  <a:gd name="T98" fmla="*/ 96 w 104"/>
                  <a:gd name="T99" fmla="*/ 94 h 110"/>
                  <a:gd name="T100" fmla="*/ 80 w 104"/>
                  <a:gd name="T101" fmla="*/ 94 h 110"/>
                  <a:gd name="T102" fmla="*/ 80 w 104"/>
                  <a:gd name="T103" fmla="*/ 86 h 110"/>
                  <a:gd name="T104" fmla="*/ 96 w 104"/>
                  <a:gd name="T105" fmla="*/ 86 h 110"/>
                  <a:gd name="T106" fmla="*/ 96 w 104"/>
                  <a:gd name="T107" fmla="*/ 9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4" h="110">
                    <a:moveTo>
                      <a:pt x="72" y="78"/>
                    </a:moveTo>
                    <a:cubicBezTo>
                      <a:pt x="72" y="94"/>
                      <a:pt x="72" y="94"/>
                      <a:pt x="72" y="94"/>
                    </a:cubicBezTo>
                    <a:cubicBezTo>
                      <a:pt x="64" y="94"/>
                      <a:pt x="64" y="94"/>
                      <a:pt x="64" y="94"/>
                    </a:cubicBezTo>
                    <a:cubicBezTo>
                      <a:pt x="64" y="78"/>
                      <a:pt x="51" y="64"/>
                      <a:pt x="34" y="63"/>
                    </a:cubicBezTo>
                    <a:cubicBezTo>
                      <a:pt x="34" y="62"/>
                      <a:pt x="33" y="62"/>
                      <a:pt x="32" y="62"/>
                    </a:cubicBezTo>
                    <a:cubicBezTo>
                      <a:pt x="31" y="62"/>
                      <a:pt x="30" y="62"/>
                      <a:pt x="30" y="63"/>
                    </a:cubicBezTo>
                    <a:cubicBezTo>
                      <a:pt x="13" y="64"/>
                      <a:pt x="0" y="78"/>
                      <a:pt x="0" y="94"/>
                    </a:cubicBezTo>
                    <a:cubicBezTo>
                      <a:pt x="0" y="98"/>
                      <a:pt x="0" y="98"/>
                      <a:pt x="0" y="98"/>
                    </a:cubicBezTo>
                    <a:cubicBezTo>
                      <a:pt x="8" y="98"/>
                      <a:pt x="8" y="98"/>
                      <a:pt x="8" y="98"/>
                    </a:cubicBezTo>
                    <a:cubicBezTo>
                      <a:pt x="8" y="94"/>
                      <a:pt x="8" y="94"/>
                      <a:pt x="8" y="94"/>
                    </a:cubicBezTo>
                    <a:cubicBezTo>
                      <a:pt x="8" y="93"/>
                      <a:pt x="8" y="92"/>
                      <a:pt x="8" y="90"/>
                    </a:cubicBezTo>
                    <a:cubicBezTo>
                      <a:pt x="10" y="102"/>
                      <a:pt x="20" y="110"/>
                      <a:pt x="32" y="110"/>
                    </a:cubicBezTo>
                    <a:cubicBezTo>
                      <a:pt x="44" y="110"/>
                      <a:pt x="54" y="102"/>
                      <a:pt x="56" y="90"/>
                    </a:cubicBezTo>
                    <a:cubicBezTo>
                      <a:pt x="56" y="92"/>
                      <a:pt x="56" y="93"/>
                      <a:pt x="56" y="94"/>
                    </a:cubicBezTo>
                    <a:cubicBezTo>
                      <a:pt x="56" y="102"/>
                      <a:pt x="56" y="102"/>
                      <a:pt x="56" y="102"/>
                    </a:cubicBezTo>
                    <a:cubicBezTo>
                      <a:pt x="104" y="102"/>
                      <a:pt x="104" y="102"/>
                      <a:pt x="104" y="102"/>
                    </a:cubicBezTo>
                    <a:cubicBezTo>
                      <a:pt x="104" y="78"/>
                      <a:pt x="104" y="78"/>
                      <a:pt x="104" y="78"/>
                    </a:cubicBezTo>
                    <a:cubicBezTo>
                      <a:pt x="100" y="78"/>
                      <a:pt x="100" y="78"/>
                      <a:pt x="100" y="78"/>
                    </a:cubicBezTo>
                    <a:cubicBezTo>
                      <a:pt x="100" y="70"/>
                      <a:pt x="100" y="70"/>
                      <a:pt x="100" y="70"/>
                    </a:cubicBezTo>
                    <a:cubicBezTo>
                      <a:pt x="104" y="70"/>
                      <a:pt x="104" y="70"/>
                      <a:pt x="104" y="70"/>
                    </a:cubicBezTo>
                    <a:cubicBezTo>
                      <a:pt x="104" y="62"/>
                      <a:pt x="104" y="62"/>
                      <a:pt x="104" y="62"/>
                    </a:cubicBezTo>
                    <a:cubicBezTo>
                      <a:pt x="100" y="62"/>
                      <a:pt x="100" y="62"/>
                      <a:pt x="100" y="62"/>
                    </a:cubicBezTo>
                    <a:cubicBezTo>
                      <a:pt x="100" y="58"/>
                      <a:pt x="100" y="58"/>
                      <a:pt x="100" y="58"/>
                    </a:cubicBezTo>
                    <a:cubicBezTo>
                      <a:pt x="100" y="52"/>
                      <a:pt x="95" y="46"/>
                      <a:pt x="88" y="46"/>
                    </a:cubicBezTo>
                    <a:cubicBezTo>
                      <a:pt x="60" y="46"/>
                      <a:pt x="60" y="46"/>
                      <a:pt x="60" y="46"/>
                    </a:cubicBezTo>
                    <a:cubicBezTo>
                      <a:pt x="58" y="40"/>
                      <a:pt x="54" y="35"/>
                      <a:pt x="48" y="32"/>
                    </a:cubicBezTo>
                    <a:cubicBezTo>
                      <a:pt x="75" y="5"/>
                      <a:pt x="75" y="5"/>
                      <a:pt x="75" y="5"/>
                    </a:cubicBezTo>
                    <a:cubicBezTo>
                      <a:pt x="69" y="0"/>
                      <a:pt x="69" y="0"/>
                      <a:pt x="69" y="0"/>
                    </a:cubicBezTo>
                    <a:cubicBezTo>
                      <a:pt x="25" y="43"/>
                      <a:pt x="25" y="43"/>
                      <a:pt x="25" y="43"/>
                    </a:cubicBezTo>
                    <a:cubicBezTo>
                      <a:pt x="11" y="6"/>
                      <a:pt x="11" y="6"/>
                      <a:pt x="11" y="6"/>
                    </a:cubicBezTo>
                    <a:cubicBezTo>
                      <a:pt x="0" y="6"/>
                      <a:pt x="0" y="6"/>
                      <a:pt x="0" y="6"/>
                    </a:cubicBezTo>
                    <a:cubicBezTo>
                      <a:pt x="0" y="54"/>
                      <a:pt x="0" y="54"/>
                      <a:pt x="0" y="54"/>
                    </a:cubicBezTo>
                    <a:cubicBezTo>
                      <a:pt x="88" y="54"/>
                      <a:pt x="88" y="54"/>
                      <a:pt x="88" y="54"/>
                    </a:cubicBezTo>
                    <a:cubicBezTo>
                      <a:pt x="90" y="54"/>
                      <a:pt x="92" y="56"/>
                      <a:pt x="92" y="58"/>
                    </a:cubicBezTo>
                    <a:cubicBezTo>
                      <a:pt x="92" y="78"/>
                      <a:pt x="92" y="78"/>
                      <a:pt x="92" y="78"/>
                    </a:cubicBezTo>
                    <a:lnTo>
                      <a:pt x="72" y="78"/>
                    </a:lnTo>
                    <a:close/>
                    <a:moveTo>
                      <a:pt x="32" y="102"/>
                    </a:moveTo>
                    <a:cubicBezTo>
                      <a:pt x="23" y="102"/>
                      <a:pt x="16" y="95"/>
                      <a:pt x="16" y="86"/>
                    </a:cubicBezTo>
                    <a:cubicBezTo>
                      <a:pt x="16" y="78"/>
                      <a:pt x="23" y="70"/>
                      <a:pt x="32" y="70"/>
                    </a:cubicBezTo>
                    <a:cubicBezTo>
                      <a:pt x="41" y="70"/>
                      <a:pt x="48" y="78"/>
                      <a:pt x="48" y="86"/>
                    </a:cubicBezTo>
                    <a:cubicBezTo>
                      <a:pt x="48" y="95"/>
                      <a:pt x="41" y="102"/>
                      <a:pt x="32" y="102"/>
                    </a:cubicBezTo>
                    <a:close/>
                    <a:moveTo>
                      <a:pt x="51" y="46"/>
                    </a:moveTo>
                    <a:cubicBezTo>
                      <a:pt x="34" y="46"/>
                      <a:pt x="34" y="46"/>
                      <a:pt x="34" y="46"/>
                    </a:cubicBezTo>
                    <a:cubicBezTo>
                      <a:pt x="42" y="39"/>
                      <a:pt x="42" y="39"/>
                      <a:pt x="42" y="39"/>
                    </a:cubicBezTo>
                    <a:cubicBezTo>
                      <a:pt x="46" y="39"/>
                      <a:pt x="50" y="42"/>
                      <a:pt x="51" y="46"/>
                    </a:cubicBezTo>
                    <a:close/>
                    <a:moveTo>
                      <a:pt x="8" y="46"/>
                    </a:moveTo>
                    <a:cubicBezTo>
                      <a:pt x="8" y="21"/>
                      <a:pt x="8" y="21"/>
                      <a:pt x="8" y="21"/>
                    </a:cubicBezTo>
                    <a:cubicBezTo>
                      <a:pt x="18" y="46"/>
                      <a:pt x="18" y="46"/>
                      <a:pt x="18" y="46"/>
                    </a:cubicBezTo>
                    <a:lnTo>
                      <a:pt x="8" y="46"/>
                    </a:lnTo>
                    <a:close/>
                    <a:moveTo>
                      <a:pt x="96" y="94"/>
                    </a:moveTo>
                    <a:cubicBezTo>
                      <a:pt x="80" y="94"/>
                      <a:pt x="80" y="94"/>
                      <a:pt x="80" y="94"/>
                    </a:cubicBezTo>
                    <a:cubicBezTo>
                      <a:pt x="80" y="86"/>
                      <a:pt x="80" y="86"/>
                      <a:pt x="80" y="86"/>
                    </a:cubicBezTo>
                    <a:cubicBezTo>
                      <a:pt x="96" y="86"/>
                      <a:pt x="96" y="86"/>
                      <a:pt x="96" y="86"/>
                    </a:cubicBezTo>
                    <a:lnTo>
                      <a:pt x="96" y="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2352" kern="0">
                  <a:gradFill>
                    <a:gsLst>
                      <a:gs pos="1250">
                        <a:srgbClr val="505050"/>
                      </a:gs>
                      <a:gs pos="76000">
                        <a:srgbClr val="505050"/>
                      </a:gs>
                    </a:gsLst>
                    <a:lin ang="5400000" scaled="0"/>
                  </a:gradFill>
                </a:endParaRPr>
              </a:p>
            </p:txBody>
          </p:sp>
          <p:sp>
            <p:nvSpPr>
              <p:cNvPr id="154" name="Oval 29"/>
              <p:cNvSpPr>
                <a:spLocks noChangeArrowheads="1"/>
              </p:cNvSpPr>
              <p:nvPr/>
            </p:nvSpPr>
            <p:spPr bwMode="auto">
              <a:xfrm>
                <a:off x="5974" y="3647"/>
                <a:ext cx="19" cy="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2352" kern="0">
                  <a:gradFill>
                    <a:gsLst>
                      <a:gs pos="1250">
                        <a:srgbClr val="505050"/>
                      </a:gs>
                      <a:gs pos="76000">
                        <a:srgbClr val="505050"/>
                      </a:gs>
                    </a:gsLst>
                    <a:lin ang="5400000" scaled="0"/>
                  </a:gradFill>
                </a:endParaRPr>
              </a:p>
            </p:txBody>
          </p:sp>
        </p:grpSp>
      </p:grpSp>
      <p:grpSp>
        <p:nvGrpSpPr>
          <p:cNvPr id="117" name="Group 116"/>
          <p:cNvGrpSpPr/>
          <p:nvPr/>
        </p:nvGrpSpPr>
        <p:grpSpPr>
          <a:xfrm>
            <a:off x="3819857" y="3923405"/>
            <a:ext cx="787725" cy="787725"/>
            <a:chOff x="10191578" y="3747236"/>
            <a:chExt cx="1016000" cy="1016000"/>
          </a:xfrm>
        </p:grpSpPr>
        <p:sp>
          <p:nvSpPr>
            <p:cNvPr id="136" name="Oval 135"/>
            <p:cNvSpPr/>
            <p:nvPr/>
          </p:nvSpPr>
          <p:spPr bwMode="auto">
            <a:xfrm>
              <a:off x="10191578" y="3747236"/>
              <a:ext cx="1016000" cy="1016000"/>
            </a:xfrm>
            <a:prstGeom prst="ellipse">
              <a:avLst/>
            </a:prstGeom>
            <a:solidFill>
              <a:srgbClr val="0072C6"/>
            </a:solidFill>
            <a:ln w="19050" cap="flat" cmpd="sng" algn="ctr">
              <a:solidFill>
                <a:srgbClr val="FFFFFF"/>
              </a:solidFill>
              <a:prstDash val="solid"/>
              <a:headEnd type="none" w="med" len="med"/>
              <a:tailEnd type="none" w="med" len="med"/>
            </a:ln>
            <a:effectLst/>
          </p:spPr>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2744" kern="0" dirty="0">
                <a:gradFill>
                  <a:gsLst>
                    <a:gs pos="1250">
                      <a:srgbClr val="505050"/>
                    </a:gs>
                    <a:gs pos="76000">
                      <a:srgbClr val="505050"/>
                    </a:gs>
                  </a:gsLst>
                  <a:lin ang="5400000" scaled="0"/>
                </a:gradFill>
              </a:endParaRPr>
            </a:p>
          </p:txBody>
        </p:sp>
        <p:grpSp>
          <p:nvGrpSpPr>
            <p:cNvPr id="137" name="Group 136"/>
            <p:cNvGrpSpPr/>
            <p:nvPr/>
          </p:nvGrpSpPr>
          <p:grpSpPr>
            <a:xfrm>
              <a:off x="10432874" y="4043364"/>
              <a:ext cx="533408" cy="423746"/>
              <a:chOff x="10432072" y="4001501"/>
              <a:chExt cx="598248" cy="475257"/>
            </a:xfrm>
          </p:grpSpPr>
          <p:grpSp>
            <p:nvGrpSpPr>
              <p:cNvPr id="138" name="Group 32"/>
              <p:cNvGrpSpPr>
                <a:grpSpLocks noChangeAspect="1"/>
              </p:cNvGrpSpPr>
              <p:nvPr/>
            </p:nvGrpSpPr>
            <p:grpSpPr bwMode="auto">
              <a:xfrm>
                <a:off x="10486721" y="4165607"/>
                <a:ext cx="488950" cy="311151"/>
                <a:chOff x="6627" y="2624"/>
                <a:chExt cx="308" cy="196"/>
              </a:xfrm>
              <a:solidFill>
                <a:srgbClr val="FFFFFF"/>
              </a:solidFill>
            </p:grpSpPr>
            <p:sp>
              <p:nvSpPr>
                <p:cNvPr id="148" name="Freeform 33"/>
                <p:cNvSpPr>
                  <a:spLocks noEditPoints="1"/>
                </p:cNvSpPr>
                <p:nvPr/>
              </p:nvSpPr>
              <p:spPr bwMode="auto">
                <a:xfrm>
                  <a:off x="6627" y="2624"/>
                  <a:ext cx="308" cy="196"/>
                </a:xfrm>
                <a:custGeom>
                  <a:avLst/>
                  <a:gdLst>
                    <a:gd name="T0" fmla="*/ 280 w 308"/>
                    <a:gd name="T1" fmla="*/ 58 h 196"/>
                    <a:gd name="T2" fmla="*/ 251 w 308"/>
                    <a:gd name="T3" fmla="*/ 0 h 196"/>
                    <a:gd name="T4" fmla="*/ 38 w 308"/>
                    <a:gd name="T5" fmla="*/ 58 h 196"/>
                    <a:gd name="T6" fmla="*/ 9 w 308"/>
                    <a:gd name="T7" fmla="*/ 58 h 196"/>
                    <a:gd name="T8" fmla="*/ 0 w 308"/>
                    <a:gd name="T9" fmla="*/ 117 h 196"/>
                    <a:gd name="T10" fmla="*/ 0 w 308"/>
                    <a:gd name="T11" fmla="*/ 137 h 196"/>
                    <a:gd name="T12" fmla="*/ 0 w 308"/>
                    <a:gd name="T13" fmla="*/ 166 h 196"/>
                    <a:gd name="T14" fmla="*/ 9 w 308"/>
                    <a:gd name="T15" fmla="*/ 176 h 196"/>
                    <a:gd name="T16" fmla="*/ 48 w 308"/>
                    <a:gd name="T17" fmla="*/ 196 h 196"/>
                    <a:gd name="T18" fmla="*/ 260 w 308"/>
                    <a:gd name="T19" fmla="*/ 176 h 196"/>
                    <a:gd name="T20" fmla="*/ 299 w 308"/>
                    <a:gd name="T21" fmla="*/ 196 h 196"/>
                    <a:gd name="T22" fmla="*/ 308 w 308"/>
                    <a:gd name="T23" fmla="*/ 176 h 196"/>
                    <a:gd name="T24" fmla="*/ 308 w 308"/>
                    <a:gd name="T25" fmla="*/ 156 h 196"/>
                    <a:gd name="T26" fmla="*/ 308 w 308"/>
                    <a:gd name="T27" fmla="*/ 127 h 196"/>
                    <a:gd name="T28" fmla="*/ 299 w 308"/>
                    <a:gd name="T29" fmla="*/ 117 h 196"/>
                    <a:gd name="T30" fmla="*/ 280 w 308"/>
                    <a:gd name="T31" fmla="*/ 78 h 196"/>
                    <a:gd name="T32" fmla="*/ 222 w 308"/>
                    <a:gd name="T33" fmla="*/ 117 h 196"/>
                    <a:gd name="T34" fmla="*/ 270 w 308"/>
                    <a:gd name="T35" fmla="*/ 78 h 196"/>
                    <a:gd name="T36" fmla="*/ 125 w 308"/>
                    <a:gd name="T37" fmla="*/ 78 h 196"/>
                    <a:gd name="T38" fmla="*/ 106 w 308"/>
                    <a:gd name="T39" fmla="*/ 117 h 196"/>
                    <a:gd name="T40" fmla="*/ 125 w 308"/>
                    <a:gd name="T41" fmla="*/ 78 h 196"/>
                    <a:gd name="T42" fmla="*/ 164 w 308"/>
                    <a:gd name="T43" fmla="*/ 78 h 196"/>
                    <a:gd name="T44" fmla="*/ 144 w 308"/>
                    <a:gd name="T45" fmla="*/ 117 h 196"/>
                    <a:gd name="T46" fmla="*/ 183 w 308"/>
                    <a:gd name="T47" fmla="*/ 78 h 196"/>
                    <a:gd name="T48" fmla="*/ 202 w 308"/>
                    <a:gd name="T49" fmla="*/ 117 h 196"/>
                    <a:gd name="T50" fmla="*/ 183 w 308"/>
                    <a:gd name="T51" fmla="*/ 78 h 196"/>
                    <a:gd name="T52" fmla="*/ 236 w 308"/>
                    <a:gd name="T53" fmla="*/ 19 h 196"/>
                    <a:gd name="T54" fmla="*/ 57 w 308"/>
                    <a:gd name="T55" fmla="*/ 58 h 196"/>
                    <a:gd name="T56" fmla="*/ 28 w 308"/>
                    <a:gd name="T57" fmla="*/ 78 h 196"/>
                    <a:gd name="T58" fmla="*/ 86 w 308"/>
                    <a:gd name="T59" fmla="*/ 78 h 196"/>
                    <a:gd name="T60" fmla="*/ 28 w 308"/>
                    <a:gd name="T61" fmla="*/ 117 h 196"/>
                    <a:gd name="T62" fmla="*/ 289 w 308"/>
                    <a:gd name="T63" fmla="*/ 156 h 196"/>
                    <a:gd name="T64" fmla="*/ 19 w 308"/>
                    <a:gd name="T65" fmla="*/ 137 h 196"/>
                    <a:gd name="T66" fmla="*/ 289 w 308"/>
                    <a:gd name="T67" fmla="*/ 15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8" h="196">
                      <a:moveTo>
                        <a:pt x="299" y="58"/>
                      </a:moveTo>
                      <a:lnTo>
                        <a:pt x="280" y="58"/>
                      </a:lnTo>
                      <a:lnTo>
                        <a:pt x="270" y="58"/>
                      </a:lnTo>
                      <a:lnTo>
                        <a:pt x="251" y="0"/>
                      </a:lnTo>
                      <a:lnTo>
                        <a:pt x="57" y="0"/>
                      </a:lnTo>
                      <a:lnTo>
                        <a:pt x="38" y="58"/>
                      </a:lnTo>
                      <a:lnTo>
                        <a:pt x="28" y="58"/>
                      </a:lnTo>
                      <a:lnTo>
                        <a:pt x="9" y="58"/>
                      </a:lnTo>
                      <a:lnTo>
                        <a:pt x="9" y="117"/>
                      </a:lnTo>
                      <a:lnTo>
                        <a:pt x="0" y="117"/>
                      </a:lnTo>
                      <a:lnTo>
                        <a:pt x="0" y="127"/>
                      </a:lnTo>
                      <a:lnTo>
                        <a:pt x="0" y="137"/>
                      </a:lnTo>
                      <a:lnTo>
                        <a:pt x="0" y="156"/>
                      </a:lnTo>
                      <a:lnTo>
                        <a:pt x="0" y="166"/>
                      </a:lnTo>
                      <a:lnTo>
                        <a:pt x="0" y="176"/>
                      </a:lnTo>
                      <a:lnTo>
                        <a:pt x="9" y="176"/>
                      </a:lnTo>
                      <a:lnTo>
                        <a:pt x="9" y="196"/>
                      </a:lnTo>
                      <a:lnTo>
                        <a:pt x="48" y="196"/>
                      </a:lnTo>
                      <a:lnTo>
                        <a:pt x="48" y="176"/>
                      </a:lnTo>
                      <a:lnTo>
                        <a:pt x="260" y="176"/>
                      </a:lnTo>
                      <a:lnTo>
                        <a:pt x="260" y="196"/>
                      </a:lnTo>
                      <a:lnTo>
                        <a:pt x="299" y="196"/>
                      </a:lnTo>
                      <a:lnTo>
                        <a:pt x="299" y="176"/>
                      </a:lnTo>
                      <a:lnTo>
                        <a:pt x="308" y="176"/>
                      </a:lnTo>
                      <a:lnTo>
                        <a:pt x="308" y="166"/>
                      </a:lnTo>
                      <a:lnTo>
                        <a:pt x="308" y="156"/>
                      </a:lnTo>
                      <a:lnTo>
                        <a:pt x="308" y="137"/>
                      </a:lnTo>
                      <a:lnTo>
                        <a:pt x="308" y="127"/>
                      </a:lnTo>
                      <a:lnTo>
                        <a:pt x="308" y="117"/>
                      </a:lnTo>
                      <a:lnTo>
                        <a:pt x="299" y="117"/>
                      </a:lnTo>
                      <a:lnTo>
                        <a:pt x="299" y="58"/>
                      </a:lnTo>
                      <a:close/>
                      <a:moveTo>
                        <a:pt x="280" y="78"/>
                      </a:moveTo>
                      <a:lnTo>
                        <a:pt x="280" y="117"/>
                      </a:lnTo>
                      <a:lnTo>
                        <a:pt x="222" y="117"/>
                      </a:lnTo>
                      <a:lnTo>
                        <a:pt x="222" y="78"/>
                      </a:lnTo>
                      <a:lnTo>
                        <a:pt x="270" y="78"/>
                      </a:lnTo>
                      <a:lnTo>
                        <a:pt x="280" y="78"/>
                      </a:lnTo>
                      <a:close/>
                      <a:moveTo>
                        <a:pt x="125" y="78"/>
                      </a:moveTo>
                      <a:lnTo>
                        <a:pt x="125" y="117"/>
                      </a:lnTo>
                      <a:lnTo>
                        <a:pt x="106" y="117"/>
                      </a:lnTo>
                      <a:lnTo>
                        <a:pt x="106" y="78"/>
                      </a:lnTo>
                      <a:lnTo>
                        <a:pt x="125" y="78"/>
                      </a:lnTo>
                      <a:close/>
                      <a:moveTo>
                        <a:pt x="144" y="78"/>
                      </a:moveTo>
                      <a:lnTo>
                        <a:pt x="164" y="78"/>
                      </a:lnTo>
                      <a:lnTo>
                        <a:pt x="164" y="117"/>
                      </a:lnTo>
                      <a:lnTo>
                        <a:pt x="144" y="117"/>
                      </a:lnTo>
                      <a:lnTo>
                        <a:pt x="144" y="78"/>
                      </a:lnTo>
                      <a:close/>
                      <a:moveTo>
                        <a:pt x="183" y="78"/>
                      </a:moveTo>
                      <a:lnTo>
                        <a:pt x="202" y="78"/>
                      </a:lnTo>
                      <a:lnTo>
                        <a:pt x="202" y="117"/>
                      </a:lnTo>
                      <a:lnTo>
                        <a:pt x="183" y="117"/>
                      </a:lnTo>
                      <a:lnTo>
                        <a:pt x="183" y="78"/>
                      </a:lnTo>
                      <a:close/>
                      <a:moveTo>
                        <a:pt x="72" y="19"/>
                      </a:moveTo>
                      <a:lnTo>
                        <a:pt x="236" y="19"/>
                      </a:lnTo>
                      <a:lnTo>
                        <a:pt x="251" y="58"/>
                      </a:lnTo>
                      <a:lnTo>
                        <a:pt x="57" y="58"/>
                      </a:lnTo>
                      <a:lnTo>
                        <a:pt x="72" y="19"/>
                      </a:lnTo>
                      <a:close/>
                      <a:moveTo>
                        <a:pt x="28" y="78"/>
                      </a:moveTo>
                      <a:lnTo>
                        <a:pt x="38" y="78"/>
                      </a:lnTo>
                      <a:lnTo>
                        <a:pt x="86" y="78"/>
                      </a:lnTo>
                      <a:lnTo>
                        <a:pt x="86" y="117"/>
                      </a:lnTo>
                      <a:lnTo>
                        <a:pt x="28" y="117"/>
                      </a:lnTo>
                      <a:lnTo>
                        <a:pt x="28" y="78"/>
                      </a:lnTo>
                      <a:close/>
                      <a:moveTo>
                        <a:pt x="289" y="156"/>
                      </a:moveTo>
                      <a:lnTo>
                        <a:pt x="19" y="156"/>
                      </a:lnTo>
                      <a:lnTo>
                        <a:pt x="19" y="137"/>
                      </a:lnTo>
                      <a:lnTo>
                        <a:pt x="289" y="137"/>
                      </a:lnTo>
                      <a:lnTo>
                        <a:pt x="289" y="156"/>
                      </a:lnTo>
                      <a:close/>
                    </a:path>
                  </a:pathLst>
                </a:custGeom>
                <a:solidFill>
                  <a:srgbClr val="0072C6"/>
                </a:solidFill>
                <a:ln w="19050" cap="flat" cmpd="sng" algn="ctr">
                  <a:solidFill>
                    <a:srgbClr val="FFFFFF"/>
                  </a:solidFill>
                  <a:prstDash val="solid"/>
                  <a:headEnd type="none" w="med" len="med"/>
                  <a:tailEnd type="none" w="med" len="med"/>
                </a:ln>
                <a:effectLst/>
                <a:extLst/>
              </p:spPr>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2744" kern="0">
                    <a:gradFill>
                      <a:gsLst>
                        <a:gs pos="1250">
                          <a:srgbClr val="505050"/>
                        </a:gs>
                        <a:gs pos="76000">
                          <a:srgbClr val="505050"/>
                        </a:gs>
                      </a:gsLst>
                      <a:lin ang="5400000" scaled="0"/>
                    </a:gradFill>
                  </a:endParaRPr>
                </a:p>
              </p:txBody>
            </p:sp>
            <p:sp>
              <p:nvSpPr>
                <p:cNvPr id="149" name="Oval 34"/>
                <p:cNvSpPr>
                  <a:spLocks noChangeArrowheads="1"/>
                </p:cNvSpPr>
                <p:nvPr/>
              </p:nvSpPr>
              <p:spPr bwMode="auto">
                <a:xfrm>
                  <a:off x="6675" y="2712"/>
                  <a:ext cx="19" cy="19"/>
                </a:xfrm>
                <a:prstGeom prst="ellipse">
                  <a:avLst/>
                </a:prstGeom>
                <a:solidFill>
                  <a:srgbClr val="0072C6"/>
                </a:solidFill>
                <a:ln w="19050" cap="flat" cmpd="sng" algn="ctr">
                  <a:solidFill>
                    <a:srgbClr val="FFFFFF"/>
                  </a:solidFill>
                  <a:prstDash val="solid"/>
                  <a:headEnd type="none" w="med" len="med"/>
                  <a:tailEnd type="none" w="med" len="med"/>
                </a:ln>
                <a:effectLst/>
                <a:extLst/>
              </p:spPr>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2744" kern="0">
                    <a:gradFill>
                      <a:gsLst>
                        <a:gs pos="1250">
                          <a:srgbClr val="505050"/>
                        </a:gs>
                        <a:gs pos="76000">
                          <a:srgbClr val="505050"/>
                        </a:gs>
                      </a:gsLst>
                      <a:lin ang="5400000" scaled="0"/>
                    </a:gradFill>
                  </a:endParaRPr>
                </a:p>
              </p:txBody>
            </p:sp>
            <p:sp>
              <p:nvSpPr>
                <p:cNvPr id="150" name="Oval 35"/>
                <p:cNvSpPr>
                  <a:spLocks noChangeArrowheads="1"/>
                </p:cNvSpPr>
                <p:nvPr/>
              </p:nvSpPr>
              <p:spPr bwMode="auto">
                <a:xfrm>
                  <a:off x="6868" y="2712"/>
                  <a:ext cx="19" cy="19"/>
                </a:xfrm>
                <a:prstGeom prst="ellipse">
                  <a:avLst/>
                </a:prstGeom>
                <a:solidFill>
                  <a:srgbClr val="0072C6"/>
                </a:solidFill>
                <a:ln w="19050" cap="flat" cmpd="sng" algn="ctr">
                  <a:solidFill>
                    <a:srgbClr val="FFFFFF"/>
                  </a:solidFill>
                  <a:prstDash val="solid"/>
                  <a:headEnd type="none" w="med" len="med"/>
                  <a:tailEnd type="none" w="med" len="med"/>
                </a:ln>
                <a:effectLst/>
                <a:extLst/>
              </p:spPr>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2744" kern="0">
                    <a:gradFill>
                      <a:gsLst>
                        <a:gs pos="1250">
                          <a:srgbClr val="505050"/>
                        </a:gs>
                        <a:gs pos="76000">
                          <a:srgbClr val="505050"/>
                        </a:gs>
                      </a:gsLst>
                      <a:lin ang="5400000" scaled="0"/>
                    </a:gradFill>
                  </a:endParaRPr>
                </a:p>
              </p:txBody>
            </p:sp>
          </p:grpSp>
          <p:grpSp>
            <p:nvGrpSpPr>
              <p:cNvPr id="139" name="Group 138"/>
              <p:cNvGrpSpPr/>
              <p:nvPr/>
            </p:nvGrpSpPr>
            <p:grpSpPr>
              <a:xfrm>
                <a:off x="10432072" y="4001501"/>
                <a:ext cx="598248" cy="123717"/>
                <a:chOff x="10432072" y="4001501"/>
                <a:chExt cx="598248" cy="123717"/>
              </a:xfrm>
            </p:grpSpPr>
            <p:grpSp>
              <p:nvGrpSpPr>
                <p:cNvPr id="140" name="Group 32"/>
                <p:cNvGrpSpPr>
                  <a:grpSpLocks noChangeAspect="1"/>
                </p:cNvGrpSpPr>
                <p:nvPr/>
              </p:nvGrpSpPr>
              <p:grpSpPr bwMode="auto">
                <a:xfrm>
                  <a:off x="10432072" y="4001501"/>
                  <a:ext cx="194412" cy="123717"/>
                  <a:chOff x="6627" y="2624"/>
                  <a:chExt cx="308" cy="196"/>
                </a:xfrm>
                <a:solidFill>
                  <a:srgbClr val="FFFFFF"/>
                </a:solidFill>
              </p:grpSpPr>
              <p:sp>
                <p:nvSpPr>
                  <p:cNvPr id="145" name="Freeform 33"/>
                  <p:cNvSpPr>
                    <a:spLocks noEditPoints="1"/>
                  </p:cNvSpPr>
                  <p:nvPr/>
                </p:nvSpPr>
                <p:spPr bwMode="auto">
                  <a:xfrm>
                    <a:off x="6627" y="2624"/>
                    <a:ext cx="308" cy="196"/>
                  </a:xfrm>
                  <a:custGeom>
                    <a:avLst/>
                    <a:gdLst>
                      <a:gd name="T0" fmla="*/ 280 w 308"/>
                      <a:gd name="T1" fmla="*/ 58 h 196"/>
                      <a:gd name="T2" fmla="*/ 251 w 308"/>
                      <a:gd name="T3" fmla="*/ 0 h 196"/>
                      <a:gd name="T4" fmla="*/ 38 w 308"/>
                      <a:gd name="T5" fmla="*/ 58 h 196"/>
                      <a:gd name="T6" fmla="*/ 9 w 308"/>
                      <a:gd name="T7" fmla="*/ 58 h 196"/>
                      <a:gd name="T8" fmla="*/ 0 w 308"/>
                      <a:gd name="T9" fmla="*/ 117 h 196"/>
                      <a:gd name="T10" fmla="*/ 0 w 308"/>
                      <a:gd name="T11" fmla="*/ 137 h 196"/>
                      <a:gd name="T12" fmla="*/ 0 w 308"/>
                      <a:gd name="T13" fmla="*/ 166 h 196"/>
                      <a:gd name="T14" fmla="*/ 9 w 308"/>
                      <a:gd name="T15" fmla="*/ 176 h 196"/>
                      <a:gd name="T16" fmla="*/ 48 w 308"/>
                      <a:gd name="T17" fmla="*/ 196 h 196"/>
                      <a:gd name="T18" fmla="*/ 260 w 308"/>
                      <a:gd name="T19" fmla="*/ 176 h 196"/>
                      <a:gd name="T20" fmla="*/ 299 w 308"/>
                      <a:gd name="T21" fmla="*/ 196 h 196"/>
                      <a:gd name="T22" fmla="*/ 308 w 308"/>
                      <a:gd name="T23" fmla="*/ 176 h 196"/>
                      <a:gd name="T24" fmla="*/ 308 w 308"/>
                      <a:gd name="T25" fmla="*/ 156 h 196"/>
                      <a:gd name="T26" fmla="*/ 308 w 308"/>
                      <a:gd name="T27" fmla="*/ 127 h 196"/>
                      <a:gd name="T28" fmla="*/ 299 w 308"/>
                      <a:gd name="T29" fmla="*/ 117 h 196"/>
                      <a:gd name="T30" fmla="*/ 280 w 308"/>
                      <a:gd name="T31" fmla="*/ 78 h 196"/>
                      <a:gd name="T32" fmla="*/ 222 w 308"/>
                      <a:gd name="T33" fmla="*/ 117 h 196"/>
                      <a:gd name="T34" fmla="*/ 270 w 308"/>
                      <a:gd name="T35" fmla="*/ 78 h 196"/>
                      <a:gd name="T36" fmla="*/ 125 w 308"/>
                      <a:gd name="T37" fmla="*/ 78 h 196"/>
                      <a:gd name="T38" fmla="*/ 106 w 308"/>
                      <a:gd name="T39" fmla="*/ 117 h 196"/>
                      <a:gd name="T40" fmla="*/ 125 w 308"/>
                      <a:gd name="T41" fmla="*/ 78 h 196"/>
                      <a:gd name="T42" fmla="*/ 164 w 308"/>
                      <a:gd name="T43" fmla="*/ 78 h 196"/>
                      <a:gd name="T44" fmla="*/ 144 w 308"/>
                      <a:gd name="T45" fmla="*/ 117 h 196"/>
                      <a:gd name="T46" fmla="*/ 183 w 308"/>
                      <a:gd name="T47" fmla="*/ 78 h 196"/>
                      <a:gd name="T48" fmla="*/ 202 w 308"/>
                      <a:gd name="T49" fmla="*/ 117 h 196"/>
                      <a:gd name="T50" fmla="*/ 183 w 308"/>
                      <a:gd name="T51" fmla="*/ 78 h 196"/>
                      <a:gd name="T52" fmla="*/ 236 w 308"/>
                      <a:gd name="T53" fmla="*/ 19 h 196"/>
                      <a:gd name="T54" fmla="*/ 57 w 308"/>
                      <a:gd name="T55" fmla="*/ 58 h 196"/>
                      <a:gd name="T56" fmla="*/ 28 w 308"/>
                      <a:gd name="T57" fmla="*/ 78 h 196"/>
                      <a:gd name="T58" fmla="*/ 86 w 308"/>
                      <a:gd name="T59" fmla="*/ 78 h 196"/>
                      <a:gd name="T60" fmla="*/ 28 w 308"/>
                      <a:gd name="T61" fmla="*/ 117 h 196"/>
                      <a:gd name="T62" fmla="*/ 289 w 308"/>
                      <a:gd name="T63" fmla="*/ 156 h 196"/>
                      <a:gd name="T64" fmla="*/ 19 w 308"/>
                      <a:gd name="T65" fmla="*/ 137 h 196"/>
                      <a:gd name="T66" fmla="*/ 289 w 308"/>
                      <a:gd name="T67" fmla="*/ 15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8" h="196">
                        <a:moveTo>
                          <a:pt x="299" y="58"/>
                        </a:moveTo>
                        <a:lnTo>
                          <a:pt x="280" y="58"/>
                        </a:lnTo>
                        <a:lnTo>
                          <a:pt x="270" y="58"/>
                        </a:lnTo>
                        <a:lnTo>
                          <a:pt x="251" y="0"/>
                        </a:lnTo>
                        <a:lnTo>
                          <a:pt x="57" y="0"/>
                        </a:lnTo>
                        <a:lnTo>
                          <a:pt x="38" y="58"/>
                        </a:lnTo>
                        <a:lnTo>
                          <a:pt x="28" y="58"/>
                        </a:lnTo>
                        <a:lnTo>
                          <a:pt x="9" y="58"/>
                        </a:lnTo>
                        <a:lnTo>
                          <a:pt x="9" y="117"/>
                        </a:lnTo>
                        <a:lnTo>
                          <a:pt x="0" y="117"/>
                        </a:lnTo>
                        <a:lnTo>
                          <a:pt x="0" y="127"/>
                        </a:lnTo>
                        <a:lnTo>
                          <a:pt x="0" y="137"/>
                        </a:lnTo>
                        <a:lnTo>
                          <a:pt x="0" y="156"/>
                        </a:lnTo>
                        <a:lnTo>
                          <a:pt x="0" y="166"/>
                        </a:lnTo>
                        <a:lnTo>
                          <a:pt x="0" y="176"/>
                        </a:lnTo>
                        <a:lnTo>
                          <a:pt x="9" y="176"/>
                        </a:lnTo>
                        <a:lnTo>
                          <a:pt x="9" y="196"/>
                        </a:lnTo>
                        <a:lnTo>
                          <a:pt x="48" y="196"/>
                        </a:lnTo>
                        <a:lnTo>
                          <a:pt x="48" y="176"/>
                        </a:lnTo>
                        <a:lnTo>
                          <a:pt x="260" y="176"/>
                        </a:lnTo>
                        <a:lnTo>
                          <a:pt x="260" y="196"/>
                        </a:lnTo>
                        <a:lnTo>
                          <a:pt x="299" y="196"/>
                        </a:lnTo>
                        <a:lnTo>
                          <a:pt x="299" y="176"/>
                        </a:lnTo>
                        <a:lnTo>
                          <a:pt x="308" y="176"/>
                        </a:lnTo>
                        <a:lnTo>
                          <a:pt x="308" y="166"/>
                        </a:lnTo>
                        <a:lnTo>
                          <a:pt x="308" y="156"/>
                        </a:lnTo>
                        <a:lnTo>
                          <a:pt x="308" y="137"/>
                        </a:lnTo>
                        <a:lnTo>
                          <a:pt x="308" y="127"/>
                        </a:lnTo>
                        <a:lnTo>
                          <a:pt x="308" y="117"/>
                        </a:lnTo>
                        <a:lnTo>
                          <a:pt x="299" y="117"/>
                        </a:lnTo>
                        <a:lnTo>
                          <a:pt x="299" y="58"/>
                        </a:lnTo>
                        <a:close/>
                        <a:moveTo>
                          <a:pt x="280" y="78"/>
                        </a:moveTo>
                        <a:lnTo>
                          <a:pt x="280" y="117"/>
                        </a:lnTo>
                        <a:lnTo>
                          <a:pt x="222" y="117"/>
                        </a:lnTo>
                        <a:lnTo>
                          <a:pt x="222" y="78"/>
                        </a:lnTo>
                        <a:lnTo>
                          <a:pt x="270" y="78"/>
                        </a:lnTo>
                        <a:lnTo>
                          <a:pt x="280" y="78"/>
                        </a:lnTo>
                        <a:close/>
                        <a:moveTo>
                          <a:pt x="125" y="78"/>
                        </a:moveTo>
                        <a:lnTo>
                          <a:pt x="125" y="117"/>
                        </a:lnTo>
                        <a:lnTo>
                          <a:pt x="106" y="117"/>
                        </a:lnTo>
                        <a:lnTo>
                          <a:pt x="106" y="78"/>
                        </a:lnTo>
                        <a:lnTo>
                          <a:pt x="125" y="78"/>
                        </a:lnTo>
                        <a:close/>
                        <a:moveTo>
                          <a:pt x="144" y="78"/>
                        </a:moveTo>
                        <a:lnTo>
                          <a:pt x="164" y="78"/>
                        </a:lnTo>
                        <a:lnTo>
                          <a:pt x="164" y="117"/>
                        </a:lnTo>
                        <a:lnTo>
                          <a:pt x="144" y="117"/>
                        </a:lnTo>
                        <a:lnTo>
                          <a:pt x="144" y="78"/>
                        </a:lnTo>
                        <a:close/>
                        <a:moveTo>
                          <a:pt x="183" y="78"/>
                        </a:moveTo>
                        <a:lnTo>
                          <a:pt x="202" y="78"/>
                        </a:lnTo>
                        <a:lnTo>
                          <a:pt x="202" y="117"/>
                        </a:lnTo>
                        <a:lnTo>
                          <a:pt x="183" y="117"/>
                        </a:lnTo>
                        <a:lnTo>
                          <a:pt x="183" y="78"/>
                        </a:lnTo>
                        <a:close/>
                        <a:moveTo>
                          <a:pt x="72" y="19"/>
                        </a:moveTo>
                        <a:lnTo>
                          <a:pt x="236" y="19"/>
                        </a:lnTo>
                        <a:lnTo>
                          <a:pt x="251" y="58"/>
                        </a:lnTo>
                        <a:lnTo>
                          <a:pt x="57" y="58"/>
                        </a:lnTo>
                        <a:lnTo>
                          <a:pt x="72" y="19"/>
                        </a:lnTo>
                        <a:close/>
                        <a:moveTo>
                          <a:pt x="28" y="78"/>
                        </a:moveTo>
                        <a:lnTo>
                          <a:pt x="38" y="78"/>
                        </a:lnTo>
                        <a:lnTo>
                          <a:pt x="86" y="78"/>
                        </a:lnTo>
                        <a:lnTo>
                          <a:pt x="86" y="117"/>
                        </a:lnTo>
                        <a:lnTo>
                          <a:pt x="28" y="117"/>
                        </a:lnTo>
                        <a:lnTo>
                          <a:pt x="28" y="78"/>
                        </a:lnTo>
                        <a:close/>
                        <a:moveTo>
                          <a:pt x="289" y="156"/>
                        </a:moveTo>
                        <a:lnTo>
                          <a:pt x="19" y="156"/>
                        </a:lnTo>
                        <a:lnTo>
                          <a:pt x="19" y="137"/>
                        </a:lnTo>
                        <a:lnTo>
                          <a:pt x="289" y="137"/>
                        </a:lnTo>
                        <a:lnTo>
                          <a:pt x="289" y="156"/>
                        </a:lnTo>
                        <a:close/>
                      </a:path>
                    </a:pathLst>
                  </a:custGeom>
                  <a:solidFill>
                    <a:srgbClr val="0072C6"/>
                  </a:solidFill>
                  <a:ln w="19050" cap="flat" cmpd="sng" algn="ctr">
                    <a:solidFill>
                      <a:srgbClr val="FFFFFF"/>
                    </a:solidFill>
                    <a:prstDash val="solid"/>
                    <a:headEnd type="none" w="med" len="med"/>
                    <a:tailEnd type="none" w="med" len="med"/>
                  </a:ln>
                  <a:effectLst/>
                  <a:extLst/>
                </p:spPr>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2744" kern="0">
                      <a:gradFill>
                        <a:gsLst>
                          <a:gs pos="1250">
                            <a:srgbClr val="505050"/>
                          </a:gs>
                          <a:gs pos="76000">
                            <a:srgbClr val="505050"/>
                          </a:gs>
                        </a:gsLst>
                        <a:lin ang="5400000" scaled="0"/>
                      </a:gradFill>
                    </a:endParaRPr>
                  </a:p>
                </p:txBody>
              </p:sp>
              <p:sp>
                <p:nvSpPr>
                  <p:cNvPr id="146" name="Oval 34"/>
                  <p:cNvSpPr>
                    <a:spLocks noChangeArrowheads="1"/>
                  </p:cNvSpPr>
                  <p:nvPr/>
                </p:nvSpPr>
                <p:spPr bwMode="auto">
                  <a:xfrm>
                    <a:off x="6675" y="2712"/>
                    <a:ext cx="19" cy="19"/>
                  </a:xfrm>
                  <a:prstGeom prst="ellipse">
                    <a:avLst/>
                  </a:prstGeom>
                  <a:solidFill>
                    <a:srgbClr val="0072C6"/>
                  </a:solidFill>
                  <a:ln w="19050" cap="flat" cmpd="sng" algn="ctr">
                    <a:solidFill>
                      <a:srgbClr val="FFFFFF"/>
                    </a:solidFill>
                    <a:prstDash val="solid"/>
                    <a:headEnd type="none" w="med" len="med"/>
                    <a:tailEnd type="none" w="med" len="med"/>
                  </a:ln>
                  <a:effectLst/>
                  <a:extLst/>
                </p:spPr>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2744" kern="0">
                      <a:gradFill>
                        <a:gsLst>
                          <a:gs pos="1250">
                            <a:srgbClr val="505050"/>
                          </a:gs>
                          <a:gs pos="76000">
                            <a:srgbClr val="505050"/>
                          </a:gs>
                        </a:gsLst>
                        <a:lin ang="5400000" scaled="0"/>
                      </a:gradFill>
                    </a:endParaRPr>
                  </a:p>
                </p:txBody>
              </p:sp>
              <p:sp>
                <p:nvSpPr>
                  <p:cNvPr id="147" name="Oval 35"/>
                  <p:cNvSpPr>
                    <a:spLocks noChangeArrowheads="1"/>
                  </p:cNvSpPr>
                  <p:nvPr/>
                </p:nvSpPr>
                <p:spPr bwMode="auto">
                  <a:xfrm>
                    <a:off x="6868" y="2712"/>
                    <a:ext cx="19" cy="19"/>
                  </a:xfrm>
                  <a:prstGeom prst="ellipse">
                    <a:avLst/>
                  </a:prstGeom>
                  <a:solidFill>
                    <a:srgbClr val="0072C6"/>
                  </a:solidFill>
                  <a:ln w="19050" cap="flat" cmpd="sng" algn="ctr">
                    <a:solidFill>
                      <a:srgbClr val="FFFFFF"/>
                    </a:solidFill>
                    <a:prstDash val="solid"/>
                    <a:headEnd type="none" w="med" len="med"/>
                    <a:tailEnd type="none" w="med" len="med"/>
                  </a:ln>
                  <a:effectLst/>
                  <a:extLst/>
                </p:spPr>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2744" kern="0">
                      <a:gradFill>
                        <a:gsLst>
                          <a:gs pos="1250">
                            <a:srgbClr val="505050"/>
                          </a:gs>
                          <a:gs pos="76000">
                            <a:srgbClr val="505050"/>
                          </a:gs>
                        </a:gsLst>
                        <a:lin ang="5400000" scaled="0"/>
                      </a:gradFill>
                    </a:endParaRPr>
                  </a:p>
                </p:txBody>
              </p:sp>
            </p:grpSp>
            <p:grpSp>
              <p:nvGrpSpPr>
                <p:cNvPr id="141" name="Group 32"/>
                <p:cNvGrpSpPr>
                  <a:grpSpLocks noChangeAspect="1"/>
                </p:cNvGrpSpPr>
                <p:nvPr/>
              </p:nvGrpSpPr>
              <p:grpSpPr bwMode="auto">
                <a:xfrm>
                  <a:off x="10835908" y="4001501"/>
                  <a:ext cx="194412" cy="123717"/>
                  <a:chOff x="6627" y="2624"/>
                  <a:chExt cx="308" cy="196"/>
                </a:xfrm>
                <a:solidFill>
                  <a:srgbClr val="FFFFFF"/>
                </a:solidFill>
              </p:grpSpPr>
              <p:sp>
                <p:nvSpPr>
                  <p:cNvPr id="142" name="Freeform 33"/>
                  <p:cNvSpPr>
                    <a:spLocks noEditPoints="1"/>
                  </p:cNvSpPr>
                  <p:nvPr/>
                </p:nvSpPr>
                <p:spPr bwMode="auto">
                  <a:xfrm>
                    <a:off x="6627" y="2624"/>
                    <a:ext cx="308" cy="196"/>
                  </a:xfrm>
                  <a:custGeom>
                    <a:avLst/>
                    <a:gdLst>
                      <a:gd name="T0" fmla="*/ 280 w 308"/>
                      <a:gd name="T1" fmla="*/ 58 h 196"/>
                      <a:gd name="T2" fmla="*/ 251 w 308"/>
                      <a:gd name="T3" fmla="*/ 0 h 196"/>
                      <a:gd name="T4" fmla="*/ 38 w 308"/>
                      <a:gd name="T5" fmla="*/ 58 h 196"/>
                      <a:gd name="T6" fmla="*/ 9 w 308"/>
                      <a:gd name="T7" fmla="*/ 58 h 196"/>
                      <a:gd name="T8" fmla="*/ 0 w 308"/>
                      <a:gd name="T9" fmla="*/ 117 h 196"/>
                      <a:gd name="T10" fmla="*/ 0 w 308"/>
                      <a:gd name="T11" fmla="*/ 137 h 196"/>
                      <a:gd name="T12" fmla="*/ 0 w 308"/>
                      <a:gd name="T13" fmla="*/ 166 h 196"/>
                      <a:gd name="T14" fmla="*/ 9 w 308"/>
                      <a:gd name="T15" fmla="*/ 176 h 196"/>
                      <a:gd name="T16" fmla="*/ 48 w 308"/>
                      <a:gd name="T17" fmla="*/ 196 h 196"/>
                      <a:gd name="T18" fmla="*/ 260 w 308"/>
                      <a:gd name="T19" fmla="*/ 176 h 196"/>
                      <a:gd name="T20" fmla="*/ 299 w 308"/>
                      <a:gd name="T21" fmla="*/ 196 h 196"/>
                      <a:gd name="T22" fmla="*/ 308 w 308"/>
                      <a:gd name="T23" fmla="*/ 176 h 196"/>
                      <a:gd name="T24" fmla="*/ 308 w 308"/>
                      <a:gd name="T25" fmla="*/ 156 h 196"/>
                      <a:gd name="T26" fmla="*/ 308 w 308"/>
                      <a:gd name="T27" fmla="*/ 127 h 196"/>
                      <a:gd name="T28" fmla="*/ 299 w 308"/>
                      <a:gd name="T29" fmla="*/ 117 h 196"/>
                      <a:gd name="T30" fmla="*/ 280 w 308"/>
                      <a:gd name="T31" fmla="*/ 78 h 196"/>
                      <a:gd name="T32" fmla="*/ 222 w 308"/>
                      <a:gd name="T33" fmla="*/ 117 h 196"/>
                      <a:gd name="T34" fmla="*/ 270 w 308"/>
                      <a:gd name="T35" fmla="*/ 78 h 196"/>
                      <a:gd name="T36" fmla="*/ 125 w 308"/>
                      <a:gd name="T37" fmla="*/ 78 h 196"/>
                      <a:gd name="T38" fmla="*/ 106 w 308"/>
                      <a:gd name="T39" fmla="*/ 117 h 196"/>
                      <a:gd name="T40" fmla="*/ 125 w 308"/>
                      <a:gd name="T41" fmla="*/ 78 h 196"/>
                      <a:gd name="T42" fmla="*/ 164 w 308"/>
                      <a:gd name="T43" fmla="*/ 78 h 196"/>
                      <a:gd name="T44" fmla="*/ 144 w 308"/>
                      <a:gd name="T45" fmla="*/ 117 h 196"/>
                      <a:gd name="T46" fmla="*/ 183 w 308"/>
                      <a:gd name="T47" fmla="*/ 78 h 196"/>
                      <a:gd name="T48" fmla="*/ 202 w 308"/>
                      <a:gd name="T49" fmla="*/ 117 h 196"/>
                      <a:gd name="T50" fmla="*/ 183 w 308"/>
                      <a:gd name="T51" fmla="*/ 78 h 196"/>
                      <a:gd name="T52" fmla="*/ 236 w 308"/>
                      <a:gd name="T53" fmla="*/ 19 h 196"/>
                      <a:gd name="T54" fmla="*/ 57 w 308"/>
                      <a:gd name="T55" fmla="*/ 58 h 196"/>
                      <a:gd name="T56" fmla="*/ 28 w 308"/>
                      <a:gd name="T57" fmla="*/ 78 h 196"/>
                      <a:gd name="T58" fmla="*/ 86 w 308"/>
                      <a:gd name="T59" fmla="*/ 78 h 196"/>
                      <a:gd name="T60" fmla="*/ 28 w 308"/>
                      <a:gd name="T61" fmla="*/ 117 h 196"/>
                      <a:gd name="T62" fmla="*/ 289 w 308"/>
                      <a:gd name="T63" fmla="*/ 156 h 196"/>
                      <a:gd name="T64" fmla="*/ 19 w 308"/>
                      <a:gd name="T65" fmla="*/ 137 h 196"/>
                      <a:gd name="T66" fmla="*/ 289 w 308"/>
                      <a:gd name="T67" fmla="*/ 15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8" h="196">
                        <a:moveTo>
                          <a:pt x="299" y="58"/>
                        </a:moveTo>
                        <a:lnTo>
                          <a:pt x="280" y="58"/>
                        </a:lnTo>
                        <a:lnTo>
                          <a:pt x="270" y="58"/>
                        </a:lnTo>
                        <a:lnTo>
                          <a:pt x="251" y="0"/>
                        </a:lnTo>
                        <a:lnTo>
                          <a:pt x="57" y="0"/>
                        </a:lnTo>
                        <a:lnTo>
                          <a:pt x="38" y="58"/>
                        </a:lnTo>
                        <a:lnTo>
                          <a:pt x="28" y="58"/>
                        </a:lnTo>
                        <a:lnTo>
                          <a:pt x="9" y="58"/>
                        </a:lnTo>
                        <a:lnTo>
                          <a:pt x="9" y="117"/>
                        </a:lnTo>
                        <a:lnTo>
                          <a:pt x="0" y="117"/>
                        </a:lnTo>
                        <a:lnTo>
                          <a:pt x="0" y="127"/>
                        </a:lnTo>
                        <a:lnTo>
                          <a:pt x="0" y="137"/>
                        </a:lnTo>
                        <a:lnTo>
                          <a:pt x="0" y="156"/>
                        </a:lnTo>
                        <a:lnTo>
                          <a:pt x="0" y="166"/>
                        </a:lnTo>
                        <a:lnTo>
                          <a:pt x="0" y="176"/>
                        </a:lnTo>
                        <a:lnTo>
                          <a:pt x="9" y="176"/>
                        </a:lnTo>
                        <a:lnTo>
                          <a:pt x="9" y="196"/>
                        </a:lnTo>
                        <a:lnTo>
                          <a:pt x="48" y="196"/>
                        </a:lnTo>
                        <a:lnTo>
                          <a:pt x="48" y="176"/>
                        </a:lnTo>
                        <a:lnTo>
                          <a:pt x="260" y="176"/>
                        </a:lnTo>
                        <a:lnTo>
                          <a:pt x="260" y="196"/>
                        </a:lnTo>
                        <a:lnTo>
                          <a:pt x="299" y="196"/>
                        </a:lnTo>
                        <a:lnTo>
                          <a:pt x="299" y="176"/>
                        </a:lnTo>
                        <a:lnTo>
                          <a:pt x="308" y="176"/>
                        </a:lnTo>
                        <a:lnTo>
                          <a:pt x="308" y="166"/>
                        </a:lnTo>
                        <a:lnTo>
                          <a:pt x="308" y="156"/>
                        </a:lnTo>
                        <a:lnTo>
                          <a:pt x="308" y="137"/>
                        </a:lnTo>
                        <a:lnTo>
                          <a:pt x="308" y="127"/>
                        </a:lnTo>
                        <a:lnTo>
                          <a:pt x="308" y="117"/>
                        </a:lnTo>
                        <a:lnTo>
                          <a:pt x="299" y="117"/>
                        </a:lnTo>
                        <a:lnTo>
                          <a:pt x="299" y="58"/>
                        </a:lnTo>
                        <a:close/>
                        <a:moveTo>
                          <a:pt x="280" y="78"/>
                        </a:moveTo>
                        <a:lnTo>
                          <a:pt x="280" y="117"/>
                        </a:lnTo>
                        <a:lnTo>
                          <a:pt x="222" y="117"/>
                        </a:lnTo>
                        <a:lnTo>
                          <a:pt x="222" y="78"/>
                        </a:lnTo>
                        <a:lnTo>
                          <a:pt x="270" y="78"/>
                        </a:lnTo>
                        <a:lnTo>
                          <a:pt x="280" y="78"/>
                        </a:lnTo>
                        <a:close/>
                        <a:moveTo>
                          <a:pt x="125" y="78"/>
                        </a:moveTo>
                        <a:lnTo>
                          <a:pt x="125" y="117"/>
                        </a:lnTo>
                        <a:lnTo>
                          <a:pt x="106" y="117"/>
                        </a:lnTo>
                        <a:lnTo>
                          <a:pt x="106" y="78"/>
                        </a:lnTo>
                        <a:lnTo>
                          <a:pt x="125" y="78"/>
                        </a:lnTo>
                        <a:close/>
                        <a:moveTo>
                          <a:pt x="144" y="78"/>
                        </a:moveTo>
                        <a:lnTo>
                          <a:pt x="164" y="78"/>
                        </a:lnTo>
                        <a:lnTo>
                          <a:pt x="164" y="117"/>
                        </a:lnTo>
                        <a:lnTo>
                          <a:pt x="144" y="117"/>
                        </a:lnTo>
                        <a:lnTo>
                          <a:pt x="144" y="78"/>
                        </a:lnTo>
                        <a:close/>
                        <a:moveTo>
                          <a:pt x="183" y="78"/>
                        </a:moveTo>
                        <a:lnTo>
                          <a:pt x="202" y="78"/>
                        </a:lnTo>
                        <a:lnTo>
                          <a:pt x="202" y="117"/>
                        </a:lnTo>
                        <a:lnTo>
                          <a:pt x="183" y="117"/>
                        </a:lnTo>
                        <a:lnTo>
                          <a:pt x="183" y="78"/>
                        </a:lnTo>
                        <a:close/>
                        <a:moveTo>
                          <a:pt x="72" y="19"/>
                        </a:moveTo>
                        <a:lnTo>
                          <a:pt x="236" y="19"/>
                        </a:lnTo>
                        <a:lnTo>
                          <a:pt x="251" y="58"/>
                        </a:lnTo>
                        <a:lnTo>
                          <a:pt x="57" y="58"/>
                        </a:lnTo>
                        <a:lnTo>
                          <a:pt x="72" y="19"/>
                        </a:lnTo>
                        <a:close/>
                        <a:moveTo>
                          <a:pt x="28" y="78"/>
                        </a:moveTo>
                        <a:lnTo>
                          <a:pt x="38" y="78"/>
                        </a:lnTo>
                        <a:lnTo>
                          <a:pt x="86" y="78"/>
                        </a:lnTo>
                        <a:lnTo>
                          <a:pt x="86" y="117"/>
                        </a:lnTo>
                        <a:lnTo>
                          <a:pt x="28" y="117"/>
                        </a:lnTo>
                        <a:lnTo>
                          <a:pt x="28" y="78"/>
                        </a:lnTo>
                        <a:close/>
                        <a:moveTo>
                          <a:pt x="289" y="156"/>
                        </a:moveTo>
                        <a:lnTo>
                          <a:pt x="19" y="156"/>
                        </a:lnTo>
                        <a:lnTo>
                          <a:pt x="19" y="137"/>
                        </a:lnTo>
                        <a:lnTo>
                          <a:pt x="289" y="137"/>
                        </a:lnTo>
                        <a:lnTo>
                          <a:pt x="289" y="156"/>
                        </a:lnTo>
                        <a:close/>
                      </a:path>
                    </a:pathLst>
                  </a:custGeom>
                  <a:solidFill>
                    <a:srgbClr val="0072C6"/>
                  </a:solidFill>
                  <a:ln w="19050" cap="flat" cmpd="sng" algn="ctr">
                    <a:solidFill>
                      <a:srgbClr val="FFFFFF"/>
                    </a:solidFill>
                    <a:prstDash val="solid"/>
                    <a:headEnd type="none" w="med" len="med"/>
                    <a:tailEnd type="none" w="med" len="med"/>
                  </a:ln>
                  <a:effectLst/>
                  <a:extLst/>
                </p:spPr>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2744" kern="0">
                      <a:gradFill>
                        <a:gsLst>
                          <a:gs pos="1250">
                            <a:srgbClr val="505050"/>
                          </a:gs>
                          <a:gs pos="76000">
                            <a:srgbClr val="505050"/>
                          </a:gs>
                        </a:gsLst>
                        <a:lin ang="5400000" scaled="0"/>
                      </a:gradFill>
                    </a:endParaRPr>
                  </a:p>
                </p:txBody>
              </p:sp>
              <p:sp>
                <p:nvSpPr>
                  <p:cNvPr id="143" name="Oval 34"/>
                  <p:cNvSpPr>
                    <a:spLocks noChangeArrowheads="1"/>
                  </p:cNvSpPr>
                  <p:nvPr/>
                </p:nvSpPr>
                <p:spPr bwMode="auto">
                  <a:xfrm>
                    <a:off x="6675" y="2712"/>
                    <a:ext cx="19" cy="19"/>
                  </a:xfrm>
                  <a:prstGeom prst="ellipse">
                    <a:avLst/>
                  </a:prstGeom>
                  <a:solidFill>
                    <a:srgbClr val="0072C6"/>
                  </a:solidFill>
                  <a:ln w="19050" cap="flat" cmpd="sng" algn="ctr">
                    <a:solidFill>
                      <a:srgbClr val="FFFFFF"/>
                    </a:solidFill>
                    <a:prstDash val="solid"/>
                    <a:headEnd type="none" w="med" len="med"/>
                    <a:tailEnd type="none" w="med" len="med"/>
                  </a:ln>
                  <a:effectLst/>
                  <a:extLst/>
                </p:spPr>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2744" kern="0">
                      <a:gradFill>
                        <a:gsLst>
                          <a:gs pos="1250">
                            <a:srgbClr val="505050"/>
                          </a:gs>
                          <a:gs pos="76000">
                            <a:srgbClr val="505050"/>
                          </a:gs>
                        </a:gsLst>
                        <a:lin ang="5400000" scaled="0"/>
                      </a:gradFill>
                    </a:endParaRPr>
                  </a:p>
                </p:txBody>
              </p:sp>
              <p:sp>
                <p:nvSpPr>
                  <p:cNvPr id="144" name="Oval 35"/>
                  <p:cNvSpPr>
                    <a:spLocks noChangeArrowheads="1"/>
                  </p:cNvSpPr>
                  <p:nvPr/>
                </p:nvSpPr>
                <p:spPr bwMode="auto">
                  <a:xfrm>
                    <a:off x="6868" y="2712"/>
                    <a:ext cx="19" cy="19"/>
                  </a:xfrm>
                  <a:prstGeom prst="ellipse">
                    <a:avLst/>
                  </a:prstGeom>
                  <a:solidFill>
                    <a:srgbClr val="0072C6"/>
                  </a:solidFill>
                  <a:ln w="19050" cap="flat" cmpd="sng" algn="ctr">
                    <a:solidFill>
                      <a:srgbClr val="FFFFFF"/>
                    </a:solidFill>
                    <a:prstDash val="solid"/>
                    <a:headEnd type="none" w="med" len="med"/>
                    <a:tailEnd type="none" w="med" len="med"/>
                  </a:ln>
                  <a:effectLst/>
                  <a:extLst/>
                </p:spPr>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2744" kern="0">
                      <a:gradFill>
                        <a:gsLst>
                          <a:gs pos="1250">
                            <a:srgbClr val="505050"/>
                          </a:gs>
                          <a:gs pos="76000">
                            <a:srgbClr val="505050"/>
                          </a:gs>
                        </a:gsLst>
                        <a:lin ang="5400000" scaled="0"/>
                      </a:gradFill>
                    </a:endParaRPr>
                  </a:p>
                </p:txBody>
              </p:sp>
            </p:grpSp>
          </p:grpSp>
        </p:grpSp>
      </p:grpSp>
      <p:grpSp>
        <p:nvGrpSpPr>
          <p:cNvPr id="122" name="Group 121"/>
          <p:cNvGrpSpPr/>
          <p:nvPr/>
        </p:nvGrpSpPr>
        <p:grpSpPr>
          <a:xfrm>
            <a:off x="139649" y="5095095"/>
            <a:ext cx="787725" cy="787725"/>
            <a:chOff x="7410211" y="5077564"/>
            <a:chExt cx="1016000" cy="1016000"/>
          </a:xfrm>
        </p:grpSpPr>
        <p:sp>
          <p:nvSpPr>
            <p:cNvPr id="134" name="Oval 133"/>
            <p:cNvSpPr/>
            <p:nvPr/>
          </p:nvSpPr>
          <p:spPr bwMode="auto">
            <a:xfrm>
              <a:off x="7410211" y="5077564"/>
              <a:ext cx="1016000" cy="1016000"/>
            </a:xfrm>
            <a:prstGeom prst="ellipse">
              <a:avLst/>
            </a:prstGeom>
            <a:solidFill>
              <a:srgbClr val="0072C6"/>
            </a:solidFill>
            <a:ln w="19050" cap="flat" cmpd="sng" algn="ctr">
              <a:solidFill>
                <a:srgbClr val="FFFFFF"/>
              </a:solidFill>
              <a:prstDash val="solid"/>
              <a:headEnd type="none" w="med" len="med"/>
              <a:tailEnd type="none" w="med" len="med"/>
            </a:ln>
            <a:effectLst/>
          </p:spPr>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2744" kern="0" dirty="0">
                <a:gradFill>
                  <a:gsLst>
                    <a:gs pos="1250">
                      <a:srgbClr val="505050"/>
                    </a:gs>
                    <a:gs pos="76000">
                      <a:srgbClr val="505050"/>
                    </a:gs>
                  </a:gsLst>
                  <a:lin ang="5400000" scaled="0"/>
                </a:gradFill>
              </a:endParaRPr>
            </a:p>
          </p:txBody>
        </p:sp>
        <p:sp>
          <p:nvSpPr>
            <p:cNvPr id="135" name="Freeform 39"/>
            <p:cNvSpPr>
              <a:spLocks noEditPoints="1"/>
            </p:cNvSpPr>
            <p:nvPr/>
          </p:nvSpPr>
          <p:spPr bwMode="auto">
            <a:xfrm>
              <a:off x="7704085" y="5383952"/>
              <a:ext cx="428252" cy="403224"/>
            </a:xfrm>
            <a:custGeom>
              <a:avLst/>
              <a:gdLst>
                <a:gd name="T0" fmla="*/ 88 w 128"/>
                <a:gd name="T1" fmla="*/ 0 h 120"/>
                <a:gd name="T2" fmla="*/ 64 w 128"/>
                <a:gd name="T3" fmla="*/ 8 h 120"/>
                <a:gd name="T4" fmla="*/ 40 w 128"/>
                <a:gd name="T5" fmla="*/ 0 h 120"/>
                <a:gd name="T6" fmla="*/ 12 w 128"/>
                <a:gd name="T7" fmla="*/ 12 h 120"/>
                <a:gd name="T8" fmla="*/ 0 w 128"/>
                <a:gd name="T9" fmla="*/ 40 h 120"/>
                <a:gd name="T10" fmla="*/ 12 w 128"/>
                <a:gd name="T11" fmla="*/ 68 h 120"/>
                <a:gd name="T12" fmla="*/ 64 w 128"/>
                <a:gd name="T13" fmla="*/ 120 h 120"/>
                <a:gd name="T14" fmla="*/ 116 w 128"/>
                <a:gd name="T15" fmla="*/ 68 h 120"/>
                <a:gd name="T16" fmla="*/ 128 w 128"/>
                <a:gd name="T17" fmla="*/ 40 h 120"/>
                <a:gd name="T18" fmla="*/ 116 w 128"/>
                <a:gd name="T19" fmla="*/ 12 h 120"/>
                <a:gd name="T20" fmla="*/ 88 w 128"/>
                <a:gd name="T21" fmla="*/ 0 h 120"/>
                <a:gd name="T22" fmla="*/ 19 w 128"/>
                <a:gd name="T23" fmla="*/ 64 h 120"/>
                <a:gd name="T24" fmla="*/ 30 w 128"/>
                <a:gd name="T25" fmla="*/ 64 h 120"/>
                <a:gd name="T26" fmla="*/ 36 w 128"/>
                <a:gd name="T27" fmla="*/ 58 h 120"/>
                <a:gd name="T28" fmla="*/ 64 w 128"/>
                <a:gd name="T29" fmla="*/ 86 h 120"/>
                <a:gd name="T30" fmla="*/ 96 w 128"/>
                <a:gd name="T31" fmla="*/ 54 h 120"/>
                <a:gd name="T32" fmla="*/ 106 w 128"/>
                <a:gd name="T33" fmla="*/ 64 h 120"/>
                <a:gd name="T34" fmla="*/ 109 w 128"/>
                <a:gd name="T35" fmla="*/ 64 h 120"/>
                <a:gd name="T36" fmla="*/ 64 w 128"/>
                <a:gd name="T37" fmla="*/ 109 h 120"/>
                <a:gd name="T38" fmla="*/ 19 w 128"/>
                <a:gd name="T39" fmla="*/ 64 h 120"/>
                <a:gd name="T40" fmla="*/ 116 w 128"/>
                <a:gd name="T41" fmla="*/ 56 h 120"/>
                <a:gd name="T42" fmla="*/ 110 w 128"/>
                <a:gd name="T43" fmla="*/ 56 h 120"/>
                <a:gd name="T44" fmla="*/ 96 w 128"/>
                <a:gd name="T45" fmla="*/ 43 h 120"/>
                <a:gd name="T46" fmla="*/ 64 w 128"/>
                <a:gd name="T47" fmla="*/ 75 h 120"/>
                <a:gd name="T48" fmla="*/ 36 w 128"/>
                <a:gd name="T49" fmla="*/ 47 h 120"/>
                <a:gd name="T50" fmla="*/ 26 w 128"/>
                <a:gd name="T51" fmla="*/ 56 h 120"/>
                <a:gd name="T52" fmla="*/ 12 w 128"/>
                <a:gd name="T53" fmla="*/ 56 h 120"/>
                <a:gd name="T54" fmla="*/ 8 w 128"/>
                <a:gd name="T55" fmla="*/ 40 h 120"/>
                <a:gd name="T56" fmla="*/ 17 w 128"/>
                <a:gd name="T57" fmla="*/ 18 h 120"/>
                <a:gd name="T58" fmla="*/ 40 w 128"/>
                <a:gd name="T59" fmla="*/ 8 h 120"/>
                <a:gd name="T60" fmla="*/ 61 w 128"/>
                <a:gd name="T61" fmla="*/ 16 h 120"/>
                <a:gd name="T62" fmla="*/ 64 w 128"/>
                <a:gd name="T63" fmla="*/ 19 h 120"/>
                <a:gd name="T64" fmla="*/ 67 w 128"/>
                <a:gd name="T65" fmla="*/ 16 h 120"/>
                <a:gd name="T66" fmla="*/ 88 w 128"/>
                <a:gd name="T67" fmla="*/ 8 h 120"/>
                <a:gd name="T68" fmla="*/ 111 w 128"/>
                <a:gd name="T69" fmla="*/ 18 h 120"/>
                <a:gd name="T70" fmla="*/ 120 w 128"/>
                <a:gd name="T71" fmla="*/ 40 h 120"/>
                <a:gd name="T72" fmla="*/ 116 w 128"/>
                <a:gd name="T73" fmla="*/ 56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20">
                  <a:moveTo>
                    <a:pt x="88" y="0"/>
                  </a:moveTo>
                  <a:cubicBezTo>
                    <a:pt x="79" y="0"/>
                    <a:pt x="71" y="3"/>
                    <a:pt x="64" y="8"/>
                  </a:cubicBezTo>
                  <a:cubicBezTo>
                    <a:pt x="57" y="3"/>
                    <a:pt x="49" y="0"/>
                    <a:pt x="40" y="0"/>
                  </a:cubicBezTo>
                  <a:cubicBezTo>
                    <a:pt x="29" y="0"/>
                    <a:pt x="19" y="4"/>
                    <a:pt x="12" y="12"/>
                  </a:cubicBezTo>
                  <a:cubicBezTo>
                    <a:pt x="4" y="19"/>
                    <a:pt x="0" y="30"/>
                    <a:pt x="0" y="40"/>
                  </a:cubicBezTo>
                  <a:cubicBezTo>
                    <a:pt x="0" y="51"/>
                    <a:pt x="4" y="61"/>
                    <a:pt x="12" y="68"/>
                  </a:cubicBezTo>
                  <a:cubicBezTo>
                    <a:pt x="64" y="120"/>
                    <a:pt x="64" y="120"/>
                    <a:pt x="64" y="120"/>
                  </a:cubicBezTo>
                  <a:cubicBezTo>
                    <a:pt x="116" y="68"/>
                    <a:pt x="116" y="68"/>
                    <a:pt x="116" y="68"/>
                  </a:cubicBezTo>
                  <a:cubicBezTo>
                    <a:pt x="124" y="61"/>
                    <a:pt x="128" y="51"/>
                    <a:pt x="128" y="40"/>
                  </a:cubicBezTo>
                  <a:cubicBezTo>
                    <a:pt x="128" y="30"/>
                    <a:pt x="124" y="19"/>
                    <a:pt x="116" y="12"/>
                  </a:cubicBezTo>
                  <a:cubicBezTo>
                    <a:pt x="109" y="4"/>
                    <a:pt x="99" y="0"/>
                    <a:pt x="88" y="0"/>
                  </a:cubicBezTo>
                  <a:moveTo>
                    <a:pt x="19" y="64"/>
                  </a:moveTo>
                  <a:cubicBezTo>
                    <a:pt x="30" y="64"/>
                    <a:pt x="30" y="64"/>
                    <a:pt x="30" y="64"/>
                  </a:cubicBezTo>
                  <a:cubicBezTo>
                    <a:pt x="36" y="58"/>
                    <a:pt x="36" y="58"/>
                    <a:pt x="36" y="58"/>
                  </a:cubicBezTo>
                  <a:cubicBezTo>
                    <a:pt x="64" y="86"/>
                    <a:pt x="64" y="86"/>
                    <a:pt x="64" y="86"/>
                  </a:cubicBezTo>
                  <a:cubicBezTo>
                    <a:pt x="96" y="54"/>
                    <a:pt x="96" y="54"/>
                    <a:pt x="96" y="54"/>
                  </a:cubicBezTo>
                  <a:cubicBezTo>
                    <a:pt x="106" y="64"/>
                    <a:pt x="106" y="64"/>
                    <a:pt x="106" y="64"/>
                  </a:cubicBezTo>
                  <a:cubicBezTo>
                    <a:pt x="109" y="64"/>
                    <a:pt x="109" y="64"/>
                    <a:pt x="109" y="64"/>
                  </a:cubicBezTo>
                  <a:cubicBezTo>
                    <a:pt x="64" y="109"/>
                    <a:pt x="64" y="109"/>
                    <a:pt x="64" y="109"/>
                  </a:cubicBezTo>
                  <a:lnTo>
                    <a:pt x="19" y="64"/>
                  </a:lnTo>
                  <a:close/>
                  <a:moveTo>
                    <a:pt x="116" y="56"/>
                  </a:moveTo>
                  <a:cubicBezTo>
                    <a:pt x="110" y="56"/>
                    <a:pt x="110" y="56"/>
                    <a:pt x="110" y="56"/>
                  </a:cubicBezTo>
                  <a:cubicBezTo>
                    <a:pt x="96" y="43"/>
                    <a:pt x="96" y="43"/>
                    <a:pt x="96" y="43"/>
                  </a:cubicBezTo>
                  <a:cubicBezTo>
                    <a:pt x="64" y="75"/>
                    <a:pt x="64" y="75"/>
                    <a:pt x="64" y="75"/>
                  </a:cubicBezTo>
                  <a:cubicBezTo>
                    <a:pt x="36" y="47"/>
                    <a:pt x="36" y="47"/>
                    <a:pt x="36" y="47"/>
                  </a:cubicBezTo>
                  <a:cubicBezTo>
                    <a:pt x="26" y="56"/>
                    <a:pt x="26" y="56"/>
                    <a:pt x="26" y="56"/>
                  </a:cubicBezTo>
                  <a:cubicBezTo>
                    <a:pt x="12" y="56"/>
                    <a:pt x="12" y="56"/>
                    <a:pt x="12" y="56"/>
                  </a:cubicBezTo>
                  <a:cubicBezTo>
                    <a:pt x="10" y="51"/>
                    <a:pt x="8" y="46"/>
                    <a:pt x="8" y="40"/>
                  </a:cubicBezTo>
                  <a:cubicBezTo>
                    <a:pt x="8" y="32"/>
                    <a:pt x="11" y="24"/>
                    <a:pt x="17" y="18"/>
                  </a:cubicBezTo>
                  <a:cubicBezTo>
                    <a:pt x="23" y="12"/>
                    <a:pt x="31" y="8"/>
                    <a:pt x="40" y="8"/>
                  </a:cubicBezTo>
                  <a:cubicBezTo>
                    <a:pt x="48" y="8"/>
                    <a:pt x="55" y="11"/>
                    <a:pt x="61" y="16"/>
                  </a:cubicBezTo>
                  <a:cubicBezTo>
                    <a:pt x="64" y="19"/>
                    <a:pt x="64" y="19"/>
                    <a:pt x="64" y="19"/>
                  </a:cubicBezTo>
                  <a:cubicBezTo>
                    <a:pt x="67" y="16"/>
                    <a:pt x="67" y="16"/>
                    <a:pt x="67" y="16"/>
                  </a:cubicBezTo>
                  <a:cubicBezTo>
                    <a:pt x="73" y="11"/>
                    <a:pt x="80" y="8"/>
                    <a:pt x="88" y="8"/>
                  </a:cubicBezTo>
                  <a:cubicBezTo>
                    <a:pt x="97" y="8"/>
                    <a:pt x="105" y="12"/>
                    <a:pt x="111" y="18"/>
                  </a:cubicBezTo>
                  <a:cubicBezTo>
                    <a:pt x="117" y="24"/>
                    <a:pt x="120" y="32"/>
                    <a:pt x="120" y="40"/>
                  </a:cubicBezTo>
                  <a:cubicBezTo>
                    <a:pt x="120" y="46"/>
                    <a:pt x="118" y="51"/>
                    <a:pt x="116" y="56"/>
                  </a:cubicBezTo>
                </a:path>
              </a:pathLst>
            </a:custGeom>
            <a:solidFill>
              <a:srgbClr val="0072C6"/>
            </a:solidFill>
            <a:ln w="19050" cap="flat" cmpd="sng" algn="ctr">
              <a:solidFill>
                <a:srgbClr val="FFFFFF"/>
              </a:solidFill>
              <a:prstDash val="solid"/>
              <a:headEnd type="none" w="med" len="med"/>
              <a:tailEnd type="none" w="med" len="med"/>
            </a:ln>
            <a:effectLst/>
          </p:spPr>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2744" kern="0">
                <a:gradFill>
                  <a:gsLst>
                    <a:gs pos="1250">
                      <a:srgbClr val="505050"/>
                    </a:gs>
                    <a:gs pos="76000">
                      <a:srgbClr val="505050"/>
                    </a:gs>
                  </a:gsLst>
                  <a:lin ang="5400000" scaled="0"/>
                </a:gradFill>
              </a:endParaRPr>
            </a:p>
          </p:txBody>
        </p:sp>
      </p:grpSp>
      <p:grpSp>
        <p:nvGrpSpPr>
          <p:cNvPr id="123" name="Group 122"/>
          <p:cNvGrpSpPr/>
          <p:nvPr/>
        </p:nvGrpSpPr>
        <p:grpSpPr>
          <a:xfrm>
            <a:off x="3819857" y="5095095"/>
            <a:ext cx="787725" cy="787725"/>
            <a:chOff x="6320325" y="3747236"/>
            <a:chExt cx="1016000" cy="1016000"/>
          </a:xfrm>
        </p:grpSpPr>
        <p:sp>
          <p:nvSpPr>
            <p:cNvPr id="130" name="Oval 129"/>
            <p:cNvSpPr/>
            <p:nvPr/>
          </p:nvSpPr>
          <p:spPr bwMode="auto">
            <a:xfrm>
              <a:off x="6320325" y="3747236"/>
              <a:ext cx="1016000" cy="1016000"/>
            </a:xfrm>
            <a:prstGeom prst="ellipse">
              <a:avLst/>
            </a:prstGeom>
            <a:solidFill>
              <a:srgbClr val="0072C6"/>
            </a:solidFill>
            <a:ln w="19050" cap="flat" cmpd="sng" algn="ctr">
              <a:solidFill>
                <a:srgbClr val="FFFFFF"/>
              </a:solidFill>
              <a:prstDash val="solid"/>
              <a:headEnd type="none" w="med" len="med"/>
              <a:tailEnd type="none" w="med" len="med"/>
            </a:ln>
            <a:effectLst/>
          </p:spPr>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2744" kern="0" dirty="0">
                <a:gradFill>
                  <a:gsLst>
                    <a:gs pos="1250">
                      <a:srgbClr val="505050"/>
                    </a:gs>
                    <a:gs pos="76000">
                      <a:srgbClr val="505050"/>
                    </a:gs>
                  </a:gsLst>
                  <a:lin ang="5400000" scaled="0"/>
                </a:gradFill>
              </a:endParaRPr>
            </a:p>
          </p:txBody>
        </p:sp>
        <p:grpSp>
          <p:nvGrpSpPr>
            <p:cNvPr id="131" name="Group 42"/>
            <p:cNvGrpSpPr>
              <a:grpSpLocks noChangeAspect="1"/>
            </p:cNvGrpSpPr>
            <p:nvPr/>
          </p:nvGrpSpPr>
          <p:grpSpPr bwMode="auto">
            <a:xfrm>
              <a:off x="6634650" y="4061561"/>
              <a:ext cx="387350" cy="387350"/>
              <a:chOff x="4176" y="2543"/>
              <a:chExt cx="244" cy="244"/>
            </a:xfrm>
            <a:solidFill>
              <a:srgbClr val="FFFFFF"/>
            </a:solidFill>
          </p:grpSpPr>
          <p:sp>
            <p:nvSpPr>
              <p:cNvPr id="132" name="Freeform 43"/>
              <p:cNvSpPr>
                <a:spLocks/>
              </p:cNvSpPr>
              <p:nvPr/>
            </p:nvSpPr>
            <p:spPr bwMode="auto">
              <a:xfrm>
                <a:off x="4179" y="2546"/>
                <a:ext cx="197" cy="197"/>
              </a:xfrm>
              <a:custGeom>
                <a:avLst/>
                <a:gdLst>
                  <a:gd name="T0" fmla="*/ 62 w 81"/>
                  <a:gd name="T1" fmla="*/ 38 h 81"/>
                  <a:gd name="T2" fmla="*/ 81 w 81"/>
                  <a:gd name="T3" fmla="*/ 19 h 81"/>
                  <a:gd name="T4" fmla="*/ 62 w 81"/>
                  <a:gd name="T5" fmla="*/ 0 h 81"/>
                  <a:gd name="T6" fmla="*/ 56 w 81"/>
                  <a:gd name="T7" fmla="*/ 6 h 81"/>
                  <a:gd name="T8" fmla="*/ 65 w 81"/>
                  <a:gd name="T9" fmla="*/ 15 h 81"/>
                  <a:gd name="T10" fmla="*/ 51 w 81"/>
                  <a:gd name="T11" fmla="*/ 15 h 81"/>
                  <a:gd name="T12" fmla="*/ 15 w 81"/>
                  <a:gd name="T13" fmla="*/ 51 h 81"/>
                  <a:gd name="T14" fmla="*/ 15 w 81"/>
                  <a:gd name="T15" fmla="*/ 65 h 81"/>
                  <a:gd name="T16" fmla="*/ 6 w 81"/>
                  <a:gd name="T17" fmla="*/ 56 h 81"/>
                  <a:gd name="T18" fmla="*/ 0 w 81"/>
                  <a:gd name="T19" fmla="*/ 62 h 81"/>
                  <a:gd name="T20" fmla="*/ 19 w 81"/>
                  <a:gd name="T21" fmla="*/ 81 h 81"/>
                  <a:gd name="T22" fmla="*/ 38 w 81"/>
                  <a:gd name="T23" fmla="*/ 62 h 81"/>
                  <a:gd name="T24" fmla="*/ 32 w 81"/>
                  <a:gd name="T25" fmla="*/ 56 h 81"/>
                  <a:gd name="T26" fmla="*/ 23 w 81"/>
                  <a:gd name="T27" fmla="*/ 65 h 81"/>
                  <a:gd name="T28" fmla="*/ 23 w 81"/>
                  <a:gd name="T29" fmla="*/ 51 h 81"/>
                  <a:gd name="T30" fmla="*/ 51 w 81"/>
                  <a:gd name="T31" fmla="*/ 23 h 81"/>
                  <a:gd name="T32" fmla="*/ 65 w 81"/>
                  <a:gd name="T33" fmla="*/ 23 h 81"/>
                  <a:gd name="T34" fmla="*/ 56 w 81"/>
                  <a:gd name="T35" fmla="*/ 32 h 81"/>
                  <a:gd name="T36" fmla="*/ 62 w 81"/>
                  <a:gd name="T37" fmla="*/ 3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1" h="81">
                    <a:moveTo>
                      <a:pt x="62" y="38"/>
                    </a:moveTo>
                    <a:cubicBezTo>
                      <a:pt x="81" y="19"/>
                      <a:pt x="81" y="19"/>
                      <a:pt x="81" y="19"/>
                    </a:cubicBezTo>
                    <a:cubicBezTo>
                      <a:pt x="62" y="0"/>
                      <a:pt x="62" y="0"/>
                      <a:pt x="62" y="0"/>
                    </a:cubicBezTo>
                    <a:cubicBezTo>
                      <a:pt x="56" y="6"/>
                      <a:pt x="56" y="6"/>
                      <a:pt x="56" y="6"/>
                    </a:cubicBezTo>
                    <a:cubicBezTo>
                      <a:pt x="65" y="15"/>
                      <a:pt x="65" y="15"/>
                      <a:pt x="65" y="15"/>
                    </a:cubicBezTo>
                    <a:cubicBezTo>
                      <a:pt x="51" y="15"/>
                      <a:pt x="51" y="15"/>
                      <a:pt x="51" y="15"/>
                    </a:cubicBezTo>
                    <a:cubicBezTo>
                      <a:pt x="31" y="15"/>
                      <a:pt x="15" y="31"/>
                      <a:pt x="15" y="51"/>
                    </a:cubicBezTo>
                    <a:cubicBezTo>
                      <a:pt x="15" y="65"/>
                      <a:pt x="15" y="65"/>
                      <a:pt x="15" y="65"/>
                    </a:cubicBezTo>
                    <a:cubicBezTo>
                      <a:pt x="6" y="56"/>
                      <a:pt x="6" y="56"/>
                      <a:pt x="6" y="56"/>
                    </a:cubicBezTo>
                    <a:cubicBezTo>
                      <a:pt x="0" y="62"/>
                      <a:pt x="0" y="62"/>
                      <a:pt x="0" y="62"/>
                    </a:cubicBezTo>
                    <a:cubicBezTo>
                      <a:pt x="19" y="81"/>
                      <a:pt x="19" y="81"/>
                      <a:pt x="19" y="81"/>
                    </a:cubicBezTo>
                    <a:cubicBezTo>
                      <a:pt x="38" y="62"/>
                      <a:pt x="38" y="62"/>
                      <a:pt x="38" y="62"/>
                    </a:cubicBezTo>
                    <a:cubicBezTo>
                      <a:pt x="32" y="56"/>
                      <a:pt x="32" y="56"/>
                      <a:pt x="32" y="56"/>
                    </a:cubicBezTo>
                    <a:cubicBezTo>
                      <a:pt x="23" y="65"/>
                      <a:pt x="23" y="65"/>
                      <a:pt x="23" y="65"/>
                    </a:cubicBezTo>
                    <a:cubicBezTo>
                      <a:pt x="23" y="51"/>
                      <a:pt x="23" y="51"/>
                      <a:pt x="23" y="51"/>
                    </a:cubicBezTo>
                    <a:cubicBezTo>
                      <a:pt x="23" y="36"/>
                      <a:pt x="36" y="23"/>
                      <a:pt x="51" y="23"/>
                    </a:cubicBezTo>
                    <a:cubicBezTo>
                      <a:pt x="65" y="23"/>
                      <a:pt x="65" y="23"/>
                      <a:pt x="65" y="23"/>
                    </a:cubicBezTo>
                    <a:cubicBezTo>
                      <a:pt x="56" y="32"/>
                      <a:pt x="56" y="32"/>
                      <a:pt x="56" y="32"/>
                    </a:cubicBezTo>
                    <a:lnTo>
                      <a:pt x="62" y="38"/>
                    </a:lnTo>
                    <a:close/>
                  </a:path>
                </a:pathLst>
              </a:custGeom>
              <a:solidFill>
                <a:srgbClr val="0072C6"/>
              </a:solidFill>
              <a:ln w="19050" cap="flat" cmpd="sng" algn="ctr">
                <a:solidFill>
                  <a:srgbClr val="FFFFFF"/>
                </a:solidFill>
                <a:prstDash val="solid"/>
                <a:headEnd type="none" w="med" len="med"/>
                <a:tailEnd type="none" w="med" len="med"/>
              </a:ln>
              <a:effectLst/>
              <a:extLst/>
            </p:spPr>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2744" kern="0">
                  <a:gradFill>
                    <a:gsLst>
                      <a:gs pos="1250">
                        <a:srgbClr val="505050"/>
                      </a:gs>
                      <a:gs pos="76000">
                        <a:srgbClr val="505050"/>
                      </a:gs>
                    </a:gsLst>
                    <a:lin ang="5400000" scaled="0"/>
                  </a:gradFill>
                </a:endParaRPr>
              </a:p>
            </p:txBody>
          </p:sp>
          <p:sp>
            <p:nvSpPr>
              <p:cNvPr id="133" name="Freeform 44"/>
              <p:cNvSpPr>
                <a:spLocks noEditPoints="1"/>
              </p:cNvSpPr>
              <p:nvPr/>
            </p:nvSpPr>
            <p:spPr bwMode="auto">
              <a:xfrm>
                <a:off x="4176" y="2543"/>
                <a:ext cx="244" cy="244"/>
              </a:xfrm>
              <a:custGeom>
                <a:avLst/>
                <a:gdLst>
                  <a:gd name="T0" fmla="*/ 244 w 244"/>
                  <a:gd name="T1" fmla="*/ 0 h 244"/>
                  <a:gd name="T2" fmla="*/ 224 w 244"/>
                  <a:gd name="T3" fmla="*/ 0 h 244"/>
                  <a:gd name="T4" fmla="*/ 224 w 244"/>
                  <a:gd name="T5" fmla="*/ 166 h 244"/>
                  <a:gd name="T6" fmla="*/ 166 w 244"/>
                  <a:gd name="T7" fmla="*/ 166 h 244"/>
                  <a:gd name="T8" fmla="*/ 166 w 244"/>
                  <a:gd name="T9" fmla="*/ 224 h 244"/>
                  <a:gd name="T10" fmla="*/ 0 w 244"/>
                  <a:gd name="T11" fmla="*/ 224 h 244"/>
                  <a:gd name="T12" fmla="*/ 0 w 244"/>
                  <a:gd name="T13" fmla="*/ 244 h 244"/>
                  <a:gd name="T14" fmla="*/ 244 w 244"/>
                  <a:gd name="T15" fmla="*/ 244 h 244"/>
                  <a:gd name="T16" fmla="*/ 244 w 244"/>
                  <a:gd name="T17" fmla="*/ 0 h 244"/>
                  <a:gd name="T18" fmla="*/ 185 w 244"/>
                  <a:gd name="T19" fmla="*/ 224 h 244"/>
                  <a:gd name="T20" fmla="*/ 185 w 244"/>
                  <a:gd name="T21" fmla="*/ 185 h 244"/>
                  <a:gd name="T22" fmla="*/ 224 w 244"/>
                  <a:gd name="T23" fmla="*/ 185 h 244"/>
                  <a:gd name="T24" fmla="*/ 224 w 244"/>
                  <a:gd name="T25" fmla="*/ 224 h 244"/>
                  <a:gd name="T26" fmla="*/ 185 w 244"/>
                  <a:gd name="T27" fmla="*/ 22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4" h="244">
                    <a:moveTo>
                      <a:pt x="244" y="0"/>
                    </a:moveTo>
                    <a:lnTo>
                      <a:pt x="224" y="0"/>
                    </a:lnTo>
                    <a:lnTo>
                      <a:pt x="224" y="166"/>
                    </a:lnTo>
                    <a:lnTo>
                      <a:pt x="166" y="166"/>
                    </a:lnTo>
                    <a:lnTo>
                      <a:pt x="166" y="224"/>
                    </a:lnTo>
                    <a:lnTo>
                      <a:pt x="0" y="224"/>
                    </a:lnTo>
                    <a:lnTo>
                      <a:pt x="0" y="244"/>
                    </a:lnTo>
                    <a:lnTo>
                      <a:pt x="244" y="244"/>
                    </a:lnTo>
                    <a:lnTo>
                      <a:pt x="244" y="0"/>
                    </a:lnTo>
                    <a:close/>
                    <a:moveTo>
                      <a:pt x="185" y="224"/>
                    </a:moveTo>
                    <a:lnTo>
                      <a:pt x="185" y="185"/>
                    </a:lnTo>
                    <a:lnTo>
                      <a:pt x="224" y="185"/>
                    </a:lnTo>
                    <a:lnTo>
                      <a:pt x="224" y="224"/>
                    </a:lnTo>
                    <a:lnTo>
                      <a:pt x="185" y="224"/>
                    </a:lnTo>
                    <a:close/>
                  </a:path>
                </a:pathLst>
              </a:custGeom>
              <a:solidFill>
                <a:srgbClr val="0072C6"/>
              </a:solidFill>
              <a:ln w="19050" cap="flat" cmpd="sng" algn="ctr">
                <a:solidFill>
                  <a:srgbClr val="FFFFFF"/>
                </a:solidFill>
                <a:prstDash val="solid"/>
                <a:headEnd type="none" w="med" len="med"/>
                <a:tailEnd type="none" w="med" len="med"/>
              </a:ln>
              <a:effectLst/>
              <a:extLst/>
            </p:spPr>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2744" kern="0">
                  <a:gradFill>
                    <a:gsLst>
                      <a:gs pos="1250">
                        <a:srgbClr val="505050"/>
                      </a:gs>
                      <a:gs pos="76000">
                        <a:srgbClr val="505050"/>
                      </a:gs>
                    </a:gsLst>
                    <a:lin ang="5400000" scaled="0"/>
                  </a:gradFill>
                </a:endParaRPr>
              </a:p>
            </p:txBody>
          </p:sp>
        </p:grpSp>
      </p:grpSp>
      <p:grpSp>
        <p:nvGrpSpPr>
          <p:cNvPr id="124" name="Group 123"/>
          <p:cNvGrpSpPr/>
          <p:nvPr/>
        </p:nvGrpSpPr>
        <p:grpSpPr>
          <a:xfrm>
            <a:off x="8087388" y="3923405"/>
            <a:ext cx="787725" cy="787725"/>
            <a:chOff x="6637894" y="2120048"/>
            <a:chExt cx="1016000" cy="1016000"/>
          </a:xfrm>
        </p:grpSpPr>
        <p:sp>
          <p:nvSpPr>
            <p:cNvPr id="125" name="Oval 124"/>
            <p:cNvSpPr/>
            <p:nvPr/>
          </p:nvSpPr>
          <p:spPr bwMode="auto">
            <a:xfrm>
              <a:off x="6637894" y="2120048"/>
              <a:ext cx="1016000" cy="1016000"/>
            </a:xfrm>
            <a:prstGeom prst="ellipse">
              <a:avLst/>
            </a:prstGeom>
            <a:solidFill>
              <a:srgbClr val="0072C6"/>
            </a:solidFill>
            <a:ln w="19050" cap="flat" cmpd="sng" algn="ctr">
              <a:solidFill>
                <a:srgbClr val="FFFFFF"/>
              </a:solidFill>
              <a:prstDash val="solid"/>
              <a:headEnd type="none" w="med" len="med"/>
              <a:tailEnd type="none" w="med" len="med"/>
            </a:ln>
            <a:effectLst/>
          </p:spPr>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2744" kern="0" dirty="0">
                <a:gradFill>
                  <a:gsLst>
                    <a:gs pos="1250">
                      <a:srgbClr val="505050"/>
                    </a:gs>
                    <a:gs pos="76000">
                      <a:srgbClr val="505050"/>
                    </a:gs>
                  </a:gsLst>
                  <a:lin ang="5400000" scaled="0"/>
                </a:gradFill>
              </a:endParaRPr>
            </a:p>
          </p:txBody>
        </p:sp>
        <p:grpSp>
          <p:nvGrpSpPr>
            <p:cNvPr id="126" name="Group 47"/>
            <p:cNvGrpSpPr>
              <a:grpSpLocks noChangeAspect="1"/>
            </p:cNvGrpSpPr>
            <p:nvPr/>
          </p:nvGrpSpPr>
          <p:grpSpPr bwMode="auto">
            <a:xfrm>
              <a:off x="6921898" y="2447928"/>
              <a:ext cx="447992" cy="360240"/>
              <a:chOff x="4379" y="1525"/>
              <a:chExt cx="291" cy="234"/>
            </a:xfrm>
            <a:solidFill>
              <a:srgbClr val="FFFFFF"/>
            </a:solidFill>
          </p:grpSpPr>
          <p:sp>
            <p:nvSpPr>
              <p:cNvPr id="127" name="Freeform 48"/>
              <p:cNvSpPr>
                <a:spLocks noEditPoints="1"/>
              </p:cNvSpPr>
              <p:nvPr/>
            </p:nvSpPr>
            <p:spPr bwMode="auto">
              <a:xfrm>
                <a:off x="4379" y="1525"/>
                <a:ext cx="97" cy="234"/>
              </a:xfrm>
              <a:custGeom>
                <a:avLst/>
                <a:gdLst>
                  <a:gd name="T0" fmla="*/ 19 w 97"/>
                  <a:gd name="T1" fmla="*/ 234 h 234"/>
                  <a:gd name="T2" fmla="*/ 78 w 97"/>
                  <a:gd name="T3" fmla="*/ 234 h 234"/>
                  <a:gd name="T4" fmla="*/ 78 w 97"/>
                  <a:gd name="T5" fmla="*/ 195 h 234"/>
                  <a:gd name="T6" fmla="*/ 97 w 97"/>
                  <a:gd name="T7" fmla="*/ 195 h 234"/>
                  <a:gd name="T8" fmla="*/ 97 w 97"/>
                  <a:gd name="T9" fmla="*/ 176 h 234"/>
                  <a:gd name="T10" fmla="*/ 78 w 97"/>
                  <a:gd name="T11" fmla="*/ 176 h 234"/>
                  <a:gd name="T12" fmla="*/ 78 w 97"/>
                  <a:gd name="T13" fmla="*/ 0 h 234"/>
                  <a:gd name="T14" fmla="*/ 19 w 97"/>
                  <a:gd name="T15" fmla="*/ 0 h 234"/>
                  <a:gd name="T16" fmla="*/ 19 w 97"/>
                  <a:gd name="T17" fmla="*/ 176 h 234"/>
                  <a:gd name="T18" fmla="*/ 0 w 97"/>
                  <a:gd name="T19" fmla="*/ 176 h 234"/>
                  <a:gd name="T20" fmla="*/ 0 w 97"/>
                  <a:gd name="T21" fmla="*/ 195 h 234"/>
                  <a:gd name="T22" fmla="*/ 19 w 97"/>
                  <a:gd name="T23" fmla="*/ 195 h 234"/>
                  <a:gd name="T24" fmla="*/ 19 w 97"/>
                  <a:gd name="T25" fmla="*/ 234 h 234"/>
                  <a:gd name="T26" fmla="*/ 39 w 97"/>
                  <a:gd name="T27" fmla="*/ 20 h 234"/>
                  <a:gd name="T28" fmla="*/ 58 w 97"/>
                  <a:gd name="T29" fmla="*/ 20 h 234"/>
                  <a:gd name="T30" fmla="*/ 58 w 97"/>
                  <a:gd name="T31" fmla="*/ 176 h 234"/>
                  <a:gd name="T32" fmla="*/ 39 w 97"/>
                  <a:gd name="T33" fmla="*/ 176 h 234"/>
                  <a:gd name="T34" fmla="*/ 39 w 97"/>
                  <a:gd name="T35" fmla="*/ 20 h 234"/>
                  <a:gd name="T36" fmla="*/ 58 w 97"/>
                  <a:gd name="T37" fmla="*/ 195 h 234"/>
                  <a:gd name="T38" fmla="*/ 58 w 97"/>
                  <a:gd name="T39" fmla="*/ 215 h 234"/>
                  <a:gd name="T40" fmla="*/ 39 w 97"/>
                  <a:gd name="T41" fmla="*/ 215 h 234"/>
                  <a:gd name="T42" fmla="*/ 39 w 97"/>
                  <a:gd name="T43" fmla="*/ 195 h 234"/>
                  <a:gd name="T44" fmla="*/ 58 w 97"/>
                  <a:gd name="T45" fmla="*/ 19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7" h="234">
                    <a:moveTo>
                      <a:pt x="19" y="234"/>
                    </a:moveTo>
                    <a:lnTo>
                      <a:pt x="78" y="234"/>
                    </a:lnTo>
                    <a:lnTo>
                      <a:pt x="78" y="195"/>
                    </a:lnTo>
                    <a:lnTo>
                      <a:pt x="97" y="195"/>
                    </a:lnTo>
                    <a:lnTo>
                      <a:pt x="97" y="176"/>
                    </a:lnTo>
                    <a:lnTo>
                      <a:pt x="78" y="176"/>
                    </a:lnTo>
                    <a:lnTo>
                      <a:pt x="78" y="0"/>
                    </a:lnTo>
                    <a:lnTo>
                      <a:pt x="19" y="0"/>
                    </a:lnTo>
                    <a:lnTo>
                      <a:pt x="19" y="176"/>
                    </a:lnTo>
                    <a:lnTo>
                      <a:pt x="0" y="176"/>
                    </a:lnTo>
                    <a:lnTo>
                      <a:pt x="0" y="195"/>
                    </a:lnTo>
                    <a:lnTo>
                      <a:pt x="19" y="195"/>
                    </a:lnTo>
                    <a:lnTo>
                      <a:pt x="19" y="234"/>
                    </a:lnTo>
                    <a:close/>
                    <a:moveTo>
                      <a:pt x="39" y="20"/>
                    </a:moveTo>
                    <a:lnTo>
                      <a:pt x="58" y="20"/>
                    </a:lnTo>
                    <a:lnTo>
                      <a:pt x="58" y="176"/>
                    </a:lnTo>
                    <a:lnTo>
                      <a:pt x="39" y="176"/>
                    </a:lnTo>
                    <a:lnTo>
                      <a:pt x="39" y="20"/>
                    </a:lnTo>
                    <a:close/>
                    <a:moveTo>
                      <a:pt x="58" y="195"/>
                    </a:moveTo>
                    <a:lnTo>
                      <a:pt x="58" y="215"/>
                    </a:lnTo>
                    <a:lnTo>
                      <a:pt x="39" y="215"/>
                    </a:lnTo>
                    <a:lnTo>
                      <a:pt x="39" y="195"/>
                    </a:lnTo>
                    <a:lnTo>
                      <a:pt x="58" y="195"/>
                    </a:lnTo>
                    <a:close/>
                  </a:path>
                </a:pathLst>
              </a:custGeom>
              <a:solidFill>
                <a:srgbClr val="0072C6"/>
              </a:solidFill>
              <a:ln w="19050" cap="flat" cmpd="sng" algn="ctr">
                <a:solidFill>
                  <a:srgbClr val="FFFFFF"/>
                </a:solidFill>
                <a:prstDash val="solid"/>
                <a:headEnd type="none" w="med" len="med"/>
                <a:tailEnd type="none" w="med" len="med"/>
              </a:ln>
              <a:effectLst/>
              <a:extLst/>
            </p:spPr>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2744" kern="0">
                  <a:gradFill>
                    <a:gsLst>
                      <a:gs pos="1250">
                        <a:srgbClr val="505050"/>
                      </a:gs>
                      <a:gs pos="76000">
                        <a:srgbClr val="505050"/>
                      </a:gs>
                    </a:gsLst>
                    <a:lin ang="5400000" scaled="0"/>
                  </a:gradFill>
                </a:endParaRPr>
              </a:p>
            </p:txBody>
          </p:sp>
          <p:sp>
            <p:nvSpPr>
              <p:cNvPr id="128" name="Freeform 49"/>
              <p:cNvSpPr>
                <a:spLocks noEditPoints="1"/>
              </p:cNvSpPr>
              <p:nvPr/>
            </p:nvSpPr>
            <p:spPr bwMode="auto">
              <a:xfrm>
                <a:off x="4476" y="1525"/>
                <a:ext cx="97" cy="234"/>
              </a:xfrm>
              <a:custGeom>
                <a:avLst/>
                <a:gdLst>
                  <a:gd name="T0" fmla="*/ 19 w 97"/>
                  <a:gd name="T1" fmla="*/ 234 h 234"/>
                  <a:gd name="T2" fmla="*/ 78 w 97"/>
                  <a:gd name="T3" fmla="*/ 234 h 234"/>
                  <a:gd name="T4" fmla="*/ 78 w 97"/>
                  <a:gd name="T5" fmla="*/ 127 h 234"/>
                  <a:gd name="T6" fmla="*/ 97 w 97"/>
                  <a:gd name="T7" fmla="*/ 127 h 234"/>
                  <a:gd name="T8" fmla="*/ 97 w 97"/>
                  <a:gd name="T9" fmla="*/ 107 h 234"/>
                  <a:gd name="T10" fmla="*/ 78 w 97"/>
                  <a:gd name="T11" fmla="*/ 107 h 234"/>
                  <a:gd name="T12" fmla="*/ 78 w 97"/>
                  <a:gd name="T13" fmla="*/ 0 h 234"/>
                  <a:gd name="T14" fmla="*/ 19 w 97"/>
                  <a:gd name="T15" fmla="*/ 0 h 234"/>
                  <a:gd name="T16" fmla="*/ 19 w 97"/>
                  <a:gd name="T17" fmla="*/ 107 h 234"/>
                  <a:gd name="T18" fmla="*/ 0 w 97"/>
                  <a:gd name="T19" fmla="*/ 107 h 234"/>
                  <a:gd name="T20" fmla="*/ 0 w 97"/>
                  <a:gd name="T21" fmla="*/ 127 h 234"/>
                  <a:gd name="T22" fmla="*/ 19 w 97"/>
                  <a:gd name="T23" fmla="*/ 127 h 234"/>
                  <a:gd name="T24" fmla="*/ 19 w 97"/>
                  <a:gd name="T25" fmla="*/ 234 h 234"/>
                  <a:gd name="T26" fmla="*/ 58 w 97"/>
                  <a:gd name="T27" fmla="*/ 215 h 234"/>
                  <a:gd name="T28" fmla="*/ 39 w 97"/>
                  <a:gd name="T29" fmla="*/ 215 h 234"/>
                  <a:gd name="T30" fmla="*/ 39 w 97"/>
                  <a:gd name="T31" fmla="*/ 127 h 234"/>
                  <a:gd name="T32" fmla="*/ 58 w 97"/>
                  <a:gd name="T33" fmla="*/ 127 h 234"/>
                  <a:gd name="T34" fmla="*/ 58 w 97"/>
                  <a:gd name="T35" fmla="*/ 215 h 234"/>
                  <a:gd name="T36" fmla="*/ 39 w 97"/>
                  <a:gd name="T37" fmla="*/ 20 h 234"/>
                  <a:gd name="T38" fmla="*/ 58 w 97"/>
                  <a:gd name="T39" fmla="*/ 20 h 234"/>
                  <a:gd name="T40" fmla="*/ 58 w 97"/>
                  <a:gd name="T41" fmla="*/ 107 h 234"/>
                  <a:gd name="T42" fmla="*/ 39 w 97"/>
                  <a:gd name="T43" fmla="*/ 107 h 234"/>
                  <a:gd name="T44" fmla="*/ 39 w 97"/>
                  <a:gd name="T45" fmla="*/ 20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7" h="234">
                    <a:moveTo>
                      <a:pt x="19" y="234"/>
                    </a:moveTo>
                    <a:lnTo>
                      <a:pt x="78" y="234"/>
                    </a:lnTo>
                    <a:lnTo>
                      <a:pt x="78" y="127"/>
                    </a:lnTo>
                    <a:lnTo>
                      <a:pt x="97" y="127"/>
                    </a:lnTo>
                    <a:lnTo>
                      <a:pt x="97" y="107"/>
                    </a:lnTo>
                    <a:lnTo>
                      <a:pt x="78" y="107"/>
                    </a:lnTo>
                    <a:lnTo>
                      <a:pt x="78" y="0"/>
                    </a:lnTo>
                    <a:lnTo>
                      <a:pt x="19" y="0"/>
                    </a:lnTo>
                    <a:lnTo>
                      <a:pt x="19" y="107"/>
                    </a:lnTo>
                    <a:lnTo>
                      <a:pt x="0" y="107"/>
                    </a:lnTo>
                    <a:lnTo>
                      <a:pt x="0" y="127"/>
                    </a:lnTo>
                    <a:lnTo>
                      <a:pt x="19" y="127"/>
                    </a:lnTo>
                    <a:lnTo>
                      <a:pt x="19" y="234"/>
                    </a:lnTo>
                    <a:close/>
                    <a:moveTo>
                      <a:pt x="58" y="215"/>
                    </a:moveTo>
                    <a:lnTo>
                      <a:pt x="39" y="215"/>
                    </a:lnTo>
                    <a:lnTo>
                      <a:pt x="39" y="127"/>
                    </a:lnTo>
                    <a:lnTo>
                      <a:pt x="58" y="127"/>
                    </a:lnTo>
                    <a:lnTo>
                      <a:pt x="58" y="215"/>
                    </a:lnTo>
                    <a:close/>
                    <a:moveTo>
                      <a:pt x="39" y="20"/>
                    </a:moveTo>
                    <a:lnTo>
                      <a:pt x="58" y="20"/>
                    </a:lnTo>
                    <a:lnTo>
                      <a:pt x="58" y="107"/>
                    </a:lnTo>
                    <a:lnTo>
                      <a:pt x="39" y="107"/>
                    </a:lnTo>
                    <a:lnTo>
                      <a:pt x="39" y="20"/>
                    </a:lnTo>
                    <a:close/>
                  </a:path>
                </a:pathLst>
              </a:custGeom>
              <a:solidFill>
                <a:srgbClr val="0072C6"/>
              </a:solidFill>
              <a:ln w="19050" cap="flat" cmpd="sng" algn="ctr">
                <a:solidFill>
                  <a:srgbClr val="FFFFFF"/>
                </a:solidFill>
                <a:prstDash val="solid"/>
                <a:headEnd type="none" w="med" len="med"/>
                <a:tailEnd type="none" w="med" len="med"/>
              </a:ln>
              <a:effectLst/>
              <a:extLst/>
            </p:spPr>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2744" kern="0">
                  <a:gradFill>
                    <a:gsLst>
                      <a:gs pos="1250">
                        <a:srgbClr val="505050"/>
                      </a:gs>
                      <a:gs pos="76000">
                        <a:srgbClr val="505050"/>
                      </a:gs>
                    </a:gsLst>
                    <a:lin ang="5400000" scaled="0"/>
                  </a:gradFill>
                </a:endParaRPr>
              </a:p>
            </p:txBody>
          </p:sp>
          <p:sp>
            <p:nvSpPr>
              <p:cNvPr id="129" name="Freeform 50"/>
              <p:cNvSpPr>
                <a:spLocks noEditPoints="1"/>
              </p:cNvSpPr>
              <p:nvPr/>
            </p:nvSpPr>
            <p:spPr bwMode="auto">
              <a:xfrm>
                <a:off x="4573" y="1525"/>
                <a:ext cx="97" cy="234"/>
              </a:xfrm>
              <a:custGeom>
                <a:avLst/>
                <a:gdLst>
                  <a:gd name="T0" fmla="*/ 97 w 97"/>
                  <a:gd name="T1" fmla="*/ 39 h 234"/>
                  <a:gd name="T2" fmla="*/ 78 w 97"/>
                  <a:gd name="T3" fmla="*/ 39 h 234"/>
                  <a:gd name="T4" fmla="*/ 78 w 97"/>
                  <a:gd name="T5" fmla="*/ 0 h 234"/>
                  <a:gd name="T6" fmla="*/ 19 w 97"/>
                  <a:gd name="T7" fmla="*/ 0 h 234"/>
                  <a:gd name="T8" fmla="*/ 19 w 97"/>
                  <a:gd name="T9" fmla="*/ 39 h 234"/>
                  <a:gd name="T10" fmla="*/ 0 w 97"/>
                  <a:gd name="T11" fmla="*/ 39 h 234"/>
                  <a:gd name="T12" fmla="*/ 0 w 97"/>
                  <a:gd name="T13" fmla="*/ 59 h 234"/>
                  <a:gd name="T14" fmla="*/ 19 w 97"/>
                  <a:gd name="T15" fmla="*/ 59 h 234"/>
                  <a:gd name="T16" fmla="*/ 19 w 97"/>
                  <a:gd name="T17" fmla="*/ 234 h 234"/>
                  <a:gd name="T18" fmla="*/ 78 w 97"/>
                  <a:gd name="T19" fmla="*/ 234 h 234"/>
                  <a:gd name="T20" fmla="*/ 78 w 97"/>
                  <a:gd name="T21" fmla="*/ 59 h 234"/>
                  <a:gd name="T22" fmla="*/ 97 w 97"/>
                  <a:gd name="T23" fmla="*/ 59 h 234"/>
                  <a:gd name="T24" fmla="*/ 97 w 97"/>
                  <a:gd name="T25" fmla="*/ 39 h 234"/>
                  <a:gd name="T26" fmla="*/ 39 w 97"/>
                  <a:gd name="T27" fmla="*/ 20 h 234"/>
                  <a:gd name="T28" fmla="*/ 58 w 97"/>
                  <a:gd name="T29" fmla="*/ 20 h 234"/>
                  <a:gd name="T30" fmla="*/ 58 w 97"/>
                  <a:gd name="T31" fmla="*/ 39 h 234"/>
                  <a:gd name="T32" fmla="*/ 39 w 97"/>
                  <a:gd name="T33" fmla="*/ 39 h 234"/>
                  <a:gd name="T34" fmla="*/ 39 w 97"/>
                  <a:gd name="T35" fmla="*/ 20 h 234"/>
                  <a:gd name="T36" fmla="*/ 58 w 97"/>
                  <a:gd name="T37" fmla="*/ 215 h 234"/>
                  <a:gd name="T38" fmla="*/ 39 w 97"/>
                  <a:gd name="T39" fmla="*/ 215 h 234"/>
                  <a:gd name="T40" fmla="*/ 39 w 97"/>
                  <a:gd name="T41" fmla="*/ 59 h 234"/>
                  <a:gd name="T42" fmla="*/ 58 w 97"/>
                  <a:gd name="T43" fmla="*/ 59 h 234"/>
                  <a:gd name="T44" fmla="*/ 58 w 97"/>
                  <a:gd name="T45"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7" h="234">
                    <a:moveTo>
                      <a:pt x="97" y="39"/>
                    </a:moveTo>
                    <a:lnTo>
                      <a:pt x="78" y="39"/>
                    </a:lnTo>
                    <a:lnTo>
                      <a:pt x="78" y="0"/>
                    </a:lnTo>
                    <a:lnTo>
                      <a:pt x="19" y="0"/>
                    </a:lnTo>
                    <a:lnTo>
                      <a:pt x="19" y="39"/>
                    </a:lnTo>
                    <a:lnTo>
                      <a:pt x="0" y="39"/>
                    </a:lnTo>
                    <a:lnTo>
                      <a:pt x="0" y="59"/>
                    </a:lnTo>
                    <a:lnTo>
                      <a:pt x="19" y="59"/>
                    </a:lnTo>
                    <a:lnTo>
                      <a:pt x="19" y="234"/>
                    </a:lnTo>
                    <a:lnTo>
                      <a:pt x="78" y="234"/>
                    </a:lnTo>
                    <a:lnTo>
                      <a:pt x="78" y="59"/>
                    </a:lnTo>
                    <a:lnTo>
                      <a:pt x="97" y="59"/>
                    </a:lnTo>
                    <a:lnTo>
                      <a:pt x="97" y="39"/>
                    </a:lnTo>
                    <a:close/>
                    <a:moveTo>
                      <a:pt x="39" y="20"/>
                    </a:moveTo>
                    <a:lnTo>
                      <a:pt x="58" y="20"/>
                    </a:lnTo>
                    <a:lnTo>
                      <a:pt x="58" y="39"/>
                    </a:lnTo>
                    <a:lnTo>
                      <a:pt x="39" y="39"/>
                    </a:lnTo>
                    <a:lnTo>
                      <a:pt x="39" y="20"/>
                    </a:lnTo>
                    <a:close/>
                    <a:moveTo>
                      <a:pt x="58" y="215"/>
                    </a:moveTo>
                    <a:lnTo>
                      <a:pt x="39" y="215"/>
                    </a:lnTo>
                    <a:lnTo>
                      <a:pt x="39" y="59"/>
                    </a:lnTo>
                    <a:lnTo>
                      <a:pt x="58" y="59"/>
                    </a:lnTo>
                    <a:lnTo>
                      <a:pt x="58" y="215"/>
                    </a:lnTo>
                    <a:close/>
                  </a:path>
                </a:pathLst>
              </a:custGeom>
              <a:solidFill>
                <a:srgbClr val="0072C6"/>
              </a:solidFill>
              <a:ln w="19050" cap="flat" cmpd="sng" algn="ctr">
                <a:solidFill>
                  <a:srgbClr val="FFFFFF"/>
                </a:solidFill>
                <a:prstDash val="solid"/>
                <a:headEnd type="none" w="med" len="med"/>
                <a:tailEnd type="none" w="med" len="med"/>
              </a:ln>
              <a:effectLst/>
              <a:extLst/>
            </p:spPr>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2744" kern="0">
                  <a:gradFill>
                    <a:gsLst>
                      <a:gs pos="1250">
                        <a:srgbClr val="505050"/>
                      </a:gs>
                      <a:gs pos="76000">
                        <a:srgbClr val="505050"/>
                      </a:gs>
                    </a:gsLst>
                    <a:lin ang="5400000" scaled="0"/>
                  </a:gradFill>
                </a:endParaRPr>
              </a:p>
            </p:txBody>
          </p:sp>
        </p:grpSp>
      </p:grpSp>
      <p:sp>
        <p:nvSpPr>
          <p:cNvPr id="71" name="TextBox 70"/>
          <p:cNvSpPr txBox="1"/>
          <p:nvPr/>
        </p:nvSpPr>
        <p:spPr>
          <a:xfrm>
            <a:off x="8832369" y="2648592"/>
            <a:ext cx="3429924" cy="1043701"/>
          </a:xfrm>
          <a:prstGeom prst="rect">
            <a:avLst/>
          </a:prstGeom>
          <a:noFill/>
        </p:spPr>
        <p:txBody>
          <a:bodyPr wrap="none" lIns="179238" tIns="143391" rIns="179238" bIns="143391" rtlCol="0">
            <a:spAutoFit/>
          </a:bodyPr>
          <a:lstStyle/>
          <a:p>
            <a:pPr defTabSz="896203">
              <a:lnSpc>
                <a:spcPct val="90000"/>
              </a:lnSpc>
              <a:spcAft>
                <a:spcPts val="588"/>
              </a:spcAft>
            </a:pPr>
            <a:r>
              <a:rPr lang="en-US" sz="1764" kern="0" dirty="0">
                <a:gradFill>
                  <a:gsLst>
                    <a:gs pos="2917">
                      <a:srgbClr val="505050"/>
                    </a:gs>
                    <a:gs pos="30000">
                      <a:srgbClr val="505050"/>
                    </a:gs>
                  </a:gsLst>
                  <a:lin ang="5400000" scaled="0"/>
                </a:gradFill>
              </a:rPr>
              <a:t>Vehicle diagnostic</a:t>
            </a:r>
          </a:p>
          <a:p>
            <a:pPr defTabSz="896203">
              <a:lnSpc>
                <a:spcPct val="90000"/>
              </a:lnSpc>
              <a:spcAft>
                <a:spcPts val="588"/>
              </a:spcAft>
            </a:pPr>
            <a:r>
              <a:rPr lang="en-US" sz="1568" i="1" kern="0" dirty="0">
                <a:solidFill>
                  <a:schemeClr val="accent1"/>
                </a:solidFill>
              </a:rPr>
              <a:t>The front brakes are needing </a:t>
            </a:r>
            <a:br>
              <a:rPr lang="en-US" sz="1568" i="1" kern="0" dirty="0">
                <a:solidFill>
                  <a:schemeClr val="accent1"/>
                </a:solidFill>
              </a:rPr>
            </a:br>
            <a:r>
              <a:rPr lang="en-US" sz="1568" i="1" kern="0" dirty="0">
                <a:solidFill>
                  <a:schemeClr val="accent1"/>
                </a:solidFill>
              </a:rPr>
              <a:t>to be serviced sooner than expected</a:t>
            </a:r>
          </a:p>
        </p:txBody>
      </p:sp>
      <p:sp>
        <p:nvSpPr>
          <p:cNvPr id="72" name="TextBox 71"/>
          <p:cNvSpPr txBox="1"/>
          <p:nvPr/>
        </p:nvSpPr>
        <p:spPr>
          <a:xfrm>
            <a:off x="8832369" y="4997949"/>
            <a:ext cx="3363246" cy="1043701"/>
          </a:xfrm>
          <a:prstGeom prst="rect">
            <a:avLst/>
          </a:prstGeom>
          <a:noFill/>
        </p:spPr>
        <p:txBody>
          <a:bodyPr wrap="none" lIns="179238" tIns="143391" rIns="179238" bIns="143391" rtlCol="0">
            <a:spAutoFit/>
          </a:bodyPr>
          <a:lstStyle/>
          <a:p>
            <a:pPr defTabSz="896203">
              <a:lnSpc>
                <a:spcPct val="90000"/>
              </a:lnSpc>
              <a:spcAft>
                <a:spcPts val="588"/>
              </a:spcAft>
            </a:pPr>
            <a:r>
              <a:rPr lang="en-US" sz="1764" kern="0" dirty="0">
                <a:gradFill>
                  <a:gsLst>
                    <a:gs pos="2917">
                      <a:srgbClr val="505050"/>
                    </a:gs>
                    <a:gs pos="30000">
                      <a:srgbClr val="505050"/>
                    </a:gs>
                  </a:gsLst>
                  <a:lin ang="5400000" scaled="0"/>
                </a:gradFill>
              </a:rPr>
              <a:t>Usage-based insurance</a:t>
            </a:r>
          </a:p>
          <a:p>
            <a:pPr defTabSz="896203">
              <a:lnSpc>
                <a:spcPct val="90000"/>
              </a:lnSpc>
              <a:spcAft>
                <a:spcPts val="588"/>
              </a:spcAft>
            </a:pPr>
            <a:r>
              <a:rPr lang="en-US" sz="1568" i="1" kern="0" dirty="0">
                <a:solidFill>
                  <a:schemeClr val="accent1"/>
                </a:solidFill>
              </a:rPr>
              <a:t>3 vehicles have daily mileage</a:t>
            </a:r>
            <a:br>
              <a:rPr lang="en-US" sz="1568" i="1" kern="0" dirty="0">
                <a:solidFill>
                  <a:schemeClr val="accent1"/>
                </a:solidFill>
              </a:rPr>
            </a:br>
            <a:r>
              <a:rPr lang="en-US" sz="1568" i="1" kern="0" dirty="0">
                <a:solidFill>
                  <a:schemeClr val="accent1"/>
                </a:solidFill>
              </a:rPr>
              <a:t>that qualify them for reduced rates</a:t>
            </a:r>
          </a:p>
        </p:txBody>
      </p:sp>
      <p:sp>
        <p:nvSpPr>
          <p:cNvPr id="74" name="TextBox 73"/>
          <p:cNvSpPr txBox="1"/>
          <p:nvPr/>
        </p:nvSpPr>
        <p:spPr>
          <a:xfrm>
            <a:off x="4491710" y="3795418"/>
            <a:ext cx="2581351" cy="1043701"/>
          </a:xfrm>
          <a:prstGeom prst="rect">
            <a:avLst/>
          </a:prstGeom>
          <a:noFill/>
        </p:spPr>
        <p:txBody>
          <a:bodyPr wrap="none" lIns="179238" tIns="143391" rIns="179238" bIns="143391" rtlCol="0">
            <a:spAutoFit/>
          </a:bodyPr>
          <a:lstStyle/>
          <a:p>
            <a:pPr defTabSz="896203">
              <a:lnSpc>
                <a:spcPct val="90000"/>
              </a:lnSpc>
              <a:spcAft>
                <a:spcPts val="588"/>
              </a:spcAft>
            </a:pPr>
            <a:r>
              <a:rPr lang="en-US" sz="1764" kern="0" dirty="0">
                <a:gradFill>
                  <a:gsLst>
                    <a:gs pos="2917">
                      <a:srgbClr val="505050"/>
                    </a:gs>
                    <a:gs pos="30000">
                      <a:srgbClr val="505050"/>
                    </a:gs>
                  </a:gsLst>
                  <a:lin ang="5400000" scaled="0"/>
                </a:gradFill>
              </a:rPr>
              <a:t>Fleet management</a:t>
            </a:r>
          </a:p>
          <a:p>
            <a:pPr defTabSz="896203">
              <a:lnSpc>
                <a:spcPct val="90000"/>
              </a:lnSpc>
              <a:spcAft>
                <a:spcPts val="588"/>
              </a:spcAft>
            </a:pPr>
            <a:r>
              <a:rPr lang="en-US" sz="1568" i="1" kern="0" dirty="0">
                <a:solidFill>
                  <a:schemeClr val="accent1"/>
                </a:solidFill>
              </a:rPr>
              <a:t>24 vehicles are shown on </a:t>
            </a:r>
            <a:br>
              <a:rPr lang="en-US" sz="1568" i="1" kern="0" dirty="0">
                <a:solidFill>
                  <a:schemeClr val="accent1"/>
                </a:solidFill>
              </a:rPr>
            </a:br>
            <a:r>
              <a:rPr lang="en-US" sz="1568" i="1" kern="0" dirty="0">
                <a:solidFill>
                  <a:schemeClr val="accent1"/>
                </a:solidFill>
              </a:rPr>
              <a:t>a map, showing status</a:t>
            </a:r>
          </a:p>
        </p:txBody>
      </p:sp>
      <p:sp>
        <p:nvSpPr>
          <p:cNvPr id="75" name="TextBox 74"/>
          <p:cNvSpPr txBox="1"/>
          <p:nvPr/>
        </p:nvSpPr>
        <p:spPr>
          <a:xfrm>
            <a:off x="885008" y="3890436"/>
            <a:ext cx="2364290" cy="1043701"/>
          </a:xfrm>
          <a:prstGeom prst="rect">
            <a:avLst/>
          </a:prstGeom>
          <a:noFill/>
        </p:spPr>
        <p:txBody>
          <a:bodyPr wrap="none" lIns="179238" tIns="143391" rIns="179238" bIns="143391" rtlCol="0">
            <a:spAutoFit/>
          </a:bodyPr>
          <a:lstStyle/>
          <a:p>
            <a:pPr defTabSz="896203">
              <a:lnSpc>
                <a:spcPct val="90000"/>
              </a:lnSpc>
              <a:spcAft>
                <a:spcPts val="588"/>
              </a:spcAft>
            </a:pPr>
            <a:r>
              <a:rPr lang="en-US" sz="1764" kern="0" dirty="0">
                <a:gradFill>
                  <a:gsLst>
                    <a:gs pos="2917">
                      <a:srgbClr val="505050"/>
                    </a:gs>
                    <a:gs pos="30000">
                      <a:srgbClr val="505050"/>
                    </a:gs>
                  </a:gsLst>
                  <a:lin ang="5400000" scaled="0"/>
                </a:gradFill>
              </a:rPr>
              <a:t>Roadside assistance</a:t>
            </a:r>
          </a:p>
          <a:p>
            <a:pPr defTabSz="896203">
              <a:lnSpc>
                <a:spcPct val="90000"/>
              </a:lnSpc>
              <a:spcAft>
                <a:spcPts val="588"/>
              </a:spcAft>
            </a:pPr>
            <a:r>
              <a:rPr lang="en-US" sz="1568" i="1" kern="0" dirty="0">
                <a:solidFill>
                  <a:schemeClr val="accent1"/>
                </a:solidFill>
              </a:rPr>
              <a:t>Tow truck is on its way </a:t>
            </a:r>
            <a:br>
              <a:rPr lang="en-US" sz="1568" i="1" kern="0" dirty="0">
                <a:solidFill>
                  <a:schemeClr val="accent1"/>
                </a:solidFill>
              </a:rPr>
            </a:br>
            <a:r>
              <a:rPr lang="en-US" sz="1568" i="1" kern="0" dirty="0">
                <a:solidFill>
                  <a:schemeClr val="accent1"/>
                </a:solidFill>
              </a:rPr>
              <a:t>to vehicle B204</a:t>
            </a:r>
          </a:p>
        </p:txBody>
      </p:sp>
      <p:sp>
        <p:nvSpPr>
          <p:cNvPr id="76" name="TextBox 75"/>
          <p:cNvSpPr txBox="1"/>
          <p:nvPr/>
        </p:nvSpPr>
        <p:spPr>
          <a:xfrm>
            <a:off x="885008" y="4997948"/>
            <a:ext cx="2843596" cy="1260888"/>
          </a:xfrm>
          <a:prstGeom prst="rect">
            <a:avLst/>
          </a:prstGeom>
          <a:noFill/>
        </p:spPr>
        <p:txBody>
          <a:bodyPr wrap="none" lIns="179238" tIns="143391" rIns="179238" bIns="143391" rtlCol="0">
            <a:spAutoFit/>
          </a:bodyPr>
          <a:lstStyle/>
          <a:p>
            <a:pPr defTabSz="896203">
              <a:lnSpc>
                <a:spcPct val="90000"/>
              </a:lnSpc>
              <a:spcAft>
                <a:spcPts val="588"/>
              </a:spcAft>
            </a:pPr>
            <a:r>
              <a:rPr lang="en-US" sz="1764" kern="0" dirty="0">
                <a:gradFill>
                  <a:gsLst>
                    <a:gs pos="2917">
                      <a:srgbClr val="505050"/>
                    </a:gs>
                    <a:gs pos="30000">
                      <a:srgbClr val="505050"/>
                    </a:gs>
                  </a:gsLst>
                  <a:lin ang="5400000" scaled="0"/>
                </a:gradFill>
              </a:rPr>
              <a:t>Eco-driving</a:t>
            </a:r>
          </a:p>
          <a:p>
            <a:pPr defTabSz="896203">
              <a:lnSpc>
                <a:spcPct val="90000"/>
              </a:lnSpc>
              <a:spcAft>
                <a:spcPts val="588"/>
              </a:spcAft>
            </a:pPr>
            <a:r>
              <a:rPr lang="en-US" sz="1568" i="1" kern="0" dirty="0">
                <a:solidFill>
                  <a:schemeClr val="accent1"/>
                </a:solidFill>
              </a:rPr>
              <a:t>14/15 vehicles meet </a:t>
            </a:r>
            <a:br>
              <a:rPr lang="en-US" sz="1568" i="1" kern="0" dirty="0">
                <a:solidFill>
                  <a:schemeClr val="accent1"/>
                </a:solidFill>
              </a:rPr>
            </a:br>
            <a:r>
              <a:rPr lang="en-US" sz="1568" i="1" kern="0" dirty="0">
                <a:solidFill>
                  <a:schemeClr val="accent1"/>
                </a:solidFill>
              </a:rPr>
              <a:t>standards and 1 is scheduled</a:t>
            </a:r>
            <a:br>
              <a:rPr lang="en-US" sz="1568" i="1" kern="0" dirty="0">
                <a:solidFill>
                  <a:schemeClr val="accent1"/>
                </a:solidFill>
              </a:rPr>
            </a:br>
            <a:r>
              <a:rPr lang="en-US" sz="1568" i="1" kern="0" dirty="0">
                <a:solidFill>
                  <a:schemeClr val="accent1"/>
                </a:solidFill>
              </a:rPr>
              <a:t>for maintenance </a:t>
            </a:r>
          </a:p>
        </p:txBody>
      </p:sp>
      <p:sp>
        <p:nvSpPr>
          <p:cNvPr id="77" name="TextBox 76"/>
          <p:cNvSpPr txBox="1"/>
          <p:nvPr/>
        </p:nvSpPr>
        <p:spPr>
          <a:xfrm>
            <a:off x="4551940" y="4997949"/>
            <a:ext cx="2706975" cy="1043701"/>
          </a:xfrm>
          <a:prstGeom prst="rect">
            <a:avLst/>
          </a:prstGeom>
          <a:noFill/>
        </p:spPr>
        <p:txBody>
          <a:bodyPr wrap="none" lIns="179238" tIns="143391" rIns="179238" bIns="143391" rtlCol="0">
            <a:spAutoFit/>
          </a:bodyPr>
          <a:lstStyle/>
          <a:p>
            <a:pPr defTabSz="896203">
              <a:lnSpc>
                <a:spcPct val="90000"/>
              </a:lnSpc>
              <a:spcAft>
                <a:spcPts val="588"/>
              </a:spcAft>
            </a:pPr>
            <a:r>
              <a:rPr lang="en-US" sz="1764" kern="0" dirty="0">
                <a:gradFill>
                  <a:gsLst>
                    <a:gs pos="2917">
                      <a:srgbClr val="505050"/>
                    </a:gs>
                    <a:gs pos="30000">
                      <a:srgbClr val="505050"/>
                    </a:gs>
                  </a:gsLst>
                  <a:lin ang="5400000" scaled="0"/>
                </a:gradFill>
              </a:rPr>
              <a:t>Engine performance</a:t>
            </a:r>
          </a:p>
          <a:p>
            <a:pPr defTabSz="896203">
              <a:lnSpc>
                <a:spcPct val="90000"/>
              </a:lnSpc>
              <a:spcAft>
                <a:spcPts val="588"/>
              </a:spcAft>
            </a:pPr>
            <a:r>
              <a:rPr lang="en-US" sz="1568" i="1" kern="0" dirty="0">
                <a:solidFill>
                  <a:schemeClr val="accent1"/>
                </a:solidFill>
              </a:rPr>
              <a:t>Temperature is beyond the </a:t>
            </a:r>
            <a:br>
              <a:rPr lang="en-US" sz="1568" i="1" kern="0" dirty="0">
                <a:solidFill>
                  <a:schemeClr val="accent1"/>
                </a:solidFill>
              </a:rPr>
            </a:br>
            <a:r>
              <a:rPr lang="en-US" sz="1568" i="1" kern="0" dirty="0">
                <a:solidFill>
                  <a:schemeClr val="accent1"/>
                </a:solidFill>
              </a:rPr>
              <a:t>ideal range for 13 vehicles</a:t>
            </a:r>
          </a:p>
        </p:txBody>
      </p:sp>
      <p:sp>
        <p:nvSpPr>
          <p:cNvPr id="78" name="TextBox 77"/>
          <p:cNvSpPr txBox="1"/>
          <p:nvPr/>
        </p:nvSpPr>
        <p:spPr>
          <a:xfrm>
            <a:off x="8795357" y="3795418"/>
            <a:ext cx="2737642" cy="1043701"/>
          </a:xfrm>
          <a:prstGeom prst="rect">
            <a:avLst/>
          </a:prstGeom>
          <a:noFill/>
        </p:spPr>
        <p:txBody>
          <a:bodyPr wrap="none" lIns="179238" tIns="143391" rIns="179238" bIns="143391" rtlCol="0">
            <a:spAutoFit/>
          </a:bodyPr>
          <a:lstStyle/>
          <a:p>
            <a:pPr defTabSz="896203">
              <a:lnSpc>
                <a:spcPct val="90000"/>
              </a:lnSpc>
              <a:spcAft>
                <a:spcPts val="588"/>
              </a:spcAft>
            </a:pPr>
            <a:r>
              <a:rPr lang="en-US" sz="1764" kern="0" dirty="0">
                <a:gradFill>
                  <a:gsLst>
                    <a:gs pos="2917">
                      <a:srgbClr val="505050"/>
                    </a:gs>
                    <a:gs pos="30000">
                      <a:srgbClr val="505050"/>
                    </a:gs>
                  </a:gsLst>
                  <a:lin ang="5400000" scaled="0"/>
                </a:gradFill>
              </a:rPr>
              <a:t>Engine emission control</a:t>
            </a:r>
          </a:p>
          <a:p>
            <a:pPr defTabSz="896203">
              <a:lnSpc>
                <a:spcPct val="90000"/>
              </a:lnSpc>
              <a:spcAft>
                <a:spcPts val="588"/>
              </a:spcAft>
            </a:pPr>
            <a:r>
              <a:rPr lang="en-US" sz="1568" i="1" kern="0" dirty="0">
                <a:solidFill>
                  <a:schemeClr val="accent1"/>
                </a:solidFill>
              </a:rPr>
              <a:t>Vehicle B204 is driving in </a:t>
            </a:r>
            <a:br>
              <a:rPr lang="en-US" sz="1568" i="1" kern="0" dirty="0">
                <a:solidFill>
                  <a:schemeClr val="accent1"/>
                </a:solidFill>
              </a:rPr>
            </a:br>
            <a:r>
              <a:rPr lang="en-US" sz="1568" i="1" kern="0" dirty="0">
                <a:solidFill>
                  <a:schemeClr val="accent1"/>
                </a:solidFill>
              </a:rPr>
              <a:t>eco-mode 78% of the time</a:t>
            </a:r>
          </a:p>
        </p:txBody>
      </p:sp>
      <p:sp>
        <p:nvSpPr>
          <p:cNvPr id="69" name="Freeform 5"/>
          <p:cNvSpPr>
            <a:spLocks noEditPoints="1"/>
          </p:cNvSpPr>
          <p:nvPr/>
        </p:nvSpPr>
        <p:spPr bwMode="auto">
          <a:xfrm>
            <a:off x="1759271" y="2696405"/>
            <a:ext cx="2247668" cy="1021666"/>
          </a:xfrm>
          <a:custGeom>
            <a:avLst/>
            <a:gdLst>
              <a:gd name="T0" fmla="*/ 92 w 128"/>
              <a:gd name="T1" fmla="*/ 16 h 56"/>
              <a:gd name="T2" fmla="*/ 84 w 128"/>
              <a:gd name="T3" fmla="*/ 16 h 56"/>
              <a:gd name="T4" fmla="*/ 68 w 128"/>
              <a:gd name="T5" fmla="*/ 0 h 56"/>
              <a:gd name="T6" fmla="*/ 36 w 128"/>
              <a:gd name="T7" fmla="*/ 0 h 56"/>
              <a:gd name="T8" fmla="*/ 14 w 128"/>
              <a:gd name="T9" fmla="*/ 12 h 56"/>
              <a:gd name="T10" fmla="*/ 12 w 128"/>
              <a:gd name="T11" fmla="*/ 10 h 56"/>
              <a:gd name="T12" fmla="*/ 12 w 128"/>
              <a:gd name="T13" fmla="*/ 4 h 56"/>
              <a:gd name="T14" fmla="*/ 0 w 128"/>
              <a:gd name="T15" fmla="*/ 4 h 56"/>
              <a:gd name="T16" fmla="*/ 0 w 128"/>
              <a:gd name="T17" fmla="*/ 12 h 56"/>
              <a:gd name="T18" fmla="*/ 2 w 128"/>
              <a:gd name="T19" fmla="*/ 12 h 56"/>
              <a:gd name="T20" fmla="*/ 6 w 128"/>
              <a:gd name="T21" fmla="*/ 16 h 56"/>
              <a:gd name="T22" fmla="*/ 0 w 128"/>
              <a:gd name="T23" fmla="*/ 16 h 56"/>
              <a:gd name="T24" fmla="*/ 0 w 128"/>
              <a:gd name="T25" fmla="*/ 32 h 56"/>
              <a:gd name="T26" fmla="*/ 13 w 128"/>
              <a:gd name="T27" fmla="*/ 48 h 56"/>
              <a:gd name="T28" fmla="*/ 24 w 128"/>
              <a:gd name="T29" fmla="*/ 56 h 56"/>
              <a:gd name="T30" fmla="*/ 35 w 128"/>
              <a:gd name="T31" fmla="*/ 48 h 56"/>
              <a:gd name="T32" fmla="*/ 81 w 128"/>
              <a:gd name="T33" fmla="*/ 48 h 56"/>
              <a:gd name="T34" fmla="*/ 92 w 128"/>
              <a:gd name="T35" fmla="*/ 56 h 56"/>
              <a:gd name="T36" fmla="*/ 103 w 128"/>
              <a:gd name="T37" fmla="*/ 48 h 56"/>
              <a:gd name="T38" fmla="*/ 128 w 128"/>
              <a:gd name="T39" fmla="*/ 48 h 56"/>
              <a:gd name="T40" fmla="*/ 128 w 128"/>
              <a:gd name="T41" fmla="*/ 35 h 56"/>
              <a:gd name="T42" fmla="*/ 127 w 128"/>
              <a:gd name="T43" fmla="*/ 33 h 56"/>
              <a:gd name="T44" fmla="*/ 92 w 128"/>
              <a:gd name="T45" fmla="*/ 16 h 56"/>
              <a:gd name="T46" fmla="*/ 73 w 128"/>
              <a:gd name="T47" fmla="*/ 16 h 56"/>
              <a:gd name="T48" fmla="*/ 44 w 128"/>
              <a:gd name="T49" fmla="*/ 16 h 56"/>
              <a:gd name="T50" fmla="*/ 44 w 128"/>
              <a:gd name="T51" fmla="*/ 8 h 56"/>
              <a:gd name="T52" fmla="*/ 65 w 128"/>
              <a:gd name="T53" fmla="*/ 8 h 56"/>
              <a:gd name="T54" fmla="*/ 73 w 128"/>
              <a:gd name="T55" fmla="*/ 16 h 56"/>
              <a:gd name="T56" fmla="*/ 36 w 128"/>
              <a:gd name="T57" fmla="*/ 9 h 56"/>
              <a:gd name="T58" fmla="*/ 36 w 128"/>
              <a:gd name="T59" fmla="*/ 16 h 56"/>
              <a:gd name="T60" fmla="*/ 24 w 128"/>
              <a:gd name="T61" fmla="*/ 16 h 56"/>
              <a:gd name="T62" fmla="*/ 36 w 128"/>
              <a:gd name="T63" fmla="*/ 9 h 56"/>
              <a:gd name="T64" fmla="*/ 24 w 128"/>
              <a:gd name="T65" fmla="*/ 48 h 56"/>
              <a:gd name="T66" fmla="*/ 20 w 128"/>
              <a:gd name="T67" fmla="*/ 44 h 56"/>
              <a:gd name="T68" fmla="*/ 24 w 128"/>
              <a:gd name="T69" fmla="*/ 40 h 56"/>
              <a:gd name="T70" fmla="*/ 28 w 128"/>
              <a:gd name="T71" fmla="*/ 44 h 56"/>
              <a:gd name="T72" fmla="*/ 24 w 128"/>
              <a:gd name="T73" fmla="*/ 48 h 56"/>
              <a:gd name="T74" fmla="*/ 92 w 128"/>
              <a:gd name="T75" fmla="*/ 48 h 56"/>
              <a:gd name="T76" fmla="*/ 88 w 128"/>
              <a:gd name="T77" fmla="*/ 44 h 56"/>
              <a:gd name="T78" fmla="*/ 92 w 128"/>
              <a:gd name="T79" fmla="*/ 40 h 56"/>
              <a:gd name="T80" fmla="*/ 96 w 128"/>
              <a:gd name="T81" fmla="*/ 44 h 56"/>
              <a:gd name="T82" fmla="*/ 92 w 128"/>
              <a:gd name="T83" fmla="*/ 48 h 56"/>
              <a:gd name="T84" fmla="*/ 120 w 128"/>
              <a:gd name="T85" fmla="*/ 40 h 56"/>
              <a:gd name="T86" fmla="*/ 103 w 128"/>
              <a:gd name="T87" fmla="*/ 40 h 56"/>
              <a:gd name="T88" fmla="*/ 92 w 128"/>
              <a:gd name="T89" fmla="*/ 32 h 56"/>
              <a:gd name="T90" fmla="*/ 81 w 128"/>
              <a:gd name="T91" fmla="*/ 40 h 56"/>
              <a:gd name="T92" fmla="*/ 35 w 128"/>
              <a:gd name="T93" fmla="*/ 40 h 56"/>
              <a:gd name="T94" fmla="*/ 24 w 128"/>
              <a:gd name="T95" fmla="*/ 32 h 56"/>
              <a:gd name="T96" fmla="*/ 13 w 128"/>
              <a:gd name="T97" fmla="*/ 39 h 56"/>
              <a:gd name="T98" fmla="*/ 8 w 128"/>
              <a:gd name="T99" fmla="*/ 32 h 56"/>
              <a:gd name="T100" fmla="*/ 8 w 128"/>
              <a:gd name="T101" fmla="*/ 24 h 56"/>
              <a:gd name="T102" fmla="*/ 84 w 128"/>
              <a:gd name="T103" fmla="*/ 24 h 56"/>
              <a:gd name="T104" fmla="*/ 92 w 128"/>
              <a:gd name="T105" fmla="*/ 24 h 56"/>
              <a:gd name="T106" fmla="*/ 120 w 128"/>
              <a:gd name="T107" fmla="*/ 37 h 56"/>
              <a:gd name="T108" fmla="*/ 120 w 128"/>
              <a:gd name="T109" fmla="*/ 4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8" h="56">
                <a:moveTo>
                  <a:pt x="92" y="16"/>
                </a:moveTo>
                <a:cubicBezTo>
                  <a:pt x="84" y="16"/>
                  <a:pt x="84" y="16"/>
                  <a:pt x="84" y="16"/>
                </a:cubicBezTo>
                <a:cubicBezTo>
                  <a:pt x="68" y="0"/>
                  <a:pt x="68" y="0"/>
                  <a:pt x="68" y="0"/>
                </a:cubicBezTo>
                <a:cubicBezTo>
                  <a:pt x="36" y="0"/>
                  <a:pt x="36" y="0"/>
                  <a:pt x="36" y="0"/>
                </a:cubicBezTo>
                <a:cubicBezTo>
                  <a:pt x="14" y="12"/>
                  <a:pt x="14" y="12"/>
                  <a:pt x="14" y="12"/>
                </a:cubicBezTo>
                <a:cubicBezTo>
                  <a:pt x="12" y="10"/>
                  <a:pt x="12" y="10"/>
                  <a:pt x="12" y="10"/>
                </a:cubicBezTo>
                <a:cubicBezTo>
                  <a:pt x="12" y="4"/>
                  <a:pt x="12" y="4"/>
                  <a:pt x="12" y="4"/>
                </a:cubicBezTo>
                <a:cubicBezTo>
                  <a:pt x="0" y="4"/>
                  <a:pt x="0" y="4"/>
                  <a:pt x="0" y="4"/>
                </a:cubicBezTo>
                <a:cubicBezTo>
                  <a:pt x="0" y="12"/>
                  <a:pt x="0" y="12"/>
                  <a:pt x="0" y="12"/>
                </a:cubicBezTo>
                <a:cubicBezTo>
                  <a:pt x="2" y="12"/>
                  <a:pt x="2" y="12"/>
                  <a:pt x="2" y="12"/>
                </a:cubicBezTo>
                <a:cubicBezTo>
                  <a:pt x="6" y="16"/>
                  <a:pt x="6" y="16"/>
                  <a:pt x="6" y="16"/>
                </a:cubicBezTo>
                <a:cubicBezTo>
                  <a:pt x="0" y="16"/>
                  <a:pt x="0" y="16"/>
                  <a:pt x="0" y="16"/>
                </a:cubicBezTo>
                <a:cubicBezTo>
                  <a:pt x="0" y="32"/>
                  <a:pt x="0" y="32"/>
                  <a:pt x="0" y="32"/>
                </a:cubicBezTo>
                <a:cubicBezTo>
                  <a:pt x="0" y="40"/>
                  <a:pt x="5" y="46"/>
                  <a:pt x="13" y="48"/>
                </a:cubicBezTo>
                <a:cubicBezTo>
                  <a:pt x="14" y="52"/>
                  <a:pt x="19" y="56"/>
                  <a:pt x="24" y="56"/>
                </a:cubicBezTo>
                <a:cubicBezTo>
                  <a:pt x="29" y="56"/>
                  <a:pt x="34" y="53"/>
                  <a:pt x="35" y="48"/>
                </a:cubicBezTo>
                <a:cubicBezTo>
                  <a:pt x="81" y="48"/>
                  <a:pt x="81" y="48"/>
                  <a:pt x="81" y="48"/>
                </a:cubicBezTo>
                <a:cubicBezTo>
                  <a:pt x="82" y="53"/>
                  <a:pt x="87" y="56"/>
                  <a:pt x="92" y="56"/>
                </a:cubicBezTo>
                <a:cubicBezTo>
                  <a:pt x="97" y="56"/>
                  <a:pt x="102" y="53"/>
                  <a:pt x="103" y="48"/>
                </a:cubicBezTo>
                <a:cubicBezTo>
                  <a:pt x="128" y="48"/>
                  <a:pt x="128" y="48"/>
                  <a:pt x="128" y="48"/>
                </a:cubicBezTo>
                <a:cubicBezTo>
                  <a:pt x="128" y="35"/>
                  <a:pt x="128" y="35"/>
                  <a:pt x="128" y="35"/>
                </a:cubicBezTo>
                <a:cubicBezTo>
                  <a:pt x="127" y="33"/>
                  <a:pt x="127" y="33"/>
                  <a:pt x="127" y="33"/>
                </a:cubicBezTo>
                <a:cubicBezTo>
                  <a:pt x="118" y="22"/>
                  <a:pt x="105" y="16"/>
                  <a:pt x="92" y="16"/>
                </a:cubicBezTo>
                <a:close/>
                <a:moveTo>
                  <a:pt x="73" y="16"/>
                </a:moveTo>
                <a:cubicBezTo>
                  <a:pt x="44" y="16"/>
                  <a:pt x="44" y="16"/>
                  <a:pt x="44" y="16"/>
                </a:cubicBezTo>
                <a:cubicBezTo>
                  <a:pt x="44" y="8"/>
                  <a:pt x="44" y="8"/>
                  <a:pt x="44" y="8"/>
                </a:cubicBezTo>
                <a:cubicBezTo>
                  <a:pt x="65" y="8"/>
                  <a:pt x="65" y="8"/>
                  <a:pt x="65" y="8"/>
                </a:cubicBezTo>
                <a:lnTo>
                  <a:pt x="73" y="16"/>
                </a:lnTo>
                <a:close/>
                <a:moveTo>
                  <a:pt x="36" y="9"/>
                </a:moveTo>
                <a:cubicBezTo>
                  <a:pt x="36" y="16"/>
                  <a:pt x="36" y="16"/>
                  <a:pt x="36" y="16"/>
                </a:cubicBezTo>
                <a:cubicBezTo>
                  <a:pt x="24" y="16"/>
                  <a:pt x="24" y="16"/>
                  <a:pt x="24" y="16"/>
                </a:cubicBezTo>
                <a:lnTo>
                  <a:pt x="36" y="9"/>
                </a:lnTo>
                <a:close/>
                <a:moveTo>
                  <a:pt x="24" y="48"/>
                </a:moveTo>
                <a:cubicBezTo>
                  <a:pt x="22" y="48"/>
                  <a:pt x="20" y="46"/>
                  <a:pt x="20" y="44"/>
                </a:cubicBezTo>
                <a:cubicBezTo>
                  <a:pt x="20" y="42"/>
                  <a:pt x="22" y="40"/>
                  <a:pt x="24" y="40"/>
                </a:cubicBezTo>
                <a:cubicBezTo>
                  <a:pt x="26" y="40"/>
                  <a:pt x="28" y="42"/>
                  <a:pt x="28" y="44"/>
                </a:cubicBezTo>
                <a:cubicBezTo>
                  <a:pt x="28" y="46"/>
                  <a:pt x="26" y="48"/>
                  <a:pt x="24" y="48"/>
                </a:cubicBezTo>
                <a:close/>
                <a:moveTo>
                  <a:pt x="92" y="48"/>
                </a:moveTo>
                <a:cubicBezTo>
                  <a:pt x="90" y="48"/>
                  <a:pt x="88" y="46"/>
                  <a:pt x="88" y="44"/>
                </a:cubicBezTo>
                <a:cubicBezTo>
                  <a:pt x="88" y="42"/>
                  <a:pt x="90" y="40"/>
                  <a:pt x="92" y="40"/>
                </a:cubicBezTo>
                <a:cubicBezTo>
                  <a:pt x="94" y="40"/>
                  <a:pt x="96" y="42"/>
                  <a:pt x="96" y="44"/>
                </a:cubicBezTo>
                <a:cubicBezTo>
                  <a:pt x="96" y="46"/>
                  <a:pt x="94" y="48"/>
                  <a:pt x="92" y="48"/>
                </a:cubicBezTo>
                <a:close/>
                <a:moveTo>
                  <a:pt x="120" y="40"/>
                </a:moveTo>
                <a:cubicBezTo>
                  <a:pt x="103" y="40"/>
                  <a:pt x="103" y="40"/>
                  <a:pt x="103" y="40"/>
                </a:cubicBezTo>
                <a:cubicBezTo>
                  <a:pt x="102" y="35"/>
                  <a:pt x="97" y="32"/>
                  <a:pt x="92" y="32"/>
                </a:cubicBezTo>
                <a:cubicBezTo>
                  <a:pt x="87" y="32"/>
                  <a:pt x="82" y="35"/>
                  <a:pt x="81" y="40"/>
                </a:cubicBezTo>
                <a:cubicBezTo>
                  <a:pt x="35" y="40"/>
                  <a:pt x="35" y="40"/>
                  <a:pt x="35" y="40"/>
                </a:cubicBezTo>
                <a:cubicBezTo>
                  <a:pt x="34" y="35"/>
                  <a:pt x="29" y="32"/>
                  <a:pt x="24" y="32"/>
                </a:cubicBezTo>
                <a:cubicBezTo>
                  <a:pt x="19" y="32"/>
                  <a:pt x="15" y="35"/>
                  <a:pt x="13" y="39"/>
                </a:cubicBezTo>
                <a:cubicBezTo>
                  <a:pt x="10" y="38"/>
                  <a:pt x="8" y="35"/>
                  <a:pt x="8" y="32"/>
                </a:cubicBezTo>
                <a:cubicBezTo>
                  <a:pt x="8" y="24"/>
                  <a:pt x="8" y="24"/>
                  <a:pt x="8" y="24"/>
                </a:cubicBezTo>
                <a:cubicBezTo>
                  <a:pt x="84" y="24"/>
                  <a:pt x="84" y="24"/>
                  <a:pt x="84" y="24"/>
                </a:cubicBezTo>
                <a:cubicBezTo>
                  <a:pt x="92" y="24"/>
                  <a:pt x="92" y="24"/>
                  <a:pt x="92" y="24"/>
                </a:cubicBezTo>
                <a:cubicBezTo>
                  <a:pt x="102" y="24"/>
                  <a:pt x="112" y="29"/>
                  <a:pt x="120" y="37"/>
                </a:cubicBezTo>
                <a:lnTo>
                  <a:pt x="120" y="40"/>
                </a:lnTo>
                <a:close/>
              </a:path>
            </a:pathLst>
          </a:custGeom>
          <a:solidFill>
            <a:srgbClr val="0072C6"/>
          </a:solidFill>
          <a:ln w="9525">
            <a:noFill/>
            <a:round/>
            <a:headEnd/>
            <a:tailEnd/>
          </a:ln>
        </p:spPr>
        <p:txBody>
          <a:bodyPr vert="horz" wrap="square" lIns="89619" tIns="44810" rIns="89619" bIns="44810" numCol="1" anchor="t" anchorCtr="0" compatLnSpc="1">
            <a:prstTxWarp prst="textNoShape">
              <a:avLst/>
            </a:prstTxWarp>
          </a:bodyPr>
          <a:lstStyle/>
          <a:p>
            <a:pPr defTabSz="896203">
              <a:defRPr/>
            </a:pPr>
            <a:endParaRPr lang="en-US" sz="1764" kern="0">
              <a:gradFill>
                <a:gsLst>
                  <a:gs pos="1250">
                    <a:srgbClr val="505050"/>
                  </a:gs>
                  <a:gs pos="76000">
                    <a:srgbClr val="505050"/>
                  </a:gs>
                </a:gsLst>
                <a:lin ang="5400000" scaled="0"/>
              </a:gradFill>
            </a:endParaRPr>
          </a:p>
        </p:txBody>
      </p:sp>
      <p:grpSp>
        <p:nvGrpSpPr>
          <p:cNvPr id="70" name="Group 8"/>
          <p:cNvGrpSpPr>
            <a:grpSpLocks noChangeAspect="1"/>
          </p:cNvGrpSpPr>
          <p:nvPr/>
        </p:nvGrpSpPr>
        <p:grpSpPr bwMode="auto">
          <a:xfrm>
            <a:off x="2151213" y="1793567"/>
            <a:ext cx="1066661" cy="588282"/>
            <a:chOff x="5218" y="1717"/>
            <a:chExt cx="330" cy="182"/>
          </a:xfrm>
          <a:solidFill>
            <a:srgbClr val="002050">
              <a:lumMod val="60000"/>
              <a:lumOff val="40000"/>
            </a:srgbClr>
          </a:solidFill>
        </p:grpSpPr>
        <p:sp>
          <p:nvSpPr>
            <p:cNvPr id="73" name="Freeform 9"/>
            <p:cNvSpPr>
              <a:spLocks/>
            </p:cNvSpPr>
            <p:nvPr/>
          </p:nvSpPr>
          <p:spPr bwMode="auto">
            <a:xfrm>
              <a:off x="5218" y="1717"/>
              <a:ext cx="330" cy="89"/>
            </a:xfrm>
            <a:custGeom>
              <a:avLst/>
              <a:gdLst>
                <a:gd name="T0" fmla="*/ 96 w 102"/>
                <a:gd name="T1" fmla="*/ 27 h 27"/>
                <a:gd name="T2" fmla="*/ 102 w 102"/>
                <a:gd name="T3" fmla="*/ 21 h 27"/>
                <a:gd name="T4" fmla="*/ 51 w 102"/>
                <a:gd name="T5" fmla="*/ 0 h 27"/>
                <a:gd name="T6" fmla="*/ 0 w 102"/>
                <a:gd name="T7" fmla="*/ 21 h 27"/>
                <a:gd name="T8" fmla="*/ 6 w 102"/>
                <a:gd name="T9" fmla="*/ 27 h 27"/>
                <a:gd name="T10" fmla="*/ 51 w 102"/>
                <a:gd name="T11" fmla="*/ 8 h 27"/>
                <a:gd name="T12" fmla="*/ 96 w 102"/>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102" h="27">
                  <a:moveTo>
                    <a:pt x="96" y="27"/>
                  </a:moveTo>
                  <a:cubicBezTo>
                    <a:pt x="102" y="21"/>
                    <a:pt x="102" y="21"/>
                    <a:pt x="102" y="21"/>
                  </a:cubicBezTo>
                  <a:cubicBezTo>
                    <a:pt x="88" y="8"/>
                    <a:pt x="70" y="0"/>
                    <a:pt x="51" y="0"/>
                  </a:cubicBezTo>
                  <a:cubicBezTo>
                    <a:pt x="32" y="0"/>
                    <a:pt x="14" y="8"/>
                    <a:pt x="0" y="21"/>
                  </a:cubicBezTo>
                  <a:cubicBezTo>
                    <a:pt x="6" y="27"/>
                    <a:pt x="6" y="27"/>
                    <a:pt x="6" y="27"/>
                  </a:cubicBezTo>
                  <a:cubicBezTo>
                    <a:pt x="18" y="15"/>
                    <a:pt x="34" y="8"/>
                    <a:pt x="51" y="8"/>
                  </a:cubicBezTo>
                  <a:cubicBezTo>
                    <a:pt x="68" y="8"/>
                    <a:pt x="84" y="15"/>
                    <a:pt x="96" y="2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gradFill>
                  <a:gsLst>
                    <a:gs pos="1250">
                      <a:srgbClr val="505050"/>
                    </a:gs>
                    <a:gs pos="76000">
                      <a:srgbClr val="505050"/>
                    </a:gs>
                  </a:gsLst>
                  <a:lin ang="5400000" scaled="0"/>
                </a:gradFill>
              </a:endParaRPr>
            </a:p>
          </p:txBody>
        </p:sp>
        <p:sp>
          <p:nvSpPr>
            <p:cNvPr id="80" name="Freeform 10"/>
            <p:cNvSpPr>
              <a:spLocks/>
            </p:cNvSpPr>
            <p:nvPr/>
          </p:nvSpPr>
          <p:spPr bwMode="auto">
            <a:xfrm>
              <a:off x="5263" y="1783"/>
              <a:ext cx="240" cy="70"/>
            </a:xfrm>
            <a:custGeom>
              <a:avLst/>
              <a:gdLst>
                <a:gd name="T0" fmla="*/ 37 w 74"/>
                <a:gd name="T1" fmla="*/ 8 h 21"/>
                <a:gd name="T2" fmla="*/ 68 w 74"/>
                <a:gd name="T3" fmla="*/ 21 h 21"/>
                <a:gd name="T4" fmla="*/ 74 w 74"/>
                <a:gd name="T5" fmla="*/ 15 h 21"/>
                <a:gd name="T6" fmla="*/ 37 w 74"/>
                <a:gd name="T7" fmla="*/ 0 h 21"/>
                <a:gd name="T8" fmla="*/ 0 w 74"/>
                <a:gd name="T9" fmla="*/ 15 h 21"/>
                <a:gd name="T10" fmla="*/ 6 w 74"/>
                <a:gd name="T11" fmla="*/ 21 h 21"/>
                <a:gd name="T12" fmla="*/ 37 w 74"/>
                <a:gd name="T13" fmla="*/ 8 h 21"/>
              </a:gdLst>
              <a:ahLst/>
              <a:cxnLst>
                <a:cxn ang="0">
                  <a:pos x="T0" y="T1"/>
                </a:cxn>
                <a:cxn ang="0">
                  <a:pos x="T2" y="T3"/>
                </a:cxn>
                <a:cxn ang="0">
                  <a:pos x="T4" y="T5"/>
                </a:cxn>
                <a:cxn ang="0">
                  <a:pos x="T6" y="T7"/>
                </a:cxn>
                <a:cxn ang="0">
                  <a:pos x="T8" y="T9"/>
                </a:cxn>
                <a:cxn ang="0">
                  <a:pos x="T10" y="T11"/>
                </a:cxn>
                <a:cxn ang="0">
                  <a:pos x="T12" y="T13"/>
                </a:cxn>
              </a:cxnLst>
              <a:rect l="0" t="0" r="r" b="b"/>
              <a:pathLst>
                <a:path w="74" h="21">
                  <a:moveTo>
                    <a:pt x="37" y="8"/>
                  </a:moveTo>
                  <a:cubicBezTo>
                    <a:pt x="49" y="8"/>
                    <a:pt x="60" y="13"/>
                    <a:pt x="68" y="21"/>
                  </a:cubicBezTo>
                  <a:cubicBezTo>
                    <a:pt x="74" y="15"/>
                    <a:pt x="74" y="15"/>
                    <a:pt x="74" y="15"/>
                  </a:cubicBezTo>
                  <a:cubicBezTo>
                    <a:pt x="64" y="5"/>
                    <a:pt x="51" y="0"/>
                    <a:pt x="37" y="0"/>
                  </a:cubicBezTo>
                  <a:cubicBezTo>
                    <a:pt x="23" y="0"/>
                    <a:pt x="10" y="5"/>
                    <a:pt x="0" y="15"/>
                  </a:cubicBezTo>
                  <a:cubicBezTo>
                    <a:pt x="6" y="21"/>
                    <a:pt x="6" y="21"/>
                    <a:pt x="6" y="21"/>
                  </a:cubicBezTo>
                  <a:cubicBezTo>
                    <a:pt x="14" y="13"/>
                    <a:pt x="25" y="8"/>
                    <a:pt x="37" y="8"/>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gradFill>
                  <a:gsLst>
                    <a:gs pos="1250">
                      <a:srgbClr val="505050"/>
                    </a:gs>
                    <a:gs pos="76000">
                      <a:srgbClr val="505050"/>
                    </a:gs>
                  </a:gsLst>
                  <a:lin ang="5400000" scaled="0"/>
                </a:gradFill>
              </a:endParaRPr>
            </a:p>
          </p:txBody>
        </p:sp>
        <p:sp>
          <p:nvSpPr>
            <p:cNvPr id="81" name="Freeform 11"/>
            <p:cNvSpPr>
              <a:spLocks/>
            </p:cNvSpPr>
            <p:nvPr/>
          </p:nvSpPr>
          <p:spPr bwMode="auto">
            <a:xfrm>
              <a:off x="5312" y="1849"/>
              <a:ext cx="142" cy="50"/>
            </a:xfrm>
            <a:custGeom>
              <a:avLst/>
              <a:gdLst>
                <a:gd name="T0" fmla="*/ 44 w 44"/>
                <a:gd name="T1" fmla="*/ 9 h 15"/>
                <a:gd name="T2" fmla="*/ 22 w 44"/>
                <a:gd name="T3" fmla="*/ 0 h 15"/>
                <a:gd name="T4" fmla="*/ 0 w 44"/>
                <a:gd name="T5" fmla="*/ 9 h 15"/>
                <a:gd name="T6" fmla="*/ 5 w 44"/>
                <a:gd name="T7" fmla="*/ 15 h 15"/>
                <a:gd name="T8" fmla="*/ 22 w 44"/>
                <a:gd name="T9" fmla="*/ 8 h 15"/>
                <a:gd name="T10" fmla="*/ 39 w 44"/>
                <a:gd name="T11" fmla="*/ 15 h 15"/>
                <a:gd name="T12" fmla="*/ 44 w 44"/>
                <a:gd name="T13" fmla="*/ 9 h 15"/>
              </a:gdLst>
              <a:ahLst/>
              <a:cxnLst>
                <a:cxn ang="0">
                  <a:pos x="T0" y="T1"/>
                </a:cxn>
                <a:cxn ang="0">
                  <a:pos x="T2" y="T3"/>
                </a:cxn>
                <a:cxn ang="0">
                  <a:pos x="T4" y="T5"/>
                </a:cxn>
                <a:cxn ang="0">
                  <a:pos x="T6" y="T7"/>
                </a:cxn>
                <a:cxn ang="0">
                  <a:pos x="T8" y="T9"/>
                </a:cxn>
                <a:cxn ang="0">
                  <a:pos x="T10" y="T11"/>
                </a:cxn>
                <a:cxn ang="0">
                  <a:pos x="T12" y="T13"/>
                </a:cxn>
              </a:cxnLst>
              <a:rect l="0" t="0" r="r" b="b"/>
              <a:pathLst>
                <a:path w="44" h="15">
                  <a:moveTo>
                    <a:pt x="44" y="9"/>
                  </a:moveTo>
                  <a:cubicBezTo>
                    <a:pt x="38" y="3"/>
                    <a:pt x="30" y="0"/>
                    <a:pt x="22" y="0"/>
                  </a:cubicBezTo>
                  <a:cubicBezTo>
                    <a:pt x="14" y="0"/>
                    <a:pt x="6" y="3"/>
                    <a:pt x="0" y="9"/>
                  </a:cubicBezTo>
                  <a:cubicBezTo>
                    <a:pt x="5" y="15"/>
                    <a:pt x="5" y="15"/>
                    <a:pt x="5" y="15"/>
                  </a:cubicBezTo>
                  <a:cubicBezTo>
                    <a:pt x="10" y="10"/>
                    <a:pt x="16" y="8"/>
                    <a:pt x="22" y="8"/>
                  </a:cubicBezTo>
                  <a:cubicBezTo>
                    <a:pt x="28" y="8"/>
                    <a:pt x="34" y="10"/>
                    <a:pt x="39" y="15"/>
                  </a:cubicBezTo>
                  <a:lnTo>
                    <a:pt x="44" y="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gradFill>
                  <a:gsLst>
                    <a:gs pos="1250">
                      <a:srgbClr val="505050"/>
                    </a:gs>
                    <a:gs pos="76000">
                      <a:srgbClr val="505050"/>
                    </a:gs>
                  </a:gsLst>
                  <a:lin ang="5400000" scaled="0"/>
                </a:gradFill>
              </a:endParaRPr>
            </a:p>
          </p:txBody>
        </p:sp>
      </p:grpSp>
    </p:spTree>
    <p:extLst>
      <p:ext uri="{BB962C8B-B14F-4D97-AF65-F5344CB8AC3E}">
        <p14:creationId xmlns:p14="http://schemas.microsoft.com/office/powerpoint/2010/main" val="1501592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plore Cortana Intelligence today</a:t>
            </a:r>
          </a:p>
        </p:txBody>
      </p:sp>
      <p:sp>
        <p:nvSpPr>
          <p:cNvPr id="4" name="Rectangle 3"/>
          <p:cNvSpPr/>
          <p:nvPr/>
        </p:nvSpPr>
        <p:spPr>
          <a:xfrm>
            <a:off x="358850" y="2174346"/>
            <a:ext cx="3763963" cy="1809886"/>
          </a:xfrm>
          <a:prstGeom prst="rect">
            <a:avLst/>
          </a:prstGeom>
        </p:spPr>
        <p:txBody>
          <a:bodyPr wrap="square">
            <a:spAutoFit/>
          </a:bodyPr>
          <a:lstStyle/>
          <a:p>
            <a:pPr defTabSz="896203"/>
            <a:r>
              <a:rPr lang="en-US" sz="2352" kern="0" dirty="0">
                <a:solidFill>
                  <a:schemeClr val="accent1"/>
                </a:solidFill>
              </a:rPr>
              <a:t>1. Learn more</a:t>
            </a:r>
          </a:p>
          <a:p>
            <a:pPr defTabSz="896203"/>
            <a:endParaRPr lang="en-US" sz="1764" kern="0" dirty="0">
              <a:solidFill>
                <a:schemeClr val="accent1"/>
              </a:solidFill>
            </a:endParaRPr>
          </a:p>
          <a:p>
            <a:pPr defTabSz="896203"/>
            <a:r>
              <a:rPr lang="en-US" sz="1764" kern="0" dirty="0">
                <a:solidFill>
                  <a:schemeClr val="accent1"/>
                </a:solidFill>
              </a:rPr>
              <a:t>Keep up on the latest cloud-based analytics news on our </a:t>
            </a:r>
            <a:r>
              <a:rPr lang="en-US" sz="1764" kern="0" dirty="0">
                <a:solidFill>
                  <a:schemeClr val="accent1"/>
                </a:solidFill>
                <a:hlinkClick r:id="rId3"/>
              </a:rPr>
              <a:t>blog</a:t>
            </a:r>
            <a:r>
              <a:rPr lang="en-US" sz="1764" kern="0" dirty="0">
                <a:solidFill>
                  <a:schemeClr val="accent1"/>
                </a:solidFill>
              </a:rPr>
              <a:t> ▶</a:t>
            </a:r>
          </a:p>
          <a:p>
            <a:pPr defTabSz="896203"/>
            <a:endParaRPr lang="en-US" sz="1764" kern="0" dirty="0">
              <a:solidFill>
                <a:schemeClr val="accent1"/>
              </a:solidFill>
            </a:endParaRPr>
          </a:p>
          <a:p>
            <a:pPr defTabSz="896203"/>
            <a:endParaRPr lang="en-US" sz="1764" kern="0" dirty="0">
              <a:solidFill>
                <a:schemeClr val="accent1"/>
              </a:solidFill>
            </a:endParaRPr>
          </a:p>
        </p:txBody>
      </p:sp>
      <p:sp>
        <p:nvSpPr>
          <p:cNvPr id="5" name="Rectangle 4"/>
          <p:cNvSpPr/>
          <p:nvPr/>
        </p:nvSpPr>
        <p:spPr>
          <a:xfrm>
            <a:off x="8187505" y="2174346"/>
            <a:ext cx="4001319" cy="814449"/>
          </a:xfrm>
          <a:prstGeom prst="rect">
            <a:avLst/>
          </a:prstGeom>
        </p:spPr>
        <p:txBody>
          <a:bodyPr wrap="square">
            <a:spAutoFit/>
          </a:bodyPr>
          <a:lstStyle/>
          <a:p>
            <a:pPr defTabSz="896203"/>
            <a:r>
              <a:rPr lang="en-US" sz="2352" kern="0" dirty="0">
                <a:solidFill>
                  <a:schemeClr val="accent1"/>
                </a:solidFill>
              </a:rPr>
              <a:t>3. Find or become a partner</a:t>
            </a:r>
          </a:p>
          <a:p>
            <a:pPr defTabSz="896203"/>
            <a:endParaRPr lang="en-US" sz="2352" kern="0" dirty="0">
              <a:solidFill>
                <a:schemeClr val="accent1"/>
              </a:solidFill>
            </a:endParaRPr>
          </a:p>
        </p:txBody>
      </p:sp>
      <p:sp>
        <p:nvSpPr>
          <p:cNvPr id="6" name="Rectangle 5"/>
          <p:cNvSpPr/>
          <p:nvPr/>
        </p:nvSpPr>
        <p:spPr>
          <a:xfrm>
            <a:off x="4406713" y="2174346"/>
            <a:ext cx="3763963" cy="1085932"/>
          </a:xfrm>
          <a:prstGeom prst="rect">
            <a:avLst/>
          </a:prstGeom>
        </p:spPr>
        <p:txBody>
          <a:bodyPr wrap="square">
            <a:spAutoFit/>
          </a:bodyPr>
          <a:lstStyle/>
          <a:p>
            <a:pPr defTabSz="896203"/>
            <a:r>
              <a:rPr lang="en-US" sz="2352" kern="0" dirty="0">
                <a:solidFill>
                  <a:schemeClr val="accent1"/>
                </a:solidFill>
              </a:rPr>
              <a:t>2. Get trained</a:t>
            </a:r>
          </a:p>
          <a:p>
            <a:pPr defTabSz="896203"/>
            <a:endParaRPr lang="en-US" sz="2352" kern="0" dirty="0">
              <a:solidFill>
                <a:schemeClr val="accent1"/>
              </a:solidFill>
            </a:endParaRPr>
          </a:p>
          <a:p>
            <a:pPr defTabSz="896203"/>
            <a:endParaRPr lang="en-US" sz="1764" kern="0" dirty="0">
              <a:solidFill>
                <a:schemeClr val="accent1"/>
              </a:solidFill>
            </a:endParaRPr>
          </a:p>
        </p:txBody>
      </p:sp>
      <p:sp>
        <p:nvSpPr>
          <p:cNvPr id="7" name="Rectangle 6"/>
          <p:cNvSpPr/>
          <p:nvPr/>
        </p:nvSpPr>
        <p:spPr>
          <a:xfrm>
            <a:off x="269528" y="6352673"/>
            <a:ext cx="10267984" cy="361977"/>
          </a:xfrm>
          <a:prstGeom prst="rect">
            <a:avLst/>
          </a:prstGeom>
        </p:spPr>
        <p:txBody>
          <a:bodyPr wrap="square">
            <a:spAutoFit/>
          </a:bodyPr>
          <a:lstStyle/>
          <a:p>
            <a:pPr defTabSz="896203"/>
            <a:endParaRPr lang="en-US" sz="1764" kern="0" dirty="0">
              <a:solidFill>
                <a:srgbClr val="00BCF2"/>
              </a:solidFill>
            </a:endParaRPr>
          </a:p>
        </p:txBody>
      </p:sp>
      <p:cxnSp>
        <p:nvCxnSpPr>
          <p:cNvPr id="8" name="Straight Connector 7"/>
          <p:cNvCxnSpPr/>
          <p:nvPr/>
        </p:nvCxnSpPr>
        <p:spPr>
          <a:xfrm>
            <a:off x="4189362" y="1815873"/>
            <a:ext cx="0" cy="2867781"/>
          </a:xfrm>
          <a:prstGeom prst="line">
            <a:avLst/>
          </a:prstGeom>
          <a:ln>
            <a:solidFill>
              <a:schemeClr val="bg1">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7835191" y="1815873"/>
            <a:ext cx="0" cy="2867781"/>
          </a:xfrm>
          <a:prstGeom prst="line">
            <a:avLst/>
          </a:prstGeom>
          <a:ln>
            <a:solidFill>
              <a:schemeClr val="bg1">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4406713" y="3789108"/>
            <a:ext cx="3226254" cy="1178271"/>
          </a:xfrm>
          <a:prstGeom prst="rect">
            <a:avLst/>
          </a:prstGeom>
        </p:spPr>
        <p:txBody>
          <a:bodyPr wrap="square">
            <a:spAutoFit/>
          </a:bodyPr>
          <a:lstStyle/>
          <a:p>
            <a:pPr defTabSz="896203"/>
            <a:r>
              <a:rPr lang="en-US" sz="1764" kern="0" dirty="0">
                <a:solidFill>
                  <a:schemeClr val="accent1"/>
                </a:solidFill>
              </a:rPr>
              <a:t>Participate in Data Science and Machine Learning Essentials </a:t>
            </a:r>
            <a:r>
              <a:rPr lang="en-US" sz="1764" kern="0" dirty="0">
                <a:solidFill>
                  <a:schemeClr val="accent1"/>
                </a:solidFill>
                <a:hlinkClick r:id="rId4"/>
              </a:rPr>
              <a:t>course</a:t>
            </a:r>
            <a:r>
              <a:rPr lang="en-US" sz="1764" kern="0" dirty="0">
                <a:solidFill>
                  <a:schemeClr val="accent1"/>
                </a:solidFill>
              </a:rPr>
              <a:t> through </a:t>
            </a:r>
            <a:r>
              <a:rPr lang="en-US" sz="1764" kern="0" dirty="0" err="1">
                <a:solidFill>
                  <a:schemeClr val="accent1"/>
                </a:solidFill>
              </a:rPr>
              <a:t>edX</a:t>
            </a:r>
            <a:r>
              <a:rPr lang="en-US" sz="1764" kern="0" dirty="0">
                <a:solidFill>
                  <a:schemeClr val="accent1"/>
                </a:solidFill>
              </a:rPr>
              <a:t> ▶</a:t>
            </a:r>
          </a:p>
        </p:txBody>
      </p:sp>
      <p:sp>
        <p:nvSpPr>
          <p:cNvPr id="11" name="Rectangle 10"/>
          <p:cNvSpPr/>
          <p:nvPr/>
        </p:nvSpPr>
        <p:spPr>
          <a:xfrm>
            <a:off x="4406713" y="2797052"/>
            <a:ext cx="3226254" cy="633460"/>
          </a:xfrm>
          <a:prstGeom prst="rect">
            <a:avLst/>
          </a:prstGeom>
        </p:spPr>
        <p:txBody>
          <a:bodyPr wrap="square">
            <a:spAutoFit/>
          </a:bodyPr>
          <a:lstStyle/>
          <a:p>
            <a:pPr defTabSz="896203"/>
            <a:r>
              <a:rPr lang="en-US" sz="1764" kern="0" dirty="0">
                <a:solidFill>
                  <a:schemeClr val="accent1"/>
                </a:solidFill>
              </a:rPr>
              <a:t>Watch the Cortana Intelligence </a:t>
            </a:r>
            <a:r>
              <a:rPr lang="en-US" sz="1764" kern="0" dirty="0">
                <a:solidFill>
                  <a:schemeClr val="accent1"/>
                </a:solidFill>
                <a:hlinkClick r:id="rId5"/>
              </a:rPr>
              <a:t>Workshop</a:t>
            </a:r>
            <a:r>
              <a:rPr lang="en-US" sz="1764" kern="0" dirty="0">
                <a:solidFill>
                  <a:schemeClr val="accent1"/>
                </a:solidFill>
              </a:rPr>
              <a:t> ▶</a:t>
            </a:r>
          </a:p>
        </p:txBody>
      </p:sp>
      <p:sp>
        <p:nvSpPr>
          <p:cNvPr id="12" name="Rectangle 11"/>
          <p:cNvSpPr/>
          <p:nvPr/>
        </p:nvSpPr>
        <p:spPr>
          <a:xfrm>
            <a:off x="8135923" y="3789109"/>
            <a:ext cx="2777575" cy="633460"/>
          </a:xfrm>
          <a:prstGeom prst="rect">
            <a:avLst/>
          </a:prstGeom>
        </p:spPr>
        <p:txBody>
          <a:bodyPr wrap="square">
            <a:spAutoFit/>
          </a:bodyPr>
          <a:lstStyle/>
          <a:p>
            <a:pPr defTabSz="896203"/>
            <a:r>
              <a:rPr lang="en-US" sz="1764" kern="0" dirty="0">
                <a:solidFill>
                  <a:schemeClr val="bg2"/>
                </a:solidFill>
                <a:hlinkClick r:id="rId6"/>
              </a:rPr>
              <a:t>Become </a:t>
            </a:r>
            <a:r>
              <a:rPr lang="en-US" sz="1764" kern="0" dirty="0">
                <a:solidFill>
                  <a:schemeClr val="accent1"/>
                </a:solidFill>
              </a:rPr>
              <a:t>a Cortana Intelligence Partner ▶</a:t>
            </a:r>
          </a:p>
        </p:txBody>
      </p:sp>
      <p:sp>
        <p:nvSpPr>
          <p:cNvPr id="13" name="Rectangle 12"/>
          <p:cNvSpPr/>
          <p:nvPr/>
        </p:nvSpPr>
        <p:spPr>
          <a:xfrm>
            <a:off x="8135923" y="2792911"/>
            <a:ext cx="3225664" cy="904944"/>
          </a:xfrm>
          <a:prstGeom prst="rect">
            <a:avLst/>
          </a:prstGeom>
        </p:spPr>
        <p:txBody>
          <a:bodyPr wrap="square">
            <a:spAutoFit/>
          </a:bodyPr>
          <a:lstStyle/>
          <a:p>
            <a:pPr defTabSz="896203"/>
            <a:r>
              <a:rPr lang="en-US" sz="1764" kern="0" dirty="0">
                <a:solidFill>
                  <a:schemeClr val="accent1"/>
                </a:solidFill>
                <a:hlinkClick r:id="rId7"/>
              </a:rPr>
              <a:t>Connect with a partner </a:t>
            </a:r>
            <a:r>
              <a:rPr lang="en-US" sz="1764" kern="0" dirty="0">
                <a:solidFill>
                  <a:schemeClr val="accent1"/>
                </a:solidFill>
              </a:rPr>
              <a:t>who can help tailor Cortana Intelligence to your needs ▶</a:t>
            </a:r>
          </a:p>
        </p:txBody>
      </p:sp>
      <p:sp>
        <p:nvSpPr>
          <p:cNvPr id="14" name="Rectangle 13"/>
          <p:cNvSpPr/>
          <p:nvPr/>
        </p:nvSpPr>
        <p:spPr>
          <a:xfrm>
            <a:off x="358850" y="3789109"/>
            <a:ext cx="3763963" cy="633460"/>
          </a:xfrm>
          <a:prstGeom prst="rect">
            <a:avLst/>
          </a:prstGeom>
        </p:spPr>
        <p:txBody>
          <a:bodyPr wrap="square">
            <a:spAutoFit/>
          </a:bodyPr>
          <a:lstStyle/>
          <a:p>
            <a:pPr defTabSz="896203"/>
            <a:r>
              <a:rPr lang="en-US" sz="1764" kern="0" dirty="0">
                <a:solidFill>
                  <a:schemeClr val="accent1"/>
                </a:solidFill>
              </a:rPr>
              <a:t>Visit the Cortana Intelligence</a:t>
            </a:r>
            <a:r>
              <a:rPr lang="en-US" sz="1764" kern="0" dirty="0">
                <a:solidFill>
                  <a:srgbClr val="002050"/>
                </a:solidFill>
              </a:rPr>
              <a:t> </a:t>
            </a:r>
            <a:r>
              <a:rPr lang="en-US" sz="1764" kern="0" dirty="0">
                <a:solidFill>
                  <a:srgbClr val="002050"/>
                </a:solidFill>
                <a:hlinkClick r:id="rId8"/>
              </a:rPr>
              <a:t>page</a:t>
            </a:r>
            <a:r>
              <a:rPr lang="en-US" sz="1764" kern="0" dirty="0">
                <a:solidFill>
                  <a:srgbClr val="002050"/>
                </a:solidFill>
              </a:rPr>
              <a:t> </a:t>
            </a:r>
            <a:r>
              <a:rPr lang="en-US" sz="1764" kern="0" dirty="0">
                <a:solidFill>
                  <a:schemeClr val="accent1"/>
                </a:solidFill>
              </a:rPr>
              <a:t>▶</a:t>
            </a:r>
          </a:p>
          <a:p>
            <a:pPr defTabSz="896203"/>
            <a:endParaRPr lang="en-US" sz="1764" kern="0" dirty="0">
              <a:solidFill>
                <a:schemeClr val="bg2"/>
              </a:solidFill>
            </a:endParaRPr>
          </a:p>
        </p:txBody>
      </p:sp>
    </p:spTree>
    <p:extLst>
      <p:ext uri="{BB962C8B-B14F-4D97-AF65-F5344CB8AC3E}">
        <p14:creationId xmlns:p14="http://schemas.microsoft.com/office/powerpoint/2010/main" val="2002270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1714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0B7DD8"/>
        </a:solidFill>
        <a:effectLst/>
      </p:bgPr>
    </p:bg>
    <p:spTree>
      <p:nvGrpSpPr>
        <p:cNvPr id="1" name=""/>
        <p:cNvGrpSpPr/>
        <p:nvPr/>
      </p:nvGrpSpPr>
      <p:grpSpPr>
        <a:xfrm>
          <a:off x="0" y="0"/>
          <a:ext cx="0" cy="0"/>
          <a:chOff x="0" y="0"/>
          <a:chExt cx="0" cy="0"/>
        </a:xfrm>
      </p:grpSpPr>
      <p:pic>
        <p:nvPicPr>
          <p:cNvPr id="70" name="Picture 6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211031" y="379058"/>
            <a:ext cx="10559260" cy="6186612"/>
          </a:xfrm>
          <a:prstGeom prst="rect">
            <a:avLst/>
          </a:prstGeom>
        </p:spPr>
      </p:pic>
      <p:sp>
        <p:nvSpPr>
          <p:cNvPr id="71" name="TextBox 70"/>
          <p:cNvSpPr txBox="1"/>
          <p:nvPr/>
        </p:nvSpPr>
        <p:spPr>
          <a:xfrm>
            <a:off x="207399" y="3783742"/>
            <a:ext cx="3055943" cy="1646997"/>
          </a:xfrm>
          <a:prstGeom prst="rect">
            <a:avLst/>
          </a:prstGeom>
          <a:noFill/>
        </p:spPr>
        <p:txBody>
          <a:bodyPr wrap="none" lIns="277819" tIns="277819" rIns="277819" bIns="277819" rtlCol="0">
            <a:spAutoFit/>
          </a:bodyPr>
          <a:lstStyle/>
          <a:p>
            <a:pPr defTabSz="914180">
              <a:lnSpc>
                <a:spcPct val="90000"/>
              </a:lnSpc>
              <a:spcAft>
                <a:spcPts val="588"/>
              </a:spcAft>
              <a:defRPr/>
            </a:pPr>
            <a:r>
              <a:rPr lang="en-US" sz="3920" dirty="0">
                <a:gradFill>
                  <a:gsLst>
                    <a:gs pos="2917">
                      <a:srgbClr val="ECECEC"/>
                    </a:gs>
                    <a:gs pos="30000">
                      <a:srgbClr val="ECECEC"/>
                    </a:gs>
                  </a:gsLst>
                  <a:lin ang="5400000" scaled="0"/>
                </a:gradFill>
                <a:latin typeface="Segoe UI Light"/>
                <a:ea typeface="MS PGothic" panose="020B0600070205080204" pitchFamily="34" charset="-128"/>
              </a:rPr>
              <a:t>Hyper-scale</a:t>
            </a:r>
            <a:br>
              <a:rPr lang="en-US" sz="3920" dirty="0">
                <a:gradFill>
                  <a:gsLst>
                    <a:gs pos="2917">
                      <a:srgbClr val="ECECEC"/>
                    </a:gs>
                    <a:gs pos="30000">
                      <a:srgbClr val="ECECEC"/>
                    </a:gs>
                  </a:gsLst>
                  <a:lin ang="5400000" scaled="0"/>
                </a:gradFill>
                <a:latin typeface="Segoe UI Light"/>
                <a:ea typeface="MS PGothic" panose="020B0600070205080204" pitchFamily="34" charset="-128"/>
              </a:rPr>
            </a:br>
            <a:r>
              <a:rPr lang="en-US" sz="3920" dirty="0">
                <a:gradFill>
                  <a:gsLst>
                    <a:gs pos="2917">
                      <a:srgbClr val="ECECEC"/>
                    </a:gs>
                    <a:gs pos="30000">
                      <a:srgbClr val="ECECEC"/>
                    </a:gs>
                  </a:gsLst>
                  <a:lin ang="5400000" scaled="0"/>
                </a:gradFill>
                <a:latin typeface="Segoe UI Light"/>
                <a:ea typeface="MS PGothic" panose="020B0600070205080204" pitchFamily="34" charset="-128"/>
              </a:rPr>
              <a:t>footprint</a:t>
            </a:r>
          </a:p>
        </p:txBody>
      </p:sp>
      <p:grpSp>
        <p:nvGrpSpPr>
          <p:cNvPr id="72" name="Group 71"/>
          <p:cNvGrpSpPr/>
          <p:nvPr/>
        </p:nvGrpSpPr>
        <p:grpSpPr>
          <a:xfrm>
            <a:off x="516143" y="5196293"/>
            <a:ext cx="1872480" cy="479620"/>
            <a:chOff x="508821" y="5014712"/>
            <a:chExt cx="1910525" cy="489365"/>
          </a:xfrm>
        </p:grpSpPr>
        <p:sp>
          <p:nvSpPr>
            <p:cNvPr id="73" name="Oval 72"/>
            <p:cNvSpPr/>
            <p:nvPr/>
          </p:nvSpPr>
          <p:spPr bwMode="auto">
            <a:xfrm>
              <a:off x="508821" y="5119266"/>
              <a:ext cx="250277" cy="250277"/>
            </a:xfrm>
            <a:prstGeom prst="ellipse">
              <a:avLst/>
            </a:prstGeom>
            <a:solidFill>
              <a:schemeClr val="tx1"/>
            </a:solidFill>
            <a:ln w="73025">
              <a:solidFill>
                <a:schemeClr val="tx1">
                  <a:alpha val="6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4" name="TextBox 73"/>
            <p:cNvSpPr txBox="1"/>
            <p:nvPr/>
          </p:nvSpPr>
          <p:spPr>
            <a:xfrm>
              <a:off x="683678" y="5014712"/>
              <a:ext cx="1735668" cy="489365"/>
            </a:xfrm>
            <a:prstGeom prst="rect">
              <a:avLst/>
            </a:prstGeom>
            <a:noFill/>
          </p:spPr>
          <p:txBody>
            <a:bodyPr wrap="none" lIns="179238" tIns="143391" rIns="179238" bIns="143391" rtlCol="0">
              <a:spAutoFit/>
            </a:bodyPr>
            <a:lstStyle/>
            <a:p>
              <a:pPr defTabSz="914180">
                <a:lnSpc>
                  <a:spcPct val="90000"/>
                </a:lnSpc>
                <a:spcAft>
                  <a:spcPts val="588"/>
                </a:spcAft>
                <a:defRPr/>
              </a:pPr>
              <a:r>
                <a:rPr lang="en-US" sz="1372" cap="all" dirty="0">
                  <a:solidFill>
                    <a:sysClr val="windowText" lastClr="000000"/>
                  </a:solidFill>
                  <a:latin typeface="Segoe UI Semibold" panose="020B0702040204020203" pitchFamily="34" charset="0"/>
                  <a:ea typeface="MS PGothic" panose="020B0600070205080204" pitchFamily="34" charset="-128"/>
                  <a:cs typeface="Segoe UI Semibold" panose="020B0702040204020203" pitchFamily="34" charset="0"/>
                </a:rPr>
                <a:t>Azure regions</a:t>
              </a:r>
            </a:p>
          </p:txBody>
        </p:sp>
      </p:grpSp>
      <p:grpSp>
        <p:nvGrpSpPr>
          <p:cNvPr id="39" name="Group 38"/>
          <p:cNvGrpSpPr/>
          <p:nvPr/>
        </p:nvGrpSpPr>
        <p:grpSpPr>
          <a:xfrm>
            <a:off x="125360" y="2558755"/>
            <a:ext cx="3358851" cy="3310390"/>
            <a:chOff x="-2087057" y="2514224"/>
            <a:chExt cx="4108356" cy="3377650"/>
          </a:xfrm>
        </p:grpSpPr>
        <p:sp>
          <p:nvSpPr>
            <p:cNvPr id="40" name="TextBox 39"/>
            <p:cNvSpPr txBox="1"/>
            <p:nvPr/>
          </p:nvSpPr>
          <p:spPr>
            <a:xfrm>
              <a:off x="-2087057" y="2514224"/>
              <a:ext cx="3426548" cy="2871555"/>
            </a:xfrm>
            <a:prstGeom prst="rect">
              <a:avLst/>
            </a:prstGeom>
            <a:noFill/>
          </p:spPr>
          <p:txBody>
            <a:bodyPr wrap="none" lIns="277819" tIns="277819" rIns="277819" bIns="277819"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defTabSz="914180">
                <a:spcAft>
                  <a:spcPts val="588"/>
                </a:spcAft>
                <a:defRPr/>
              </a:pPr>
              <a:r>
                <a:rPr lang="en-US" sz="16270" spc="-412"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30</a:t>
              </a:r>
            </a:p>
          </p:txBody>
        </p:sp>
        <p:sp>
          <p:nvSpPr>
            <p:cNvPr id="43" name="TextBox 42"/>
            <p:cNvSpPr txBox="1"/>
            <p:nvPr/>
          </p:nvSpPr>
          <p:spPr>
            <a:xfrm>
              <a:off x="-2006254" y="4543813"/>
              <a:ext cx="4027553" cy="1348061"/>
            </a:xfrm>
            <a:prstGeom prst="rect">
              <a:avLst/>
            </a:prstGeom>
            <a:noFill/>
          </p:spPr>
          <p:txBody>
            <a:bodyPr wrap="square" lIns="277819" tIns="277819" rIns="277819" bIns="277819"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defTabSz="914180">
                <a:spcAft>
                  <a:spcPts val="588"/>
                </a:spcAft>
                <a:defRPr/>
              </a:pPr>
              <a:r>
                <a:rPr lang="en-US" sz="2744"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Azure regions around the world</a:t>
              </a:r>
            </a:p>
          </p:txBody>
        </p:sp>
      </p:grpSp>
      <p:sp>
        <p:nvSpPr>
          <p:cNvPr id="47" name="TextBox 46"/>
          <p:cNvSpPr txBox="1"/>
          <p:nvPr/>
        </p:nvSpPr>
        <p:spPr>
          <a:xfrm>
            <a:off x="212980" y="5380967"/>
            <a:ext cx="3292789" cy="1049734"/>
          </a:xfrm>
          <a:prstGeom prst="rect">
            <a:avLst/>
          </a:prstGeom>
          <a:noFill/>
          <a:ln>
            <a:noFill/>
          </a:ln>
        </p:spPr>
        <p:txBody>
          <a:bodyPr wrap="square" lIns="277819" tIns="277819" rIns="277819" bIns="277819"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defTabSz="914180">
              <a:spcAft>
                <a:spcPts val="588"/>
              </a:spcAft>
              <a:defRPr/>
            </a:pPr>
            <a:r>
              <a:rPr lang="en-US" sz="1764" dirty="0">
                <a:gradFill>
                  <a:gsLst>
                    <a:gs pos="0">
                      <a:srgbClr val="FFFFFF"/>
                    </a:gs>
                    <a:gs pos="10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More than AWS and Google Cloud combined</a:t>
            </a:r>
          </a:p>
        </p:txBody>
      </p:sp>
      <p:sp>
        <p:nvSpPr>
          <p:cNvPr id="64" name="Oval 63"/>
          <p:cNvSpPr/>
          <p:nvPr/>
        </p:nvSpPr>
        <p:spPr bwMode="auto">
          <a:xfrm>
            <a:off x="9226390" y="4192797"/>
            <a:ext cx="280501" cy="280495"/>
          </a:xfrm>
          <a:prstGeom prst="ellipse">
            <a:avLst/>
          </a:prstGeom>
          <a:solidFill>
            <a:schemeClr val="tx1"/>
          </a:solidFill>
          <a:ln w="187325">
            <a:solidFill>
              <a:schemeClr val="tx1">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5" name="Oval 64"/>
          <p:cNvSpPr/>
          <p:nvPr/>
        </p:nvSpPr>
        <p:spPr bwMode="auto">
          <a:xfrm>
            <a:off x="9515787" y="2808993"/>
            <a:ext cx="280501" cy="280495"/>
          </a:xfrm>
          <a:prstGeom prst="ellipse">
            <a:avLst/>
          </a:prstGeom>
          <a:solidFill>
            <a:schemeClr val="tx1"/>
          </a:solidFill>
          <a:ln w="187325">
            <a:solidFill>
              <a:schemeClr val="tx1">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6" name="Oval 65"/>
          <p:cNvSpPr/>
          <p:nvPr/>
        </p:nvSpPr>
        <p:spPr bwMode="auto">
          <a:xfrm>
            <a:off x="9586136" y="2273947"/>
            <a:ext cx="280501" cy="280495"/>
          </a:xfrm>
          <a:prstGeom prst="ellipse">
            <a:avLst/>
          </a:prstGeom>
          <a:solidFill>
            <a:schemeClr val="tx1"/>
          </a:solidFill>
          <a:ln w="187325">
            <a:solidFill>
              <a:schemeClr val="tx1">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7" name="Oval 66"/>
          <p:cNvSpPr/>
          <p:nvPr/>
        </p:nvSpPr>
        <p:spPr bwMode="auto">
          <a:xfrm>
            <a:off x="8455350" y="3155008"/>
            <a:ext cx="280501" cy="280495"/>
          </a:xfrm>
          <a:prstGeom prst="ellipse">
            <a:avLst/>
          </a:prstGeom>
          <a:solidFill>
            <a:schemeClr val="tx1"/>
          </a:solidFill>
          <a:ln w="187325">
            <a:solidFill>
              <a:schemeClr val="tx1">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8" name="Oval 67"/>
          <p:cNvSpPr/>
          <p:nvPr/>
        </p:nvSpPr>
        <p:spPr bwMode="auto">
          <a:xfrm>
            <a:off x="8758052" y="3314743"/>
            <a:ext cx="280501" cy="280495"/>
          </a:xfrm>
          <a:prstGeom prst="ellipse">
            <a:avLst/>
          </a:prstGeom>
          <a:solidFill>
            <a:schemeClr val="tx1"/>
          </a:solidFill>
          <a:ln w="187325">
            <a:solidFill>
              <a:schemeClr val="tx1">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9" name="Oval 68"/>
          <p:cNvSpPr/>
          <p:nvPr/>
        </p:nvSpPr>
        <p:spPr bwMode="auto">
          <a:xfrm>
            <a:off x="6375758" y="2093400"/>
            <a:ext cx="280501" cy="280495"/>
          </a:xfrm>
          <a:prstGeom prst="ellipse">
            <a:avLst/>
          </a:prstGeom>
          <a:solidFill>
            <a:schemeClr val="tx1"/>
          </a:solidFill>
          <a:ln w="187325">
            <a:solidFill>
              <a:schemeClr val="tx1">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5" name="Oval 74"/>
          <p:cNvSpPr/>
          <p:nvPr/>
        </p:nvSpPr>
        <p:spPr bwMode="auto">
          <a:xfrm>
            <a:off x="5948220" y="2051766"/>
            <a:ext cx="280501" cy="280495"/>
          </a:xfrm>
          <a:prstGeom prst="ellipse">
            <a:avLst/>
          </a:prstGeom>
          <a:solidFill>
            <a:schemeClr val="tx1"/>
          </a:solidFill>
          <a:ln w="187325">
            <a:solidFill>
              <a:schemeClr val="tx1">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6" name="Oval 75"/>
          <p:cNvSpPr/>
          <p:nvPr/>
        </p:nvSpPr>
        <p:spPr bwMode="auto">
          <a:xfrm>
            <a:off x="4910591" y="4610766"/>
            <a:ext cx="280501" cy="280495"/>
          </a:xfrm>
          <a:prstGeom prst="ellipse">
            <a:avLst/>
          </a:prstGeom>
          <a:solidFill>
            <a:schemeClr val="tx1"/>
          </a:solidFill>
          <a:ln w="187325">
            <a:solidFill>
              <a:schemeClr val="tx1">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7" name="Oval 76"/>
          <p:cNvSpPr/>
          <p:nvPr/>
        </p:nvSpPr>
        <p:spPr bwMode="auto">
          <a:xfrm>
            <a:off x="3473236" y="2538650"/>
            <a:ext cx="280501" cy="280495"/>
          </a:xfrm>
          <a:prstGeom prst="ellipse">
            <a:avLst/>
          </a:prstGeom>
          <a:solidFill>
            <a:schemeClr val="tx1"/>
          </a:solidFill>
          <a:ln w="187325">
            <a:solidFill>
              <a:schemeClr val="tx1">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8" name="Oval 77"/>
          <p:cNvSpPr/>
          <p:nvPr/>
        </p:nvSpPr>
        <p:spPr bwMode="auto">
          <a:xfrm>
            <a:off x="3246731" y="2569278"/>
            <a:ext cx="280501" cy="280495"/>
          </a:xfrm>
          <a:prstGeom prst="ellipse">
            <a:avLst/>
          </a:prstGeom>
          <a:solidFill>
            <a:schemeClr val="tx1"/>
          </a:solidFill>
          <a:ln w="187325">
            <a:solidFill>
              <a:schemeClr val="tx1">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9" name="Oval 78"/>
          <p:cNvSpPr/>
          <p:nvPr/>
        </p:nvSpPr>
        <p:spPr bwMode="auto">
          <a:xfrm>
            <a:off x="3339305" y="2231335"/>
            <a:ext cx="280501" cy="280495"/>
          </a:xfrm>
          <a:prstGeom prst="ellipse">
            <a:avLst/>
          </a:prstGeom>
          <a:solidFill>
            <a:schemeClr val="tx1"/>
          </a:solidFill>
          <a:ln w="187325">
            <a:solidFill>
              <a:schemeClr val="tx1">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0" name="Oval 79"/>
          <p:cNvSpPr/>
          <p:nvPr/>
        </p:nvSpPr>
        <p:spPr bwMode="auto">
          <a:xfrm>
            <a:off x="3009343" y="2153264"/>
            <a:ext cx="280501" cy="280495"/>
          </a:xfrm>
          <a:prstGeom prst="ellipse">
            <a:avLst/>
          </a:prstGeom>
          <a:solidFill>
            <a:schemeClr val="tx1"/>
          </a:solidFill>
          <a:ln w="187325">
            <a:solidFill>
              <a:schemeClr val="tx1">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1" name="Oval 80"/>
          <p:cNvSpPr/>
          <p:nvPr/>
        </p:nvSpPr>
        <p:spPr bwMode="auto">
          <a:xfrm>
            <a:off x="3799633" y="2203113"/>
            <a:ext cx="280501" cy="280495"/>
          </a:xfrm>
          <a:prstGeom prst="ellipse">
            <a:avLst/>
          </a:prstGeom>
          <a:solidFill>
            <a:schemeClr val="tx1"/>
          </a:solidFill>
          <a:ln w="187325">
            <a:solidFill>
              <a:schemeClr val="tx1">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2" name="Oval 81"/>
          <p:cNvSpPr/>
          <p:nvPr/>
        </p:nvSpPr>
        <p:spPr bwMode="auto">
          <a:xfrm>
            <a:off x="3005576" y="2848910"/>
            <a:ext cx="280501" cy="280495"/>
          </a:xfrm>
          <a:prstGeom prst="ellipse">
            <a:avLst/>
          </a:prstGeom>
          <a:solidFill>
            <a:schemeClr val="tx1"/>
          </a:solidFill>
          <a:ln w="187325">
            <a:solidFill>
              <a:schemeClr val="tx1">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3" name="Oval 82"/>
          <p:cNvSpPr/>
          <p:nvPr/>
        </p:nvSpPr>
        <p:spPr bwMode="auto">
          <a:xfrm>
            <a:off x="2414777" y="2558703"/>
            <a:ext cx="280501" cy="280495"/>
          </a:xfrm>
          <a:prstGeom prst="ellipse">
            <a:avLst/>
          </a:prstGeom>
          <a:solidFill>
            <a:schemeClr val="tx1"/>
          </a:solidFill>
          <a:ln w="187325">
            <a:solidFill>
              <a:schemeClr val="tx1">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4" name="Oval 83"/>
          <p:cNvSpPr/>
          <p:nvPr/>
        </p:nvSpPr>
        <p:spPr bwMode="auto">
          <a:xfrm>
            <a:off x="10402418" y="2354460"/>
            <a:ext cx="280501" cy="280495"/>
          </a:xfrm>
          <a:prstGeom prst="ellipse">
            <a:avLst/>
          </a:prstGeom>
          <a:solidFill>
            <a:schemeClr val="tx1"/>
          </a:solidFill>
          <a:ln w="187325">
            <a:solidFill>
              <a:schemeClr val="tx1">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5" name="Oval 84"/>
          <p:cNvSpPr/>
          <p:nvPr/>
        </p:nvSpPr>
        <p:spPr bwMode="auto">
          <a:xfrm>
            <a:off x="10149859" y="2735716"/>
            <a:ext cx="280501" cy="280495"/>
          </a:xfrm>
          <a:prstGeom prst="ellipse">
            <a:avLst/>
          </a:prstGeom>
          <a:solidFill>
            <a:schemeClr val="tx1"/>
          </a:solidFill>
          <a:ln w="187325">
            <a:solidFill>
              <a:schemeClr val="tx1">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6" name="Oval 85"/>
          <p:cNvSpPr/>
          <p:nvPr/>
        </p:nvSpPr>
        <p:spPr bwMode="auto">
          <a:xfrm>
            <a:off x="10591893" y="5173826"/>
            <a:ext cx="280501" cy="280495"/>
          </a:xfrm>
          <a:prstGeom prst="ellipse">
            <a:avLst/>
          </a:prstGeom>
          <a:solidFill>
            <a:schemeClr val="tx1"/>
          </a:solidFill>
          <a:ln w="187325">
            <a:solidFill>
              <a:schemeClr val="tx1">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7" name="Oval 86"/>
          <p:cNvSpPr/>
          <p:nvPr/>
        </p:nvSpPr>
        <p:spPr bwMode="auto">
          <a:xfrm>
            <a:off x="10330574" y="5456948"/>
            <a:ext cx="280501" cy="280495"/>
          </a:xfrm>
          <a:prstGeom prst="ellipse">
            <a:avLst/>
          </a:prstGeom>
          <a:solidFill>
            <a:schemeClr val="tx1"/>
          </a:solidFill>
          <a:ln w="187325">
            <a:solidFill>
              <a:schemeClr val="tx1">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8" name="Oval 87"/>
          <p:cNvSpPr/>
          <p:nvPr/>
        </p:nvSpPr>
        <p:spPr bwMode="auto">
          <a:xfrm>
            <a:off x="9364436" y="3131655"/>
            <a:ext cx="280501" cy="280495"/>
          </a:xfrm>
          <a:prstGeom prst="ellipse">
            <a:avLst/>
          </a:prstGeom>
          <a:solidFill>
            <a:schemeClr val="tx1"/>
          </a:solidFill>
          <a:ln w="187325">
            <a:solidFill>
              <a:schemeClr val="tx1">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9" name="Oval 88"/>
          <p:cNvSpPr/>
          <p:nvPr/>
        </p:nvSpPr>
        <p:spPr bwMode="auto">
          <a:xfrm>
            <a:off x="2982082" y="2462781"/>
            <a:ext cx="280501" cy="280495"/>
          </a:xfrm>
          <a:prstGeom prst="ellipse">
            <a:avLst/>
          </a:prstGeom>
          <a:solidFill>
            <a:schemeClr val="tx1"/>
          </a:solidFill>
          <a:ln w="187325">
            <a:solidFill>
              <a:schemeClr val="tx1">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0" name="Oval 89"/>
          <p:cNvSpPr/>
          <p:nvPr/>
        </p:nvSpPr>
        <p:spPr bwMode="auto">
          <a:xfrm>
            <a:off x="8543980" y="3652939"/>
            <a:ext cx="280501" cy="280495"/>
          </a:xfrm>
          <a:prstGeom prst="ellipse">
            <a:avLst/>
          </a:prstGeom>
          <a:solidFill>
            <a:schemeClr val="tx1"/>
          </a:solidFill>
          <a:ln w="187325">
            <a:solidFill>
              <a:schemeClr val="tx1">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4" name="Oval 93"/>
          <p:cNvSpPr/>
          <p:nvPr/>
        </p:nvSpPr>
        <p:spPr bwMode="auto">
          <a:xfrm>
            <a:off x="3563767" y="2673033"/>
            <a:ext cx="280501" cy="280495"/>
          </a:xfrm>
          <a:prstGeom prst="ellipse">
            <a:avLst/>
          </a:prstGeom>
          <a:solidFill>
            <a:schemeClr val="tx1"/>
          </a:solidFill>
          <a:ln w="187325">
            <a:solidFill>
              <a:schemeClr val="tx1">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5" name="Oval 94"/>
          <p:cNvSpPr/>
          <p:nvPr/>
        </p:nvSpPr>
        <p:spPr bwMode="auto">
          <a:xfrm>
            <a:off x="3661512" y="2493464"/>
            <a:ext cx="280501" cy="280495"/>
          </a:xfrm>
          <a:prstGeom prst="ellipse">
            <a:avLst/>
          </a:prstGeom>
          <a:solidFill>
            <a:schemeClr val="tx1"/>
          </a:solidFill>
          <a:ln w="187325">
            <a:solidFill>
              <a:schemeClr val="tx1">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7" name="Oval 36"/>
          <p:cNvSpPr/>
          <p:nvPr/>
        </p:nvSpPr>
        <p:spPr bwMode="auto">
          <a:xfrm>
            <a:off x="5881488" y="1788008"/>
            <a:ext cx="280501" cy="280495"/>
          </a:xfrm>
          <a:prstGeom prst="ellipse">
            <a:avLst/>
          </a:prstGeom>
          <a:solidFill>
            <a:schemeClr val="tx1"/>
          </a:solidFill>
          <a:ln w="187325">
            <a:solidFill>
              <a:schemeClr val="tx1">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8" name="Oval 37"/>
          <p:cNvSpPr/>
          <p:nvPr/>
        </p:nvSpPr>
        <p:spPr bwMode="auto">
          <a:xfrm>
            <a:off x="6333492" y="1887919"/>
            <a:ext cx="280501" cy="280495"/>
          </a:xfrm>
          <a:prstGeom prst="ellipse">
            <a:avLst/>
          </a:prstGeom>
          <a:solidFill>
            <a:schemeClr val="tx1"/>
          </a:solidFill>
          <a:ln w="187325">
            <a:solidFill>
              <a:schemeClr val="tx1">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1" name="Oval 40"/>
          <p:cNvSpPr/>
          <p:nvPr/>
        </p:nvSpPr>
        <p:spPr bwMode="auto">
          <a:xfrm>
            <a:off x="6161989" y="2217477"/>
            <a:ext cx="280501" cy="280495"/>
          </a:xfrm>
          <a:prstGeom prst="ellipse">
            <a:avLst/>
          </a:prstGeom>
          <a:solidFill>
            <a:schemeClr val="tx1"/>
          </a:solidFill>
          <a:ln w="187325">
            <a:solidFill>
              <a:schemeClr val="tx1">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2" name="Oval 41"/>
          <p:cNvSpPr/>
          <p:nvPr/>
        </p:nvSpPr>
        <p:spPr bwMode="auto">
          <a:xfrm>
            <a:off x="6161989" y="1804745"/>
            <a:ext cx="280501" cy="280495"/>
          </a:xfrm>
          <a:prstGeom prst="ellipse">
            <a:avLst/>
          </a:prstGeom>
          <a:solidFill>
            <a:schemeClr val="tx1"/>
          </a:solidFill>
          <a:ln w="187325">
            <a:solidFill>
              <a:schemeClr val="tx1">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2652209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4"/>
                                        </p:tgtEl>
                                        <p:attrNameLst>
                                          <p:attrName>style.visibility</p:attrName>
                                        </p:attrNameLst>
                                      </p:cBhvr>
                                      <p:to>
                                        <p:strVal val="visible"/>
                                      </p:to>
                                    </p:set>
                                    <p:animEffect transition="in" filter="fade">
                                      <p:cBhvr>
                                        <p:cTn id="7" dur="500"/>
                                        <p:tgtEl>
                                          <p:spTgt spid="64"/>
                                        </p:tgtEl>
                                      </p:cBhvr>
                                    </p:animEffect>
                                  </p:childTnLst>
                                </p:cTn>
                              </p:par>
                              <p:par>
                                <p:cTn id="8" presetID="10" presetClass="entr" presetSubtype="0" fill="hold" grpId="0" nodeType="withEffect">
                                  <p:stCondLst>
                                    <p:cond delay="20"/>
                                  </p:stCondLst>
                                  <p:childTnLst>
                                    <p:set>
                                      <p:cBhvr>
                                        <p:cTn id="9" dur="1" fill="hold">
                                          <p:stCondLst>
                                            <p:cond delay="0"/>
                                          </p:stCondLst>
                                        </p:cTn>
                                        <p:tgtEl>
                                          <p:spTgt spid="65"/>
                                        </p:tgtEl>
                                        <p:attrNameLst>
                                          <p:attrName>style.visibility</p:attrName>
                                        </p:attrNameLst>
                                      </p:cBhvr>
                                      <p:to>
                                        <p:strVal val="visible"/>
                                      </p:to>
                                    </p:set>
                                    <p:animEffect transition="in" filter="fade">
                                      <p:cBhvr>
                                        <p:cTn id="10" dur="500"/>
                                        <p:tgtEl>
                                          <p:spTgt spid="65"/>
                                        </p:tgtEl>
                                      </p:cBhvr>
                                    </p:animEffect>
                                  </p:childTnLst>
                                </p:cTn>
                              </p:par>
                              <p:par>
                                <p:cTn id="11" presetID="10" presetClass="entr" presetSubtype="0" fill="hold" grpId="0" nodeType="withEffect">
                                  <p:stCondLst>
                                    <p:cond delay="40"/>
                                  </p:stCondLst>
                                  <p:childTnLst>
                                    <p:set>
                                      <p:cBhvr>
                                        <p:cTn id="12" dur="1" fill="hold">
                                          <p:stCondLst>
                                            <p:cond delay="0"/>
                                          </p:stCondLst>
                                        </p:cTn>
                                        <p:tgtEl>
                                          <p:spTgt spid="66"/>
                                        </p:tgtEl>
                                        <p:attrNameLst>
                                          <p:attrName>style.visibility</p:attrName>
                                        </p:attrNameLst>
                                      </p:cBhvr>
                                      <p:to>
                                        <p:strVal val="visible"/>
                                      </p:to>
                                    </p:set>
                                    <p:animEffect transition="in" filter="fade">
                                      <p:cBhvr>
                                        <p:cTn id="13" dur="500"/>
                                        <p:tgtEl>
                                          <p:spTgt spid="66"/>
                                        </p:tgtEl>
                                      </p:cBhvr>
                                    </p:animEffect>
                                  </p:childTnLst>
                                </p:cTn>
                              </p:par>
                              <p:par>
                                <p:cTn id="14" presetID="10" presetClass="entr" presetSubtype="0" fill="hold" grpId="0" nodeType="withEffect">
                                  <p:stCondLst>
                                    <p:cond delay="60"/>
                                  </p:stCondLst>
                                  <p:childTnLst>
                                    <p:set>
                                      <p:cBhvr>
                                        <p:cTn id="15" dur="1" fill="hold">
                                          <p:stCondLst>
                                            <p:cond delay="0"/>
                                          </p:stCondLst>
                                        </p:cTn>
                                        <p:tgtEl>
                                          <p:spTgt spid="67"/>
                                        </p:tgtEl>
                                        <p:attrNameLst>
                                          <p:attrName>style.visibility</p:attrName>
                                        </p:attrNameLst>
                                      </p:cBhvr>
                                      <p:to>
                                        <p:strVal val="visible"/>
                                      </p:to>
                                    </p:set>
                                    <p:animEffect transition="in" filter="fade">
                                      <p:cBhvr>
                                        <p:cTn id="16" dur="500"/>
                                        <p:tgtEl>
                                          <p:spTgt spid="67"/>
                                        </p:tgtEl>
                                      </p:cBhvr>
                                    </p:animEffect>
                                  </p:childTnLst>
                                </p:cTn>
                              </p:par>
                              <p:par>
                                <p:cTn id="17" presetID="10" presetClass="entr" presetSubtype="0" fill="hold" grpId="0" nodeType="withEffect">
                                  <p:stCondLst>
                                    <p:cond delay="80"/>
                                  </p:stCondLst>
                                  <p:childTnLst>
                                    <p:set>
                                      <p:cBhvr>
                                        <p:cTn id="18" dur="1" fill="hold">
                                          <p:stCondLst>
                                            <p:cond delay="0"/>
                                          </p:stCondLst>
                                        </p:cTn>
                                        <p:tgtEl>
                                          <p:spTgt spid="68"/>
                                        </p:tgtEl>
                                        <p:attrNameLst>
                                          <p:attrName>style.visibility</p:attrName>
                                        </p:attrNameLst>
                                      </p:cBhvr>
                                      <p:to>
                                        <p:strVal val="visible"/>
                                      </p:to>
                                    </p:set>
                                    <p:animEffect transition="in" filter="fade">
                                      <p:cBhvr>
                                        <p:cTn id="19" dur="500"/>
                                        <p:tgtEl>
                                          <p:spTgt spid="68"/>
                                        </p:tgtEl>
                                      </p:cBhvr>
                                    </p:animEffect>
                                  </p:childTnLst>
                                </p:cTn>
                              </p:par>
                              <p:par>
                                <p:cTn id="20" presetID="10" presetClass="entr" presetSubtype="0" fill="hold" grpId="0" nodeType="withEffect">
                                  <p:stCondLst>
                                    <p:cond delay="100"/>
                                  </p:stCondLst>
                                  <p:childTnLst>
                                    <p:set>
                                      <p:cBhvr>
                                        <p:cTn id="21" dur="1" fill="hold">
                                          <p:stCondLst>
                                            <p:cond delay="0"/>
                                          </p:stCondLst>
                                        </p:cTn>
                                        <p:tgtEl>
                                          <p:spTgt spid="69"/>
                                        </p:tgtEl>
                                        <p:attrNameLst>
                                          <p:attrName>style.visibility</p:attrName>
                                        </p:attrNameLst>
                                      </p:cBhvr>
                                      <p:to>
                                        <p:strVal val="visible"/>
                                      </p:to>
                                    </p:set>
                                    <p:animEffect transition="in" filter="fade">
                                      <p:cBhvr>
                                        <p:cTn id="22" dur="500"/>
                                        <p:tgtEl>
                                          <p:spTgt spid="69"/>
                                        </p:tgtEl>
                                      </p:cBhvr>
                                    </p:animEffect>
                                  </p:childTnLst>
                                </p:cTn>
                              </p:par>
                              <p:par>
                                <p:cTn id="23" presetID="10" presetClass="entr" presetSubtype="0" fill="hold" grpId="0" nodeType="withEffect">
                                  <p:stCondLst>
                                    <p:cond delay="120"/>
                                  </p:stCondLst>
                                  <p:childTnLst>
                                    <p:set>
                                      <p:cBhvr>
                                        <p:cTn id="24" dur="1" fill="hold">
                                          <p:stCondLst>
                                            <p:cond delay="0"/>
                                          </p:stCondLst>
                                        </p:cTn>
                                        <p:tgtEl>
                                          <p:spTgt spid="75"/>
                                        </p:tgtEl>
                                        <p:attrNameLst>
                                          <p:attrName>style.visibility</p:attrName>
                                        </p:attrNameLst>
                                      </p:cBhvr>
                                      <p:to>
                                        <p:strVal val="visible"/>
                                      </p:to>
                                    </p:set>
                                    <p:animEffect transition="in" filter="fade">
                                      <p:cBhvr>
                                        <p:cTn id="25" dur="500"/>
                                        <p:tgtEl>
                                          <p:spTgt spid="75"/>
                                        </p:tgtEl>
                                      </p:cBhvr>
                                    </p:animEffect>
                                  </p:childTnLst>
                                </p:cTn>
                              </p:par>
                              <p:par>
                                <p:cTn id="26" presetID="10" presetClass="entr" presetSubtype="0" fill="hold" grpId="0" nodeType="withEffect">
                                  <p:stCondLst>
                                    <p:cond delay="140"/>
                                  </p:stCondLst>
                                  <p:childTnLst>
                                    <p:set>
                                      <p:cBhvr>
                                        <p:cTn id="27" dur="1" fill="hold">
                                          <p:stCondLst>
                                            <p:cond delay="0"/>
                                          </p:stCondLst>
                                        </p:cTn>
                                        <p:tgtEl>
                                          <p:spTgt spid="76"/>
                                        </p:tgtEl>
                                        <p:attrNameLst>
                                          <p:attrName>style.visibility</p:attrName>
                                        </p:attrNameLst>
                                      </p:cBhvr>
                                      <p:to>
                                        <p:strVal val="visible"/>
                                      </p:to>
                                    </p:set>
                                    <p:animEffect transition="in" filter="fade">
                                      <p:cBhvr>
                                        <p:cTn id="28" dur="500"/>
                                        <p:tgtEl>
                                          <p:spTgt spid="76"/>
                                        </p:tgtEl>
                                      </p:cBhvr>
                                    </p:animEffect>
                                  </p:childTnLst>
                                </p:cTn>
                              </p:par>
                              <p:par>
                                <p:cTn id="29" presetID="10" presetClass="entr" presetSubtype="0" fill="hold" grpId="0" nodeType="withEffect">
                                  <p:stCondLst>
                                    <p:cond delay="160"/>
                                  </p:stCondLst>
                                  <p:childTnLst>
                                    <p:set>
                                      <p:cBhvr>
                                        <p:cTn id="30" dur="1" fill="hold">
                                          <p:stCondLst>
                                            <p:cond delay="0"/>
                                          </p:stCondLst>
                                        </p:cTn>
                                        <p:tgtEl>
                                          <p:spTgt spid="77"/>
                                        </p:tgtEl>
                                        <p:attrNameLst>
                                          <p:attrName>style.visibility</p:attrName>
                                        </p:attrNameLst>
                                      </p:cBhvr>
                                      <p:to>
                                        <p:strVal val="visible"/>
                                      </p:to>
                                    </p:set>
                                    <p:animEffect transition="in" filter="fade">
                                      <p:cBhvr>
                                        <p:cTn id="31" dur="500"/>
                                        <p:tgtEl>
                                          <p:spTgt spid="77"/>
                                        </p:tgtEl>
                                      </p:cBhvr>
                                    </p:animEffect>
                                  </p:childTnLst>
                                </p:cTn>
                              </p:par>
                              <p:par>
                                <p:cTn id="32" presetID="10" presetClass="entr" presetSubtype="0" fill="hold" grpId="0" nodeType="withEffect">
                                  <p:stCondLst>
                                    <p:cond delay="180"/>
                                  </p:stCondLst>
                                  <p:childTnLst>
                                    <p:set>
                                      <p:cBhvr>
                                        <p:cTn id="33" dur="1" fill="hold">
                                          <p:stCondLst>
                                            <p:cond delay="0"/>
                                          </p:stCondLst>
                                        </p:cTn>
                                        <p:tgtEl>
                                          <p:spTgt spid="78"/>
                                        </p:tgtEl>
                                        <p:attrNameLst>
                                          <p:attrName>style.visibility</p:attrName>
                                        </p:attrNameLst>
                                      </p:cBhvr>
                                      <p:to>
                                        <p:strVal val="visible"/>
                                      </p:to>
                                    </p:set>
                                    <p:animEffect transition="in" filter="fade">
                                      <p:cBhvr>
                                        <p:cTn id="34" dur="500"/>
                                        <p:tgtEl>
                                          <p:spTgt spid="78"/>
                                        </p:tgtEl>
                                      </p:cBhvr>
                                    </p:animEffect>
                                  </p:childTnLst>
                                </p:cTn>
                              </p:par>
                              <p:par>
                                <p:cTn id="35" presetID="10" presetClass="entr" presetSubtype="0" fill="hold" grpId="0" nodeType="withEffect">
                                  <p:stCondLst>
                                    <p:cond delay="200"/>
                                  </p:stCondLst>
                                  <p:childTnLst>
                                    <p:set>
                                      <p:cBhvr>
                                        <p:cTn id="36" dur="1" fill="hold">
                                          <p:stCondLst>
                                            <p:cond delay="0"/>
                                          </p:stCondLst>
                                        </p:cTn>
                                        <p:tgtEl>
                                          <p:spTgt spid="79"/>
                                        </p:tgtEl>
                                        <p:attrNameLst>
                                          <p:attrName>style.visibility</p:attrName>
                                        </p:attrNameLst>
                                      </p:cBhvr>
                                      <p:to>
                                        <p:strVal val="visible"/>
                                      </p:to>
                                    </p:set>
                                    <p:animEffect transition="in" filter="fade">
                                      <p:cBhvr>
                                        <p:cTn id="37" dur="500"/>
                                        <p:tgtEl>
                                          <p:spTgt spid="79"/>
                                        </p:tgtEl>
                                      </p:cBhvr>
                                    </p:animEffect>
                                  </p:childTnLst>
                                </p:cTn>
                              </p:par>
                              <p:par>
                                <p:cTn id="38" presetID="10" presetClass="entr" presetSubtype="0" fill="hold" grpId="0" nodeType="withEffect">
                                  <p:stCondLst>
                                    <p:cond delay="220"/>
                                  </p:stCondLst>
                                  <p:childTnLst>
                                    <p:set>
                                      <p:cBhvr>
                                        <p:cTn id="39" dur="1" fill="hold">
                                          <p:stCondLst>
                                            <p:cond delay="0"/>
                                          </p:stCondLst>
                                        </p:cTn>
                                        <p:tgtEl>
                                          <p:spTgt spid="80"/>
                                        </p:tgtEl>
                                        <p:attrNameLst>
                                          <p:attrName>style.visibility</p:attrName>
                                        </p:attrNameLst>
                                      </p:cBhvr>
                                      <p:to>
                                        <p:strVal val="visible"/>
                                      </p:to>
                                    </p:set>
                                    <p:animEffect transition="in" filter="fade">
                                      <p:cBhvr>
                                        <p:cTn id="40" dur="500"/>
                                        <p:tgtEl>
                                          <p:spTgt spid="80"/>
                                        </p:tgtEl>
                                      </p:cBhvr>
                                    </p:animEffect>
                                  </p:childTnLst>
                                </p:cTn>
                              </p:par>
                              <p:par>
                                <p:cTn id="41" presetID="10" presetClass="entr" presetSubtype="0" fill="hold" grpId="0" nodeType="withEffect">
                                  <p:stCondLst>
                                    <p:cond delay="240"/>
                                  </p:stCondLst>
                                  <p:childTnLst>
                                    <p:set>
                                      <p:cBhvr>
                                        <p:cTn id="42" dur="1" fill="hold">
                                          <p:stCondLst>
                                            <p:cond delay="0"/>
                                          </p:stCondLst>
                                        </p:cTn>
                                        <p:tgtEl>
                                          <p:spTgt spid="81"/>
                                        </p:tgtEl>
                                        <p:attrNameLst>
                                          <p:attrName>style.visibility</p:attrName>
                                        </p:attrNameLst>
                                      </p:cBhvr>
                                      <p:to>
                                        <p:strVal val="visible"/>
                                      </p:to>
                                    </p:set>
                                    <p:animEffect transition="in" filter="fade">
                                      <p:cBhvr>
                                        <p:cTn id="43" dur="500"/>
                                        <p:tgtEl>
                                          <p:spTgt spid="81"/>
                                        </p:tgtEl>
                                      </p:cBhvr>
                                    </p:animEffect>
                                  </p:childTnLst>
                                </p:cTn>
                              </p:par>
                              <p:par>
                                <p:cTn id="44" presetID="10" presetClass="entr" presetSubtype="0" fill="hold" grpId="0" nodeType="withEffect">
                                  <p:stCondLst>
                                    <p:cond delay="260"/>
                                  </p:stCondLst>
                                  <p:childTnLst>
                                    <p:set>
                                      <p:cBhvr>
                                        <p:cTn id="45" dur="1" fill="hold">
                                          <p:stCondLst>
                                            <p:cond delay="0"/>
                                          </p:stCondLst>
                                        </p:cTn>
                                        <p:tgtEl>
                                          <p:spTgt spid="82"/>
                                        </p:tgtEl>
                                        <p:attrNameLst>
                                          <p:attrName>style.visibility</p:attrName>
                                        </p:attrNameLst>
                                      </p:cBhvr>
                                      <p:to>
                                        <p:strVal val="visible"/>
                                      </p:to>
                                    </p:set>
                                    <p:animEffect transition="in" filter="fade">
                                      <p:cBhvr>
                                        <p:cTn id="46" dur="500"/>
                                        <p:tgtEl>
                                          <p:spTgt spid="82"/>
                                        </p:tgtEl>
                                      </p:cBhvr>
                                    </p:animEffect>
                                  </p:childTnLst>
                                </p:cTn>
                              </p:par>
                              <p:par>
                                <p:cTn id="47" presetID="10" presetClass="entr" presetSubtype="0" fill="hold" grpId="0" nodeType="withEffect">
                                  <p:stCondLst>
                                    <p:cond delay="280"/>
                                  </p:stCondLst>
                                  <p:childTnLst>
                                    <p:set>
                                      <p:cBhvr>
                                        <p:cTn id="48" dur="1" fill="hold">
                                          <p:stCondLst>
                                            <p:cond delay="0"/>
                                          </p:stCondLst>
                                        </p:cTn>
                                        <p:tgtEl>
                                          <p:spTgt spid="83"/>
                                        </p:tgtEl>
                                        <p:attrNameLst>
                                          <p:attrName>style.visibility</p:attrName>
                                        </p:attrNameLst>
                                      </p:cBhvr>
                                      <p:to>
                                        <p:strVal val="visible"/>
                                      </p:to>
                                    </p:set>
                                    <p:animEffect transition="in" filter="fade">
                                      <p:cBhvr>
                                        <p:cTn id="49" dur="500"/>
                                        <p:tgtEl>
                                          <p:spTgt spid="83"/>
                                        </p:tgtEl>
                                      </p:cBhvr>
                                    </p:animEffect>
                                  </p:childTnLst>
                                </p:cTn>
                              </p:par>
                              <p:par>
                                <p:cTn id="50" presetID="10" presetClass="entr" presetSubtype="0" fill="hold" grpId="0" nodeType="withEffect">
                                  <p:stCondLst>
                                    <p:cond delay="300"/>
                                  </p:stCondLst>
                                  <p:childTnLst>
                                    <p:set>
                                      <p:cBhvr>
                                        <p:cTn id="51" dur="1" fill="hold">
                                          <p:stCondLst>
                                            <p:cond delay="0"/>
                                          </p:stCondLst>
                                        </p:cTn>
                                        <p:tgtEl>
                                          <p:spTgt spid="84"/>
                                        </p:tgtEl>
                                        <p:attrNameLst>
                                          <p:attrName>style.visibility</p:attrName>
                                        </p:attrNameLst>
                                      </p:cBhvr>
                                      <p:to>
                                        <p:strVal val="visible"/>
                                      </p:to>
                                    </p:set>
                                    <p:animEffect transition="in" filter="fade">
                                      <p:cBhvr>
                                        <p:cTn id="52" dur="500"/>
                                        <p:tgtEl>
                                          <p:spTgt spid="84"/>
                                        </p:tgtEl>
                                      </p:cBhvr>
                                    </p:animEffect>
                                  </p:childTnLst>
                                </p:cTn>
                              </p:par>
                              <p:par>
                                <p:cTn id="53" presetID="10" presetClass="entr" presetSubtype="0" fill="hold" grpId="0" nodeType="withEffect">
                                  <p:stCondLst>
                                    <p:cond delay="340"/>
                                  </p:stCondLst>
                                  <p:childTnLst>
                                    <p:set>
                                      <p:cBhvr>
                                        <p:cTn id="54" dur="1" fill="hold">
                                          <p:stCondLst>
                                            <p:cond delay="0"/>
                                          </p:stCondLst>
                                        </p:cTn>
                                        <p:tgtEl>
                                          <p:spTgt spid="85"/>
                                        </p:tgtEl>
                                        <p:attrNameLst>
                                          <p:attrName>style.visibility</p:attrName>
                                        </p:attrNameLst>
                                      </p:cBhvr>
                                      <p:to>
                                        <p:strVal val="visible"/>
                                      </p:to>
                                    </p:set>
                                    <p:animEffect transition="in" filter="fade">
                                      <p:cBhvr>
                                        <p:cTn id="55" dur="500"/>
                                        <p:tgtEl>
                                          <p:spTgt spid="85"/>
                                        </p:tgtEl>
                                      </p:cBhvr>
                                    </p:animEffect>
                                  </p:childTnLst>
                                </p:cTn>
                              </p:par>
                              <p:par>
                                <p:cTn id="56" presetID="10" presetClass="entr" presetSubtype="0" fill="hold" grpId="0" nodeType="withEffect">
                                  <p:stCondLst>
                                    <p:cond delay="380"/>
                                  </p:stCondLst>
                                  <p:childTnLst>
                                    <p:set>
                                      <p:cBhvr>
                                        <p:cTn id="57" dur="1" fill="hold">
                                          <p:stCondLst>
                                            <p:cond delay="0"/>
                                          </p:stCondLst>
                                        </p:cTn>
                                        <p:tgtEl>
                                          <p:spTgt spid="86"/>
                                        </p:tgtEl>
                                        <p:attrNameLst>
                                          <p:attrName>style.visibility</p:attrName>
                                        </p:attrNameLst>
                                      </p:cBhvr>
                                      <p:to>
                                        <p:strVal val="visible"/>
                                      </p:to>
                                    </p:set>
                                    <p:animEffect transition="in" filter="fade">
                                      <p:cBhvr>
                                        <p:cTn id="58" dur="500"/>
                                        <p:tgtEl>
                                          <p:spTgt spid="86"/>
                                        </p:tgtEl>
                                      </p:cBhvr>
                                    </p:animEffect>
                                  </p:childTnLst>
                                </p:cTn>
                              </p:par>
                              <p:par>
                                <p:cTn id="59" presetID="10" presetClass="entr" presetSubtype="0" fill="hold" grpId="0" nodeType="withEffect">
                                  <p:stCondLst>
                                    <p:cond delay="420"/>
                                  </p:stCondLst>
                                  <p:childTnLst>
                                    <p:set>
                                      <p:cBhvr>
                                        <p:cTn id="60" dur="1" fill="hold">
                                          <p:stCondLst>
                                            <p:cond delay="0"/>
                                          </p:stCondLst>
                                        </p:cTn>
                                        <p:tgtEl>
                                          <p:spTgt spid="87"/>
                                        </p:tgtEl>
                                        <p:attrNameLst>
                                          <p:attrName>style.visibility</p:attrName>
                                        </p:attrNameLst>
                                      </p:cBhvr>
                                      <p:to>
                                        <p:strVal val="visible"/>
                                      </p:to>
                                    </p:set>
                                    <p:animEffect transition="in" filter="fade">
                                      <p:cBhvr>
                                        <p:cTn id="61" dur="500"/>
                                        <p:tgtEl>
                                          <p:spTgt spid="87"/>
                                        </p:tgtEl>
                                      </p:cBhvr>
                                    </p:animEffect>
                                  </p:childTnLst>
                                </p:cTn>
                              </p:par>
                              <p:par>
                                <p:cTn id="62" presetID="10" presetClass="entr" presetSubtype="0" fill="hold" grpId="0" nodeType="withEffect">
                                  <p:stCondLst>
                                    <p:cond delay="480"/>
                                  </p:stCondLst>
                                  <p:childTnLst>
                                    <p:set>
                                      <p:cBhvr>
                                        <p:cTn id="63" dur="1" fill="hold">
                                          <p:stCondLst>
                                            <p:cond delay="0"/>
                                          </p:stCondLst>
                                        </p:cTn>
                                        <p:tgtEl>
                                          <p:spTgt spid="88"/>
                                        </p:tgtEl>
                                        <p:attrNameLst>
                                          <p:attrName>style.visibility</p:attrName>
                                        </p:attrNameLst>
                                      </p:cBhvr>
                                      <p:to>
                                        <p:strVal val="visible"/>
                                      </p:to>
                                    </p:set>
                                    <p:animEffect transition="in" filter="fade">
                                      <p:cBhvr>
                                        <p:cTn id="64" dur="500"/>
                                        <p:tgtEl>
                                          <p:spTgt spid="88"/>
                                        </p:tgtEl>
                                      </p:cBhvr>
                                    </p:animEffect>
                                  </p:childTnLst>
                                </p:cTn>
                              </p:par>
                              <p:par>
                                <p:cTn id="65" presetID="10" presetClass="entr" presetSubtype="0" fill="hold" grpId="0" nodeType="withEffect">
                                  <p:stCondLst>
                                    <p:cond delay="550"/>
                                  </p:stCondLst>
                                  <p:childTnLst>
                                    <p:set>
                                      <p:cBhvr>
                                        <p:cTn id="66" dur="1" fill="hold">
                                          <p:stCondLst>
                                            <p:cond delay="0"/>
                                          </p:stCondLst>
                                        </p:cTn>
                                        <p:tgtEl>
                                          <p:spTgt spid="89"/>
                                        </p:tgtEl>
                                        <p:attrNameLst>
                                          <p:attrName>style.visibility</p:attrName>
                                        </p:attrNameLst>
                                      </p:cBhvr>
                                      <p:to>
                                        <p:strVal val="visible"/>
                                      </p:to>
                                    </p:set>
                                    <p:animEffect transition="in" filter="fade">
                                      <p:cBhvr>
                                        <p:cTn id="67" dur="500"/>
                                        <p:tgtEl>
                                          <p:spTgt spid="89"/>
                                        </p:tgtEl>
                                      </p:cBhvr>
                                    </p:animEffect>
                                  </p:childTnLst>
                                </p:cTn>
                              </p:par>
                              <p:par>
                                <p:cTn id="68" presetID="10" presetClass="entr" presetSubtype="0" fill="hold" grpId="0" nodeType="withEffect">
                                  <p:stCondLst>
                                    <p:cond delay="550"/>
                                  </p:stCondLst>
                                  <p:childTnLst>
                                    <p:set>
                                      <p:cBhvr>
                                        <p:cTn id="69" dur="1" fill="hold">
                                          <p:stCondLst>
                                            <p:cond delay="0"/>
                                          </p:stCondLst>
                                        </p:cTn>
                                        <p:tgtEl>
                                          <p:spTgt spid="90"/>
                                        </p:tgtEl>
                                        <p:attrNameLst>
                                          <p:attrName>style.visibility</p:attrName>
                                        </p:attrNameLst>
                                      </p:cBhvr>
                                      <p:to>
                                        <p:strVal val="visible"/>
                                      </p:to>
                                    </p:set>
                                    <p:animEffect transition="in" filter="fade">
                                      <p:cBhvr>
                                        <p:cTn id="70" dur="500"/>
                                        <p:tgtEl>
                                          <p:spTgt spid="90"/>
                                        </p:tgtEl>
                                      </p:cBhvr>
                                    </p:animEffect>
                                  </p:childTnLst>
                                </p:cTn>
                              </p:par>
                              <p:par>
                                <p:cTn id="71" presetID="10" presetClass="entr" presetSubtype="0" fill="hold" grpId="0" nodeType="withEffect">
                                  <p:stCondLst>
                                    <p:cond delay="160"/>
                                  </p:stCondLst>
                                  <p:childTnLst>
                                    <p:set>
                                      <p:cBhvr>
                                        <p:cTn id="72" dur="1" fill="hold">
                                          <p:stCondLst>
                                            <p:cond delay="0"/>
                                          </p:stCondLst>
                                        </p:cTn>
                                        <p:tgtEl>
                                          <p:spTgt spid="94"/>
                                        </p:tgtEl>
                                        <p:attrNameLst>
                                          <p:attrName>style.visibility</p:attrName>
                                        </p:attrNameLst>
                                      </p:cBhvr>
                                      <p:to>
                                        <p:strVal val="visible"/>
                                      </p:to>
                                    </p:set>
                                    <p:animEffect transition="in" filter="fade">
                                      <p:cBhvr>
                                        <p:cTn id="73" dur="500"/>
                                        <p:tgtEl>
                                          <p:spTgt spid="94"/>
                                        </p:tgtEl>
                                      </p:cBhvr>
                                    </p:animEffect>
                                  </p:childTnLst>
                                </p:cTn>
                              </p:par>
                              <p:par>
                                <p:cTn id="74" presetID="10" presetClass="entr" presetSubtype="0" fill="hold" grpId="0" nodeType="withEffect">
                                  <p:stCondLst>
                                    <p:cond delay="160"/>
                                  </p:stCondLst>
                                  <p:childTnLst>
                                    <p:set>
                                      <p:cBhvr>
                                        <p:cTn id="75" dur="1" fill="hold">
                                          <p:stCondLst>
                                            <p:cond delay="0"/>
                                          </p:stCondLst>
                                        </p:cTn>
                                        <p:tgtEl>
                                          <p:spTgt spid="95"/>
                                        </p:tgtEl>
                                        <p:attrNameLst>
                                          <p:attrName>style.visibility</p:attrName>
                                        </p:attrNameLst>
                                      </p:cBhvr>
                                      <p:to>
                                        <p:strVal val="visible"/>
                                      </p:to>
                                    </p:set>
                                    <p:animEffect transition="in" filter="fade">
                                      <p:cBhvr>
                                        <p:cTn id="76" dur="500"/>
                                        <p:tgtEl>
                                          <p:spTgt spid="95"/>
                                        </p:tgtEl>
                                      </p:cBhvr>
                                    </p:animEffect>
                                  </p:childTnLst>
                                </p:cTn>
                              </p:par>
                              <p:par>
                                <p:cTn id="77" presetID="10" presetClass="entr" presetSubtype="0" fill="hold" grpId="0" nodeType="withEffect">
                                  <p:stCondLst>
                                    <p:cond delay="160"/>
                                  </p:stCondLst>
                                  <p:childTnLst>
                                    <p:set>
                                      <p:cBhvr>
                                        <p:cTn id="78" dur="1" fill="hold">
                                          <p:stCondLst>
                                            <p:cond delay="0"/>
                                          </p:stCondLst>
                                        </p:cTn>
                                        <p:tgtEl>
                                          <p:spTgt spid="37"/>
                                        </p:tgtEl>
                                        <p:attrNameLst>
                                          <p:attrName>style.visibility</p:attrName>
                                        </p:attrNameLst>
                                      </p:cBhvr>
                                      <p:to>
                                        <p:strVal val="visible"/>
                                      </p:to>
                                    </p:set>
                                    <p:animEffect transition="in" filter="fade">
                                      <p:cBhvr>
                                        <p:cTn id="79" dur="500"/>
                                        <p:tgtEl>
                                          <p:spTgt spid="37"/>
                                        </p:tgtEl>
                                      </p:cBhvr>
                                    </p:animEffect>
                                  </p:childTnLst>
                                </p:cTn>
                              </p:par>
                              <p:par>
                                <p:cTn id="80" presetID="10" presetClass="entr" presetSubtype="0" fill="hold" grpId="0" nodeType="withEffect">
                                  <p:stCondLst>
                                    <p:cond delay="160"/>
                                  </p:stCondLst>
                                  <p:childTnLst>
                                    <p:set>
                                      <p:cBhvr>
                                        <p:cTn id="81" dur="1" fill="hold">
                                          <p:stCondLst>
                                            <p:cond delay="0"/>
                                          </p:stCondLst>
                                        </p:cTn>
                                        <p:tgtEl>
                                          <p:spTgt spid="38"/>
                                        </p:tgtEl>
                                        <p:attrNameLst>
                                          <p:attrName>style.visibility</p:attrName>
                                        </p:attrNameLst>
                                      </p:cBhvr>
                                      <p:to>
                                        <p:strVal val="visible"/>
                                      </p:to>
                                    </p:set>
                                    <p:animEffect transition="in" filter="fade">
                                      <p:cBhvr>
                                        <p:cTn id="82" dur="500"/>
                                        <p:tgtEl>
                                          <p:spTgt spid="38"/>
                                        </p:tgtEl>
                                      </p:cBhvr>
                                    </p:animEffect>
                                  </p:childTnLst>
                                </p:cTn>
                              </p:par>
                              <p:par>
                                <p:cTn id="83" presetID="10" presetClass="entr" presetSubtype="0" fill="hold" grpId="0" nodeType="withEffect">
                                  <p:stCondLst>
                                    <p:cond delay="160"/>
                                  </p:stCondLst>
                                  <p:childTnLst>
                                    <p:set>
                                      <p:cBhvr>
                                        <p:cTn id="84" dur="1" fill="hold">
                                          <p:stCondLst>
                                            <p:cond delay="0"/>
                                          </p:stCondLst>
                                        </p:cTn>
                                        <p:tgtEl>
                                          <p:spTgt spid="41"/>
                                        </p:tgtEl>
                                        <p:attrNameLst>
                                          <p:attrName>style.visibility</p:attrName>
                                        </p:attrNameLst>
                                      </p:cBhvr>
                                      <p:to>
                                        <p:strVal val="visible"/>
                                      </p:to>
                                    </p:set>
                                    <p:animEffect transition="in" filter="fade">
                                      <p:cBhvr>
                                        <p:cTn id="85" dur="500"/>
                                        <p:tgtEl>
                                          <p:spTgt spid="41"/>
                                        </p:tgtEl>
                                      </p:cBhvr>
                                    </p:animEffect>
                                  </p:childTnLst>
                                </p:cTn>
                              </p:par>
                              <p:par>
                                <p:cTn id="86" presetID="10" presetClass="entr" presetSubtype="0" fill="hold" grpId="0" nodeType="withEffect">
                                  <p:stCondLst>
                                    <p:cond delay="160"/>
                                  </p:stCondLst>
                                  <p:childTnLst>
                                    <p:set>
                                      <p:cBhvr>
                                        <p:cTn id="87" dur="1" fill="hold">
                                          <p:stCondLst>
                                            <p:cond delay="0"/>
                                          </p:stCondLst>
                                        </p:cTn>
                                        <p:tgtEl>
                                          <p:spTgt spid="42"/>
                                        </p:tgtEl>
                                        <p:attrNameLst>
                                          <p:attrName>style.visibility</p:attrName>
                                        </p:attrNameLst>
                                      </p:cBhvr>
                                      <p:to>
                                        <p:strVal val="visible"/>
                                      </p:to>
                                    </p:set>
                                    <p:animEffect transition="in" filter="fade">
                                      <p:cBhvr>
                                        <p:cTn id="88" dur="500"/>
                                        <p:tgtEl>
                                          <p:spTgt spid="42"/>
                                        </p:tgtEl>
                                      </p:cBhvr>
                                    </p:animEffect>
                                  </p:childTnLst>
                                </p:cTn>
                              </p:par>
                            </p:childTnLst>
                          </p:cTn>
                        </p:par>
                        <p:par>
                          <p:cTn id="89" fill="hold">
                            <p:stCondLst>
                              <p:cond delay="1050"/>
                            </p:stCondLst>
                            <p:childTnLst>
                              <p:par>
                                <p:cTn id="90" presetID="10" presetClass="entr" presetSubtype="0" fill="hold" grpId="0" nodeType="afterEffect">
                                  <p:stCondLst>
                                    <p:cond delay="0"/>
                                  </p:stCondLst>
                                  <p:childTnLst>
                                    <p:set>
                                      <p:cBhvr>
                                        <p:cTn id="91" dur="1" fill="hold">
                                          <p:stCondLst>
                                            <p:cond delay="0"/>
                                          </p:stCondLst>
                                        </p:cTn>
                                        <p:tgtEl>
                                          <p:spTgt spid="71"/>
                                        </p:tgtEl>
                                        <p:attrNameLst>
                                          <p:attrName>style.visibility</p:attrName>
                                        </p:attrNameLst>
                                      </p:cBhvr>
                                      <p:to>
                                        <p:strVal val="visible"/>
                                      </p:to>
                                    </p:set>
                                    <p:animEffect transition="in" filter="fade">
                                      <p:cBhvr>
                                        <p:cTn id="92" dur="500"/>
                                        <p:tgtEl>
                                          <p:spTgt spid="71"/>
                                        </p:tgtEl>
                                      </p:cBhvr>
                                    </p:animEffect>
                                  </p:childTnLst>
                                </p:cTn>
                              </p:par>
                              <p:par>
                                <p:cTn id="93" presetID="10" presetClass="entr" presetSubtype="0" fill="hold" nodeType="withEffect">
                                  <p:stCondLst>
                                    <p:cond delay="0"/>
                                  </p:stCondLst>
                                  <p:childTnLst>
                                    <p:set>
                                      <p:cBhvr>
                                        <p:cTn id="94" dur="1" fill="hold">
                                          <p:stCondLst>
                                            <p:cond delay="0"/>
                                          </p:stCondLst>
                                        </p:cTn>
                                        <p:tgtEl>
                                          <p:spTgt spid="72"/>
                                        </p:tgtEl>
                                        <p:attrNameLst>
                                          <p:attrName>style.visibility</p:attrName>
                                        </p:attrNameLst>
                                      </p:cBhvr>
                                      <p:to>
                                        <p:strVal val="visible"/>
                                      </p:to>
                                    </p:set>
                                    <p:animEffect transition="in" filter="fade">
                                      <p:cBhvr>
                                        <p:cTn id="95" dur="500"/>
                                        <p:tgtEl>
                                          <p:spTgt spid="72"/>
                                        </p:tgtEl>
                                      </p:cBhvr>
                                    </p:animEffect>
                                  </p:childTnLst>
                                </p:cTn>
                              </p:par>
                            </p:childTnLst>
                          </p:cTn>
                        </p:par>
                      </p:childTnLst>
                    </p:cTn>
                  </p:par>
                  <p:par>
                    <p:cTn id="96" fill="hold">
                      <p:stCondLst>
                        <p:cond delay="indefinite"/>
                      </p:stCondLst>
                      <p:childTnLst>
                        <p:par>
                          <p:cTn id="97" fill="hold">
                            <p:stCondLst>
                              <p:cond delay="0"/>
                            </p:stCondLst>
                            <p:childTnLst>
                              <p:par>
                                <p:cTn id="98" presetID="10" presetClass="exit" presetSubtype="0" fill="hold" grpId="1" nodeType="clickEffect">
                                  <p:stCondLst>
                                    <p:cond delay="0"/>
                                  </p:stCondLst>
                                  <p:childTnLst>
                                    <p:animEffect transition="out" filter="fade">
                                      <p:cBhvr>
                                        <p:cTn id="99" dur="500"/>
                                        <p:tgtEl>
                                          <p:spTgt spid="71"/>
                                        </p:tgtEl>
                                      </p:cBhvr>
                                    </p:animEffect>
                                    <p:set>
                                      <p:cBhvr>
                                        <p:cTn id="100" dur="1" fill="hold">
                                          <p:stCondLst>
                                            <p:cond delay="499"/>
                                          </p:stCondLst>
                                        </p:cTn>
                                        <p:tgtEl>
                                          <p:spTgt spid="71"/>
                                        </p:tgtEl>
                                        <p:attrNameLst>
                                          <p:attrName>style.visibility</p:attrName>
                                        </p:attrNameLst>
                                      </p:cBhvr>
                                      <p:to>
                                        <p:strVal val="hidden"/>
                                      </p:to>
                                    </p:set>
                                  </p:childTnLst>
                                </p:cTn>
                              </p:par>
                              <p:par>
                                <p:cTn id="101" presetID="10" presetClass="exit" presetSubtype="0" fill="hold" nodeType="withEffect">
                                  <p:stCondLst>
                                    <p:cond delay="0"/>
                                  </p:stCondLst>
                                  <p:childTnLst>
                                    <p:animEffect transition="out" filter="fade">
                                      <p:cBhvr>
                                        <p:cTn id="102" dur="500"/>
                                        <p:tgtEl>
                                          <p:spTgt spid="72"/>
                                        </p:tgtEl>
                                      </p:cBhvr>
                                    </p:animEffect>
                                    <p:set>
                                      <p:cBhvr>
                                        <p:cTn id="103" dur="1" fill="hold">
                                          <p:stCondLst>
                                            <p:cond delay="499"/>
                                          </p:stCondLst>
                                        </p:cTn>
                                        <p:tgtEl>
                                          <p:spTgt spid="72"/>
                                        </p:tgtEl>
                                        <p:attrNameLst>
                                          <p:attrName>style.visibility</p:attrName>
                                        </p:attrNameLst>
                                      </p:cBhvr>
                                      <p:to>
                                        <p:strVal val="hidden"/>
                                      </p:to>
                                    </p:set>
                                  </p:childTnLst>
                                </p:cTn>
                              </p:par>
                            </p:childTnLst>
                          </p:cTn>
                        </p:par>
                        <p:par>
                          <p:cTn id="104" fill="hold">
                            <p:stCondLst>
                              <p:cond delay="500"/>
                            </p:stCondLst>
                            <p:childTnLst>
                              <p:par>
                                <p:cTn id="105" presetID="10" presetClass="entr" presetSubtype="0" fill="hold" nodeType="afterEffect">
                                  <p:stCondLst>
                                    <p:cond delay="0"/>
                                  </p:stCondLst>
                                  <p:childTnLst>
                                    <p:set>
                                      <p:cBhvr>
                                        <p:cTn id="106" dur="1" fill="hold">
                                          <p:stCondLst>
                                            <p:cond delay="0"/>
                                          </p:stCondLst>
                                        </p:cTn>
                                        <p:tgtEl>
                                          <p:spTgt spid="39"/>
                                        </p:tgtEl>
                                        <p:attrNameLst>
                                          <p:attrName>style.visibility</p:attrName>
                                        </p:attrNameLst>
                                      </p:cBhvr>
                                      <p:to>
                                        <p:strVal val="visible"/>
                                      </p:to>
                                    </p:set>
                                    <p:animEffect transition="in" filter="fade">
                                      <p:cBhvr>
                                        <p:cTn id="107" dur="500"/>
                                        <p:tgtEl>
                                          <p:spTgt spid="39"/>
                                        </p:tgtEl>
                                      </p:cBhvr>
                                    </p:animEffect>
                                  </p:childTnLst>
                                </p:cTn>
                              </p:par>
                              <p:par>
                                <p:cTn id="108" presetID="10" presetClass="entr" presetSubtype="0" fill="hold" grpId="0" nodeType="withEffect">
                                  <p:stCondLst>
                                    <p:cond delay="250"/>
                                  </p:stCondLst>
                                  <p:childTnLst>
                                    <p:set>
                                      <p:cBhvr>
                                        <p:cTn id="109" dur="1" fill="hold">
                                          <p:stCondLst>
                                            <p:cond delay="0"/>
                                          </p:stCondLst>
                                        </p:cTn>
                                        <p:tgtEl>
                                          <p:spTgt spid="47"/>
                                        </p:tgtEl>
                                        <p:attrNameLst>
                                          <p:attrName>style.visibility</p:attrName>
                                        </p:attrNameLst>
                                      </p:cBhvr>
                                      <p:to>
                                        <p:strVal val="visible"/>
                                      </p:to>
                                    </p:set>
                                    <p:animEffect transition="in" filter="fade">
                                      <p:cBhvr>
                                        <p:cTn id="110" dur="50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 grpId="0"/>
      <p:bldP spid="71" grpId="1"/>
      <p:bldP spid="47" grpId="0"/>
      <p:bldP spid="64" grpId="0" animBg="1"/>
      <p:bldP spid="65" grpId="0" animBg="1"/>
      <p:bldP spid="66" grpId="0" animBg="1"/>
      <p:bldP spid="67" grpId="0" animBg="1"/>
      <p:bldP spid="68" grpId="0" animBg="1"/>
      <p:bldP spid="69" grpId="0" animBg="1"/>
      <p:bldP spid="75" grpId="0" animBg="1"/>
      <p:bldP spid="76" grpId="0" animBg="1"/>
      <p:bldP spid="77" grpId="0" animBg="1"/>
      <p:bldP spid="78" grpId="0" animBg="1"/>
      <p:bldP spid="79" grpId="0" animBg="1"/>
      <p:bldP spid="80" grpId="0" animBg="1"/>
      <p:bldP spid="81" grpId="0" animBg="1"/>
      <p:bldP spid="82" grpId="0" animBg="1"/>
      <p:bldP spid="83" grpId="0" animBg="1"/>
      <p:bldP spid="84" grpId="0" animBg="1"/>
      <p:bldP spid="85" grpId="0" animBg="1"/>
      <p:bldP spid="86" grpId="0" animBg="1"/>
      <p:bldP spid="87" grpId="0" animBg="1"/>
      <p:bldP spid="88" grpId="0" animBg="1"/>
      <p:bldP spid="89" grpId="0" animBg="1"/>
      <p:bldP spid="90" grpId="0" animBg="1"/>
      <p:bldP spid="94" grpId="0" animBg="1"/>
      <p:bldP spid="95" grpId="0" animBg="1"/>
      <p:bldP spid="37" grpId="0" animBg="1"/>
      <p:bldP spid="38" grpId="0" animBg="1"/>
      <p:bldP spid="41" grpId="0" animBg="1"/>
      <p:bldP spid="42"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a:extLst>
              <a:ext uri="{BEBA8EAE-BF5A-486C-A8C5-ECC9F3942E4B}">
                <a14:imgProps xmlns:a14="http://schemas.microsoft.com/office/drawing/2010/main">
                  <a14:imgLayer r:embed="rId3">
                    <a14:imgEffect>
                      <a14:saturation sat="116000"/>
                    </a14:imgEffect>
                    <a14:imgEffect>
                      <a14:brightnessContrast bright="7000" contrast="21000"/>
                    </a14:imgEffect>
                  </a14:imgLayer>
                </a14:imgProps>
              </a:ext>
              <a:ext uri="{28A0092B-C50C-407E-A947-70E740481C1C}">
                <a14:useLocalDpi xmlns:a14="http://schemas.microsoft.com/office/drawing/2010/main" val="0"/>
              </a:ext>
            </a:extLst>
          </a:blip>
          <a:srcRect l="11496" t="29351" r="6530" b="1412"/>
          <a:stretch/>
        </p:blipFill>
        <p:spPr>
          <a:xfrm>
            <a:off x="-29562" y="-6400"/>
            <a:ext cx="12247949" cy="6870801"/>
          </a:xfrm>
          <a:prstGeom prst="rect">
            <a:avLst/>
          </a:prstGeom>
        </p:spPr>
      </p:pic>
      <p:sp>
        <p:nvSpPr>
          <p:cNvPr id="3" name="Oval 2"/>
          <p:cNvSpPr/>
          <p:nvPr/>
        </p:nvSpPr>
        <p:spPr bwMode="auto">
          <a:xfrm>
            <a:off x="10276639" y="5370748"/>
            <a:ext cx="896191" cy="896191"/>
          </a:xfrm>
          <a:prstGeom prst="ellipse">
            <a:avLst/>
          </a:prstGeom>
          <a:noFill/>
          <a:ln w="76200">
            <a:solidFill>
              <a:srgbClr val="0B7DD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Oval 3"/>
          <p:cNvSpPr/>
          <p:nvPr/>
        </p:nvSpPr>
        <p:spPr bwMode="auto">
          <a:xfrm>
            <a:off x="10081234" y="5175343"/>
            <a:ext cx="1287001" cy="1287001"/>
          </a:xfrm>
          <a:prstGeom prst="ellipse">
            <a:avLst/>
          </a:prstGeom>
          <a:noFill/>
          <a:ln w="381000">
            <a:solidFill>
              <a:schemeClr val="tx1">
                <a:alpha val="2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927942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afterEffect">
                                  <p:stCondLst>
                                    <p:cond delay="1000"/>
                                  </p:stCondLst>
                                  <p:childTnLst>
                                    <p:set>
                                      <p:cBhvr>
                                        <p:cTn id="6" dur="1" fill="hold">
                                          <p:stCondLst>
                                            <p:cond delay="0"/>
                                          </p:stCondLst>
                                        </p:cTn>
                                        <p:tgtEl>
                                          <p:spTgt spid="3"/>
                                        </p:tgtEl>
                                        <p:attrNameLst>
                                          <p:attrName>style.visibility</p:attrName>
                                        </p:attrNameLst>
                                      </p:cBhvr>
                                      <p:to>
                                        <p:strVal val="visible"/>
                                      </p:to>
                                    </p:set>
                                    <p:animEffect transition="in" filter="wheel(1)">
                                      <p:cBhvr>
                                        <p:cTn id="7" dur="2000"/>
                                        <p:tgtEl>
                                          <p:spTgt spid="3"/>
                                        </p:tgtEl>
                                      </p:cBhvr>
                                    </p:animEffect>
                                  </p:childTnLst>
                                </p:cTn>
                              </p:par>
                              <p:par>
                                <p:cTn id="8" presetID="21" presetClass="entr" presetSubtype="1" fill="hold" grpId="0" nodeType="withEffect">
                                  <p:stCondLst>
                                    <p:cond delay="1000"/>
                                  </p:stCondLst>
                                  <p:childTnLst>
                                    <p:set>
                                      <p:cBhvr>
                                        <p:cTn id="9" dur="1" fill="hold">
                                          <p:stCondLst>
                                            <p:cond delay="0"/>
                                          </p:stCondLst>
                                        </p:cTn>
                                        <p:tgtEl>
                                          <p:spTgt spid="4"/>
                                        </p:tgtEl>
                                        <p:attrNameLst>
                                          <p:attrName>style.visibility</p:attrName>
                                        </p:attrNameLst>
                                      </p:cBhvr>
                                      <p:to>
                                        <p:strVal val="visible"/>
                                      </p:to>
                                    </p:set>
                                    <p:animEffect transition="in" filter="wheel(1)">
                                      <p:cBhvr>
                                        <p:cTn id="10" dur="2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MT_TILE" val="YES"/>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heme/theme1.xml><?xml version="1.0" encoding="utf-8"?>
<a:theme xmlns:a="http://schemas.openxmlformats.org/drawingml/2006/main" name="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10.xml><?xml version="1.0" encoding="utf-8"?>
<a:theme xmlns:a="http://schemas.openxmlformats.org/drawingml/2006/main" name="11_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Keynote-Template_v3" id="{16D16FD6-82B1-4517-AB6B-BD72623FF067}" vid="{059D507E-C456-4974-83A1-394505850BFA}"/>
    </a:ext>
  </a:extLst>
</a:theme>
</file>

<file path=ppt/theme/theme11.xml><?xml version="1.0" encoding="utf-8"?>
<a:theme xmlns:a="http://schemas.openxmlformats.org/drawingml/2006/main" name="COLOR TEMPLATE">
  <a:themeElements>
    <a:clrScheme name="MSVID Dark Blue">
      <a:dk1>
        <a:srgbClr val="505050"/>
      </a:dk1>
      <a:lt1>
        <a:srgbClr val="FFFFFF"/>
      </a:lt1>
      <a:dk2>
        <a:srgbClr val="002050"/>
      </a:dk2>
      <a:lt2>
        <a:srgbClr val="CDF4FF"/>
      </a:lt2>
      <a:accent1>
        <a:srgbClr val="107C10"/>
      </a:accent1>
      <a:accent2>
        <a:srgbClr val="B4009E"/>
      </a:accent2>
      <a:accent3>
        <a:srgbClr val="0078D7"/>
      </a:accent3>
      <a:accent4>
        <a:srgbClr val="5C2D91"/>
      </a:accent4>
      <a:accent5>
        <a:srgbClr val="008272"/>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1.potx" id="{D492926E-EC08-4AFD-807A-4127C70CFD99}" vid="{448CC406-24DD-4783-95CB-AC7FC09E6033}"/>
    </a:ext>
  </a:extLst>
</a:theme>
</file>

<file path=ppt/theme/theme12.xml><?xml version="1.0" encoding="utf-8"?>
<a:theme xmlns:a="http://schemas.openxmlformats.org/drawingml/2006/main" name="3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13.xml><?xml version="1.0" encoding="utf-8"?>
<a:theme xmlns:a="http://schemas.openxmlformats.org/drawingml/2006/main" name="4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Event.potx" id="{12A49558-E789-4399-9D96-F08AE2E278F2}" vid="{B38A1CF8-BE3E-468D-BF70-AD0BD63E580C}"/>
    </a:ext>
  </a:extLst>
</a:theme>
</file>

<file path=ppt/theme/theme14.xml><?xml version="1.0" encoding="utf-8"?>
<a:theme xmlns:a="http://schemas.openxmlformats.org/drawingml/2006/main" name="1_Microsoft AzureCon 2015 Template - Color">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2015_Template_v03.potx" id="{E9CBCEC3-36C2-4763-88E1-B75AB7E1FC6F}" vid="{55C15E7C-B0A3-4A27-BBBF-FBB376FF8139}"/>
    </a:ext>
  </a:extLst>
</a:theme>
</file>

<file path=ppt/theme/theme15.xml><?xml version="1.0" encoding="utf-8"?>
<a:theme xmlns:a="http://schemas.openxmlformats.org/drawingml/2006/main" name="1_MGXFY16 Dark Gray Template">
  <a:themeElements>
    <a:clrScheme name="Custom 28">
      <a:dk1>
        <a:srgbClr val="505050"/>
      </a:dk1>
      <a:lt1>
        <a:srgbClr val="FFFFFF"/>
      </a:lt1>
      <a:dk2>
        <a:srgbClr val="0078D7"/>
      </a:dk2>
      <a:lt2>
        <a:srgbClr val="EAEAEA"/>
      </a:lt2>
      <a:accent1>
        <a:srgbClr val="0078D7"/>
      </a:accent1>
      <a:accent2>
        <a:srgbClr val="643BCD"/>
      </a:accent2>
      <a:accent3>
        <a:srgbClr val="00BCF2"/>
      </a:accent3>
      <a:accent4>
        <a:srgbClr val="ABABAB"/>
      </a:accent4>
      <a:accent5>
        <a:srgbClr val="505050"/>
      </a:accent5>
      <a:accent6>
        <a:srgbClr val="FFB900"/>
      </a:accent6>
      <a:hlink>
        <a:srgbClr val="89E6FF"/>
      </a:hlink>
      <a:folHlink>
        <a:srgbClr val="89E6FF"/>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GXFY16 Template 07.potx" id="{A9A7669F-9F35-4C93-8E2B-AB1D7FD7DF1F}" vid="{BD78765C-BDC5-4855-A553-52A83E41D733}"/>
    </a:ext>
  </a:extLst>
</a:theme>
</file>

<file path=ppt/theme/theme16.xml><?xml version="1.0" encoding="utf-8"?>
<a:theme xmlns:a="http://schemas.openxmlformats.org/drawingml/2006/main" name="2_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17.xml><?xml version="1.0" encoding="utf-8"?>
<a:theme xmlns:a="http://schemas.openxmlformats.org/drawingml/2006/main" name="5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18.xml><?xml version="1.0" encoding="utf-8"?>
<a:theme xmlns:a="http://schemas.openxmlformats.org/drawingml/2006/main" name="1_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19.xml><?xml version="1.0" encoding="utf-8"?>
<a:theme xmlns:a="http://schemas.openxmlformats.org/drawingml/2006/main" name="2_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2.xml><?xml version="1.0" encoding="utf-8"?>
<a:theme xmlns:a="http://schemas.openxmlformats.org/drawingml/2006/main" name="1_5-30629_Build_Template_DARK BLU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989475B9-DB6C-4EAF-8622-952BB3581377}" vid="{74387833-FC5C-4245-A3BF-5305B54D3E19}"/>
    </a:ext>
  </a:extLst>
</a:theme>
</file>

<file path=ppt/theme/theme20.xml><?xml version="1.0" encoding="utf-8"?>
<a:theme xmlns:a="http://schemas.openxmlformats.org/drawingml/2006/main" name="5-30721_Build_2016_Template_Light">
  <a:themeElements>
    <a:clrScheme name="Build 2016">
      <a:dk1>
        <a:srgbClr val="505050"/>
      </a:dk1>
      <a:lt1>
        <a:srgbClr val="FFFFFF"/>
      </a:lt1>
      <a:dk2>
        <a:srgbClr val="0078D7"/>
      </a:dk2>
      <a:lt2>
        <a:srgbClr val="F8F8F8"/>
      </a:lt2>
      <a:accent1>
        <a:srgbClr val="0078D7"/>
      </a:accent1>
      <a:accent2>
        <a:srgbClr val="002050"/>
      </a:accent2>
      <a:accent3>
        <a:srgbClr val="00BCF2"/>
      </a:accent3>
      <a:accent4>
        <a:srgbClr val="D2D2D2"/>
      </a:accent4>
      <a:accent5>
        <a:srgbClr val="737373"/>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6_16x9_Template.potx" id="{2D9F1654-7A66-4699-829C-201E10216A69}" vid="{2DD1E4E3-0871-45BE-BEDE-345B55444DCB}"/>
    </a:ext>
  </a:extLst>
</a:theme>
</file>

<file path=ppt/theme/theme21.xml><?xml version="1.0" encoding="utf-8"?>
<a:theme xmlns:a="http://schemas.openxmlformats.org/drawingml/2006/main" name="2_Microsoft AzureCon 2015 Template - Color">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2015_Template_v03" id="{4715AF1A-5204-4C1D-AE3F-AB18B0EACD86}" vid="{142F58D1-7453-4167-8D3B-22E918ED6251}"/>
    </a:ext>
  </a:extLst>
</a:theme>
</file>

<file path=ppt/theme/theme22.xml><?xml version="1.0" encoding="utf-8"?>
<a:theme xmlns:a="http://schemas.openxmlformats.org/drawingml/2006/main" name="3_WPC 2015 Light Gray Template">
  <a:themeElements>
    <a:clrScheme name="Custom 55">
      <a:dk1>
        <a:srgbClr val="505050"/>
      </a:dk1>
      <a:lt1>
        <a:srgbClr val="FFFFFF"/>
      </a:lt1>
      <a:dk2>
        <a:srgbClr val="0078D7"/>
      </a:dk2>
      <a:lt2>
        <a:srgbClr val="EAEAEA"/>
      </a:lt2>
      <a:accent1>
        <a:srgbClr val="0078D7"/>
      </a:accent1>
      <a:accent2>
        <a:srgbClr val="002050"/>
      </a:accent2>
      <a:accent3>
        <a:srgbClr val="643BCD"/>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5_Keynote-Template_final" id="{4F5A7551-2724-4944-81CD-8EC5CFEC9CF3}" vid="{0892B3D4-AF20-4512-8745-46F89CD91C14}"/>
    </a:ext>
  </a:extLst>
</a:theme>
</file>

<file path=ppt/theme/theme23.xml><?xml version="1.0" encoding="utf-8"?>
<a:theme xmlns:a="http://schemas.openxmlformats.org/drawingml/2006/main" name="1_COLOR TEMPLATE">
  <a:themeElements>
    <a:clrScheme name="MSVID Dark Blue">
      <a:dk1>
        <a:srgbClr val="505050"/>
      </a:dk1>
      <a:lt1>
        <a:srgbClr val="FFFFFF"/>
      </a:lt1>
      <a:dk2>
        <a:srgbClr val="002050"/>
      </a:dk2>
      <a:lt2>
        <a:srgbClr val="CDF4FF"/>
      </a:lt2>
      <a:accent1>
        <a:srgbClr val="107C10"/>
      </a:accent1>
      <a:accent2>
        <a:srgbClr val="B4009E"/>
      </a:accent2>
      <a:accent3>
        <a:srgbClr val="0078D7"/>
      </a:accent3>
      <a:accent4>
        <a:srgbClr val="5C2D91"/>
      </a:accent4>
      <a:accent5>
        <a:srgbClr val="008272"/>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1.potx" id="{D492926E-EC08-4AFD-807A-4127C70CFD99}" vid="{448CC406-24DD-4783-95CB-AC7FC09E6033}"/>
    </a:ext>
  </a:extLst>
</a:theme>
</file>

<file path=ppt/theme/theme24.xml><?xml version="1.0" encoding="utf-8"?>
<a:theme xmlns:a="http://schemas.openxmlformats.org/drawingml/2006/main" name="8_WPC 2015 Dark Gray Template">
  <a:themeElements>
    <a:clrScheme name="Custom 57">
      <a:dk1>
        <a:srgbClr val="505050"/>
      </a:dk1>
      <a:lt1>
        <a:srgbClr val="FFFFFF"/>
      </a:lt1>
      <a:dk2>
        <a:srgbClr val="0078D7"/>
      </a:dk2>
      <a:lt2>
        <a:srgbClr val="EAEAEA"/>
      </a:lt2>
      <a:accent1>
        <a:srgbClr val="0078D7"/>
      </a:accent1>
      <a:accent2>
        <a:srgbClr val="643BCD"/>
      </a:accent2>
      <a:accent3>
        <a:srgbClr val="00BCF2"/>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5_Keynote-Template_final" id="{4F5A7551-2724-4944-81CD-8EC5CFEC9CF3}" vid="{2D1BC9A5-783B-4030-97F8-26B413FC8BF6}"/>
    </a:ext>
  </a:extLst>
</a:theme>
</file>

<file path=ppt/theme/theme25.xml><?xml version="1.0" encoding="utf-8"?>
<a:theme xmlns:a="http://schemas.openxmlformats.org/drawingml/2006/main" name="MGXFY16 Light Gray Template">
  <a:themeElements>
    <a:clrScheme name="Custom 55">
      <a:dk1>
        <a:srgbClr val="505050"/>
      </a:dk1>
      <a:lt1>
        <a:srgbClr val="FFFFFF"/>
      </a:lt1>
      <a:dk2>
        <a:srgbClr val="0078D7"/>
      </a:dk2>
      <a:lt2>
        <a:srgbClr val="EAEAEA"/>
      </a:lt2>
      <a:accent1>
        <a:srgbClr val="0078D7"/>
      </a:accent1>
      <a:accent2>
        <a:srgbClr val="002050"/>
      </a:accent2>
      <a:accent3>
        <a:srgbClr val="643BCD"/>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GXFY16 Template 07.potx" id="{A9A7669F-9F35-4C93-8E2B-AB1D7FD7DF1F}" vid="{D963DCD1-39B0-4BB5-BFF0-BEAA01E52ED8}"/>
    </a:ext>
  </a:extLst>
</a:theme>
</file>

<file path=ppt/theme/theme26.xml><?xml version="1.0" encoding="utf-8"?>
<a:theme xmlns:a="http://schemas.openxmlformats.org/drawingml/2006/main" name="3_COLOR TEMPLATE">
  <a:themeElements>
    <a:clrScheme name="Custom 2">
      <a:dk1>
        <a:srgbClr val="505050"/>
      </a:dk1>
      <a:lt1>
        <a:srgbClr val="FFFFFF"/>
      </a:lt1>
      <a:dk2>
        <a:srgbClr val="002050"/>
      </a:dk2>
      <a:lt2>
        <a:srgbClr val="CDF4FF"/>
      </a:lt2>
      <a:accent1>
        <a:srgbClr val="0078D7"/>
      </a:accent1>
      <a:accent2>
        <a:srgbClr val="0078D7"/>
      </a:accent2>
      <a:accent3>
        <a:srgbClr val="107C10"/>
      </a:accent3>
      <a:accent4>
        <a:srgbClr val="B4009E"/>
      </a:accent4>
      <a:accent5>
        <a:srgbClr val="5C2D91"/>
      </a:accent5>
      <a:accent6>
        <a:srgbClr val="008272"/>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40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27.xml><?xml version="1.0" encoding="utf-8"?>
<a:theme xmlns:a="http://schemas.openxmlformats.org/drawingml/2006/main" name="4_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28.xml><?xml version="1.0" encoding="utf-8"?>
<a:theme xmlns:a="http://schemas.openxmlformats.org/drawingml/2006/main" name="5_COLOR TEMPLATE">
  <a:themeElements>
    <a:clrScheme name="Custom 2">
      <a:dk1>
        <a:srgbClr val="505050"/>
      </a:dk1>
      <a:lt1>
        <a:srgbClr val="FFFFFF"/>
      </a:lt1>
      <a:dk2>
        <a:srgbClr val="002050"/>
      </a:dk2>
      <a:lt2>
        <a:srgbClr val="CDF4FF"/>
      </a:lt2>
      <a:accent1>
        <a:srgbClr val="0078D7"/>
      </a:accent1>
      <a:accent2>
        <a:srgbClr val="0078D7"/>
      </a:accent2>
      <a:accent3>
        <a:srgbClr val="107C10"/>
      </a:accent3>
      <a:accent4>
        <a:srgbClr val="B4009E"/>
      </a:accent4>
      <a:accent5>
        <a:srgbClr val="5C2D91"/>
      </a:accent5>
      <a:accent6>
        <a:srgbClr val="008272"/>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40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29.xml><?xml version="1.0" encoding="utf-8"?>
<a:theme xmlns:a="http://schemas.openxmlformats.org/drawingml/2006/main" name="6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3.xml><?xml version="1.0" encoding="utf-8"?>
<a:theme xmlns:a="http://schemas.openxmlformats.org/drawingml/2006/main" name="Microsoft AzureCon 2015 Template - Color">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2015_Template_v03" id="{4715AF1A-5204-4C1D-AE3F-AB18B0EACD86}" vid="{142F58D1-7453-4167-8D3B-22E918ED6251}"/>
    </a:ext>
  </a:extLst>
</a:theme>
</file>

<file path=ppt/theme/theme30.xml><?xml version="1.0" encoding="utf-8"?>
<a:theme xmlns:a="http://schemas.openxmlformats.org/drawingml/2006/main" name="1_5-30721_Build_2016_Template_Light">
  <a:themeElements>
    <a:clrScheme name="Build 2016">
      <a:dk1>
        <a:srgbClr val="505050"/>
      </a:dk1>
      <a:lt1>
        <a:srgbClr val="FFFFFF"/>
      </a:lt1>
      <a:dk2>
        <a:srgbClr val="0078D7"/>
      </a:dk2>
      <a:lt2>
        <a:srgbClr val="F8F8F8"/>
      </a:lt2>
      <a:accent1>
        <a:srgbClr val="0078D7"/>
      </a:accent1>
      <a:accent2>
        <a:srgbClr val="002050"/>
      </a:accent2>
      <a:accent3>
        <a:srgbClr val="00BCF2"/>
      </a:accent3>
      <a:accent4>
        <a:srgbClr val="D2D2D2"/>
      </a:accent4>
      <a:accent5>
        <a:srgbClr val="737373"/>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6_16x9_Template.potx" id="{2D9F1654-7A66-4699-829C-201E10216A69}" vid="{2DD1E4E3-0871-45BE-BEDE-345B55444DCB}"/>
    </a:ext>
  </a:extLst>
</a:theme>
</file>

<file path=ppt/theme/theme31.xml><?xml version="1.0" encoding="utf-8"?>
<a:theme xmlns:a="http://schemas.openxmlformats.org/drawingml/2006/main" name="7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Event.potx" id="{753E25C2-DE2E-477E-B2FB-4BF58DD7C983}" vid="{ABFB4009-9D60-44CA-B6CF-6D5DFFFE4A75}"/>
    </a:ext>
  </a:extLst>
</a:theme>
</file>

<file path=ppt/theme/theme32.xml><?xml version="1.0" encoding="utf-8"?>
<a:theme xmlns:a="http://schemas.openxmlformats.org/drawingml/2006/main" name="6_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40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3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Keynote-Template_v3" id="{16D16FD6-82B1-4517-AB6B-BD72623FF067}" vid="{059D507E-C456-4974-83A1-394505850BFA}"/>
    </a:ext>
  </a:extLst>
</a:theme>
</file>

<file path=ppt/theme/theme5.xml><?xml version="1.0" encoding="utf-8"?>
<a:theme xmlns:a="http://schemas.openxmlformats.org/drawingml/2006/main" name="1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6.xml><?xml version="1.0" encoding="utf-8"?>
<a:theme xmlns:a="http://schemas.openxmlformats.org/drawingml/2006/main" name="MGXFY16 Dark Gray Template">
  <a:themeElements>
    <a:clrScheme name="Custom 28">
      <a:dk1>
        <a:srgbClr val="505050"/>
      </a:dk1>
      <a:lt1>
        <a:srgbClr val="FFFFFF"/>
      </a:lt1>
      <a:dk2>
        <a:srgbClr val="0078D7"/>
      </a:dk2>
      <a:lt2>
        <a:srgbClr val="EAEAEA"/>
      </a:lt2>
      <a:accent1>
        <a:srgbClr val="0078D7"/>
      </a:accent1>
      <a:accent2>
        <a:srgbClr val="643BCD"/>
      </a:accent2>
      <a:accent3>
        <a:srgbClr val="00BCF2"/>
      </a:accent3>
      <a:accent4>
        <a:srgbClr val="ABABAB"/>
      </a:accent4>
      <a:accent5>
        <a:srgbClr val="505050"/>
      </a:accent5>
      <a:accent6>
        <a:srgbClr val="FFB900"/>
      </a:accent6>
      <a:hlink>
        <a:srgbClr val="89E6FF"/>
      </a:hlink>
      <a:folHlink>
        <a:srgbClr val="89E6FF"/>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GXFY16 Template 07.potx" id="{A9A7669F-9F35-4C93-8E2B-AB1D7FD7DF1F}" vid="{BD78765C-BDC5-4855-A553-52A83E41D733}"/>
    </a:ext>
  </a:extLst>
</a:theme>
</file>

<file path=ppt/theme/theme7.xml><?xml version="1.0" encoding="utf-8"?>
<a:theme xmlns:a="http://schemas.openxmlformats.org/drawingml/2006/main" name="WPC 2015 Dark Gray Template">
  <a:themeElements>
    <a:clrScheme name="Custom 57">
      <a:dk1>
        <a:srgbClr val="505050"/>
      </a:dk1>
      <a:lt1>
        <a:srgbClr val="FFFFFF"/>
      </a:lt1>
      <a:dk2>
        <a:srgbClr val="0078D7"/>
      </a:dk2>
      <a:lt2>
        <a:srgbClr val="EAEAEA"/>
      </a:lt2>
      <a:accent1>
        <a:srgbClr val="0078D7"/>
      </a:accent1>
      <a:accent2>
        <a:srgbClr val="643BCD"/>
      </a:accent2>
      <a:accent3>
        <a:srgbClr val="00BCF2"/>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5_Keynote-Template_final" id="{4F5A7551-2724-4944-81CD-8EC5CFEC9CF3}" vid="{2D1BC9A5-783B-4030-97F8-26B413FC8BF6}"/>
    </a:ext>
  </a:extLst>
</a:theme>
</file>

<file path=ppt/theme/theme8.xml><?xml version="1.0" encoding="utf-8"?>
<a:theme xmlns:a="http://schemas.openxmlformats.org/drawingml/2006/main" name="WPC 2015 Light Gray Template">
  <a:themeElements>
    <a:clrScheme name="Custom 55">
      <a:dk1>
        <a:srgbClr val="505050"/>
      </a:dk1>
      <a:lt1>
        <a:srgbClr val="FFFFFF"/>
      </a:lt1>
      <a:dk2>
        <a:srgbClr val="0078D7"/>
      </a:dk2>
      <a:lt2>
        <a:srgbClr val="EAEAEA"/>
      </a:lt2>
      <a:accent1>
        <a:srgbClr val="0078D7"/>
      </a:accent1>
      <a:accent2>
        <a:srgbClr val="002050"/>
      </a:accent2>
      <a:accent3>
        <a:srgbClr val="643BCD"/>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5_Keynote-Template_final" id="{4F5A7551-2724-4944-81CD-8EC5CFEC9CF3}" vid="{0892B3D4-AF20-4512-8745-46F89CD91C14}"/>
    </a:ext>
  </a:extLst>
</a:theme>
</file>

<file path=ppt/theme/theme9.xml><?xml version="1.0" encoding="utf-8"?>
<a:theme xmlns:a="http://schemas.openxmlformats.org/drawingml/2006/main" name="2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Seth Brickman</DisplayName>
        <AccountId>139</AccountId>
        <AccountType/>
      </UserInfo>
      <UserInfo>
        <DisplayName>Neil Hutson</DisplayName>
        <AccountId>140</AccountId>
        <AccountType/>
      </UserInfo>
      <UserInfo>
        <DisplayName>Jonah Sterling</DisplayName>
        <AccountId>136</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093EB58-A3C8-4EFB-858C-7BC99E7AE93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9A13FED-9D9A-42D4-BBF4-345F4CCBDD05}">
  <ds:schemaRef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fee586e5-3c92-48eb-9898-42915e590ada"/>
    <ds:schemaRef ds:uri="http://www.w3.org/XML/1998/namespace"/>
    <ds:schemaRef ds:uri="http://purl.org/dc/dcmitype/"/>
  </ds:schemaRefs>
</ds:datastoreItem>
</file>

<file path=customXml/itemProps3.xml><?xml version="1.0" encoding="utf-8"?>
<ds:datastoreItem xmlns:ds="http://schemas.openxmlformats.org/officeDocument/2006/customXml" ds:itemID="{8587D03C-DCD5-4A24-A48F-FDD3322C127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9618</Words>
  <Application>Microsoft Office PowerPoint</Application>
  <PresentationFormat>Custom</PresentationFormat>
  <Paragraphs>1393</Paragraphs>
  <Slides>76</Slides>
  <Notes>58</Notes>
  <HiddenSlides>0</HiddenSlides>
  <MMClips>1</MMClips>
  <ScaleCrop>false</ScaleCrop>
  <HeadingPairs>
    <vt:vector size="6" baseType="variant">
      <vt:variant>
        <vt:lpstr>Fonts Used</vt:lpstr>
      </vt:variant>
      <vt:variant>
        <vt:i4>20</vt:i4>
      </vt:variant>
      <vt:variant>
        <vt:lpstr>Theme</vt:lpstr>
      </vt:variant>
      <vt:variant>
        <vt:i4>32</vt:i4>
      </vt:variant>
      <vt:variant>
        <vt:lpstr>Slide Titles</vt:lpstr>
      </vt:variant>
      <vt:variant>
        <vt:i4>76</vt:i4>
      </vt:variant>
    </vt:vector>
  </HeadingPairs>
  <TitlesOfParts>
    <vt:vector size="128" baseType="lpstr">
      <vt:lpstr>Arial Unicode MS</vt:lpstr>
      <vt:lpstr>ＭＳ Ｐゴシック</vt:lpstr>
      <vt:lpstr>ＭＳ Ｐゴシック</vt:lpstr>
      <vt:lpstr>Adobe Gothic Std B</vt:lpstr>
      <vt:lpstr>Arial</vt:lpstr>
      <vt:lpstr>Avenir LT Pro 45 Book</vt:lpstr>
      <vt:lpstr>Calibri</vt:lpstr>
      <vt:lpstr>Calibri Light</vt:lpstr>
      <vt:lpstr>Cambria</vt:lpstr>
      <vt:lpstr>Consolas</vt:lpstr>
      <vt:lpstr>DIN</vt:lpstr>
      <vt:lpstr>Rockwell</vt:lpstr>
      <vt:lpstr>Segoe</vt:lpstr>
      <vt:lpstr>Segoe Light</vt:lpstr>
      <vt:lpstr>Segoe UI</vt:lpstr>
      <vt:lpstr>Segoe UI Black</vt:lpstr>
      <vt:lpstr>Segoe UI Light</vt:lpstr>
      <vt:lpstr>Segoe UI Semibold</vt:lpstr>
      <vt:lpstr>Segoe UI Semilight</vt:lpstr>
      <vt:lpstr>Wingdings</vt:lpstr>
      <vt:lpstr>Azure Event</vt:lpstr>
      <vt:lpstr>1_5-30629_Build_Template_DARK BLUE</vt:lpstr>
      <vt:lpstr>Microsoft AzureCon 2015 Template - Color</vt:lpstr>
      <vt:lpstr>1_BUILD CHARCOAL BACKGROUND</vt:lpstr>
      <vt:lpstr>1_Azure Event</vt:lpstr>
      <vt:lpstr>MGXFY16 Dark Gray Template</vt:lpstr>
      <vt:lpstr>WPC 2015 Dark Gray Template</vt:lpstr>
      <vt:lpstr>WPC 2015 Light Gray Template</vt:lpstr>
      <vt:lpstr>2_Azure Event</vt:lpstr>
      <vt:lpstr>11_BUILD CHARCOAL BACKGROUND</vt:lpstr>
      <vt:lpstr>COLOR TEMPLATE</vt:lpstr>
      <vt:lpstr>3_Azure Event</vt:lpstr>
      <vt:lpstr>4_Azure Event</vt:lpstr>
      <vt:lpstr>1_Microsoft AzureCon 2015 Template - Color</vt:lpstr>
      <vt:lpstr>1_MGXFY16 Dark Gray Template</vt:lpstr>
      <vt:lpstr>2_COLOR TEMPLATE</vt:lpstr>
      <vt:lpstr>5_Azure Event</vt:lpstr>
      <vt:lpstr>1_5-30660_TR21_BO_CT_Template</vt:lpstr>
      <vt:lpstr>2_5-30660_TR21_BO_CT_Template</vt:lpstr>
      <vt:lpstr>5-30721_Build_2016_Template_Light</vt:lpstr>
      <vt:lpstr>2_Microsoft AzureCon 2015 Template - Color</vt:lpstr>
      <vt:lpstr>3_WPC 2015 Light Gray Template</vt:lpstr>
      <vt:lpstr>1_COLOR TEMPLATE</vt:lpstr>
      <vt:lpstr>8_WPC 2015 Dark Gray Template</vt:lpstr>
      <vt:lpstr>MGXFY16 Light Gray Template</vt:lpstr>
      <vt:lpstr>3_COLOR TEMPLATE</vt:lpstr>
      <vt:lpstr>4_COLOR TEMPLATE</vt:lpstr>
      <vt:lpstr>5_COLOR TEMPLATE</vt:lpstr>
      <vt:lpstr>6_Azure Event</vt:lpstr>
      <vt:lpstr>1_5-30721_Build_2016_Template_Light</vt:lpstr>
      <vt:lpstr>7_Azure Event</vt:lpstr>
      <vt:lpstr>6_COLOR TEMPLATE</vt:lpstr>
      <vt:lpstr>Azure Data DevCamps</vt:lpstr>
      <vt:lpstr>PowerPoint Presentation</vt:lpstr>
      <vt:lpstr>Why the cloud? </vt:lpstr>
      <vt:lpstr>Cloud Computing</vt:lpstr>
      <vt:lpstr>Why the Cloud?</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itanfall</vt:lpstr>
      <vt:lpstr>PowerPoint Presentation</vt:lpstr>
      <vt:lpstr>PowerPoint Presentation</vt:lpstr>
      <vt:lpstr>PowerPoint Presentation</vt:lpstr>
      <vt:lpstr>Benefits of App Services</vt:lpstr>
      <vt:lpstr>What is Azure Functions?</vt:lpstr>
      <vt:lpstr>PowerPoint Presentation</vt:lpstr>
      <vt:lpstr>PowerPoint Presentation</vt:lpstr>
      <vt:lpstr>PowerPoint Presentation</vt:lpstr>
      <vt:lpstr>PowerPoint Presentation</vt:lpstr>
      <vt:lpstr>PowerPoint Presentation</vt:lpstr>
      <vt:lpstr>Cortana Intelligence Suite Transform data into intelligent action</vt:lpstr>
      <vt:lpstr>PowerPoint Presentation</vt:lpstr>
      <vt:lpstr>PowerPoint Presentation</vt:lpstr>
      <vt:lpstr>PowerPoint Presentation</vt:lpstr>
      <vt:lpstr>PowerPoint Presentation</vt:lpstr>
      <vt:lpstr>PowerPoint Presentation</vt:lpstr>
      <vt:lpstr>Internet of Things</vt:lpstr>
      <vt:lpstr>PowerPoint Presentation</vt:lpstr>
      <vt:lpstr>Azure Data Platform</vt:lpstr>
      <vt:lpstr>SQL Database</vt:lpstr>
      <vt:lpstr>PowerPoint Presentation</vt:lpstr>
      <vt:lpstr>Architecture</vt:lpstr>
      <vt:lpstr>A Server is not a machine</vt:lpstr>
      <vt:lpstr>SQL Database The Basics </vt:lpstr>
      <vt:lpstr>SQL Database The Basics</vt:lpstr>
      <vt:lpstr>DocumentDB</vt:lpstr>
      <vt:lpstr>Fully managed, scalable JSON document database service</vt:lpstr>
      <vt:lpstr>Microsoft Azure Data Services</vt:lpstr>
      <vt:lpstr>Cortana  Intelligence Suite</vt:lpstr>
      <vt:lpstr>Cortana Intelligence combines the services you already know</vt:lpstr>
      <vt:lpstr>Business is being transformed by three trends</vt:lpstr>
      <vt:lpstr>Stay ahead of the curve with Cortana Intelligence Suite</vt:lpstr>
      <vt:lpstr>Here are some examples of how  our customers are staying ahead </vt:lpstr>
      <vt:lpstr>Easily turn data into intelligent action</vt:lpstr>
      <vt:lpstr>Information Management</vt:lpstr>
      <vt:lpstr>Compose and orchestrate data services at scale</vt:lpstr>
      <vt:lpstr>Get more value from your enterprise data assets</vt:lpstr>
      <vt:lpstr>Ingest events from websites, apps and devices at cloud scale </vt:lpstr>
      <vt:lpstr>Big Data Stores</vt:lpstr>
      <vt:lpstr>A hyper-scale repository for big data analytics workloads</vt:lpstr>
      <vt:lpstr>Elastic data warehouse as a service with enterprise-class features </vt:lpstr>
      <vt:lpstr>Machine Learning and Analytics</vt:lpstr>
      <vt:lpstr>Easily build, deploy, and share predictive analytics solutions</vt:lpstr>
      <vt:lpstr>Big data analytics made easy</vt:lpstr>
      <vt:lpstr>Comprehensive set of managed Apache big data projects</vt:lpstr>
      <vt:lpstr>Real-time stream processing in the cloud</vt:lpstr>
      <vt:lpstr>Intelligence</vt:lpstr>
      <vt:lpstr>Build applications that understand people</vt:lpstr>
      <vt:lpstr>Your bots – wherever your users converse</vt:lpstr>
      <vt:lpstr>Get things done in more helpful, proactive and natural ways </vt:lpstr>
      <vt:lpstr>Dashboards &amp; Visualizations</vt:lpstr>
      <vt:lpstr>Keep a pulse on your business with live, interactive dashboards</vt:lpstr>
      <vt:lpstr>Transform data into intelligent action</vt:lpstr>
      <vt:lpstr>Turning telemetry data from vehicles into insight </vt:lpstr>
      <vt:lpstr>Example of Cortana Intelligence Suite in action</vt:lpstr>
      <vt:lpstr>With Cortana Intelligence, better predict needs and trends</vt:lpstr>
      <vt:lpstr>Explore Cortana Intelligence today</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dc:description/>
  <cp:lastModifiedBy/>
  <cp:revision>1</cp:revision>
  <dcterms:created xsi:type="dcterms:W3CDTF">2014-07-17T16:01:57Z</dcterms:created>
  <dcterms:modified xsi:type="dcterms:W3CDTF">2016-05-25T20:42: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MyDocuments">
    <vt:bool>true</vt:bool>
  </property>
  <property fmtid="{D5CDD505-2E9C-101B-9397-08002B2CF9AE}" pid="3" name="ContentTypeId">
    <vt:lpwstr>0x0101004A821E223A3BC347949CC2419033DBE2</vt:lpwstr>
  </property>
  <property fmtid="{D5CDD505-2E9C-101B-9397-08002B2CF9AE}" pid="4" name="DocVizMetadataToken">
    <vt:lpwstr>300x168x1</vt:lpwstr>
  </property>
</Properties>
</file>